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7.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8.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3"/>
    <p:sldMasterId id="2147483767" r:id="rId4"/>
  </p:sldMasterIdLst>
  <p:notesMasterIdLst>
    <p:notesMasterId r:id="rId22"/>
  </p:notesMasterIdLst>
  <p:handoutMasterIdLst>
    <p:handoutMasterId r:id="rId23"/>
  </p:handoutMasterIdLst>
  <p:sldIdLst>
    <p:sldId id="399" r:id="rId5"/>
    <p:sldId id="397" r:id="rId6"/>
    <p:sldId id="385" r:id="rId7"/>
    <p:sldId id="377" r:id="rId8"/>
    <p:sldId id="398" r:id="rId9"/>
    <p:sldId id="362" r:id="rId10"/>
    <p:sldId id="402" r:id="rId11"/>
    <p:sldId id="392" r:id="rId12"/>
    <p:sldId id="372" r:id="rId13"/>
    <p:sldId id="332" r:id="rId14"/>
    <p:sldId id="403" r:id="rId15"/>
    <p:sldId id="387" r:id="rId16"/>
    <p:sldId id="391" r:id="rId17"/>
    <p:sldId id="383" r:id="rId18"/>
    <p:sldId id="400" r:id="rId19"/>
    <p:sldId id="401" r:id="rId20"/>
    <p:sldId id="380" r:id="rId21"/>
  </p:sldIdLst>
  <p:sldSz cx="12841288" cy="7223125"/>
  <p:notesSz cx="6670675" cy="9802813"/>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4" userDrawn="1">
          <p15:clr>
            <a:srgbClr val="A4A3A4"/>
          </p15:clr>
        </p15:guide>
        <p15:guide id="3" orient="horz" pos="824" userDrawn="1">
          <p15:clr>
            <a:srgbClr val="A4A3A4"/>
          </p15:clr>
        </p15:guide>
        <p15:guide id="5" pos="7877" userDrawn="1">
          <p15:clr>
            <a:srgbClr val="A4A3A4"/>
          </p15:clr>
        </p15:guide>
        <p15:guide id="6" pos="5473" userDrawn="1">
          <p15:clr>
            <a:srgbClr val="A4A3A4"/>
          </p15:clr>
        </p15:guide>
        <p15:guide id="7" pos="212" userDrawn="1">
          <p15:clr>
            <a:srgbClr val="A4A3A4"/>
          </p15:clr>
        </p15:guide>
        <p15:guide id="8" pos="7673" userDrawn="1">
          <p15:clr>
            <a:srgbClr val="A4A3A4"/>
          </p15:clr>
        </p15:guide>
        <p15:guide id="9" pos="5428" userDrawn="1">
          <p15:clr>
            <a:srgbClr val="A4A3A4"/>
          </p15:clr>
        </p15:guide>
        <p15:guide id="10" orient="horz" pos="4316" userDrawn="1">
          <p15:clr>
            <a:srgbClr val="A4A3A4"/>
          </p15:clr>
        </p15:guide>
        <p15:guide id="11" pos="2570" userDrawn="1">
          <p15:clr>
            <a:srgbClr val="A4A3A4"/>
          </p15:clr>
        </p15:guide>
        <p15:guide id="12" pos="2321" userDrawn="1">
          <p15:clr>
            <a:srgbClr val="A4A3A4"/>
          </p15:clr>
        </p15:guide>
        <p15:guide id="13" pos="4090" userDrawn="1">
          <p15:clr>
            <a:srgbClr val="A4A3A4"/>
          </p15:clr>
        </p15:guide>
        <p15:guide id="15" orient="horz" pos="1005" userDrawn="1">
          <p15:clr>
            <a:srgbClr val="A4A3A4"/>
          </p15:clr>
        </p15:guide>
        <p15:guide id="16" orient="horz" pos="3500" userDrawn="1">
          <p15:clr>
            <a:srgbClr val="A4A3A4"/>
          </p15:clr>
        </p15:guide>
        <p15:guide id="17" orient="horz" pos="1436" userDrawn="1">
          <p15:clr>
            <a:srgbClr val="A4A3A4"/>
          </p15:clr>
        </p15:guide>
        <p15:guide id="18" orient="horz" pos="2071" userDrawn="1">
          <p15:clr>
            <a:srgbClr val="A4A3A4"/>
          </p15:clr>
        </p15:guide>
        <p15:guide id="20" orient="horz" pos="2411" userDrawn="1">
          <p15:clr>
            <a:srgbClr val="A4A3A4"/>
          </p15:clr>
        </p15:guide>
      </p15:sldGuideLst>
    </p:ext>
    <p:ext uri="{2D200454-40CA-4A62-9FC3-DE9A4176ACB9}">
      <p15:notesGuideLst xmlns:p15="http://schemas.microsoft.com/office/powerpoint/2012/main">
        <p15:guide id="1" orient="horz" pos="308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49500"/>
    <a:srgbClr val="D1EDFF"/>
    <a:srgbClr val="BFE7FF"/>
    <a:srgbClr val="F6F6F6"/>
    <a:srgbClr val="ECECEC"/>
    <a:srgbClr val="EDEDED"/>
    <a:srgbClr val="D4D4D4"/>
    <a:srgbClr val="E4E4E4"/>
    <a:srgbClr val="F0F0F0"/>
    <a:srgbClr val="E3F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38" autoAdjust="0"/>
    <p:restoredTop sz="81644" autoAdjust="0"/>
  </p:normalViewPr>
  <p:slideViewPr>
    <p:cSldViewPr snapToGrid="0">
      <p:cViewPr>
        <p:scale>
          <a:sx n="69" d="100"/>
          <a:sy n="69" d="100"/>
        </p:scale>
        <p:origin x="456" y="160"/>
      </p:cViewPr>
      <p:guideLst>
        <p:guide orient="horz" pos="3364"/>
        <p:guide orient="horz" pos="824"/>
        <p:guide pos="7877"/>
        <p:guide pos="5473"/>
        <p:guide pos="212"/>
        <p:guide pos="7673"/>
        <p:guide pos="5428"/>
        <p:guide orient="horz" pos="4316"/>
        <p:guide pos="2570"/>
        <p:guide pos="2321"/>
        <p:guide pos="4090"/>
        <p:guide orient="horz" pos="1005"/>
        <p:guide orient="horz" pos="3500"/>
        <p:guide orient="horz" pos="1436"/>
        <p:guide orient="horz" pos="2071"/>
        <p:guide orient="horz" pos="241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63" d="100"/>
          <a:sy n="63" d="100"/>
        </p:scale>
        <p:origin x="3808" y="192"/>
      </p:cViewPr>
      <p:guideLst>
        <p:guide orient="horz" pos="3087"/>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1.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___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___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___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___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___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___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___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___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___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___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___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___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___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___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___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___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___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___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___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___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___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___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___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___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___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___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___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___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___37.xlsx"/><Relationship Id="rId2" Type="http://schemas.microsoft.com/office/2011/relationships/chartColorStyle" Target="colors38.xml"/><Relationship Id="rId1" Type="http://schemas.microsoft.com/office/2011/relationships/chartStyle" Target="style3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___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__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___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___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___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___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401476828740125E-2"/>
          <c:y val="3.8911577756039352E-2"/>
          <c:w val="0.95403901905410082"/>
          <c:h val="0.83082455863877602"/>
        </c:manualLayout>
      </c:layout>
      <c:lineChart>
        <c:grouping val="standard"/>
        <c:varyColors val="0"/>
        <c:ser>
          <c:idx val="0"/>
          <c:order val="0"/>
          <c:tx>
            <c:strRef>
              <c:f>Sheet1!$B$1</c:f>
              <c:strCache>
                <c:ptCount val="1"/>
                <c:pt idx="0">
                  <c:v>AAL</c:v>
                </c:pt>
              </c:strCache>
            </c:strRef>
          </c:tx>
          <c:spPr>
            <a:ln w="22225" cap="rnd">
              <a:solidFill>
                <a:schemeClr val="accent4"/>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B$2:$B$140</c:f>
              <c:numCache>
                <c:formatCode>0.00%</c:formatCode>
                <c:ptCount val="139"/>
                <c:pt idx="0">
                  <c:v>1</c:v>
                </c:pt>
                <c:pt idx="1">
                  <c:v>1.236</c:v>
                </c:pt>
                <c:pt idx="2">
                  <c:v>1.429</c:v>
                </c:pt>
                <c:pt idx="3">
                  <c:v>1.3480000000000001</c:v>
                </c:pt>
                <c:pt idx="4">
                  <c:v>1.387</c:v>
                </c:pt>
                <c:pt idx="5">
                  <c:v>1.784</c:v>
                </c:pt>
                <c:pt idx="6">
                  <c:v>1.8089999999999999</c:v>
                </c:pt>
                <c:pt idx="7">
                  <c:v>1.782</c:v>
                </c:pt>
                <c:pt idx="8">
                  <c:v>1.748</c:v>
                </c:pt>
                <c:pt idx="9">
                  <c:v>1.944</c:v>
                </c:pt>
                <c:pt idx="10">
                  <c:v>2.1339999999999999</c:v>
                </c:pt>
                <c:pt idx="11">
                  <c:v>1.9910000000000001</c:v>
                </c:pt>
                <c:pt idx="12">
                  <c:v>2.02</c:v>
                </c:pt>
                <c:pt idx="13">
                  <c:v>1.81</c:v>
                </c:pt>
                <c:pt idx="14">
                  <c:v>1.665</c:v>
                </c:pt>
                <c:pt idx="15">
                  <c:v>1.599</c:v>
                </c:pt>
                <c:pt idx="16">
                  <c:v>1.823</c:v>
                </c:pt>
                <c:pt idx="17">
                  <c:v>1.635</c:v>
                </c:pt>
                <c:pt idx="18">
                  <c:v>1.4</c:v>
                </c:pt>
                <c:pt idx="19">
                  <c:v>1.0449999999999999</c:v>
                </c:pt>
                <c:pt idx="20">
                  <c:v>1.075</c:v>
                </c:pt>
                <c:pt idx="21">
                  <c:v>1.081</c:v>
                </c:pt>
                <c:pt idx="22">
                  <c:v>0.90800000000000003</c:v>
                </c:pt>
                <c:pt idx="23">
                  <c:v>1.0389999999999999</c:v>
                </c:pt>
                <c:pt idx="24">
                  <c:v>1.22</c:v>
                </c:pt>
                <c:pt idx="25">
                  <c:v>1.6140000000000001</c:v>
                </c:pt>
                <c:pt idx="26">
                  <c:v>1.395</c:v>
                </c:pt>
                <c:pt idx="27">
                  <c:v>1.627</c:v>
                </c:pt>
                <c:pt idx="28">
                  <c:v>2.1269999999999998</c:v>
                </c:pt>
                <c:pt idx="29">
                  <c:v>2.3580000000000001</c:v>
                </c:pt>
                <c:pt idx="30">
                  <c:v>2.4470000000000001</c:v>
                </c:pt>
                <c:pt idx="31">
                  <c:v>2.0110000000000001</c:v>
                </c:pt>
                <c:pt idx="32">
                  <c:v>2.08</c:v>
                </c:pt>
                <c:pt idx="33">
                  <c:v>2.2069999999999999</c:v>
                </c:pt>
                <c:pt idx="34">
                  <c:v>2.3849999999999998</c:v>
                </c:pt>
                <c:pt idx="35">
                  <c:v>2.4609999999999999</c:v>
                </c:pt>
                <c:pt idx="36">
                  <c:v>2.7850000000000001</c:v>
                </c:pt>
                <c:pt idx="37">
                  <c:v>2.6640000000000001</c:v>
                </c:pt>
                <c:pt idx="38">
                  <c:v>3.0009999999999999</c:v>
                </c:pt>
                <c:pt idx="39">
                  <c:v>3.0640000000000001</c:v>
                </c:pt>
                <c:pt idx="40">
                  <c:v>3.387</c:v>
                </c:pt>
                <c:pt idx="41">
                  <c:v>3.2029999999999998</c:v>
                </c:pt>
                <c:pt idx="42">
                  <c:v>3.41</c:v>
                </c:pt>
                <c:pt idx="43">
                  <c:v>3.24</c:v>
                </c:pt>
                <c:pt idx="44">
                  <c:v>3.4580000000000002</c:v>
                </c:pt>
                <c:pt idx="45">
                  <c:v>4.0049999999999999</c:v>
                </c:pt>
                <c:pt idx="46">
                  <c:v>4.4660000000000002</c:v>
                </c:pt>
                <c:pt idx="47">
                  <c:v>4.7480000000000002</c:v>
                </c:pt>
                <c:pt idx="48">
                  <c:v>5.6520000000000001</c:v>
                </c:pt>
                <c:pt idx="49">
                  <c:v>6.7229999999999999</c:v>
                </c:pt>
                <c:pt idx="50">
                  <c:v>7.0709999999999997</c:v>
                </c:pt>
                <c:pt idx="51">
                  <c:v>6.8209999999999997</c:v>
                </c:pt>
                <c:pt idx="52">
                  <c:v>7.3019999999999996</c:v>
                </c:pt>
                <c:pt idx="53">
                  <c:v>8.1329999999999991</c:v>
                </c:pt>
                <c:pt idx="54">
                  <c:v>7.9589999999999996</c:v>
                </c:pt>
                <c:pt idx="55">
                  <c:v>7.4020000000000001</c:v>
                </c:pt>
                <c:pt idx="56">
                  <c:v>7.1029999999999998</c:v>
                </c:pt>
                <c:pt idx="57">
                  <c:v>6.78</c:v>
                </c:pt>
                <c:pt idx="58">
                  <c:v>8.3829999999999991</c:v>
                </c:pt>
                <c:pt idx="59">
                  <c:v>9.61</c:v>
                </c:pt>
                <c:pt idx="60">
                  <c:v>9.9960000000000004</c:v>
                </c:pt>
                <c:pt idx="61">
                  <c:v>9.3620000000000001</c:v>
                </c:pt>
                <c:pt idx="62">
                  <c:v>9.7690000000000001</c:v>
                </c:pt>
                <c:pt idx="63">
                  <c:v>9.4480000000000004</c:v>
                </c:pt>
                <c:pt idx="64">
                  <c:v>8.907</c:v>
                </c:pt>
                <c:pt idx="65">
                  <c:v>7.9269999999999996</c:v>
                </c:pt>
                <c:pt idx="66">
                  <c:v>7.806</c:v>
                </c:pt>
                <c:pt idx="67">
                  <c:v>7.9390000000000001</c:v>
                </c:pt>
                <c:pt idx="68">
                  <c:v>7.9340000000000002</c:v>
                </c:pt>
                <c:pt idx="69">
                  <c:v>8.3330000000000002</c:v>
                </c:pt>
                <c:pt idx="70">
                  <c:v>8.3819999999999997</c:v>
                </c:pt>
                <c:pt idx="71">
                  <c:v>8.3330000000000002</c:v>
                </c:pt>
                <c:pt idx="72">
                  <c:v>7.7030000000000003</c:v>
                </c:pt>
                <c:pt idx="73">
                  <c:v>7.48</c:v>
                </c:pt>
                <c:pt idx="74">
                  <c:v>8.0969999999999995</c:v>
                </c:pt>
                <c:pt idx="75">
                  <c:v>7.5170000000000003</c:v>
                </c:pt>
                <c:pt idx="76">
                  <c:v>6.3070000000000004</c:v>
                </c:pt>
                <c:pt idx="77">
                  <c:v>5.8449999999999998</c:v>
                </c:pt>
                <c:pt idx="78">
                  <c:v>6.57</c:v>
                </c:pt>
                <c:pt idx="79">
                  <c:v>6.91</c:v>
                </c:pt>
                <c:pt idx="80">
                  <c:v>7.0890000000000004</c:v>
                </c:pt>
                <c:pt idx="81">
                  <c:v>7.5919999999999996</c:v>
                </c:pt>
                <c:pt idx="82">
                  <c:v>8.532</c:v>
                </c:pt>
                <c:pt idx="83">
                  <c:v>9.3230000000000004</c:v>
                </c:pt>
                <c:pt idx="84">
                  <c:v>9.19</c:v>
                </c:pt>
                <c:pt idx="85">
                  <c:v>8.9830000000000005</c:v>
                </c:pt>
                <c:pt idx="86">
                  <c:v>8.3940000000000001</c:v>
                </c:pt>
                <c:pt idx="87">
                  <c:v>8.5410000000000004</c:v>
                </c:pt>
                <c:pt idx="88">
                  <c:v>8.9920000000000009</c:v>
                </c:pt>
                <c:pt idx="89">
                  <c:v>9.6750000000000007</c:v>
                </c:pt>
                <c:pt idx="90">
                  <c:v>10.186999999999999</c:v>
                </c:pt>
                <c:pt idx="91">
                  <c:v>9.2829999999999995</c:v>
                </c:pt>
                <c:pt idx="92">
                  <c:v>9.0050000000000008</c:v>
                </c:pt>
                <c:pt idx="93">
                  <c:v>9.9580000000000002</c:v>
                </c:pt>
                <c:pt idx="94">
                  <c:v>9.35</c:v>
                </c:pt>
                <c:pt idx="95">
                  <c:v>10.058</c:v>
                </c:pt>
                <c:pt idx="96">
                  <c:v>10.795999999999999</c:v>
                </c:pt>
                <c:pt idx="97">
                  <c:v>10.211</c:v>
                </c:pt>
                <c:pt idx="98">
                  <c:v>10.6</c:v>
                </c:pt>
                <c:pt idx="99">
                  <c:v>9.2940000000000005</c:v>
                </c:pt>
                <c:pt idx="100">
                  <c:v>8.5030000000000001</c:v>
                </c:pt>
                <c:pt idx="101">
                  <c:v>8.2989999999999995</c:v>
                </c:pt>
                <c:pt idx="102">
                  <c:v>7.532</c:v>
                </c:pt>
                <c:pt idx="103">
                  <c:v>7.665</c:v>
                </c:pt>
                <c:pt idx="104">
                  <c:v>8.0269999999999992</c:v>
                </c:pt>
                <c:pt idx="105">
                  <c:v>6.7080000000000002</c:v>
                </c:pt>
                <c:pt idx="106">
                  <c:v>7.3769999999999998</c:v>
                </c:pt>
                <c:pt idx="107">
                  <c:v>6.6109999999999998</c:v>
                </c:pt>
                <c:pt idx="108">
                  <c:v>6.6120000000000001</c:v>
                </c:pt>
                <c:pt idx="109">
                  <c:v>7.1529999999999996</c:v>
                </c:pt>
                <c:pt idx="110">
                  <c:v>6.3209999999999997</c:v>
                </c:pt>
                <c:pt idx="111">
                  <c:v>6.7320000000000002</c:v>
                </c:pt>
                <c:pt idx="112">
                  <c:v>6.3220000000000001</c:v>
                </c:pt>
                <c:pt idx="113">
                  <c:v>6.2640000000000002</c:v>
                </c:pt>
                <c:pt idx="114">
                  <c:v>6.5259999999999998</c:v>
                </c:pt>
                <c:pt idx="115">
                  <c:v>5.3979999999999997</c:v>
                </c:pt>
                <c:pt idx="116">
                  <c:v>5.6159999999999997</c:v>
                </c:pt>
                <c:pt idx="117">
                  <c:v>5.62</c:v>
                </c:pt>
                <c:pt idx="118">
                  <c:v>5.9290000000000003</c:v>
                </c:pt>
                <c:pt idx="119">
                  <c:v>5.6440000000000001</c:v>
                </c:pt>
                <c:pt idx="120">
                  <c:v>5.54</c:v>
                </c:pt>
                <c:pt idx="121">
                  <c:v>5.452</c:v>
                </c:pt>
                <c:pt idx="122">
                  <c:v>2.9390000000000001</c:v>
                </c:pt>
                <c:pt idx="123">
                  <c:v>2.2189999999999999</c:v>
                </c:pt>
                <c:pt idx="124">
                  <c:v>2.0129999999999999</c:v>
                </c:pt>
                <c:pt idx="125">
                  <c:v>3.0590000000000002</c:v>
                </c:pt>
                <c:pt idx="126">
                  <c:v>2.3879999999999999</c:v>
                </c:pt>
                <c:pt idx="127">
                  <c:v>2.6030000000000002</c:v>
                </c:pt>
                <c:pt idx="128">
                  <c:v>2.6019999999999999</c:v>
                </c:pt>
                <c:pt idx="129">
                  <c:v>2.5049999999999999</c:v>
                </c:pt>
                <c:pt idx="130">
                  <c:v>2.5630000000000002</c:v>
                </c:pt>
                <c:pt idx="131">
                  <c:v>3.2970000000000002</c:v>
                </c:pt>
                <c:pt idx="132">
                  <c:v>3.1989999999999998</c:v>
                </c:pt>
                <c:pt idx="133">
                  <c:v>3.71</c:v>
                </c:pt>
                <c:pt idx="134">
                  <c:v>4.6120000000000001</c:v>
                </c:pt>
                <c:pt idx="135">
                  <c:v>4.4950000000000001</c:v>
                </c:pt>
                <c:pt idx="136">
                  <c:v>4.5410000000000004</c:v>
                </c:pt>
                <c:pt idx="137">
                  <c:v>4.6509999999999998</c:v>
                </c:pt>
                <c:pt idx="138">
                  <c:v>4.2009999999999996</c:v>
                </c:pt>
              </c:numCache>
            </c:numRef>
          </c:val>
          <c:smooth val="0"/>
          <c:extLst>
            <c:ext xmlns:c16="http://schemas.microsoft.com/office/drawing/2014/chart" uri="{C3380CC4-5D6E-409C-BE32-E72D297353CC}">
              <c16:uniqueId val="{00000000-34D1-2C44-BE5D-DF1DE1557164}"/>
            </c:ext>
          </c:extLst>
        </c:ser>
        <c:ser>
          <c:idx val="1"/>
          <c:order val="1"/>
          <c:tx>
            <c:strRef>
              <c:f>Sheet1!$C$1</c:f>
              <c:strCache>
                <c:ptCount val="1"/>
                <c:pt idx="0">
                  <c:v>S&amp;P 500</c:v>
                </c:pt>
              </c:strCache>
            </c:strRef>
          </c:tx>
          <c:spPr>
            <a:ln w="22225" cap="rnd">
              <a:solidFill>
                <a:schemeClr val="accent2"/>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C$2:$C$140</c:f>
              <c:numCache>
                <c:formatCode>0.00%</c:formatCode>
                <c:ptCount val="139"/>
                <c:pt idx="0">
                  <c:v>1</c:v>
                </c:pt>
                <c:pt idx="1">
                  <c:v>1.0289999999999999</c:v>
                </c:pt>
                <c:pt idx="2">
                  <c:v>1.089</c:v>
                </c:pt>
                <c:pt idx="3">
                  <c:v>1.105</c:v>
                </c:pt>
                <c:pt idx="4">
                  <c:v>1.014</c:v>
                </c:pt>
                <c:pt idx="5">
                  <c:v>0.96</c:v>
                </c:pt>
                <c:pt idx="6">
                  <c:v>1.026</c:v>
                </c:pt>
                <c:pt idx="7">
                  <c:v>0.97699999999999998</c:v>
                </c:pt>
                <c:pt idx="8">
                  <c:v>1.0629999999999999</c:v>
                </c:pt>
                <c:pt idx="9">
                  <c:v>1.1020000000000001</c:v>
                </c:pt>
                <c:pt idx="10">
                  <c:v>1.099</c:v>
                </c:pt>
                <c:pt idx="11">
                  <c:v>1.171</c:v>
                </c:pt>
                <c:pt idx="12">
                  <c:v>1.198</c:v>
                </c:pt>
                <c:pt idx="13">
                  <c:v>1.236</c:v>
                </c:pt>
                <c:pt idx="14">
                  <c:v>1.2350000000000001</c:v>
                </c:pt>
                <c:pt idx="15">
                  <c:v>1.27</c:v>
                </c:pt>
                <c:pt idx="16">
                  <c:v>1.2529999999999999</c:v>
                </c:pt>
                <c:pt idx="17">
                  <c:v>1.23</c:v>
                </c:pt>
                <c:pt idx="18">
                  <c:v>1.2030000000000001</c:v>
                </c:pt>
                <c:pt idx="19">
                  <c:v>1.135</c:v>
                </c:pt>
                <c:pt idx="20">
                  <c:v>1.054</c:v>
                </c:pt>
                <c:pt idx="21">
                  <c:v>1.167</c:v>
                </c:pt>
                <c:pt idx="22">
                  <c:v>1.161</c:v>
                </c:pt>
                <c:pt idx="23">
                  <c:v>1.171</c:v>
                </c:pt>
                <c:pt idx="24">
                  <c:v>1.222</c:v>
                </c:pt>
                <c:pt idx="25">
                  <c:v>1.272</c:v>
                </c:pt>
                <c:pt idx="26">
                  <c:v>1.3120000000000001</c:v>
                </c:pt>
                <c:pt idx="27">
                  <c:v>1.302</c:v>
                </c:pt>
                <c:pt idx="28">
                  <c:v>1.22</c:v>
                </c:pt>
                <c:pt idx="29">
                  <c:v>1.268</c:v>
                </c:pt>
                <c:pt idx="30">
                  <c:v>1.284</c:v>
                </c:pt>
                <c:pt idx="31">
                  <c:v>1.31</c:v>
                </c:pt>
                <c:pt idx="32">
                  <c:v>1.3420000000000001</c:v>
                </c:pt>
                <c:pt idx="33">
                  <c:v>1.3149999999999999</c:v>
                </c:pt>
                <c:pt idx="34">
                  <c:v>1.319</c:v>
                </c:pt>
                <c:pt idx="35">
                  <c:v>1.3280000000000001</c:v>
                </c:pt>
                <c:pt idx="36">
                  <c:v>1.395</c:v>
                </c:pt>
                <c:pt idx="37">
                  <c:v>1.41</c:v>
                </c:pt>
                <c:pt idx="38">
                  <c:v>1.4610000000000001</c:v>
                </c:pt>
                <c:pt idx="39">
                  <c:v>1.488</c:v>
                </c:pt>
                <c:pt idx="40">
                  <c:v>1.5189999999999999</c:v>
                </c:pt>
                <c:pt idx="41">
                  <c:v>1.496</c:v>
                </c:pt>
                <c:pt idx="42">
                  <c:v>1.57</c:v>
                </c:pt>
                <c:pt idx="43">
                  <c:v>1.5209999999999999</c:v>
                </c:pt>
                <c:pt idx="44">
                  <c:v>1.5660000000000001</c:v>
                </c:pt>
                <c:pt idx="45">
                  <c:v>1.6359999999999999</c:v>
                </c:pt>
                <c:pt idx="46">
                  <c:v>1.6819999999999999</c:v>
                </c:pt>
                <c:pt idx="47">
                  <c:v>1.7210000000000001</c:v>
                </c:pt>
                <c:pt idx="48">
                  <c:v>1.66</c:v>
                </c:pt>
                <c:pt idx="49">
                  <c:v>1.732</c:v>
                </c:pt>
                <c:pt idx="50">
                  <c:v>1.744</c:v>
                </c:pt>
                <c:pt idx="51">
                  <c:v>1.754</c:v>
                </c:pt>
                <c:pt idx="52">
                  <c:v>1.7909999999999999</c:v>
                </c:pt>
                <c:pt idx="53">
                  <c:v>1.825</c:v>
                </c:pt>
                <c:pt idx="54">
                  <c:v>1.798</c:v>
                </c:pt>
                <c:pt idx="55">
                  <c:v>1.8660000000000001</c:v>
                </c:pt>
                <c:pt idx="56">
                  <c:v>1.837</c:v>
                </c:pt>
                <c:pt idx="57">
                  <c:v>1.879</c:v>
                </c:pt>
                <c:pt idx="58">
                  <c:v>1.925</c:v>
                </c:pt>
                <c:pt idx="59">
                  <c:v>1.917</c:v>
                </c:pt>
                <c:pt idx="60">
                  <c:v>1.8580000000000001</c:v>
                </c:pt>
                <c:pt idx="61">
                  <c:v>1.96</c:v>
                </c:pt>
                <c:pt idx="62">
                  <c:v>1.9259999999999999</c:v>
                </c:pt>
                <c:pt idx="63">
                  <c:v>1.9419999999999999</c:v>
                </c:pt>
                <c:pt idx="64">
                  <c:v>1.962</c:v>
                </c:pt>
                <c:pt idx="65">
                  <c:v>1.921</c:v>
                </c:pt>
                <c:pt idx="66">
                  <c:v>1.9590000000000001</c:v>
                </c:pt>
                <c:pt idx="67">
                  <c:v>1.837</c:v>
                </c:pt>
                <c:pt idx="68">
                  <c:v>1.788</c:v>
                </c:pt>
                <c:pt idx="69">
                  <c:v>1.9359999999999999</c:v>
                </c:pt>
                <c:pt idx="70">
                  <c:v>1.9370000000000001</c:v>
                </c:pt>
                <c:pt idx="71">
                  <c:v>1.903</c:v>
                </c:pt>
                <c:pt idx="72">
                  <c:v>1.8069999999999999</c:v>
                </c:pt>
                <c:pt idx="73">
                  <c:v>1.7989999999999999</c:v>
                </c:pt>
                <c:pt idx="74">
                  <c:v>1.9179999999999999</c:v>
                </c:pt>
                <c:pt idx="75">
                  <c:v>1.923</c:v>
                </c:pt>
                <c:pt idx="76">
                  <c:v>1.9530000000000001</c:v>
                </c:pt>
                <c:pt idx="77">
                  <c:v>1.954</c:v>
                </c:pt>
                <c:pt idx="78">
                  <c:v>2.024</c:v>
                </c:pt>
                <c:pt idx="79">
                  <c:v>2.0219999999999998</c:v>
                </c:pt>
                <c:pt idx="80">
                  <c:v>2.0190000000000001</c:v>
                </c:pt>
                <c:pt idx="81">
                  <c:v>1.98</c:v>
                </c:pt>
                <c:pt idx="82">
                  <c:v>2.048</c:v>
                </c:pt>
                <c:pt idx="83">
                  <c:v>2.085</c:v>
                </c:pt>
                <c:pt idx="84">
                  <c:v>2.1219999999999999</c:v>
                </c:pt>
                <c:pt idx="85">
                  <c:v>2.2010000000000001</c:v>
                </c:pt>
                <c:pt idx="86">
                  <c:v>2.2000000000000002</c:v>
                </c:pt>
                <c:pt idx="87">
                  <c:v>2.2200000000000002</c:v>
                </c:pt>
                <c:pt idx="88">
                  <c:v>2.246</c:v>
                </c:pt>
                <c:pt idx="89">
                  <c:v>2.2570000000000001</c:v>
                </c:pt>
                <c:pt idx="90">
                  <c:v>2.2999999999999998</c:v>
                </c:pt>
                <c:pt idx="91">
                  <c:v>2.302</c:v>
                </c:pt>
                <c:pt idx="92">
                  <c:v>2.3460000000000001</c:v>
                </c:pt>
                <c:pt idx="93">
                  <c:v>2.3980000000000001</c:v>
                </c:pt>
                <c:pt idx="94">
                  <c:v>2.4649999999999999</c:v>
                </c:pt>
                <c:pt idx="95">
                  <c:v>2.4900000000000002</c:v>
                </c:pt>
                <c:pt idx="96">
                  <c:v>2.63</c:v>
                </c:pt>
                <c:pt idx="97">
                  <c:v>2.5270000000000001</c:v>
                </c:pt>
                <c:pt idx="98">
                  <c:v>2.4590000000000001</c:v>
                </c:pt>
                <c:pt idx="99">
                  <c:v>2.4660000000000002</c:v>
                </c:pt>
                <c:pt idx="100">
                  <c:v>2.5190000000000001</c:v>
                </c:pt>
                <c:pt idx="101">
                  <c:v>2.5310000000000001</c:v>
                </c:pt>
                <c:pt idx="102">
                  <c:v>2.6230000000000002</c:v>
                </c:pt>
                <c:pt idx="103">
                  <c:v>2.702</c:v>
                </c:pt>
                <c:pt idx="104">
                  <c:v>2.714</c:v>
                </c:pt>
                <c:pt idx="105">
                  <c:v>2.5249999999999999</c:v>
                </c:pt>
                <c:pt idx="106">
                  <c:v>2.57</c:v>
                </c:pt>
                <c:pt idx="107">
                  <c:v>2.3340000000000001</c:v>
                </c:pt>
                <c:pt idx="108">
                  <c:v>2.5179999999999998</c:v>
                </c:pt>
                <c:pt idx="109">
                  <c:v>2.593</c:v>
                </c:pt>
                <c:pt idx="110">
                  <c:v>2.6389999999999998</c:v>
                </c:pt>
                <c:pt idx="111">
                  <c:v>2.7429999999999999</c:v>
                </c:pt>
                <c:pt idx="112">
                  <c:v>2.5630000000000002</c:v>
                </c:pt>
                <c:pt idx="113">
                  <c:v>2.7389999999999999</c:v>
                </c:pt>
                <c:pt idx="114">
                  <c:v>2.7749999999999999</c:v>
                </c:pt>
                <c:pt idx="115">
                  <c:v>2.7250000000000001</c:v>
                </c:pt>
                <c:pt idx="116">
                  <c:v>2.7719999999999998</c:v>
                </c:pt>
                <c:pt idx="117">
                  <c:v>2.8290000000000002</c:v>
                </c:pt>
                <c:pt idx="118">
                  <c:v>2.9249999999999998</c:v>
                </c:pt>
                <c:pt idx="119">
                  <c:v>3.0089999999999999</c:v>
                </c:pt>
                <c:pt idx="120">
                  <c:v>3.004</c:v>
                </c:pt>
                <c:pt idx="121">
                  <c:v>2.7509999999999999</c:v>
                </c:pt>
                <c:pt idx="122">
                  <c:v>2.407</c:v>
                </c:pt>
                <c:pt idx="123">
                  <c:v>2.7120000000000002</c:v>
                </c:pt>
                <c:pt idx="124">
                  <c:v>2.835</c:v>
                </c:pt>
                <c:pt idx="125">
                  <c:v>2.887</c:v>
                </c:pt>
                <c:pt idx="126">
                  <c:v>3.0459999999999998</c:v>
                </c:pt>
                <c:pt idx="127">
                  <c:v>3.26</c:v>
                </c:pt>
                <c:pt idx="128">
                  <c:v>3.1320000000000001</c:v>
                </c:pt>
                <c:pt idx="129">
                  <c:v>3.0449999999999999</c:v>
                </c:pt>
                <c:pt idx="130">
                  <c:v>3.3730000000000002</c:v>
                </c:pt>
                <c:pt idx="131">
                  <c:v>3.4980000000000002</c:v>
                </c:pt>
                <c:pt idx="132">
                  <c:v>3.4590000000000001</c:v>
                </c:pt>
                <c:pt idx="133">
                  <c:v>3.5489999999999999</c:v>
                </c:pt>
                <c:pt idx="134">
                  <c:v>3.7</c:v>
                </c:pt>
                <c:pt idx="135">
                  <c:v>3.8940000000000001</c:v>
                </c:pt>
                <c:pt idx="136">
                  <c:v>3.915</c:v>
                </c:pt>
                <c:pt idx="137">
                  <c:v>4.0019999999999998</c:v>
                </c:pt>
                <c:pt idx="138">
                  <c:v>4.093</c:v>
                </c:pt>
              </c:numCache>
            </c:numRef>
          </c:val>
          <c:smooth val="0"/>
          <c:extLst>
            <c:ext xmlns:c16="http://schemas.microsoft.com/office/drawing/2014/chart" uri="{C3380CC4-5D6E-409C-BE32-E72D297353CC}">
              <c16:uniqueId val="{00000001-34D1-2C44-BE5D-DF1DE1557164}"/>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Algn val="ctr"/>
        <c:lblOffset val="100"/>
        <c:noMultiLvlLbl val="0"/>
      </c:catAx>
      <c:valAx>
        <c:axId val="1473788384"/>
        <c:scaling>
          <c:orientation val="minMax"/>
          <c:max val="11.3"/>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46527671480127E-2"/>
          <c:y val="3.2487373505722873E-2"/>
          <c:w val="0.83754993032049907"/>
          <c:h val="0.92750166401321388"/>
        </c:manualLayout>
      </c:layout>
      <c:lineChart>
        <c:grouping val="standard"/>
        <c:varyColors val="0"/>
        <c:ser>
          <c:idx val="0"/>
          <c:order val="0"/>
          <c:tx>
            <c:strRef>
              <c:f>Sheet1!$B$1</c:f>
              <c:strCache>
                <c:ptCount val="1"/>
                <c:pt idx="0">
                  <c:v>PEP</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0.00_);[Red]\(0.00\)</c:formatCode>
                <c:ptCount val="45"/>
                <c:pt idx="0">
                  <c:v>3.53</c:v>
                </c:pt>
                <c:pt idx="1">
                  <c:v>3.53</c:v>
                </c:pt>
                <c:pt idx="2">
                  <c:v>3.78</c:v>
                </c:pt>
                <c:pt idx="3">
                  <c:v>3.53</c:v>
                </c:pt>
                <c:pt idx="4">
                  <c:v>3.18</c:v>
                </c:pt>
                <c:pt idx="5">
                  <c:v>3.41</c:v>
                </c:pt>
                <c:pt idx="6">
                  <c:v>3.04</c:v>
                </c:pt>
                <c:pt idx="7">
                  <c:v>3.76</c:v>
                </c:pt>
                <c:pt idx="8">
                  <c:v>3.46</c:v>
                </c:pt>
                <c:pt idx="9">
                  <c:v>4.1100000000000003</c:v>
                </c:pt>
                <c:pt idx="10">
                  <c:v>3.94</c:v>
                </c:pt>
                <c:pt idx="11">
                  <c:v>3.68</c:v>
                </c:pt>
                <c:pt idx="12">
                  <c:v>4.28</c:v>
                </c:pt>
                <c:pt idx="13">
                  <c:v>4.4000000000000004</c:v>
                </c:pt>
                <c:pt idx="14">
                  <c:v>4.3499999999999996</c:v>
                </c:pt>
                <c:pt idx="15">
                  <c:v>4.18</c:v>
                </c:pt>
                <c:pt idx="16">
                  <c:v>4.4800000000000004</c:v>
                </c:pt>
                <c:pt idx="17">
                  <c:v>4.66</c:v>
                </c:pt>
                <c:pt idx="18">
                  <c:v>4.95</c:v>
                </c:pt>
                <c:pt idx="19">
                  <c:v>6.62</c:v>
                </c:pt>
                <c:pt idx="20">
                  <c:v>7.35</c:v>
                </c:pt>
                <c:pt idx="21">
                  <c:v>6.99</c:v>
                </c:pt>
                <c:pt idx="22">
                  <c:v>8.57</c:v>
                </c:pt>
                <c:pt idx="23">
                  <c:v>10.220000000000001</c:v>
                </c:pt>
                <c:pt idx="24">
                  <c:v>11.29</c:v>
                </c:pt>
                <c:pt idx="25">
                  <c:v>10.64</c:v>
                </c:pt>
                <c:pt idx="26">
                  <c:v>10.67</c:v>
                </c:pt>
                <c:pt idx="27">
                  <c:v>11.67</c:v>
                </c:pt>
                <c:pt idx="28">
                  <c:v>12.06</c:v>
                </c:pt>
                <c:pt idx="29">
                  <c:v>11.66</c:v>
                </c:pt>
                <c:pt idx="30">
                  <c:v>10.56</c:v>
                </c:pt>
                <c:pt idx="31">
                  <c:v>13.95</c:v>
                </c:pt>
                <c:pt idx="32">
                  <c:v>12.78</c:v>
                </c:pt>
                <c:pt idx="33">
                  <c:v>13.78</c:v>
                </c:pt>
                <c:pt idx="34">
                  <c:v>14.01</c:v>
                </c:pt>
                <c:pt idx="35">
                  <c:v>9.91</c:v>
                </c:pt>
                <c:pt idx="36">
                  <c:v>11.27</c:v>
                </c:pt>
                <c:pt idx="37">
                  <c:v>12.33</c:v>
                </c:pt>
                <c:pt idx="38">
                  <c:v>12.78</c:v>
                </c:pt>
                <c:pt idx="39">
                  <c:v>12.23</c:v>
                </c:pt>
                <c:pt idx="40">
                  <c:v>11.85</c:v>
                </c:pt>
                <c:pt idx="41">
                  <c:v>14.13</c:v>
                </c:pt>
                <c:pt idx="42">
                  <c:v>13.79</c:v>
                </c:pt>
                <c:pt idx="43">
                  <c:v>14.87</c:v>
                </c:pt>
                <c:pt idx="44">
                  <c:v>13.81</c:v>
                </c:pt>
              </c:numCache>
            </c:numRef>
          </c:val>
          <c:smooth val="0"/>
          <c:extLst>
            <c:ext xmlns:c16="http://schemas.microsoft.com/office/drawing/2014/chart" uri="{C3380CC4-5D6E-409C-BE32-E72D297353CC}">
              <c16:uniqueId val="{00000000-A978-5642-ABCB-E644CC6332BA}"/>
            </c:ext>
          </c:extLst>
        </c:ser>
        <c:ser>
          <c:idx val="1"/>
          <c:order val="1"/>
          <c:tx>
            <c:strRef>
              <c:f>Sheet1!$C$1</c:f>
              <c:strCache>
                <c:ptCount val="1"/>
                <c:pt idx="0">
                  <c:v>PB Median</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0.00_);[Red]\(0.00\)</c:formatCode>
                <c:ptCount val="45"/>
                <c:pt idx="0">
                  <c:v>3.56</c:v>
                </c:pt>
                <c:pt idx="1">
                  <c:v>3.19</c:v>
                </c:pt>
                <c:pt idx="2">
                  <c:v>3.44</c:v>
                </c:pt>
                <c:pt idx="3">
                  <c:v>3.47</c:v>
                </c:pt>
                <c:pt idx="4">
                  <c:v>3.38</c:v>
                </c:pt>
                <c:pt idx="5">
                  <c:v>3.36</c:v>
                </c:pt>
                <c:pt idx="6">
                  <c:v>3.38</c:v>
                </c:pt>
                <c:pt idx="7">
                  <c:v>3.68</c:v>
                </c:pt>
                <c:pt idx="8">
                  <c:v>3.76</c:v>
                </c:pt>
                <c:pt idx="9">
                  <c:v>4.0599999999999996</c:v>
                </c:pt>
                <c:pt idx="10">
                  <c:v>3.84</c:v>
                </c:pt>
                <c:pt idx="11">
                  <c:v>3.73</c:v>
                </c:pt>
                <c:pt idx="12">
                  <c:v>4.2</c:v>
                </c:pt>
                <c:pt idx="13">
                  <c:v>4.22</c:v>
                </c:pt>
                <c:pt idx="14">
                  <c:v>4.0199999999999996</c:v>
                </c:pt>
                <c:pt idx="15">
                  <c:v>4.2699999999999996</c:v>
                </c:pt>
                <c:pt idx="16">
                  <c:v>4.54</c:v>
                </c:pt>
                <c:pt idx="17">
                  <c:v>4.7300000000000004</c:v>
                </c:pt>
                <c:pt idx="18">
                  <c:v>4.96</c:v>
                </c:pt>
                <c:pt idx="19">
                  <c:v>5.65</c:v>
                </c:pt>
                <c:pt idx="20">
                  <c:v>6.1</c:v>
                </c:pt>
                <c:pt idx="21">
                  <c:v>5.67</c:v>
                </c:pt>
                <c:pt idx="22">
                  <c:v>5.89</c:v>
                </c:pt>
                <c:pt idx="23">
                  <c:v>6.28</c:v>
                </c:pt>
                <c:pt idx="24">
                  <c:v>6.73</c:v>
                </c:pt>
                <c:pt idx="25">
                  <c:v>7.84</c:v>
                </c:pt>
                <c:pt idx="26">
                  <c:v>7.32</c:v>
                </c:pt>
                <c:pt idx="27">
                  <c:v>7.29</c:v>
                </c:pt>
                <c:pt idx="28">
                  <c:v>7.43</c:v>
                </c:pt>
                <c:pt idx="29">
                  <c:v>7.6</c:v>
                </c:pt>
                <c:pt idx="30">
                  <c:v>7.66</c:v>
                </c:pt>
                <c:pt idx="31">
                  <c:v>9.1999999999999993</c:v>
                </c:pt>
                <c:pt idx="32">
                  <c:v>8.0399999999999991</c:v>
                </c:pt>
                <c:pt idx="33">
                  <c:v>8.39</c:v>
                </c:pt>
                <c:pt idx="34">
                  <c:v>8.92</c:v>
                </c:pt>
                <c:pt idx="35">
                  <c:v>9.7799999999999994</c:v>
                </c:pt>
                <c:pt idx="36">
                  <c:v>8.02</c:v>
                </c:pt>
                <c:pt idx="37">
                  <c:v>8.57</c:v>
                </c:pt>
                <c:pt idx="38">
                  <c:v>7.64</c:v>
                </c:pt>
                <c:pt idx="39">
                  <c:v>8.18</c:v>
                </c:pt>
                <c:pt idx="40">
                  <c:v>7.66</c:v>
                </c:pt>
                <c:pt idx="41">
                  <c:v>8.66</c:v>
                </c:pt>
                <c:pt idx="42">
                  <c:v>9.15</c:v>
                </c:pt>
                <c:pt idx="43">
                  <c:v>10.91</c:v>
                </c:pt>
                <c:pt idx="44">
                  <c:v>10.1</c:v>
                </c:pt>
              </c:numCache>
            </c:numRef>
          </c:val>
          <c:smooth val="0"/>
          <c:extLst>
            <c:ext xmlns:c16="http://schemas.microsoft.com/office/drawing/2014/chart" uri="{C3380CC4-5D6E-409C-BE32-E72D297353CC}">
              <c16:uniqueId val="{00000001-A978-5642-ABCB-E644CC6332BA}"/>
            </c:ext>
          </c:extLst>
        </c:ser>
        <c:dLbls>
          <c:showLegendKey val="0"/>
          <c:showVal val="0"/>
          <c:showCatName val="0"/>
          <c:showSerName val="0"/>
          <c:showPercent val="0"/>
          <c:showBubbleSize val="0"/>
        </c:dLbls>
        <c:smooth val="0"/>
        <c:axId val="1026893663"/>
        <c:axId val="1114218463"/>
      </c:lineChart>
      <c:catAx>
        <c:axId val="1026893663"/>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4218463"/>
        <c:crosses val="autoZero"/>
        <c:auto val="1"/>
        <c:lblAlgn val="ctr"/>
        <c:lblOffset val="100"/>
        <c:noMultiLvlLbl val="1"/>
      </c:catAx>
      <c:valAx>
        <c:axId val="1114218463"/>
        <c:scaling>
          <c:orientation val="minMax"/>
          <c:max val="15"/>
          <c:min val="0"/>
        </c:scaling>
        <c:delete val="0"/>
        <c:axPos val="l"/>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26893663"/>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148364574960128E-2"/>
          <c:y val="3.6249146791614784E-2"/>
          <c:w val="0.84904938130758822"/>
          <c:h val="0.84239961678002806"/>
        </c:manualLayout>
      </c:layout>
      <c:lineChart>
        <c:grouping val="standard"/>
        <c:varyColors val="0"/>
        <c:ser>
          <c:idx val="0"/>
          <c:order val="0"/>
          <c:tx>
            <c:strRef>
              <c:f>Sheet1!$B$1</c:f>
              <c:strCache>
                <c:ptCount val="1"/>
                <c:pt idx="0">
                  <c:v>PEP</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12.05</c:v>
                </c:pt>
                <c:pt idx="1">
                  <c:v>11.42</c:v>
                </c:pt>
                <c:pt idx="2">
                  <c:v>12.22</c:v>
                </c:pt>
                <c:pt idx="3">
                  <c:v>12.26</c:v>
                </c:pt>
                <c:pt idx="4">
                  <c:v>12.77</c:v>
                </c:pt>
                <c:pt idx="5">
                  <c:v>13.38</c:v>
                </c:pt>
                <c:pt idx="6">
                  <c:v>11.68</c:v>
                </c:pt>
                <c:pt idx="7">
                  <c:v>12.49</c:v>
                </c:pt>
                <c:pt idx="8">
                  <c:v>12.59</c:v>
                </c:pt>
                <c:pt idx="9">
                  <c:v>14.34</c:v>
                </c:pt>
                <c:pt idx="10">
                  <c:v>14.62</c:v>
                </c:pt>
                <c:pt idx="11">
                  <c:v>13.63</c:v>
                </c:pt>
                <c:pt idx="12">
                  <c:v>15.95</c:v>
                </c:pt>
                <c:pt idx="13">
                  <c:v>15.27</c:v>
                </c:pt>
                <c:pt idx="14">
                  <c:v>14.88</c:v>
                </c:pt>
                <c:pt idx="15">
                  <c:v>15.42</c:v>
                </c:pt>
                <c:pt idx="16">
                  <c:v>15.27</c:v>
                </c:pt>
                <c:pt idx="17">
                  <c:v>16.43</c:v>
                </c:pt>
                <c:pt idx="18">
                  <c:v>16.899999999999999</c:v>
                </c:pt>
                <c:pt idx="19">
                  <c:v>18.29</c:v>
                </c:pt>
                <c:pt idx="20">
                  <c:v>18.53</c:v>
                </c:pt>
                <c:pt idx="21">
                  <c:v>18.05</c:v>
                </c:pt>
                <c:pt idx="22">
                  <c:v>23.62</c:v>
                </c:pt>
                <c:pt idx="23">
                  <c:v>23.14</c:v>
                </c:pt>
                <c:pt idx="24">
                  <c:v>25.06</c:v>
                </c:pt>
                <c:pt idx="25">
                  <c:v>25.73</c:v>
                </c:pt>
                <c:pt idx="26">
                  <c:v>20.71</c:v>
                </c:pt>
                <c:pt idx="27">
                  <c:v>21</c:v>
                </c:pt>
                <c:pt idx="28">
                  <c:v>21.24</c:v>
                </c:pt>
                <c:pt idx="29">
                  <c:v>21.7</c:v>
                </c:pt>
                <c:pt idx="30">
                  <c:v>20.56</c:v>
                </c:pt>
                <c:pt idx="31">
                  <c:v>32</c:v>
                </c:pt>
                <c:pt idx="32">
                  <c:v>29.17</c:v>
                </c:pt>
                <c:pt idx="33">
                  <c:v>31.01</c:v>
                </c:pt>
                <c:pt idx="34">
                  <c:v>29.7</c:v>
                </c:pt>
                <c:pt idx="35">
                  <c:v>11.67</c:v>
                </c:pt>
                <c:pt idx="36">
                  <c:v>12.96</c:v>
                </c:pt>
                <c:pt idx="37">
                  <c:v>13.72</c:v>
                </c:pt>
                <c:pt idx="38">
                  <c:v>14.87</c:v>
                </c:pt>
                <c:pt idx="39">
                  <c:v>25.19</c:v>
                </c:pt>
                <c:pt idx="40">
                  <c:v>22.47</c:v>
                </c:pt>
                <c:pt idx="41">
                  <c:v>26.26</c:v>
                </c:pt>
                <c:pt idx="42">
                  <c:v>26.84</c:v>
                </c:pt>
                <c:pt idx="43">
                  <c:v>28.53</c:v>
                </c:pt>
                <c:pt idx="44">
                  <c:v>26.01</c:v>
                </c:pt>
              </c:numCache>
            </c:numRef>
          </c:val>
          <c:smooth val="0"/>
          <c:extLst>
            <c:ext xmlns:c16="http://schemas.microsoft.com/office/drawing/2014/chart" uri="{C3380CC4-5D6E-409C-BE32-E72D297353CC}">
              <c16:uniqueId val="{00000000-1FB4-5E44-B450-E19150C7F4E0}"/>
            </c:ext>
          </c:extLst>
        </c:ser>
        <c:ser>
          <c:idx val="1"/>
          <c:order val="1"/>
          <c:tx>
            <c:strRef>
              <c:f>Sheet1!$C$1</c:f>
              <c:strCache>
                <c:ptCount val="1"/>
                <c:pt idx="0">
                  <c:v>PE Median</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12.76</c:v>
                </c:pt>
                <c:pt idx="1">
                  <c:v>11.86</c:v>
                </c:pt>
                <c:pt idx="2">
                  <c:v>12.91</c:v>
                </c:pt>
                <c:pt idx="3">
                  <c:v>11.88</c:v>
                </c:pt>
                <c:pt idx="4">
                  <c:v>11.74</c:v>
                </c:pt>
                <c:pt idx="5">
                  <c:v>12.06</c:v>
                </c:pt>
                <c:pt idx="6">
                  <c:v>13.5</c:v>
                </c:pt>
                <c:pt idx="7">
                  <c:v>14.08</c:v>
                </c:pt>
                <c:pt idx="8">
                  <c:v>14.72</c:v>
                </c:pt>
                <c:pt idx="9">
                  <c:v>15.62</c:v>
                </c:pt>
                <c:pt idx="10">
                  <c:v>15.05</c:v>
                </c:pt>
                <c:pt idx="11">
                  <c:v>14.12</c:v>
                </c:pt>
                <c:pt idx="12">
                  <c:v>16.32</c:v>
                </c:pt>
                <c:pt idx="13">
                  <c:v>16.43</c:v>
                </c:pt>
                <c:pt idx="14">
                  <c:v>15.3</c:v>
                </c:pt>
                <c:pt idx="15">
                  <c:v>17.07</c:v>
                </c:pt>
                <c:pt idx="16">
                  <c:v>16.36</c:v>
                </c:pt>
                <c:pt idx="17">
                  <c:v>18.16</c:v>
                </c:pt>
                <c:pt idx="18">
                  <c:v>19.03</c:v>
                </c:pt>
                <c:pt idx="19">
                  <c:v>21.47</c:v>
                </c:pt>
                <c:pt idx="20">
                  <c:v>20.92</c:v>
                </c:pt>
                <c:pt idx="21">
                  <c:v>18.86</c:v>
                </c:pt>
                <c:pt idx="22">
                  <c:v>21.32</c:v>
                </c:pt>
                <c:pt idx="23">
                  <c:v>22</c:v>
                </c:pt>
                <c:pt idx="24">
                  <c:v>23.53</c:v>
                </c:pt>
                <c:pt idx="25">
                  <c:v>22.1</c:v>
                </c:pt>
                <c:pt idx="26">
                  <c:v>21.94</c:v>
                </c:pt>
                <c:pt idx="27">
                  <c:v>23.85</c:v>
                </c:pt>
                <c:pt idx="28">
                  <c:v>25.83</c:v>
                </c:pt>
                <c:pt idx="29">
                  <c:v>37.35</c:v>
                </c:pt>
                <c:pt idx="30">
                  <c:v>37.92</c:v>
                </c:pt>
                <c:pt idx="31">
                  <c:v>44.26</c:v>
                </c:pt>
                <c:pt idx="32">
                  <c:v>38.14</c:v>
                </c:pt>
                <c:pt idx="33">
                  <c:v>36.04</c:v>
                </c:pt>
                <c:pt idx="34">
                  <c:v>34.49</c:v>
                </c:pt>
                <c:pt idx="35">
                  <c:v>27.81</c:v>
                </c:pt>
                <c:pt idx="36">
                  <c:v>27.78</c:v>
                </c:pt>
                <c:pt idx="37">
                  <c:v>29.12</c:v>
                </c:pt>
                <c:pt idx="38">
                  <c:v>28.58</c:v>
                </c:pt>
                <c:pt idx="39">
                  <c:v>25.46</c:v>
                </c:pt>
                <c:pt idx="40">
                  <c:v>18.309999999999999</c:v>
                </c:pt>
                <c:pt idx="41">
                  <c:v>20.420000000000002</c:v>
                </c:pt>
                <c:pt idx="42">
                  <c:v>25.11</c:v>
                </c:pt>
                <c:pt idx="43">
                  <c:v>33.92</c:v>
                </c:pt>
                <c:pt idx="44">
                  <c:v>31.33</c:v>
                </c:pt>
              </c:numCache>
            </c:numRef>
          </c:val>
          <c:smooth val="0"/>
          <c:extLst>
            <c:ext xmlns:c16="http://schemas.microsoft.com/office/drawing/2014/chart" uri="{C3380CC4-5D6E-409C-BE32-E72D297353CC}">
              <c16:uniqueId val="{00000001-1FB4-5E44-B450-E19150C7F4E0}"/>
            </c:ext>
          </c:extLst>
        </c:ser>
        <c:dLbls>
          <c:showLegendKey val="0"/>
          <c:showVal val="0"/>
          <c:showCatName val="0"/>
          <c:showSerName val="0"/>
          <c:showPercent val="0"/>
          <c:showBubbleSize val="0"/>
        </c:dLbls>
        <c:smooth val="0"/>
        <c:axId val="1026893663"/>
        <c:axId val="1114218463"/>
      </c:lineChart>
      <c:catAx>
        <c:axId val="1026893663"/>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4218463"/>
        <c:crosses val="autoZero"/>
        <c:auto val="1"/>
        <c:lblAlgn val="ctr"/>
        <c:lblOffset val="100"/>
        <c:noMultiLvlLbl val="0"/>
      </c:catAx>
      <c:valAx>
        <c:axId val="1114218463"/>
        <c:scaling>
          <c:orientation val="minMax"/>
          <c:max val="45"/>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26893663"/>
        <c:crosses val="autoZero"/>
        <c:crossBetween val="between"/>
        <c:majorUnit val="1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26477981025568E-2"/>
          <c:y val="3.8911487917385287E-2"/>
          <c:w val="0.95403901905410082"/>
          <c:h val="0.83082455863877602"/>
        </c:manualLayout>
      </c:layout>
      <c:lineChart>
        <c:grouping val="standard"/>
        <c:varyColors val="0"/>
        <c:ser>
          <c:idx val="0"/>
          <c:order val="0"/>
          <c:tx>
            <c:strRef>
              <c:f>Sheet1!$B$1</c:f>
              <c:strCache>
                <c:ptCount val="1"/>
                <c:pt idx="0">
                  <c:v>PEP</c:v>
                </c:pt>
              </c:strCache>
            </c:strRef>
          </c:tx>
          <c:spPr>
            <a:ln w="22225" cap="rnd">
              <a:solidFill>
                <a:schemeClr val="accent4"/>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B$2:$B$140</c:f>
              <c:numCache>
                <c:formatCode>0.00%</c:formatCode>
                <c:ptCount val="139"/>
                <c:pt idx="0">
                  <c:v>1</c:v>
                </c:pt>
                <c:pt idx="1">
                  <c:v>1.0017133694861762</c:v>
                </c:pt>
                <c:pt idx="2">
                  <c:v>1.0715907950938566</c:v>
                </c:pt>
                <c:pt idx="3">
                  <c:v>1.0755328400862985</c:v>
                </c:pt>
                <c:pt idx="4">
                  <c:v>1.0617146705236662</c:v>
                </c:pt>
                <c:pt idx="5">
                  <c:v>1.028548552171525</c:v>
                </c:pt>
                <c:pt idx="6">
                  <c:v>1.0411402816600892</c:v>
                </c:pt>
                <c:pt idx="7">
                  <c:v>1.0662929060950197</c:v>
                </c:pt>
                <c:pt idx="8">
                  <c:v>1.0816946865558639</c:v>
                </c:pt>
                <c:pt idx="9">
                  <c:v>1.0784384948665053</c:v>
                </c:pt>
                <c:pt idx="10">
                  <c:v>1.0590571262751938</c:v>
                </c:pt>
                <c:pt idx="11">
                  <c:v>1.0687541734244597</c:v>
                </c:pt>
                <c:pt idx="12">
                  <c:v>1.0797666727550905</c:v>
                </c:pt>
                <c:pt idx="13">
                  <c:v>1.0444788718697546</c:v>
                </c:pt>
                <c:pt idx="14">
                  <c:v>1.0444421972484534</c:v>
                </c:pt>
                <c:pt idx="15">
                  <c:v>1.0928864724634559</c:v>
                </c:pt>
                <c:pt idx="16">
                  <c:v>1.1521234631518664</c:v>
                </c:pt>
                <c:pt idx="17">
                  <c:v>1.1306427334075022</c:v>
                </c:pt>
                <c:pt idx="18">
                  <c:v>1.1059408424506907</c:v>
                </c:pt>
                <c:pt idx="19">
                  <c:v>1.0366326153756344</c:v>
                </c:pt>
                <c:pt idx="20">
                  <c:v>1.0081343322888701</c:v>
                </c:pt>
                <c:pt idx="21">
                  <c:v>1.011530740455675</c:v>
                </c:pt>
                <c:pt idx="22">
                  <c:v>1.0332179108550497</c:v>
                </c:pt>
                <c:pt idx="23">
                  <c:v>1.0657097378162588</c:v>
                </c:pt>
                <c:pt idx="24">
                  <c:v>1.074998062120635</c:v>
                </c:pt>
                <c:pt idx="25">
                  <c:v>1.051572163193049</c:v>
                </c:pt>
                <c:pt idx="26">
                  <c:v>1.0529083843869183</c:v>
                </c:pt>
                <c:pt idx="27">
                  <c:v>1.0803310346704669</c:v>
                </c:pt>
                <c:pt idx="28">
                  <c:v>1.105227014003265</c:v>
                </c:pt>
                <c:pt idx="29">
                  <c:v>1.1231527121263756</c:v>
                </c:pt>
                <c:pt idx="30">
                  <c:v>1.1536814577687633</c:v>
                </c:pt>
                <c:pt idx="31">
                  <c:v>1.1885993363982166</c:v>
                </c:pt>
                <c:pt idx="32">
                  <c:v>1.1621076921325533</c:v>
                </c:pt>
                <c:pt idx="33">
                  <c:v>1.1462187008676119</c:v>
                </c:pt>
                <c:pt idx="34">
                  <c:v>1.1322669264951799</c:v>
                </c:pt>
                <c:pt idx="35">
                  <c:v>1.1409242599805884</c:v>
                </c:pt>
                <c:pt idx="36">
                  <c:v>1.1673839503539138</c:v>
                </c:pt>
                <c:pt idx="37">
                  <c:v>1.2074131342335193</c:v>
                </c:pt>
                <c:pt idx="38">
                  <c:v>1.2629859137905932</c:v>
                </c:pt>
                <c:pt idx="39">
                  <c:v>1.3211267777586504</c:v>
                </c:pt>
                <c:pt idx="40">
                  <c:v>1.3527960616795978</c:v>
                </c:pt>
                <c:pt idx="41">
                  <c:v>1.3332881267814125</c:v>
                </c:pt>
                <c:pt idx="42">
                  <c:v>1.3770071881243688</c:v>
                </c:pt>
                <c:pt idx="43">
                  <c:v>1.3379838679075184</c:v>
                </c:pt>
                <c:pt idx="44">
                  <c:v>1.3152851864120616</c:v>
                </c:pt>
                <c:pt idx="45">
                  <c:v>1.3378277098671554</c:v>
                </c:pt>
                <c:pt idx="46">
                  <c:v>1.3963269937337275</c:v>
                </c:pt>
                <c:pt idx="47">
                  <c:v>1.3448776066265862</c:v>
                </c:pt>
                <c:pt idx="48">
                  <c:v>1.3461395642715248</c:v>
                </c:pt>
                <c:pt idx="49">
                  <c:v>1.2957509899052855</c:v>
                </c:pt>
                <c:pt idx="50">
                  <c:v>1.3393857007245622</c:v>
                </c:pt>
                <c:pt idx="51">
                  <c:v>1.3809216404372973</c:v>
                </c:pt>
                <c:pt idx="52">
                  <c:v>1.4140288542783079</c:v>
                </c:pt>
                <c:pt idx="53">
                  <c:v>1.4430541488646242</c:v>
                </c:pt>
                <c:pt idx="54">
                  <c:v>1.4734947167724788</c:v>
                </c:pt>
                <c:pt idx="55">
                  <c:v>1.4949351094234902</c:v>
                </c:pt>
                <c:pt idx="56">
                  <c:v>1.5129999573342028</c:v>
                </c:pt>
                <c:pt idx="57">
                  <c:v>1.5326617688718438</c:v>
                </c:pt>
                <c:pt idx="58">
                  <c:v>1.6005252024597256</c:v>
                </c:pt>
                <c:pt idx="59">
                  <c:v>1.578355023135545</c:v>
                </c:pt>
                <c:pt idx="60">
                  <c:v>1.576920653827953</c:v>
                </c:pt>
                <c:pt idx="61">
                  <c:v>1.6076972632087612</c:v>
                </c:pt>
                <c:pt idx="62">
                  <c:v>1.5664650953638128</c:v>
                </c:pt>
                <c:pt idx="63">
                  <c:v>1.5679812953198633</c:v>
                </c:pt>
                <c:pt idx="64">
                  <c:v>1.580347831260849</c:v>
                </c:pt>
                <c:pt idx="65">
                  <c:v>1.5433321985950224</c:v>
                </c:pt>
                <c:pt idx="66">
                  <c:v>1.5733135223729988</c:v>
                </c:pt>
                <c:pt idx="67">
                  <c:v>1.5842233188968575</c:v>
                </c:pt>
                <c:pt idx="68">
                  <c:v>1.510374760436678</c:v>
                </c:pt>
                <c:pt idx="69">
                  <c:v>1.6283016014489795</c:v>
                </c:pt>
                <c:pt idx="70">
                  <c:v>1.635387223029555</c:v>
                </c:pt>
                <c:pt idx="71">
                  <c:v>1.6334025874941138</c:v>
                </c:pt>
                <c:pt idx="72">
                  <c:v>1.5830126019216706</c:v>
                </c:pt>
                <c:pt idx="73">
                  <c:v>1.6136135830369955</c:v>
                </c:pt>
                <c:pt idx="74">
                  <c:v>1.6470176382810533</c:v>
                </c:pt>
                <c:pt idx="75">
                  <c:v>1.6911713370976105</c:v>
                </c:pt>
                <c:pt idx="76">
                  <c:v>1.6861312310165437</c:v>
                </c:pt>
                <c:pt idx="77">
                  <c:v>1.6870373611477452</c:v>
                </c:pt>
                <c:pt idx="78">
                  <c:v>1.7734151119372417</c:v>
                </c:pt>
                <c:pt idx="79">
                  <c:v>1.7695665099210636</c:v>
                </c:pt>
                <c:pt idx="80">
                  <c:v>1.7452023031188237</c:v>
                </c:pt>
                <c:pt idx="81">
                  <c:v>1.7437222273181099</c:v>
                </c:pt>
                <c:pt idx="82">
                  <c:v>1.6961724607902788</c:v>
                </c:pt>
                <c:pt idx="83">
                  <c:v>1.6991638001720091</c:v>
                </c:pt>
                <c:pt idx="84">
                  <c:v>1.6917925764770281</c:v>
                </c:pt>
                <c:pt idx="85">
                  <c:v>1.7515347182322019</c:v>
                </c:pt>
                <c:pt idx="86">
                  <c:v>1.8131593228772893</c:v>
                </c:pt>
                <c:pt idx="87">
                  <c:v>1.8468982736395108</c:v>
                </c:pt>
                <c:pt idx="88">
                  <c:v>1.8683232942122237</c:v>
                </c:pt>
                <c:pt idx="89">
                  <c:v>1.9104399197641633</c:v>
                </c:pt>
                <c:pt idx="90">
                  <c:v>1.890151942364362</c:v>
                </c:pt>
                <c:pt idx="91">
                  <c:v>1.911205805458829</c:v>
                </c:pt>
                <c:pt idx="92">
                  <c:v>1.8648284302045111</c:v>
                </c:pt>
                <c:pt idx="93">
                  <c:v>1.8154767291808855</c:v>
                </c:pt>
                <c:pt idx="94">
                  <c:v>1.8610853820041555</c:v>
                </c:pt>
                <c:pt idx="95">
                  <c:v>1.9335029389116898</c:v>
                </c:pt>
                <c:pt idx="96">
                  <c:v>1.9500931655335698</c:v>
                </c:pt>
                <c:pt idx="97">
                  <c:v>1.829618147162849</c:v>
                </c:pt>
                <c:pt idx="98">
                  <c:v>1.7987659050306777</c:v>
                </c:pt>
                <c:pt idx="99">
                  <c:v>1.7412216755986898</c:v>
                </c:pt>
                <c:pt idx="100">
                  <c:v>1.6128053053631901</c:v>
                </c:pt>
                <c:pt idx="101">
                  <c:v>1.7187554868580444</c:v>
                </c:pt>
                <c:pt idx="102">
                  <c:v>1.8478502745611844</c:v>
                </c:pt>
                <c:pt idx="103">
                  <c:v>1.856033768429169</c:v>
                </c:pt>
                <c:pt idx="104">
                  <c:v>1.8533212784709387</c:v>
                </c:pt>
                <c:pt idx="105">
                  <c:v>1.7841258875727171</c:v>
                </c:pt>
                <c:pt idx="106">
                  <c:v>1.9038988600090911</c:v>
                </c:pt>
                <c:pt idx="107">
                  <c:v>1.852184759470396</c:v>
                </c:pt>
                <c:pt idx="108">
                  <c:v>1.7890908083932253</c:v>
                </c:pt>
                <c:pt idx="109">
                  <c:v>1.8721253543133569</c:v>
                </c:pt>
                <c:pt idx="110">
                  <c:v>1.9321061982683638</c:v>
                </c:pt>
                <c:pt idx="111">
                  <c:v>2.0303139095908613</c:v>
                </c:pt>
                <c:pt idx="112">
                  <c:v>2.0974737716229885</c:v>
                </c:pt>
                <c:pt idx="113">
                  <c:v>2.1668375780696323</c:v>
                </c:pt>
                <c:pt idx="114">
                  <c:v>2.1575925868212456</c:v>
                </c:pt>
                <c:pt idx="115">
                  <c:v>2.1400216725377428</c:v>
                </c:pt>
                <c:pt idx="116">
                  <c:v>2.2271690444160193</c:v>
                </c:pt>
                <c:pt idx="117">
                  <c:v>2.2428497196153501</c:v>
                </c:pt>
                <c:pt idx="118">
                  <c:v>2.1948766678124239</c:v>
                </c:pt>
                <c:pt idx="119">
                  <c:v>2.2382194554829593</c:v>
                </c:pt>
                <c:pt idx="120">
                  <c:v>2.2770366887078084</c:v>
                </c:pt>
                <c:pt idx="121">
                  <c:v>2.3481596331405079</c:v>
                </c:pt>
                <c:pt idx="122">
                  <c:v>2.0289226837605896</c:v>
                </c:pt>
                <c:pt idx="123">
                  <c:v>2.1586842310824839</c:v>
                </c:pt>
                <c:pt idx="124">
                  <c:v>2.1611692153196302</c:v>
                </c:pt>
                <c:pt idx="125">
                  <c:v>2.1498667440862564</c:v>
                </c:pt>
                <c:pt idx="126">
                  <c:v>2.2093014807655078</c:v>
                </c:pt>
                <c:pt idx="127">
                  <c:v>2.2474349499014248</c:v>
                </c:pt>
                <c:pt idx="128">
                  <c:v>2.2193755923469505</c:v>
                </c:pt>
                <c:pt idx="129">
                  <c:v>2.2708553689254858</c:v>
                </c:pt>
                <c:pt idx="130">
                  <c:v>2.3231710323827746</c:v>
                </c:pt>
                <c:pt idx="131">
                  <c:v>2.3813818079539124</c:v>
                </c:pt>
                <c:pt idx="132">
                  <c:v>2.3119203996112416</c:v>
                </c:pt>
                <c:pt idx="133">
                  <c:v>2.215618398300649</c:v>
                </c:pt>
                <c:pt idx="134">
                  <c:v>2.2132828524152521</c:v>
                </c:pt>
                <c:pt idx="135">
                  <c:v>2.3500673570553845</c:v>
                </c:pt>
                <c:pt idx="136">
                  <c:v>2.3922053992395433</c:v>
                </c:pt>
                <c:pt idx="137">
                  <c:v>2.4073403597474576</c:v>
                </c:pt>
                <c:pt idx="138">
                  <c:v>2.5145440123559615</c:v>
                </c:pt>
              </c:numCache>
            </c:numRef>
          </c:val>
          <c:smooth val="0"/>
          <c:extLst>
            <c:ext xmlns:c16="http://schemas.microsoft.com/office/drawing/2014/chart" uri="{C3380CC4-5D6E-409C-BE32-E72D297353CC}">
              <c16:uniqueId val="{00000000-34D1-2C44-BE5D-DF1DE1557164}"/>
            </c:ext>
          </c:extLst>
        </c:ser>
        <c:ser>
          <c:idx val="1"/>
          <c:order val="1"/>
          <c:tx>
            <c:strRef>
              <c:f>Sheet1!$C$1</c:f>
              <c:strCache>
                <c:ptCount val="1"/>
                <c:pt idx="0">
                  <c:v>S&amp;P 500</c:v>
                </c:pt>
              </c:strCache>
            </c:strRef>
          </c:tx>
          <c:spPr>
            <a:ln w="22225" cap="rnd">
              <a:solidFill>
                <a:schemeClr val="accent2"/>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C$2:$C$140</c:f>
              <c:numCache>
                <c:formatCode>0.00%</c:formatCode>
                <c:ptCount val="139"/>
                <c:pt idx="0">
                  <c:v>1</c:v>
                </c:pt>
                <c:pt idx="1">
                  <c:v>0.96936440323307627</c:v>
                </c:pt>
                <c:pt idx="2">
                  <c:v>1.025336040767824</c:v>
                </c:pt>
                <c:pt idx="3">
                  <c:v>1.0656246106524689</c:v>
                </c:pt>
                <c:pt idx="4">
                  <c:v>1.0013175938030905</c:v>
                </c:pt>
                <c:pt idx="5">
                  <c:v>0.96420314575466626</c:v>
                </c:pt>
                <c:pt idx="6">
                  <c:v>0.96103687876578991</c:v>
                </c:pt>
                <c:pt idx="7">
                  <c:v>0.96769321332181479</c:v>
                </c:pt>
                <c:pt idx="8">
                  <c:v>0.99866526996124017</c:v>
                </c:pt>
                <c:pt idx="9">
                  <c:v>1.0427225128755102</c:v>
                </c:pt>
                <c:pt idx="10">
                  <c:v>1.0670240428045048</c:v>
                </c:pt>
                <c:pt idx="11">
                  <c:v>1.1049713453527257</c:v>
                </c:pt>
                <c:pt idx="12">
                  <c:v>1.1415446114983521</c:v>
                </c:pt>
                <c:pt idx="13">
                  <c:v>1.1758094913932164</c:v>
                </c:pt>
                <c:pt idx="14">
                  <c:v>1.161007385168874</c:v>
                </c:pt>
                <c:pt idx="15">
                  <c:v>1.1850541455707875</c:v>
                </c:pt>
                <c:pt idx="16">
                  <c:v>1.1911110752021923</c:v>
                </c:pt>
                <c:pt idx="17">
                  <c:v>1.1457010884693215</c:v>
                </c:pt>
                <c:pt idx="18">
                  <c:v>1.1794288240057915</c:v>
                </c:pt>
                <c:pt idx="19">
                  <c:v>1.0549351049548359</c:v>
                </c:pt>
                <c:pt idx="20">
                  <c:v>1.044765308402354</c:v>
                </c:pt>
                <c:pt idx="21">
                  <c:v>1.074435720988751</c:v>
                </c:pt>
                <c:pt idx="22">
                  <c:v>1.0915226734317915</c:v>
                </c:pt>
                <c:pt idx="23">
                  <c:v>1.1065710470507213</c:v>
                </c:pt>
                <c:pt idx="24">
                  <c:v>1.1575287782442021</c:v>
                </c:pt>
                <c:pt idx="25">
                  <c:v>1.2037287922515048</c:v>
                </c:pt>
                <c:pt idx="26">
                  <c:v>1.2364389238266</c:v>
                </c:pt>
                <c:pt idx="27">
                  <c:v>1.2339370887038839</c:v>
                </c:pt>
                <c:pt idx="28">
                  <c:v>1.1937475109599425</c:v>
                </c:pt>
                <c:pt idx="29">
                  <c:v>1.1779156187241755</c:v>
                </c:pt>
                <c:pt idx="30">
                  <c:v>1.2102158145402528</c:v>
                </c:pt>
                <c:pt idx="31">
                  <c:v>1.2490844289815279</c:v>
                </c:pt>
                <c:pt idx="32">
                  <c:v>1.2846592503587448</c:v>
                </c:pt>
                <c:pt idx="33">
                  <c:v>1.2796726875265243</c:v>
                </c:pt>
                <c:pt idx="34">
                  <c:v>1.2411314054066118</c:v>
                </c:pt>
                <c:pt idx="35">
                  <c:v>1.2658497748344721</c:v>
                </c:pt>
                <c:pt idx="36">
                  <c:v>1.317568092032851</c:v>
                </c:pt>
                <c:pt idx="37">
                  <c:v>1.3459739874011547</c:v>
                </c:pt>
                <c:pt idx="38">
                  <c:v>1.380254902086046</c:v>
                </c:pt>
                <c:pt idx="39">
                  <c:v>1.3979423396974671</c:v>
                </c:pt>
                <c:pt idx="40">
                  <c:v>1.4594781105894059</c:v>
                </c:pt>
                <c:pt idx="41">
                  <c:v>1.4407253933912416</c:v>
                </c:pt>
                <c:pt idx="42">
                  <c:v>1.4851395486715002</c:v>
                </c:pt>
                <c:pt idx="43">
                  <c:v>1.4864017590366685</c:v>
                </c:pt>
                <c:pt idx="44">
                  <c:v>1.501603027895974</c:v>
                </c:pt>
                <c:pt idx="45">
                  <c:v>1.5308425842298372</c:v>
                </c:pt>
                <c:pt idx="46">
                  <c:v>1.5873711645791322</c:v>
                </c:pt>
                <c:pt idx="47">
                  <c:v>1.6089398967229778</c:v>
                </c:pt>
                <c:pt idx="48">
                  <c:v>1.621917527409199</c:v>
                </c:pt>
                <c:pt idx="49">
                  <c:v>1.6171809584010013</c:v>
                </c:pt>
                <c:pt idx="50">
                  <c:v>1.6585563251734596</c:v>
                </c:pt>
                <c:pt idx="51">
                  <c:v>1.659214929817622</c:v>
                </c:pt>
                <c:pt idx="52">
                  <c:v>1.6819135995959738</c:v>
                </c:pt>
                <c:pt idx="53">
                  <c:v>1.732929449603122</c:v>
                </c:pt>
                <c:pt idx="54">
                  <c:v>1.7560807503585323</c:v>
                </c:pt>
                <c:pt idx="55">
                  <c:v>1.7457850318054253</c:v>
                </c:pt>
                <c:pt idx="56">
                  <c:v>1.7739932937134957</c:v>
                </c:pt>
                <c:pt idx="57">
                  <c:v>1.7241955389635808</c:v>
                </c:pt>
                <c:pt idx="58">
                  <c:v>1.8196917240907007</c:v>
                </c:pt>
                <c:pt idx="59">
                  <c:v>1.8283197205461537</c:v>
                </c:pt>
                <c:pt idx="60">
                  <c:v>1.8051012432358098</c:v>
                </c:pt>
                <c:pt idx="61">
                  <c:v>1.8531772225051304</c:v>
                </c:pt>
                <c:pt idx="62">
                  <c:v>1.8512144325569524</c:v>
                </c:pt>
                <c:pt idx="63">
                  <c:v>1.8644510324513566</c:v>
                </c:pt>
                <c:pt idx="64">
                  <c:v>1.8796530246863903</c:v>
                </c:pt>
                <c:pt idx="65">
                  <c:v>1.8683856096545521</c:v>
                </c:pt>
                <c:pt idx="66">
                  <c:v>1.8638109252107959</c:v>
                </c:pt>
                <c:pt idx="67">
                  <c:v>1.8155034212249292</c:v>
                </c:pt>
                <c:pt idx="68">
                  <c:v>1.7305395679564288</c:v>
                </c:pt>
                <c:pt idx="69">
                  <c:v>1.8021056502214547</c:v>
                </c:pt>
                <c:pt idx="70">
                  <c:v>1.8517716366163057</c:v>
                </c:pt>
                <c:pt idx="71">
                  <c:v>1.8281534655958342</c:v>
                </c:pt>
                <c:pt idx="72">
                  <c:v>1.7075732810136786</c:v>
                </c:pt>
                <c:pt idx="73">
                  <c:v>1.6949534640300719</c:v>
                </c:pt>
                <c:pt idx="74">
                  <c:v>1.7995614416736234</c:v>
                </c:pt>
                <c:pt idx="75">
                  <c:v>1.8472492483695451</c:v>
                </c:pt>
                <c:pt idx="76">
                  <c:v>1.8383627082846883</c:v>
                </c:pt>
                <c:pt idx="77">
                  <c:v>1.8546863021899473</c:v>
                </c:pt>
                <c:pt idx="78">
                  <c:v>1.9125464613189647</c:v>
                </c:pt>
                <c:pt idx="79">
                  <c:v>1.937983145231857</c:v>
                </c:pt>
                <c:pt idx="80">
                  <c:v>1.9203687566637258</c:v>
                </c:pt>
                <c:pt idx="81">
                  <c:v>1.9073122711698158</c:v>
                </c:pt>
                <c:pt idx="82">
                  <c:v>1.9268611416927404</c:v>
                </c:pt>
                <c:pt idx="83">
                  <c:v>1.999524629865199</c:v>
                </c:pt>
                <c:pt idx="84">
                  <c:v>2.0248783145969158</c:v>
                </c:pt>
                <c:pt idx="85">
                  <c:v>2.0736460799716423</c:v>
                </c:pt>
                <c:pt idx="86">
                  <c:v>2.1064978363035003</c:v>
                </c:pt>
                <c:pt idx="87">
                  <c:v>2.0998114365625367</c:v>
                </c:pt>
                <c:pt idx="88">
                  <c:v>2.1318842532576028</c:v>
                </c:pt>
                <c:pt idx="89">
                  <c:v>2.1662738974202087</c:v>
                </c:pt>
                <c:pt idx="90">
                  <c:v>2.1841782947315376</c:v>
                </c:pt>
                <c:pt idx="91">
                  <c:v>2.1860656233888029</c:v>
                </c:pt>
                <c:pt idx="92">
                  <c:v>2.2186560203729684</c:v>
                </c:pt>
                <c:pt idx="93">
                  <c:v>2.2757557726836626</c:v>
                </c:pt>
                <c:pt idx="94">
                  <c:v>2.3083377113660104</c:v>
                </c:pt>
                <c:pt idx="95">
                  <c:v>2.3712924556223749</c:v>
                </c:pt>
                <c:pt idx="96">
                  <c:v>2.4829561660227952</c:v>
                </c:pt>
                <c:pt idx="97">
                  <c:v>2.4076180069768403</c:v>
                </c:pt>
                <c:pt idx="98">
                  <c:v>2.4054985110422646</c:v>
                </c:pt>
                <c:pt idx="99">
                  <c:v>2.3617557044051343</c:v>
                </c:pt>
                <c:pt idx="100">
                  <c:v>2.4043591170960514</c:v>
                </c:pt>
                <c:pt idx="101">
                  <c:v>2.4514044493089386</c:v>
                </c:pt>
                <c:pt idx="102">
                  <c:v>2.4863734002000384</c:v>
                </c:pt>
                <c:pt idx="103">
                  <c:v>2.5434917023140895</c:v>
                </c:pt>
                <c:pt idx="104">
                  <c:v>2.5823674596334891</c:v>
                </c:pt>
                <c:pt idx="105">
                  <c:v>2.479094376503177</c:v>
                </c:pt>
                <c:pt idx="106">
                  <c:v>2.4237060016116154</c:v>
                </c:pt>
                <c:pt idx="107">
                  <c:v>2.2849318894984885</c:v>
                </c:pt>
                <c:pt idx="108">
                  <c:v>2.3206058557318028</c:v>
                </c:pt>
                <c:pt idx="109">
                  <c:v>2.4518595283767182</c:v>
                </c:pt>
                <c:pt idx="110">
                  <c:v>2.4955765027983841</c:v>
                </c:pt>
                <c:pt idx="111">
                  <c:v>2.584414008794119</c:v>
                </c:pt>
                <c:pt idx="112">
                  <c:v>2.5407197462635946</c:v>
                </c:pt>
                <c:pt idx="113">
                  <c:v>2.572279598420129</c:v>
                </c:pt>
                <c:pt idx="114">
                  <c:v>2.6665741819782172</c:v>
                </c:pt>
                <c:pt idx="115">
                  <c:v>2.5787628583951112</c:v>
                </c:pt>
                <c:pt idx="116">
                  <c:v>2.6541517368754919</c:v>
                </c:pt>
                <c:pt idx="117">
                  <c:v>2.6501637680422956</c:v>
                </c:pt>
                <c:pt idx="118">
                  <c:v>2.7633992436250723</c:v>
                </c:pt>
                <c:pt idx="119">
                  <c:v>2.8273421034471924</c:v>
                </c:pt>
                <c:pt idx="120">
                  <c:v>2.9176367002390249</c:v>
                </c:pt>
                <c:pt idx="121">
                  <c:v>2.9168457702182744</c:v>
                </c:pt>
                <c:pt idx="122">
                  <c:v>2.3606595873608169</c:v>
                </c:pt>
                <c:pt idx="123">
                  <c:v>2.4581884139451744</c:v>
                </c:pt>
                <c:pt idx="124">
                  <c:v>2.5984837523835322</c:v>
                </c:pt>
                <c:pt idx="125">
                  <c:v>2.7631824732871468</c:v>
                </c:pt>
                <c:pt idx="126">
                  <c:v>2.8548163740548564</c:v>
                </c:pt>
                <c:pt idx="127">
                  <c:v>3.0186593258369037</c:v>
                </c:pt>
                <c:pt idx="128">
                  <c:v>2.9953469574718432</c:v>
                </c:pt>
                <c:pt idx="129">
                  <c:v>3.0426807026847196</c:v>
                </c:pt>
                <c:pt idx="130">
                  <c:v>3.1586424510994577</c:v>
                </c:pt>
                <c:pt idx="131">
                  <c:v>3.2888666700180011</c:v>
                </c:pt>
                <c:pt idx="132">
                  <c:v>3.3764779478830866</c:v>
                </c:pt>
                <c:pt idx="133">
                  <c:v>3.456297415574443</c:v>
                </c:pt>
                <c:pt idx="134">
                  <c:v>3.480395499814394</c:v>
                </c:pt>
                <c:pt idx="135">
                  <c:v>3.6856924928622803</c:v>
                </c:pt>
                <c:pt idx="136">
                  <c:v>3.7094320564410652</c:v>
                </c:pt>
                <c:pt idx="137">
                  <c:v>3.7723024446142479</c:v>
                </c:pt>
                <c:pt idx="138">
                  <c:v>3.8837525194210016</c:v>
                </c:pt>
              </c:numCache>
            </c:numRef>
          </c:val>
          <c:smooth val="0"/>
          <c:extLst>
            <c:ext xmlns:c16="http://schemas.microsoft.com/office/drawing/2014/chart" uri="{C3380CC4-5D6E-409C-BE32-E72D297353CC}">
              <c16:uniqueId val="{00000001-34D1-2C44-BE5D-DF1DE1557164}"/>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Algn val="ctr"/>
        <c:lblOffset val="100"/>
        <c:noMultiLvlLbl val="0"/>
      </c:catAx>
      <c:valAx>
        <c:axId val="1473788384"/>
        <c:scaling>
          <c:orientation val="minMax"/>
          <c:max val="4"/>
          <c:min val="0.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0.60000000000000009"/>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59248616432522E-2"/>
          <c:y val="3.4909703755316636E-2"/>
          <c:w val="0.92264075138356749"/>
          <c:h val="0.82973718082790593"/>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B$2:$B$2111</c:f>
              <c:numCache>
                <c:formatCode>General</c:formatCode>
                <c:ptCount val="2110"/>
                <c:pt idx="0">
                  <c:v>45.915756000000002</c:v>
                </c:pt>
                <c:pt idx="1">
                  <c:v>45.102238</c:v>
                </c:pt>
                <c:pt idx="2">
                  <c:v>46.041663999999997</c:v>
                </c:pt>
                <c:pt idx="3">
                  <c:v>45.489623999999999</c:v>
                </c:pt>
                <c:pt idx="4">
                  <c:v>45.431519999999999</c:v>
                </c:pt>
                <c:pt idx="5">
                  <c:v>45.334679999999999</c:v>
                </c:pt>
                <c:pt idx="6">
                  <c:v>44.860109999999999</c:v>
                </c:pt>
                <c:pt idx="7">
                  <c:v>44.647039999999997</c:v>
                </c:pt>
                <c:pt idx="8">
                  <c:v>44.821370000000002</c:v>
                </c:pt>
                <c:pt idx="9">
                  <c:v>44.860109999999999</c:v>
                </c:pt>
                <c:pt idx="10">
                  <c:v>44.898845999999999</c:v>
                </c:pt>
                <c:pt idx="11">
                  <c:v>45.605846</c:v>
                </c:pt>
                <c:pt idx="12">
                  <c:v>44.279020000000003</c:v>
                </c:pt>
                <c:pt idx="13">
                  <c:v>45.344344999999997</c:v>
                </c:pt>
                <c:pt idx="14">
                  <c:v>43.881943</c:v>
                </c:pt>
                <c:pt idx="15">
                  <c:v>43.426754000000003</c:v>
                </c:pt>
                <c:pt idx="16">
                  <c:v>43.475185000000003</c:v>
                </c:pt>
                <c:pt idx="17">
                  <c:v>41.964348000000001</c:v>
                </c:pt>
                <c:pt idx="18">
                  <c:v>42.516387999999999</c:v>
                </c:pt>
                <c:pt idx="19">
                  <c:v>41.034602999999997</c:v>
                </c:pt>
                <c:pt idx="20">
                  <c:v>39.911163000000002</c:v>
                </c:pt>
                <c:pt idx="21">
                  <c:v>40.76343</c:v>
                </c:pt>
                <c:pt idx="22">
                  <c:v>40.802177</c:v>
                </c:pt>
                <c:pt idx="23">
                  <c:v>40.405098000000002</c:v>
                </c:pt>
                <c:pt idx="24">
                  <c:v>40.385719999999999</c:v>
                </c:pt>
                <c:pt idx="25">
                  <c:v>39.146070000000002</c:v>
                </c:pt>
                <c:pt idx="26">
                  <c:v>39.078270000000003</c:v>
                </c:pt>
                <c:pt idx="27">
                  <c:v>40.104866000000001</c:v>
                </c:pt>
                <c:pt idx="28">
                  <c:v>40.414783</c:v>
                </c:pt>
                <c:pt idx="29">
                  <c:v>40.424458000000001</c:v>
                </c:pt>
                <c:pt idx="30">
                  <c:v>41.257359999999998</c:v>
                </c:pt>
                <c:pt idx="31">
                  <c:v>40.637529999999998</c:v>
                </c:pt>
                <c:pt idx="32">
                  <c:v>41.199244999999998</c:v>
                </c:pt>
                <c:pt idx="33">
                  <c:v>40.966810000000002</c:v>
                </c:pt>
                <c:pt idx="34">
                  <c:v>41.112087000000002</c:v>
                </c:pt>
                <c:pt idx="35">
                  <c:v>39.610930000000003</c:v>
                </c:pt>
                <c:pt idx="36">
                  <c:v>40.008006999999999</c:v>
                </c:pt>
                <c:pt idx="37">
                  <c:v>40.405098000000002</c:v>
                </c:pt>
                <c:pt idx="38">
                  <c:v>40.492260000000002</c:v>
                </c:pt>
                <c:pt idx="39">
                  <c:v>40.986190000000001</c:v>
                </c:pt>
                <c:pt idx="40">
                  <c:v>42.545439999999999</c:v>
                </c:pt>
                <c:pt idx="41">
                  <c:v>42.574492999999997</c:v>
                </c:pt>
                <c:pt idx="42">
                  <c:v>41.983710000000002</c:v>
                </c:pt>
                <c:pt idx="43">
                  <c:v>42.835982999999999</c:v>
                </c:pt>
                <c:pt idx="44">
                  <c:v>42.429220000000001</c:v>
                </c:pt>
                <c:pt idx="45">
                  <c:v>43.000630000000001</c:v>
                </c:pt>
                <c:pt idx="46">
                  <c:v>43.794784999999997</c:v>
                </c:pt>
                <c:pt idx="47">
                  <c:v>43.726999999999997</c:v>
                </c:pt>
                <c:pt idx="48">
                  <c:v>44.976322000000003</c:v>
                </c:pt>
                <c:pt idx="49">
                  <c:v>45.140970000000003</c:v>
                </c:pt>
                <c:pt idx="50">
                  <c:v>44.937595000000002</c:v>
                </c:pt>
                <c:pt idx="51">
                  <c:v>42.593857</c:v>
                </c:pt>
                <c:pt idx="52">
                  <c:v>41.276730000000001</c:v>
                </c:pt>
                <c:pt idx="53">
                  <c:v>40.753746</c:v>
                </c:pt>
                <c:pt idx="54">
                  <c:v>42.48733</c:v>
                </c:pt>
                <c:pt idx="55">
                  <c:v>42.53575</c:v>
                </c:pt>
                <c:pt idx="56">
                  <c:v>42.526069999999997</c:v>
                </c:pt>
                <c:pt idx="57">
                  <c:v>43.107162000000002</c:v>
                </c:pt>
                <c:pt idx="58">
                  <c:v>43.523609999999998</c:v>
                </c:pt>
                <c:pt idx="59">
                  <c:v>45.596159999999998</c:v>
                </c:pt>
                <c:pt idx="60">
                  <c:v>45.809223000000003</c:v>
                </c:pt>
                <c:pt idx="61">
                  <c:v>45.073177000000001</c:v>
                </c:pt>
                <c:pt idx="62">
                  <c:v>44.481133</c:v>
                </c:pt>
                <c:pt idx="63">
                  <c:v>45.306114000000001</c:v>
                </c:pt>
                <c:pt idx="64">
                  <c:v>45.558459999999997</c:v>
                </c:pt>
                <c:pt idx="65">
                  <c:v>43.597909999999999</c:v>
                </c:pt>
                <c:pt idx="66">
                  <c:v>43.335859999999997</c:v>
                </c:pt>
                <c:pt idx="67">
                  <c:v>43.889088000000001</c:v>
                </c:pt>
                <c:pt idx="68">
                  <c:v>44.849944999999998</c:v>
                </c:pt>
                <c:pt idx="69">
                  <c:v>45.286704999999998</c:v>
                </c:pt>
                <c:pt idx="70">
                  <c:v>45.393459999999997</c:v>
                </c:pt>
                <c:pt idx="71">
                  <c:v>46.606678000000002</c:v>
                </c:pt>
                <c:pt idx="72">
                  <c:v>47.305492000000001</c:v>
                </c:pt>
                <c:pt idx="73">
                  <c:v>46.548439999999999</c:v>
                </c:pt>
                <c:pt idx="74">
                  <c:v>46.985199999999999</c:v>
                </c:pt>
                <c:pt idx="75">
                  <c:v>47.606354000000003</c:v>
                </c:pt>
                <c:pt idx="76">
                  <c:v>48.062527000000003</c:v>
                </c:pt>
                <c:pt idx="77">
                  <c:v>48.276049999999998</c:v>
                </c:pt>
                <c:pt idx="78">
                  <c:v>48.276049999999998</c:v>
                </c:pt>
                <c:pt idx="79">
                  <c:v>49.363083000000003</c:v>
                </c:pt>
                <c:pt idx="80">
                  <c:v>49.916313000000002</c:v>
                </c:pt>
                <c:pt idx="81">
                  <c:v>48.790455000000001</c:v>
                </c:pt>
                <c:pt idx="82">
                  <c:v>48.023705</c:v>
                </c:pt>
                <c:pt idx="83">
                  <c:v>47.994587000000003</c:v>
                </c:pt>
                <c:pt idx="84">
                  <c:v>47.936349999999997</c:v>
                </c:pt>
                <c:pt idx="85">
                  <c:v>47.664589999999997</c:v>
                </c:pt>
                <c:pt idx="86">
                  <c:v>47.354014999999997</c:v>
                </c:pt>
                <c:pt idx="87">
                  <c:v>48.198405999999999</c:v>
                </c:pt>
                <c:pt idx="88">
                  <c:v>46.616382999999999</c:v>
                </c:pt>
                <c:pt idx="89">
                  <c:v>47.004604</c:v>
                </c:pt>
                <c:pt idx="90">
                  <c:v>47.528717</c:v>
                </c:pt>
                <c:pt idx="91">
                  <c:v>47.198723000000001</c:v>
                </c:pt>
                <c:pt idx="92">
                  <c:v>47.344307000000001</c:v>
                </c:pt>
                <c:pt idx="93">
                  <c:v>47.072544000000001</c:v>
                </c:pt>
                <c:pt idx="94">
                  <c:v>47.800471999999999</c:v>
                </c:pt>
                <c:pt idx="95">
                  <c:v>48.159576000000001</c:v>
                </c:pt>
                <c:pt idx="96">
                  <c:v>48.838977999999997</c:v>
                </c:pt>
                <c:pt idx="97">
                  <c:v>48.906917999999997</c:v>
                </c:pt>
                <c:pt idx="98">
                  <c:v>49.751305000000002</c:v>
                </c:pt>
                <c:pt idx="99">
                  <c:v>50.518059999999998</c:v>
                </c:pt>
                <c:pt idx="100">
                  <c:v>51.46922</c:v>
                </c:pt>
                <c:pt idx="101">
                  <c:v>51.110115</c:v>
                </c:pt>
                <c:pt idx="102">
                  <c:v>50.091006999999998</c:v>
                </c:pt>
                <c:pt idx="103">
                  <c:v>52.216560000000001</c:v>
                </c:pt>
                <c:pt idx="104">
                  <c:v>52.226264999999998</c:v>
                </c:pt>
                <c:pt idx="105">
                  <c:v>52.624195</c:v>
                </c:pt>
                <c:pt idx="106">
                  <c:v>52.284495999999997</c:v>
                </c:pt>
                <c:pt idx="107">
                  <c:v>51.58569</c:v>
                </c:pt>
                <c:pt idx="108">
                  <c:v>51.061573000000003</c:v>
                </c:pt>
                <c:pt idx="109">
                  <c:v>50.799526</c:v>
                </c:pt>
                <c:pt idx="110">
                  <c:v>50.382182999999998</c:v>
                </c:pt>
                <c:pt idx="111">
                  <c:v>49.770719999999997</c:v>
                </c:pt>
                <c:pt idx="112">
                  <c:v>49.120449999999998</c:v>
                </c:pt>
                <c:pt idx="113">
                  <c:v>49.508670000000002</c:v>
                </c:pt>
                <c:pt idx="114">
                  <c:v>48.528396999999998</c:v>
                </c:pt>
                <c:pt idx="115">
                  <c:v>49.003982999999998</c:v>
                </c:pt>
                <c:pt idx="116">
                  <c:v>48.955449999999999</c:v>
                </c:pt>
                <c:pt idx="117">
                  <c:v>49.557200000000002</c:v>
                </c:pt>
                <c:pt idx="118">
                  <c:v>48.965156999999998</c:v>
                </c:pt>
                <c:pt idx="119">
                  <c:v>49.062213999999997</c:v>
                </c:pt>
                <c:pt idx="120">
                  <c:v>49.304850000000002</c:v>
                </c:pt>
                <c:pt idx="121">
                  <c:v>49.091329999999999</c:v>
                </c:pt>
                <c:pt idx="122">
                  <c:v>48.528396999999998</c:v>
                </c:pt>
                <c:pt idx="123">
                  <c:v>47.946055999999999</c:v>
                </c:pt>
                <c:pt idx="124">
                  <c:v>47.216656</c:v>
                </c:pt>
                <c:pt idx="125">
                  <c:v>47.022143999999997</c:v>
                </c:pt>
                <c:pt idx="126">
                  <c:v>47.46951</c:v>
                </c:pt>
                <c:pt idx="127">
                  <c:v>47.187477000000001</c:v>
                </c:pt>
                <c:pt idx="128">
                  <c:v>47.080505000000002</c:v>
                </c:pt>
                <c:pt idx="129">
                  <c:v>44.765860000000004</c:v>
                </c:pt>
                <c:pt idx="130">
                  <c:v>44.299045999999997</c:v>
                </c:pt>
                <c:pt idx="131">
                  <c:v>44.454650000000001</c:v>
                </c:pt>
                <c:pt idx="132">
                  <c:v>44.162889999999997</c:v>
                </c:pt>
                <c:pt idx="133">
                  <c:v>42.762439999999998</c:v>
                </c:pt>
                <c:pt idx="134">
                  <c:v>41.74127</c:v>
                </c:pt>
                <c:pt idx="135">
                  <c:v>44.007286000000001</c:v>
                </c:pt>
                <c:pt idx="136">
                  <c:v>43.715527000000002</c:v>
                </c:pt>
                <c:pt idx="137">
                  <c:v>43.33623</c:v>
                </c:pt>
                <c:pt idx="138">
                  <c:v>43.102820000000001</c:v>
                </c:pt>
                <c:pt idx="139">
                  <c:v>43.511294999999997</c:v>
                </c:pt>
                <c:pt idx="140">
                  <c:v>44.065635999999998</c:v>
                </c:pt>
                <c:pt idx="141">
                  <c:v>42.713818000000003</c:v>
                </c:pt>
                <c:pt idx="142">
                  <c:v>43.0931</c:v>
                </c:pt>
                <c:pt idx="143">
                  <c:v>42.636009999999999</c:v>
                </c:pt>
                <c:pt idx="144">
                  <c:v>42.4026</c:v>
                </c:pt>
                <c:pt idx="145">
                  <c:v>44.600532999999999</c:v>
                </c:pt>
                <c:pt idx="146">
                  <c:v>45.018723000000001</c:v>
                </c:pt>
                <c:pt idx="147">
                  <c:v>45.709225000000004</c:v>
                </c:pt>
                <c:pt idx="148">
                  <c:v>44.921474000000003</c:v>
                </c:pt>
                <c:pt idx="149">
                  <c:v>44.736687000000003</c:v>
                </c:pt>
                <c:pt idx="150">
                  <c:v>44.065635999999998</c:v>
                </c:pt>
                <c:pt idx="151">
                  <c:v>43.161186000000001</c:v>
                </c:pt>
                <c:pt idx="152">
                  <c:v>44.172606999999999</c:v>
                </c:pt>
                <c:pt idx="153">
                  <c:v>45.018723000000001</c:v>
                </c:pt>
                <c:pt idx="154">
                  <c:v>45.767580000000002</c:v>
                </c:pt>
                <c:pt idx="155">
                  <c:v>46.390006999999997</c:v>
                </c:pt>
                <c:pt idx="156">
                  <c:v>46.273296000000002</c:v>
                </c:pt>
                <c:pt idx="157">
                  <c:v>45.563339999999997</c:v>
                </c:pt>
                <c:pt idx="158">
                  <c:v>46.185775999999997</c:v>
                </c:pt>
                <c:pt idx="159">
                  <c:v>46.185775999999997</c:v>
                </c:pt>
                <c:pt idx="160">
                  <c:v>46.419173999999998</c:v>
                </c:pt>
                <c:pt idx="161">
                  <c:v>49.122819999999997</c:v>
                </c:pt>
                <c:pt idx="162">
                  <c:v>49.336784000000002</c:v>
                </c:pt>
                <c:pt idx="163">
                  <c:v>49.171460000000003</c:v>
                </c:pt>
                <c:pt idx="164">
                  <c:v>49.891129999999997</c:v>
                </c:pt>
                <c:pt idx="165">
                  <c:v>49.210354000000002</c:v>
                </c:pt>
                <c:pt idx="166">
                  <c:v>51.573624000000002</c:v>
                </c:pt>
                <c:pt idx="167">
                  <c:v>51.379105000000003</c:v>
                </c:pt>
                <c:pt idx="168">
                  <c:v>51.204059999999998</c:v>
                </c:pt>
                <c:pt idx="169">
                  <c:v>51.252679999999998</c:v>
                </c:pt>
                <c:pt idx="170">
                  <c:v>50.834484000000003</c:v>
                </c:pt>
                <c:pt idx="171">
                  <c:v>50.639995999999996</c:v>
                </c:pt>
                <c:pt idx="172">
                  <c:v>50.601080000000003</c:v>
                </c:pt>
                <c:pt idx="173">
                  <c:v>50.095363999999996</c:v>
                </c:pt>
                <c:pt idx="174">
                  <c:v>50.503825999999997</c:v>
                </c:pt>
                <c:pt idx="175">
                  <c:v>49.579914000000002</c:v>
                </c:pt>
                <c:pt idx="176">
                  <c:v>50.52328</c:v>
                </c:pt>
                <c:pt idx="177">
                  <c:v>49.618819999999999</c:v>
                </c:pt>
                <c:pt idx="178">
                  <c:v>47.274999999999999</c:v>
                </c:pt>
                <c:pt idx="179">
                  <c:v>46.253844999999998</c:v>
                </c:pt>
                <c:pt idx="180">
                  <c:v>45.952354</c:v>
                </c:pt>
                <c:pt idx="181">
                  <c:v>45.534170000000003</c:v>
                </c:pt>
                <c:pt idx="182">
                  <c:v>46.526156999999998</c:v>
                </c:pt>
                <c:pt idx="183">
                  <c:v>46.059337999999997</c:v>
                </c:pt>
                <c:pt idx="184">
                  <c:v>46.146866000000003</c:v>
                </c:pt>
                <c:pt idx="185">
                  <c:v>46.205215000000003</c:v>
                </c:pt>
                <c:pt idx="186">
                  <c:v>45.184055000000001</c:v>
                </c:pt>
                <c:pt idx="187">
                  <c:v>45.096522999999998</c:v>
                </c:pt>
                <c:pt idx="188">
                  <c:v>44.513004000000002</c:v>
                </c:pt>
                <c:pt idx="189">
                  <c:v>44.659202999999998</c:v>
                </c:pt>
                <c:pt idx="190">
                  <c:v>44.581234000000002</c:v>
                </c:pt>
                <c:pt idx="191">
                  <c:v>44.649451999999997</c:v>
                </c:pt>
                <c:pt idx="192">
                  <c:v>45.994489999999999</c:v>
                </c:pt>
                <c:pt idx="193">
                  <c:v>46.472087999999999</c:v>
                </c:pt>
                <c:pt idx="194">
                  <c:v>46.189425999999997</c:v>
                </c:pt>
                <c:pt idx="195">
                  <c:v>46.481830000000002</c:v>
                </c:pt>
                <c:pt idx="196">
                  <c:v>47.41751</c:v>
                </c:pt>
                <c:pt idx="197">
                  <c:v>47.427253999999998</c:v>
                </c:pt>
                <c:pt idx="198">
                  <c:v>47.329791999999998</c:v>
                </c:pt>
                <c:pt idx="199">
                  <c:v>47.193333000000003</c:v>
                </c:pt>
                <c:pt idx="200">
                  <c:v>47.97307</c:v>
                </c:pt>
                <c:pt idx="201">
                  <c:v>48.002307999999999</c:v>
                </c:pt>
                <c:pt idx="202">
                  <c:v>49.210889999999999</c:v>
                </c:pt>
                <c:pt idx="203">
                  <c:v>47.758643999999997</c:v>
                </c:pt>
                <c:pt idx="204">
                  <c:v>48.665089999999999</c:v>
                </c:pt>
                <c:pt idx="205">
                  <c:v>48.216732</c:v>
                </c:pt>
                <c:pt idx="206">
                  <c:v>48.353180000000002</c:v>
                </c:pt>
                <c:pt idx="207">
                  <c:v>49.591006999999998</c:v>
                </c:pt>
                <c:pt idx="208">
                  <c:v>49.727469999999997</c:v>
                </c:pt>
                <c:pt idx="209">
                  <c:v>50.000369999999997</c:v>
                </c:pt>
                <c:pt idx="210">
                  <c:v>49.191406000000001</c:v>
                </c:pt>
                <c:pt idx="211">
                  <c:v>48.82103</c:v>
                </c:pt>
                <c:pt idx="212">
                  <c:v>48.937984</c:v>
                </c:pt>
                <c:pt idx="213">
                  <c:v>49.766452999999998</c:v>
                </c:pt>
                <c:pt idx="214">
                  <c:v>50.185555000000001</c:v>
                </c:pt>
                <c:pt idx="215">
                  <c:v>50.136830000000003</c:v>
                </c:pt>
                <c:pt idx="216">
                  <c:v>50.604664</c:v>
                </c:pt>
                <c:pt idx="217">
                  <c:v>51.452624999999998</c:v>
                </c:pt>
                <c:pt idx="218">
                  <c:v>51.257686999999997</c:v>
                </c:pt>
                <c:pt idx="219">
                  <c:v>51.511105000000001</c:v>
                </c:pt>
                <c:pt idx="220">
                  <c:v>51.072510000000001</c:v>
                </c:pt>
                <c:pt idx="221">
                  <c:v>51.130980000000001</c:v>
                </c:pt>
                <c:pt idx="222">
                  <c:v>50.711872</c:v>
                </c:pt>
                <c:pt idx="223">
                  <c:v>50.711872</c:v>
                </c:pt>
                <c:pt idx="224">
                  <c:v>51.647556000000002</c:v>
                </c:pt>
                <c:pt idx="225">
                  <c:v>51.647556000000002</c:v>
                </c:pt>
                <c:pt idx="226">
                  <c:v>51.014029999999998</c:v>
                </c:pt>
                <c:pt idx="227">
                  <c:v>51.335662999999997</c:v>
                </c:pt>
                <c:pt idx="228">
                  <c:v>51.316177000000003</c:v>
                </c:pt>
                <c:pt idx="229">
                  <c:v>50.809345</c:v>
                </c:pt>
                <c:pt idx="230">
                  <c:v>50.760612000000002</c:v>
                </c:pt>
                <c:pt idx="231">
                  <c:v>52.417540000000002</c:v>
                </c:pt>
                <c:pt idx="232">
                  <c:v>54.990665</c:v>
                </c:pt>
                <c:pt idx="233">
                  <c:v>56.988728000000002</c:v>
                </c:pt>
                <c:pt idx="234">
                  <c:v>56.511139999999997</c:v>
                </c:pt>
                <c:pt idx="235">
                  <c:v>56.686579999999999</c:v>
                </c:pt>
                <c:pt idx="236">
                  <c:v>56.862022000000003</c:v>
                </c:pt>
                <c:pt idx="237">
                  <c:v>56.589123000000001</c:v>
                </c:pt>
                <c:pt idx="238">
                  <c:v>56.628098000000001</c:v>
                </c:pt>
                <c:pt idx="239">
                  <c:v>56.813285999999998</c:v>
                </c:pt>
                <c:pt idx="240">
                  <c:v>53.401960000000003</c:v>
                </c:pt>
                <c:pt idx="241">
                  <c:v>51.706035999999997</c:v>
                </c:pt>
                <c:pt idx="242">
                  <c:v>51.725532999999999</c:v>
                </c:pt>
                <c:pt idx="243">
                  <c:v>51.345410000000001</c:v>
                </c:pt>
                <c:pt idx="244">
                  <c:v>51.257686999999997</c:v>
                </c:pt>
                <c:pt idx="245">
                  <c:v>52.943860000000001</c:v>
                </c:pt>
                <c:pt idx="246">
                  <c:v>52.515014999999998</c:v>
                </c:pt>
                <c:pt idx="247">
                  <c:v>50.780106000000004</c:v>
                </c:pt>
                <c:pt idx="248">
                  <c:v>48.592649999999999</c:v>
                </c:pt>
                <c:pt idx="249">
                  <c:v>49.979343</c:v>
                </c:pt>
                <c:pt idx="250">
                  <c:v>50.194180000000003</c:v>
                </c:pt>
                <c:pt idx="251">
                  <c:v>47.459865999999998</c:v>
                </c:pt>
                <c:pt idx="252">
                  <c:v>47.225499999999997</c:v>
                </c:pt>
                <c:pt idx="253">
                  <c:v>48.914917000000003</c:v>
                </c:pt>
                <c:pt idx="254">
                  <c:v>49.676617</c:v>
                </c:pt>
                <c:pt idx="255">
                  <c:v>49.871920000000003</c:v>
                </c:pt>
                <c:pt idx="256">
                  <c:v>50.457847999999998</c:v>
                </c:pt>
                <c:pt idx="257">
                  <c:v>50.369956999999999</c:v>
                </c:pt>
                <c:pt idx="258">
                  <c:v>50.506675999999999</c:v>
                </c:pt>
                <c:pt idx="259">
                  <c:v>51.541804999999997</c:v>
                </c:pt>
                <c:pt idx="260">
                  <c:v>51.737110000000001</c:v>
                </c:pt>
                <c:pt idx="261">
                  <c:v>52.137500000000003</c:v>
                </c:pt>
                <c:pt idx="262">
                  <c:v>53.709732000000002</c:v>
                </c:pt>
                <c:pt idx="263">
                  <c:v>52.987090000000002</c:v>
                </c:pt>
                <c:pt idx="264">
                  <c:v>52.977319999999999</c:v>
                </c:pt>
                <c:pt idx="265">
                  <c:v>52.225389999999997</c:v>
                </c:pt>
                <c:pt idx="266">
                  <c:v>51.93242</c:v>
                </c:pt>
                <c:pt idx="267">
                  <c:v>51.942189999999997</c:v>
                </c:pt>
                <c:pt idx="268">
                  <c:v>52.313270000000003</c:v>
                </c:pt>
                <c:pt idx="269">
                  <c:v>52.840614000000002</c:v>
                </c:pt>
                <c:pt idx="270">
                  <c:v>53.504654000000002</c:v>
                </c:pt>
                <c:pt idx="271">
                  <c:v>54.754623000000002</c:v>
                </c:pt>
                <c:pt idx="272">
                  <c:v>55.174537999999998</c:v>
                </c:pt>
                <c:pt idx="273">
                  <c:v>54.910865999999999</c:v>
                </c:pt>
                <c:pt idx="274">
                  <c:v>53.983153999999999</c:v>
                </c:pt>
                <c:pt idx="275">
                  <c:v>53.875731999999999</c:v>
                </c:pt>
                <c:pt idx="276">
                  <c:v>54.100346000000002</c:v>
                </c:pt>
                <c:pt idx="277">
                  <c:v>53.338633999999999</c:v>
                </c:pt>
                <c:pt idx="278">
                  <c:v>54.022219999999997</c:v>
                </c:pt>
                <c:pt idx="279">
                  <c:v>52.821069999999999</c:v>
                </c:pt>
                <c:pt idx="280">
                  <c:v>51.082836</c:v>
                </c:pt>
                <c:pt idx="281">
                  <c:v>49.813327999999998</c:v>
                </c:pt>
                <c:pt idx="282">
                  <c:v>50.643389999999997</c:v>
                </c:pt>
                <c:pt idx="283">
                  <c:v>49.705914</c:v>
                </c:pt>
                <c:pt idx="284">
                  <c:v>49.657080000000001</c:v>
                </c:pt>
                <c:pt idx="285">
                  <c:v>50.741034999999997</c:v>
                </c:pt>
                <c:pt idx="286">
                  <c:v>48.612186000000001</c:v>
                </c:pt>
                <c:pt idx="287">
                  <c:v>50.262543000000001</c:v>
                </c:pt>
                <c:pt idx="288">
                  <c:v>50.819167999999998</c:v>
                </c:pt>
                <c:pt idx="289">
                  <c:v>50.916812999999998</c:v>
                </c:pt>
                <c:pt idx="290">
                  <c:v>49.110219999999998</c:v>
                </c:pt>
                <c:pt idx="291">
                  <c:v>48.651249999999997</c:v>
                </c:pt>
                <c:pt idx="292">
                  <c:v>46.346609999999998</c:v>
                </c:pt>
                <c:pt idx="293">
                  <c:v>44.334946000000002</c:v>
                </c:pt>
                <c:pt idx="294">
                  <c:v>45.477493000000003</c:v>
                </c:pt>
                <c:pt idx="295">
                  <c:v>44.793914999999998</c:v>
                </c:pt>
                <c:pt idx="296">
                  <c:v>45.311484999999998</c:v>
                </c:pt>
                <c:pt idx="297">
                  <c:v>44.676727</c:v>
                </c:pt>
                <c:pt idx="298">
                  <c:v>46.639569999999999</c:v>
                </c:pt>
                <c:pt idx="299">
                  <c:v>45.78022</c:v>
                </c:pt>
                <c:pt idx="300">
                  <c:v>45.682560000000002</c:v>
                </c:pt>
                <c:pt idx="301">
                  <c:v>45.584910000000001</c:v>
                </c:pt>
                <c:pt idx="302">
                  <c:v>44.618133999999998</c:v>
                </c:pt>
                <c:pt idx="303">
                  <c:v>44.188459999999999</c:v>
                </c:pt>
                <c:pt idx="304">
                  <c:v>41.376021999999999</c:v>
                </c:pt>
                <c:pt idx="305">
                  <c:v>42.381860000000003</c:v>
                </c:pt>
                <c:pt idx="306">
                  <c:v>41.922885999999998</c:v>
                </c:pt>
                <c:pt idx="307">
                  <c:v>42.342796</c:v>
                </c:pt>
                <c:pt idx="308">
                  <c:v>41.249073000000003</c:v>
                </c:pt>
                <c:pt idx="309">
                  <c:v>41.122123999999999</c:v>
                </c:pt>
                <c:pt idx="310">
                  <c:v>41.854526999999997</c:v>
                </c:pt>
                <c:pt idx="311">
                  <c:v>41.5413</c:v>
                </c:pt>
                <c:pt idx="312">
                  <c:v>42.089440000000003</c:v>
                </c:pt>
                <c:pt idx="313">
                  <c:v>40.621203999999999</c:v>
                </c:pt>
                <c:pt idx="314">
                  <c:v>41.149773000000003</c:v>
                </c:pt>
                <c:pt idx="315">
                  <c:v>41.697920000000003</c:v>
                </c:pt>
                <c:pt idx="316">
                  <c:v>41.560879999999997</c:v>
                </c:pt>
                <c:pt idx="317">
                  <c:v>42.275424999999998</c:v>
                </c:pt>
                <c:pt idx="318">
                  <c:v>43.127000000000002</c:v>
                </c:pt>
                <c:pt idx="319">
                  <c:v>42.706099999999999</c:v>
                </c:pt>
                <c:pt idx="320">
                  <c:v>42.461399999999998</c:v>
                </c:pt>
                <c:pt idx="321">
                  <c:v>43.34234</c:v>
                </c:pt>
                <c:pt idx="322">
                  <c:v>41.971980000000002</c:v>
                </c:pt>
                <c:pt idx="323">
                  <c:v>41.893673</c:v>
                </c:pt>
                <c:pt idx="324">
                  <c:v>42.637591999999998</c:v>
                </c:pt>
                <c:pt idx="325">
                  <c:v>43.958995999999999</c:v>
                </c:pt>
                <c:pt idx="326">
                  <c:v>42.666946000000003</c:v>
                </c:pt>
                <c:pt idx="327">
                  <c:v>42.383090000000003</c:v>
                </c:pt>
                <c:pt idx="328">
                  <c:v>42.618009999999998</c:v>
                </c:pt>
                <c:pt idx="329">
                  <c:v>43.068269999999998</c:v>
                </c:pt>
                <c:pt idx="330">
                  <c:v>43.910057000000002</c:v>
                </c:pt>
                <c:pt idx="331">
                  <c:v>43.244464999999998</c:v>
                </c:pt>
                <c:pt idx="332">
                  <c:v>43.254241999999998</c:v>
                </c:pt>
                <c:pt idx="333">
                  <c:v>42.911655000000003</c:v>
                </c:pt>
                <c:pt idx="334">
                  <c:v>42.197113000000002</c:v>
                </c:pt>
                <c:pt idx="335">
                  <c:v>43.224879999999999</c:v>
                </c:pt>
                <c:pt idx="336">
                  <c:v>42.490765000000003</c:v>
                </c:pt>
                <c:pt idx="337">
                  <c:v>42.011130000000001</c:v>
                </c:pt>
                <c:pt idx="338">
                  <c:v>42.167755</c:v>
                </c:pt>
                <c:pt idx="339">
                  <c:v>41.864314999999998</c:v>
                </c:pt>
                <c:pt idx="340">
                  <c:v>41.5413</c:v>
                </c:pt>
                <c:pt idx="341">
                  <c:v>40.631</c:v>
                </c:pt>
                <c:pt idx="342">
                  <c:v>41.139980000000001</c:v>
                </c:pt>
                <c:pt idx="343">
                  <c:v>40.611423000000002</c:v>
                </c:pt>
                <c:pt idx="344">
                  <c:v>40.474384000000001</c:v>
                </c:pt>
                <c:pt idx="345">
                  <c:v>38.839750000000002</c:v>
                </c:pt>
                <c:pt idx="346">
                  <c:v>38.262239999999998</c:v>
                </c:pt>
                <c:pt idx="347">
                  <c:v>37.449818</c:v>
                </c:pt>
                <c:pt idx="348">
                  <c:v>37.391086999999999</c:v>
                </c:pt>
                <c:pt idx="349">
                  <c:v>37.156177999999997</c:v>
                </c:pt>
                <c:pt idx="350">
                  <c:v>37.547702999999998</c:v>
                </c:pt>
                <c:pt idx="351">
                  <c:v>36.950620000000001</c:v>
                </c:pt>
                <c:pt idx="352">
                  <c:v>37.185535000000002</c:v>
                </c:pt>
                <c:pt idx="353">
                  <c:v>37.283417</c:v>
                </c:pt>
                <c:pt idx="354">
                  <c:v>38.477584999999998</c:v>
                </c:pt>
                <c:pt idx="355">
                  <c:v>38.291603000000002</c:v>
                </c:pt>
                <c:pt idx="356">
                  <c:v>35.198523999999999</c:v>
                </c:pt>
                <c:pt idx="357">
                  <c:v>35.560690000000001</c:v>
                </c:pt>
                <c:pt idx="358">
                  <c:v>36.333953999999999</c:v>
                </c:pt>
                <c:pt idx="359">
                  <c:v>36.490561999999997</c:v>
                </c:pt>
                <c:pt idx="360">
                  <c:v>36.588450000000002</c:v>
                </c:pt>
                <c:pt idx="361">
                  <c:v>37.557487000000002</c:v>
                </c:pt>
                <c:pt idx="362">
                  <c:v>37.322575000000001</c:v>
                </c:pt>
                <c:pt idx="363">
                  <c:v>37.077869999999997</c:v>
                </c:pt>
                <c:pt idx="364">
                  <c:v>37.234473999999999</c:v>
                </c:pt>
                <c:pt idx="365">
                  <c:v>36.656970000000001</c:v>
                </c:pt>
                <c:pt idx="366">
                  <c:v>37.381298000000001</c:v>
                </c:pt>
                <c:pt idx="367">
                  <c:v>39.172542999999997</c:v>
                </c:pt>
                <c:pt idx="368">
                  <c:v>38.849536999999998</c:v>
                </c:pt>
                <c:pt idx="369">
                  <c:v>38.144782999999997</c:v>
                </c:pt>
                <c:pt idx="370">
                  <c:v>38.702713000000003</c:v>
                </c:pt>
                <c:pt idx="371">
                  <c:v>37.332349999999998</c:v>
                </c:pt>
                <c:pt idx="372">
                  <c:v>37.126804</c:v>
                </c:pt>
                <c:pt idx="373">
                  <c:v>37.606434</c:v>
                </c:pt>
                <c:pt idx="374">
                  <c:v>37.694749999999999</c:v>
                </c:pt>
                <c:pt idx="375">
                  <c:v>37.547545999999997</c:v>
                </c:pt>
                <c:pt idx="376">
                  <c:v>37.665309999999998</c:v>
                </c:pt>
                <c:pt idx="377">
                  <c:v>37.213875000000002</c:v>
                </c:pt>
                <c:pt idx="378">
                  <c:v>36.566166000000003</c:v>
                </c:pt>
                <c:pt idx="379">
                  <c:v>36.10492</c:v>
                </c:pt>
                <c:pt idx="380">
                  <c:v>36.399334000000003</c:v>
                </c:pt>
                <c:pt idx="381">
                  <c:v>36.742809999999999</c:v>
                </c:pt>
                <c:pt idx="382">
                  <c:v>37.449406000000003</c:v>
                </c:pt>
                <c:pt idx="383">
                  <c:v>37.086295999999997</c:v>
                </c:pt>
                <c:pt idx="384">
                  <c:v>39.245339999999999</c:v>
                </c:pt>
                <c:pt idx="385">
                  <c:v>39.579000000000001</c:v>
                </c:pt>
                <c:pt idx="386">
                  <c:v>38.460223999999997</c:v>
                </c:pt>
                <c:pt idx="387">
                  <c:v>38.106937000000002</c:v>
                </c:pt>
                <c:pt idx="388">
                  <c:v>38.097119999999997</c:v>
                </c:pt>
                <c:pt idx="389">
                  <c:v>38.784089999999999</c:v>
                </c:pt>
                <c:pt idx="390">
                  <c:v>39.932290000000002</c:v>
                </c:pt>
                <c:pt idx="391">
                  <c:v>39.745834000000002</c:v>
                </c:pt>
                <c:pt idx="392">
                  <c:v>39.647697000000001</c:v>
                </c:pt>
                <c:pt idx="393">
                  <c:v>39.726204000000003</c:v>
                </c:pt>
                <c:pt idx="394">
                  <c:v>40.010807</c:v>
                </c:pt>
                <c:pt idx="395">
                  <c:v>38.931289999999997</c:v>
                </c:pt>
                <c:pt idx="396">
                  <c:v>37.763449999999999</c:v>
                </c:pt>
                <c:pt idx="397">
                  <c:v>37.714379999999998</c:v>
                </c:pt>
                <c:pt idx="398">
                  <c:v>38.69576</c:v>
                </c:pt>
                <c:pt idx="399">
                  <c:v>39.431789999999999</c:v>
                </c:pt>
                <c:pt idx="400">
                  <c:v>38.528919999999999</c:v>
                </c:pt>
                <c:pt idx="401">
                  <c:v>38.744822999999997</c:v>
                </c:pt>
                <c:pt idx="402">
                  <c:v>38.999991999999999</c:v>
                </c:pt>
                <c:pt idx="403">
                  <c:v>39.569183000000002</c:v>
                </c:pt>
                <c:pt idx="404">
                  <c:v>40.030434</c:v>
                </c:pt>
                <c:pt idx="405">
                  <c:v>40.825347999999998</c:v>
                </c:pt>
                <c:pt idx="406">
                  <c:v>41.109946999999998</c:v>
                </c:pt>
                <c:pt idx="407">
                  <c:v>42.788105000000002</c:v>
                </c:pt>
                <c:pt idx="408">
                  <c:v>41.198279999999997</c:v>
                </c:pt>
                <c:pt idx="409">
                  <c:v>40.050060000000002</c:v>
                </c:pt>
                <c:pt idx="410">
                  <c:v>40.275779999999997</c:v>
                </c:pt>
                <c:pt idx="411">
                  <c:v>40.727209999999999</c:v>
                </c:pt>
                <c:pt idx="412">
                  <c:v>40.560383000000002</c:v>
                </c:pt>
                <c:pt idx="413">
                  <c:v>38.872402000000001</c:v>
                </c:pt>
                <c:pt idx="414">
                  <c:v>37.783073000000002</c:v>
                </c:pt>
                <c:pt idx="415">
                  <c:v>38.077488000000002</c:v>
                </c:pt>
                <c:pt idx="416">
                  <c:v>37.213875000000002</c:v>
                </c:pt>
                <c:pt idx="417">
                  <c:v>35.761436000000003</c:v>
                </c:pt>
                <c:pt idx="418">
                  <c:v>35.231495000000002</c:v>
                </c:pt>
                <c:pt idx="419">
                  <c:v>32.925249999999998</c:v>
                </c:pt>
                <c:pt idx="420">
                  <c:v>31.021380000000001</c:v>
                </c:pt>
                <c:pt idx="421">
                  <c:v>30.687708000000001</c:v>
                </c:pt>
                <c:pt idx="422">
                  <c:v>30.334415</c:v>
                </c:pt>
                <c:pt idx="423">
                  <c:v>31.188215</c:v>
                </c:pt>
                <c:pt idx="424">
                  <c:v>32.660274999999999</c:v>
                </c:pt>
                <c:pt idx="425">
                  <c:v>32.944884999999999</c:v>
                </c:pt>
                <c:pt idx="426">
                  <c:v>31.463000999999998</c:v>
                </c:pt>
                <c:pt idx="427">
                  <c:v>31.443373000000001</c:v>
                </c:pt>
                <c:pt idx="428">
                  <c:v>31.561133999999999</c:v>
                </c:pt>
                <c:pt idx="429">
                  <c:v>31.777042000000002</c:v>
                </c:pt>
                <c:pt idx="430">
                  <c:v>29.775027999999999</c:v>
                </c:pt>
                <c:pt idx="431">
                  <c:v>31.767220999999999</c:v>
                </c:pt>
                <c:pt idx="432">
                  <c:v>31.855547000000001</c:v>
                </c:pt>
                <c:pt idx="433">
                  <c:v>31.992940000000001</c:v>
                </c:pt>
                <c:pt idx="434">
                  <c:v>34.014583999999999</c:v>
                </c:pt>
                <c:pt idx="435">
                  <c:v>34.426765000000003</c:v>
                </c:pt>
                <c:pt idx="436">
                  <c:v>35.692740000000001</c:v>
                </c:pt>
                <c:pt idx="437">
                  <c:v>35.653492</c:v>
                </c:pt>
                <c:pt idx="438">
                  <c:v>35.151603999999999</c:v>
                </c:pt>
                <c:pt idx="439">
                  <c:v>34.610354999999998</c:v>
                </c:pt>
                <c:pt idx="440">
                  <c:v>36.381709999999998</c:v>
                </c:pt>
                <c:pt idx="441">
                  <c:v>36.273463999999997</c:v>
                </c:pt>
                <c:pt idx="442">
                  <c:v>35.643645999999997</c:v>
                </c:pt>
                <c:pt idx="443">
                  <c:v>36.273463999999997</c:v>
                </c:pt>
                <c:pt idx="444">
                  <c:v>37.178820000000002</c:v>
                </c:pt>
                <c:pt idx="445">
                  <c:v>37.503566999999997</c:v>
                </c:pt>
                <c:pt idx="446">
                  <c:v>37.218184999999998</c:v>
                </c:pt>
                <c:pt idx="447">
                  <c:v>36.165215000000003</c:v>
                </c:pt>
                <c:pt idx="448">
                  <c:v>35.250008000000001</c:v>
                </c:pt>
                <c:pt idx="449">
                  <c:v>35.023674</c:v>
                </c:pt>
                <c:pt idx="450">
                  <c:v>35.732210000000002</c:v>
                </c:pt>
                <c:pt idx="451">
                  <c:v>37.346114999999998</c:v>
                </c:pt>
                <c:pt idx="452">
                  <c:v>37.493724999999998</c:v>
                </c:pt>
                <c:pt idx="453">
                  <c:v>37.680706000000001</c:v>
                </c:pt>
                <c:pt idx="454">
                  <c:v>38.320360000000001</c:v>
                </c:pt>
                <c:pt idx="455">
                  <c:v>37.808639999999997</c:v>
                </c:pt>
                <c:pt idx="456">
                  <c:v>39.520947</c:v>
                </c:pt>
                <c:pt idx="457">
                  <c:v>39.019066000000002</c:v>
                </c:pt>
                <c:pt idx="458">
                  <c:v>36.106163000000002</c:v>
                </c:pt>
                <c:pt idx="459">
                  <c:v>36.352184000000001</c:v>
                </c:pt>
                <c:pt idx="460">
                  <c:v>33.035812</c:v>
                </c:pt>
                <c:pt idx="461">
                  <c:v>33.301516999999997</c:v>
                </c:pt>
                <c:pt idx="462">
                  <c:v>33.557377000000002</c:v>
                </c:pt>
                <c:pt idx="463">
                  <c:v>33.803401999999998</c:v>
                </c:pt>
                <c:pt idx="464">
                  <c:v>31.943476</c:v>
                </c:pt>
                <c:pt idx="465">
                  <c:v>31.894269999999999</c:v>
                </c:pt>
                <c:pt idx="466">
                  <c:v>31.530159000000001</c:v>
                </c:pt>
                <c:pt idx="467">
                  <c:v>33.00629</c:v>
                </c:pt>
                <c:pt idx="468">
                  <c:v>31.904109999999999</c:v>
                </c:pt>
                <c:pt idx="469">
                  <c:v>31.382545</c:v>
                </c:pt>
                <c:pt idx="470">
                  <c:v>30.290209999999998</c:v>
                </c:pt>
                <c:pt idx="471">
                  <c:v>29.247076</c:v>
                </c:pt>
                <c:pt idx="472">
                  <c:v>31.776178000000002</c:v>
                </c:pt>
                <c:pt idx="473">
                  <c:v>31.530159000000001</c:v>
                </c:pt>
                <c:pt idx="474">
                  <c:v>31.323498000000001</c:v>
                </c:pt>
                <c:pt idx="475">
                  <c:v>31.599045</c:v>
                </c:pt>
                <c:pt idx="476">
                  <c:v>31.599045</c:v>
                </c:pt>
                <c:pt idx="477">
                  <c:v>31.963159999999998</c:v>
                </c:pt>
                <c:pt idx="478">
                  <c:v>31.963159999999998</c:v>
                </c:pt>
                <c:pt idx="479">
                  <c:v>29.581666999999999</c:v>
                </c:pt>
                <c:pt idx="480">
                  <c:v>31.530159000000001</c:v>
                </c:pt>
                <c:pt idx="481">
                  <c:v>32.42568</c:v>
                </c:pt>
                <c:pt idx="482">
                  <c:v>31.904109999999999</c:v>
                </c:pt>
                <c:pt idx="483">
                  <c:v>32.888199999999998</c:v>
                </c:pt>
                <c:pt idx="484">
                  <c:v>31.530159000000001</c:v>
                </c:pt>
                <c:pt idx="485">
                  <c:v>31.293980000000001</c:v>
                </c:pt>
                <c:pt idx="486">
                  <c:v>31.205407999999998</c:v>
                </c:pt>
                <c:pt idx="487">
                  <c:v>31.589205</c:v>
                </c:pt>
                <c:pt idx="488">
                  <c:v>32.317430000000002</c:v>
                </c:pt>
                <c:pt idx="489">
                  <c:v>33.045653999999999</c:v>
                </c:pt>
                <c:pt idx="490">
                  <c:v>33.429454999999997</c:v>
                </c:pt>
                <c:pt idx="491">
                  <c:v>32.219025000000002</c:v>
                </c:pt>
                <c:pt idx="492">
                  <c:v>31.146363999999998</c:v>
                </c:pt>
                <c:pt idx="493">
                  <c:v>33.124389999999998</c:v>
                </c:pt>
                <c:pt idx="494">
                  <c:v>34.423378</c:v>
                </c:pt>
                <c:pt idx="495">
                  <c:v>35.988075000000002</c:v>
                </c:pt>
                <c:pt idx="496">
                  <c:v>35.712536</c:v>
                </c:pt>
                <c:pt idx="497">
                  <c:v>35.761733999999997</c:v>
                </c:pt>
                <c:pt idx="498">
                  <c:v>35.200806</c:v>
                </c:pt>
                <c:pt idx="499">
                  <c:v>35.535397000000003</c:v>
                </c:pt>
                <c:pt idx="500">
                  <c:v>36.194732999999999</c:v>
                </c:pt>
                <c:pt idx="501">
                  <c:v>36.441425000000002</c:v>
                </c:pt>
                <c:pt idx="502">
                  <c:v>36.273670000000003</c:v>
                </c:pt>
                <c:pt idx="503">
                  <c:v>35.691479999999999</c:v>
                </c:pt>
                <c:pt idx="504">
                  <c:v>35.523724000000001</c:v>
                </c:pt>
                <c:pt idx="505">
                  <c:v>36.105927000000001</c:v>
                </c:pt>
                <c:pt idx="506">
                  <c:v>35.27704</c:v>
                </c:pt>
                <c:pt idx="507">
                  <c:v>35.73095</c:v>
                </c:pt>
                <c:pt idx="508">
                  <c:v>35.632280000000002</c:v>
                </c:pt>
                <c:pt idx="509">
                  <c:v>34.586300000000001</c:v>
                </c:pt>
                <c:pt idx="510">
                  <c:v>35.00074</c:v>
                </c:pt>
                <c:pt idx="511">
                  <c:v>34.596170000000001</c:v>
                </c:pt>
                <c:pt idx="512">
                  <c:v>34.517223000000001</c:v>
                </c:pt>
                <c:pt idx="513">
                  <c:v>35.020477</c:v>
                </c:pt>
                <c:pt idx="514">
                  <c:v>35.425055999999998</c:v>
                </c:pt>
                <c:pt idx="515">
                  <c:v>35.770420000000001</c:v>
                </c:pt>
                <c:pt idx="516">
                  <c:v>35.217827</c:v>
                </c:pt>
                <c:pt idx="517">
                  <c:v>35.158630000000002</c:v>
                </c:pt>
                <c:pt idx="518">
                  <c:v>34.181716999999999</c:v>
                </c:pt>
                <c:pt idx="519">
                  <c:v>33.273895000000003</c:v>
                </c:pt>
                <c:pt idx="520">
                  <c:v>32.790374999999997</c:v>
                </c:pt>
                <c:pt idx="521">
                  <c:v>32.326590000000003</c:v>
                </c:pt>
                <c:pt idx="522">
                  <c:v>31.79374</c:v>
                </c:pt>
                <c:pt idx="523">
                  <c:v>31.487839000000001</c:v>
                </c:pt>
                <c:pt idx="524">
                  <c:v>31.625988</c:v>
                </c:pt>
                <c:pt idx="525">
                  <c:v>30.510935</c:v>
                </c:pt>
                <c:pt idx="526">
                  <c:v>31.418763999999999</c:v>
                </c:pt>
                <c:pt idx="527">
                  <c:v>31.704927000000001</c:v>
                </c:pt>
                <c:pt idx="528">
                  <c:v>31.014189999999999</c:v>
                </c:pt>
                <c:pt idx="529">
                  <c:v>30.964848</c:v>
                </c:pt>
                <c:pt idx="530">
                  <c:v>31.172077000000002</c:v>
                </c:pt>
                <c:pt idx="531">
                  <c:v>30.550405999999999</c:v>
                </c:pt>
                <c:pt idx="532">
                  <c:v>31.033926000000001</c:v>
                </c:pt>
                <c:pt idx="533">
                  <c:v>30.165565000000001</c:v>
                </c:pt>
                <c:pt idx="534">
                  <c:v>29.810327999999998</c:v>
                </c:pt>
                <c:pt idx="535">
                  <c:v>29.810327999999998</c:v>
                </c:pt>
                <c:pt idx="536">
                  <c:v>30.530671999999999</c:v>
                </c:pt>
                <c:pt idx="537">
                  <c:v>30.491199999999999</c:v>
                </c:pt>
                <c:pt idx="538">
                  <c:v>31.339822999999999</c:v>
                </c:pt>
                <c:pt idx="539">
                  <c:v>31.922018000000001</c:v>
                </c:pt>
                <c:pt idx="540">
                  <c:v>32.553550000000001</c:v>
                </c:pt>
                <c:pt idx="541">
                  <c:v>33.264023000000002</c:v>
                </c:pt>
                <c:pt idx="542">
                  <c:v>33.481116999999998</c:v>
                </c:pt>
                <c:pt idx="543">
                  <c:v>33.609397999999999</c:v>
                </c:pt>
                <c:pt idx="544">
                  <c:v>33.431778000000001</c:v>
                </c:pt>
                <c:pt idx="545">
                  <c:v>32.869320000000002</c:v>
                </c:pt>
                <c:pt idx="546">
                  <c:v>33.569927</c:v>
                </c:pt>
                <c:pt idx="547">
                  <c:v>34.349471999999999</c:v>
                </c:pt>
                <c:pt idx="548">
                  <c:v>34.231064000000003</c:v>
                </c:pt>
                <c:pt idx="549">
                  <c:v>33.303497</c:v>
                </c:pt>
                <c:pt idx="550">
                  <c:v>33.579790000000003</c:v>
                </c:pt>
                <c:pt idx="551">
                  <c:v>33.925162999999998</c:v>
                </c:pt>
                <c:pt idx="552">
                  <c:v>33.915295</c:v>
                </c:pt>
                <c:pt idx="553">
                  <c:v>33.03707</c:v>
                </c:pt>
                <c:pt idx="554">
                  <c:v>33.520587999999996</c:v>
                </c:pt>
                <c:pt idx="555">
                  <c:v>33.540325000000003</c:v>
                </c:pt>
                <c:pt idx="556">
                  <c:v>32.967995000000002</c:v>
                </c:pt>
                <c:pt idx="557">
                  <c:v>32.622622999999997</c:v>
                </c:pt>
                <c:pt idx="558">
                  <c:v>33.323239999999998</c:v>
                </c:pt>
                <c:pt idx="559">
                  <c:v>33.727801999999997</c:v>
                </c:pt>
                <c:pt idx="560">
                  <c:v>33.461376000000001</c:v>
                </c:pt>
                <c:pt idx="561">
                  <c:v>33.500853999999997</c:v>
                </c:pt>
                <c:pt idx="562">
                  <c:v>34.329734999999999</c:v>
                </c:pt>
                <c:pt idx="563">
                  <c:v>34.290264000000001</c:v>
                </c:pt>
                <c:pt idx="564">
                  <c:v>33.557952999999998</c:v>
                </c:pt>
                <c:pt idx="565">
                  <c:v>33.399610000000003</c:v>
                </c:pt>
                <c:pt idx="566">
                  <c:v>33.597534000000003</c:v>
                </c:pt>
                <c:pt idx="567">
                  <c:v>33.637120000000003</c:v>
                </c:pt>
                <c:pt idx="568">
                  <c:v>31.806325999999999</c:v>
                </c:pt>
                <c:pt idx="569">
                  <c:v>32.004252999999999</c:v>
                </c:pt>
                <c:pt idx="570">
                  <c:v>31.826118000000001</c:v>
                </c:pt>
                <c:pt idx="571">
                  <c:v>31.984456999999999</c:v>
                </c:pt>
                <c:pt idx="572">
                  <c:v>31.410477</c:v>
                </c:pt>
                <c:pt idx="573">
                  <c:v>30.638574999999999</c:v>
                </c:pt>
                <c:pt idx="574">
                  <c:v>30.975045999999999</c:v>
                </c:pt>
                <c:pt idx="575">
                  <c:v>29.609375</c:v>
                </c:pt>
                <c:pt idx="576">
                  <c:v>29.193731</c:v>
                </c:pt>
                <c:pt idx="577">
                  <c:v>28.867159999999998</c:v>
                </c:pt>
                <c:pt idx="578">
                  <c:v>28.431726000000001</c:v>
                </c:pt>
                <c:pt idx="579">
                  <c:v>28.11505</c:v>
                </c:pt>
                <c:pt idx="580">
                  <c:v>27.87754</c:v>
                </c:pt>
                <c:pt idx="581">
                  <c:v>26.947298</c:v>
                </c:pt>
                <c:pt idx="582">
                  <c:v>26.917611999999998</c:v>
                </c:pt>
                <c:pt idx="583">
                  <c:v>28.817678000000001</c:v>
                </c:pt>
                <c:pt idx="584">
                  <c:v>30.044806000000001</c:v>
                </c:pt>
                <c:pt idx="585">
                  <c:v>30.064598</c:v>
                </c:pt>
                <c:pt idx="586">
                  <c:v>30.598987999999999</c:v>
                </c:pt>
                <c:pt idx="587">
                  <c:v>30.440655</c:v>
                </c:pt>
                <c:pt idx="588">
                  <c:v>30.262519999999999</c:v>
                </c:pt>
                <c:pt idx="589">
                  <c:v>30.777125999999999</c:v>
                </c:pt>
                <c:pt idx="590">
                  <c:v>32.746464000000003</c:v>
                </c:pt>
                <c:pt idx="591">
                  <c:v>32.340719999999997</c:v>
                </c:pt>
                <c:pt idx="592">
                  <c:v>32.221966000000002</c:v>
                </c:pt>
                <c:pt idx="593">
                  <c:v>32.182380000000002</c:v>
                </c:pt>
                <c:pt idx="594">
                  <c:v>32.865220000000001</c:v>
                </c:pt>
                <c:pt idx="595">
                  <c:v>31.816223000000001</c:v>
                </c:pt>
                <c:pt idx="596">
                  <c:v>31.242242999999998</c:v>
                </c:pt>
                <c:pt idx="597">
                  <c:v>31.489649</c:v>
                </c:pt>
                <c:pt idx="598">
                  <c:v>30.935459999999999</c:v>
                </c:pt>
                <c:pt idx="599">
                  <c:v>31.133385000000001</c:v>
                </c:pt>
                <c:pt idx="600">
                  <c:v>31.816223000000001</c:v>
                </c:pt>
                <c:pt idx="601">
                  <c:v>32.271445999999997</c:v>
                </c:pt>
                <c:pt idx="602">
                  <c:v>32.538643</c:v>
                </c:pt>
                <c:pt idx="603">
                  <c:v>31.855803999999999</c:v>
                </c:pt>
                <c:pt idx="604">
                  <c:v>32.380305999999997</c:v>
                </c:pt>
                <c:pt idx="605">
                  <c:v>32.123004999999999</c:v>
                </c:pt>
                <c:pt idx="606">
                  <c:v>32.449573999999998</c:v>
                </c:pt>
                <c:pt idx="607">
                  <c:v>32.024044000000004</c:v>
                </c:pt>
                <c:pt idx="608">
                  <c:v>32.598019999999998</c:v>
                </c:pt>
                <c:pt idx="609">
                  <c:v>32.687083999999999</c:v>
                </c:pt>
                <c:pt idx="610">
                  <c:v>33.429299999999998</c:v>
                </c:pt>
                <c:pt idx="611">
                  <c:v>33.261063</c:v>
                </c:pt>
                <c:pt idx="612">
                  <c:v>33.864735000000003</c:v>
                </c:pt>
                <c:pt idx="613">
                  <c:v>32.914695999999999</c:v>
                </c:pt>
                <c:pt idx="614">
                  <c:v>33.389716999999997</c:v>
                </c:pt>
                <c:pt idx="615">
                  <c:v>32.73657</c:v>
                </c:pt>
                <c:pt idx="616">
                  <c:v>32.558436999999998</c:v>
                </c:pt>
                <c:pt idx="617">
                  <c:v>33.379818</c:v>
                </c:pt>
                <c:pt idx="618">
                  <c:v>34.230891999999997</c:v>
                </c:pt>
                <c:pt idx="619">
                  <c:v>31.341206</c:v>
                </c:pt>
                <c:pt idx="620">
                  <c:v>30.915668</c:v>
                </c:pt>
                <c:pt idx="621">
                  <c:v>30.420856000000001</c:v>
                </c:pt>
                <c:pt idx="622">
                  <c:v>30.391169999999999</c:v>
                </c:pt>
                <c:pt idx="623">
                  <c:v>30.193245000000001</c:v>
                </c:pt>
                <c:pt idx="624">
                  <c:v>29.530207000000001</c:v>
                </c:pt>
                <c:pt idx="625">
                  <c:v>29.144255000000001</c:v>
                </c:pt>
                <c:pt idx="626">
                  <c:v>28.233806999999999</c:v>
                </c:pt>
                <c:pt idx="627">
                  <c:v>28.164290000000001</c:v>
                </c:pt>
                <c:pt idx="628">
                  <c:v>28.432424999999999</c:v>
                </c:pt>
                <c:pt idx="629">
                  <c:v>28.879318000000001</c:v>
                </c:pt>
                <c:pt idx="630">
                  <c:v>28.581389999999999</c:v>
                </c:pt>
                <c:pt idx="631">
                  <c:v>27.449256999999999</c:v>
                </c:pt>
                <c:pt idx="632">
                  <c:v>27.320153999999999</c:v>
                </c:pt>
                <c:pt idx="633">
                  <c:v>25.919886000000002</c:v>
                </c:pt>
                <c:pt idx="634">
                  <c:v>25.234648</c:v>
                </c:pt>
                <c:pt idx="635">
                  <c:v>25.612024000000002</c:v>
                </c:pt>
                <c:pt idx="636">
                  <c:v>25.919886000000002</c:v>
                </c:pt>
                <c:pt idx="637">
                  <c:v>25.65175</c:v>
                </c:pt>
                <c:pt idx="638">
                  <c:v>26.237673000000001</c:v>
                </c:pt>
                <c:pt idx="639">
                  <c:v>26.346920000000001</c:v>
                </c:pt>
                <c:pt idx="640">
                  <c:v>25.244575999999999</c:v>
                </c:pt>
                <c:pt idx="641">
                  <c:v>25.016165000000001</c:v>
                </c:pt>
                <c:pt idx="642">
                  <c:v>24.281272999999999</c:v>
                </c:pt>
                <c:pt idx="643">
                  <c:v>25.155200000000001</c:v>
                </c:pt>
                <c:pt idx="644">
                  <c:v>26.138369000000001</c:v>
                </c:pt>
                <c:pt idx="645">
                  <c:v>26.128437000000002</c:v>
                </c:pt>
                <c:pt idx="646">
                  <c:v>26.327052999999999</c:v>
                </c:pt>
                <c:pt idx="647">
                  <c:v>26.813675</c:v>
                </c:pt>
                <c:pt idx="648">
                  <c:v>27.498909999999999</c:v>
                </c:pt>
                <c:pt idx="649">
                  <c:v>27.598223000000001</c:v>
                </c:pt>
                <c:pt idx="650">
                  <c:v>28.243738</c:v>
                </c:pt>
                <c:pt idx="651">
                  <c:v>28.919044</c:v>
                </c:pt>
                <c:pt idx="652">
                  <c:v>29.554625999999999</c:v>
                </c:pt>
                <c:pt idx="653">
                  <c:v>29.733384999999998</c:v>
                </c:pt>
                <c:pt idx="654">
                  <c:v>29.743317000000001</c:v>
                </c:pt>
                <c:pt idx="655">
                  <c:v>27.57836</c:v>
                </c:pt>
                <c:pt idx="656">
                  <c:v>28.442354000000002</c:v>
                </c:pt>
                <c:pt idx="657">
                  <c:v>28.402632000000001</c:v>
                </c:pt>
                <c:pt idx="658">
                  <c:v>28.104704000000002</c:v>
                </c:pt>
                <c:pt idx="659">
                  <c:v>27.79684</c:v>
                </c:pt>
                <c:pt idx="660">
                  <c:v>27.310223000000001</c:v>
                </c:pt>
                <c:pt idx="661">
                  <c:v>26.813675</c:v>
                </c:pt>
                <c:pt idx="662">
                  <c:v>27.250637000000001</c:v>
                </c:pt>
                <c:pt idx="663">
                  <c:v>27.002362999999999</c:v>
                </c:pt>
                <c:pt idx="664">
                  <c:v>26.823605000000001</c:v>
                </c:pt>
                <c:pt idx="665">
                  <c:v>26.78388</c:v>
                </c:pt>
                <c:pt idx="666">
                  <c:v>26.615053</c:v>
                </c:pt>
                <c:pt idx="667">
                  <c:v>25.194925000000001</c:v>
                </c:pt>
                <c:pt idx="668">
                  <c:v>25.095613</c:v>
                </c:pt>
                <c:pt idx="669">
                  <c:v>25.65175</c:v>
                </c:pt>
                <c:pt idx="670">
                  <c:v>25.65175</c:v>
                </c:pt>
                <c:pt idx="671">
                  <c:v>26.078779999999998</c:v>
                </c:pt>
                <c:pt idx="672">
                  <c:v>26.883192000000001</c:v>
                </c:pt>
                <c:pt idx="673">
                  <c:v>26.992432000000001</c:v>
                </c:pt>
                <c:pt idx="674">
                  <c:v>27.171192000000001</c:v>
                </c:pt>
                <c:pt idx="675">
                  <c:v>27.429397999999999</c:v>
                </c:pt>
                <c:pt idx="676">
                  <c:v>28.074911</c:v>
                </c:pt>
                <c:pt idx="677">
                  <c:v>27.856425999999999</c:v>
                </c:pt>
                <c:pt idx="678">
                  <c:v>27.737255000000001</c:v>
                </c:pt>
                <c:pt idx="679">
                  <c:v>28.025251000000001</c:v>
                </c:pt>
                <c:pt idx="680">
                  <c:v>28.422495000000001</c:v>
                </c:pt>
                <c:pt idx="681">
                  <c:v>28.064978</c:v>
                </c:pt>
                <c:pt idx="682">
                  <c:v>28.094771999999999</c:v>
                </c:pt>
                <c:pt idx="683">
                  <c:v>29.207039999999999</c:v>
                </c:pt>
                <c:pt idx="684">
                  <c:v>30.647036</c:v>
                </c:pt>
                <c:pt idx="685">
                  <c:v>31.143585000000002</c:v>
                </c:pt>
                <c:pt idx="686">
                  <c:v>30.706623</c:v>
                </c:pt>
                <c:pt idx="687">
                  <c:v>30.080970000000001</c:v>
                </c:pt>
                <c:pt idx="688">
                  <c:v>29.852551999999999</c:v>
                </c:pt>
                <c:pt idx="689">
                  <c:v>30.349105999999999</c:v>
                </c:pt>
                <c:pt idx="690">
                  <c:v>30.736415999999998</c:v>
                </c:pt>
                <c:pt idx="691">
                  <c:v>31.065200000000001</c:v>
                </c:pt>
                <c:pt idx="692">
                  <c:v>30.846008000000001</c:v>
                </c:pt>
                <c:pt idx="693">
                  <c:v>30.776266</c:v>
                </c:pt>
                <c:pt idx="694">
                  <c:v>30.646746</c:v>
                </c:pt>
                <c:pt idx="695">
                  <c:v>30.477371000000002</c:v>
                </c:pt>
                <c:pt idx="696">
                  <c:v>29.411307999999998</c:v>
                </c:pt>
                <c:pt idx="697">
                  <c:v>28.554476000000001</c:v>
                </c:pt>
                <c:pt idx="698">
                  <c:v>28.664073999999999</c:v>
                </c:pt>
                <c:pt idx="699">
                  <c:v>28.753737999999998</c:v>
                </c:pt>
                <c:pt idx="700">
                  <c:v>28.494700000000002</c:v>
                </c:pt>
                <c:pt idx="701">
                  <c:v>29.182158000000001</c:v>
                </c:pt>
                <c:pt idx="702">
                  <c:v>28.126059999999999</c:v>
                </c:pt>
                <c:pt idx="703">
                  <c:v>27.827165999999998</c:v>
                </c:pt>
                <c:pt idx="704">
                  <c:v>28.574404000000001</c:v>
                </c:pt>
                <c:pt idx="705">
                  <c:v>28.883262999999999</c:v>
                </c:pt>
                <c:pt idx="706">
                  <c:v>28.943042999999999</c:v>
                </c:pt>
                <c:pt idx="707">
                  <c:v>28.843409999999999</c:v>
                </c:pt>
                <c:pt idx="708">
                  <c:v>28.634181999999999</c:v>
                </c:pt>
                <c:pt idx="709">
                  <c:v>27.976611999999999</c:v>
                </c:pt>
                <c:pt idx="710">
                  <c:v>27.189522</c:v>
                </c:pt>
                <c:pt idx="711">
                  <c:v>27.279188000000001</c:v>
                </c:pt>
                <c:pt idx="712">
                  <c:v>27.139706</c:v>
                </c:pt>
                <c:pt idx="713">
                  <c:v>27.627901000000001</c:v>
                </c:pt>
                <c:pt idx="714">
                  <c:v>27.388783</c:v>
                </c:pt>
                <c:pt idx="715">
                  <c:v>26.900587000000002</c:v>
                </c:pt>
                <c:pt idx="716">
                  <c:v>26.761105000000001</c:v>
                </c:pt>
                <c:pt idx="717">
                  <c:v>27.617937000000001</c:v>
                </c:pt>
                <c:pt idx="718">
                  <c:v>27.378820000000001</c:v>
                </c:pt>
                <c:pt idx="719">
                  <c:v>27.817204</c:v>
                </c:pt>
                <c:pt idx="720">
                  <c:v>28.175878999999998</c:v>
                </c:pt>
                <c:pt idx="721">
                  <c:v>27.896909999999998</c:v>
                </c:pt>
                <c:pt idx="722">
                  <c:v>28.444880999999999</c:v>
                </c:pt>
                <c:pt idx="723">
                  <c:v>28.933078999999999</c:v>
                </c:pt>
                <c:pt idx="724">
                  <c:v>29.192119999999999</c:v>
                </c:pt>
                <c:pt idx="725">
                  <c:v>29.072562999999999</c:v>
                </c:pt>
                <c:pt idx="726">
                  <c:v>29.560759999999998</c:v>
                </c:pt>
                <c:pt idx="727">
                  <c:v>28.335287000000001</c:v>
                </c:pt>
                <c:pt idx="728">
                  <c:v>28.195799999999998</c:v>
                </c:pt>
                <c:pt idx="729">
                  <c:v>28.195799999999998</c:v>
                </c:pt>
                <c:pt idx="730">
                  <c:v>28.574404000000001</c:v>
                </c:pt>
                <c:pt idx="731">
                  <c:v>28.574404000000001</c:v>
                </c:pt>
                <c:pt idx="732">
                  <c:v>28.982893000000001</c:v>
                </c:pt>
                <c:pt idx="733">
                  <c:v>28.982893000000001</c:v>
                </c:pt>
                <c:pt idx="734">
                  <c:v>27.548195</c:v>
                </c:pt>
                <c:pt idx="735">
                  <c:v>27.219411999999998</c:v>
                </c:pt>
                <c:pt idx="736">
                  <c:v>27.119779999999999</c:v>
                </c:pt>
                <c:pt idx="737">
                  <c:v>27.737494999999999</c:v>
                </c:pt>
                <c:pt idx="738">
                  <c:v>27.847092</c:v>
                </c:pt>
                <c:pt idx="739">
                  <c:v>27.219411999999998</c:v>
                </c:pt>
                <c:pt idx="740">
                  <c:v>27.289149999999999</c:v>
                </c:pt>
                <c:pt idx="741">
                  <c:v>27.428636999999998</c:v>
                </c:pt>
                <c:pt idx="742">
                  <c:v>27.478455</c:v>
                </c:pt>
                <c:pt idx="743">
                  <c:v>28.126059999999999</c:v>
                </c:pt>
                <c:pt idx="744">
                  <c:v>28.295432999999999</c:v>
                </c:pt>
                <c:pt idx="745">
                  <c:v>27.099854000000001</c:v>
                </c:pt>
                <c:pt idx="746">
                  <c:v>27.219411999999998</c:v>
                </c:pt>
                <c:pt idx="747">
                  <c:v>28.693957999999999</c:v>
                </c:pt>
                <c:pt idx="748">
                  <c:v>27.538229999999999</c:v>
                </c:pt>
                <c:pt idx="749">
                  <c:v>26.013866</c:v>
                </c:pt>
                <c:pt idx="750">
                  <c:v>26.800957</c:v>
                </c:pt>
                <c:pt idx="751">
                  <c:v>26.701324</c:v>
                </c:pt>
                <c:pt idx="752">
                  <c:v>27.617937000000001</c:v>
                </c:pt>
                <c:pt idx="753">
                  <c:v>26.741178999999999</c:v>
                </c:pt>
                <c:pt idx="754">
                  <c:v>27.06</c:v>
                </c:pt>
                <c:pt idx="755">
                  <c:v>28.43</c:v>
                </c:pt>
                <c:pt idx="756">
                  <c:v>29.099997999999999</c:v>
                </c:pt>
                <c:pt idx="757">
                  <c:v>28.3</c:v>
                </c:pt>
                <c:pt idx="758">
                  <c:v>28.38</c:v>
                </c:pt>
                <c:pt idx="759">
                  <c:v>28.79</c:v>
                </c:pt>
                <c:pt idx="760">
                  <c:v>29.84</c:v>
                </c:pt>
                <c:pt idx="761">
                  <c:v>30.47</c:v>
                </c:pt>
                <c:pt idx="762">
                  <c:v>30.089998000000001</c:v>
                </c:pt>
                <c:pt idx="763">
                  <c:v>29.200002999999999</c:v>
                </c:pt>
                <c:pt idx="764">
                  <c:v>28.629996999999999</c:v>
                </c:pt>
                <c:pt idx="765">
                  <c:v>28.33</c:v>
                </c:pt>
                <c:pt idx="766">
                  <c:v>28.51</c:v>
                </c:pt>
                <c:pt idx="767">
                  <c:v>27.820001999999999</c:v>
                </c:pt>
                <c:pt idx="768">
                  <c:v>25.45</c:v>
                </c:pt>
                <c:pt idx="769">
                  <c:v>23.12</c:v>
                </c:pt>
                <c:pt idx="770">
                  <c:v>22.309998</c:v>
                </c:pt>
                <c:pt idx="771">
                  <c:v>20.6</c:v>
                </c:pt>
                <c:pt idx="772">
                  <c:v>19.05</c:v>
                </c:pt>
                <c:pt idx="773">
                  <c:v>18.86</c:v>
                </c:pt>
                <c:pt idx="774">
                  <c:v>17.850000000000001</c:v>
                </c:pt>
                <c:pt idx="775">
                  <c:v>18.53</c:v>
                </c:pt>
                <c:pt idx="776">
                  <c:v>16.04</c:v>
                </c:pt>
                <c:pt idx="777">
                  <c:v>15.97</c:v>
                </c:pt>
                <c:pt idx="778">
                  <c:v>14.75</c:v>
                </c:pt>
                <c:pt idx="779">
                  <c:v>17</c:v>
                </c:pt>
                <c:pt idx="780">
                  <c:v>16.260000000000002</c:v>
                </c:pt>
                <c:pt idx="781">
                  <c:v>13.45</c:v>
                </c:pt>
                <c:pt idx="782">
                  <c:v>14.31</c:v>
                </c:pt>
                <c:pt idx="783">
                  <c:v>15.92</c:v>
                </c:pt>
                <c:pt idx="784">
                  <c:v>15.579999000000001</c:v>
                </c:pt>
                <c:pt idx="785">
                  <c:v>11.65</c:v>
                </c:pt>
                <c:pt idx="786">
                  <c:v>10.29</c:v>
                </c:pt>
                <c:pt idx="787">
                  <c:v>10.38</c:v>
                </c:pt>
                <c:pt idx="788">
                  <c:v>10.25</c:v>
                </c:pt>
                <c:pt idx="789">
                  <c:v>13.919999000000001</c:v>
                </c:pt>
                <c:pt idx="790">
                  <c:v>15.39</c:v>
                </c:pt>
                <c:pt idx="791">
                  <c:v>15.66</c:v>
                </c:pt>
                <c:pt idx="792">
                  <c:v>14.04</c:v>
                </c:pt>
                <c:pt idx="793">
                  <c:v>12.249999000000001</c:v>
                </c:pt>
                <c:pt idx="794">
                  <c:v>12.190001000000001</c:v>
                </c:pt>
                <c:pt idx="795">
                  <c:v>10.690001000000001</c:v>
                </c:pt>
                <c:pt idx="796">
                  <c:v>10.059998999999999</c:v>
                </c:pt>
                <c:pt idx="797">
                  <c:v>9.39</c:v>
                </c:pt>
                <c:pt idx="798">
                  <c:v>9.5</c:v>
                </c:pt>
                <c:pt idx="799">
                  <c:v>10.219999</c:v>
                </c:pt>
                <c:pt idx="800">
                  <c:v>11.33</c:v>
                </c:pt>
                <c:pt idx="801">
                  <c:v>12.51</c:v>
                </c:pt>
                <c:pt idx="802">
                  <c:v>11.56</c:v>
                </c:pt>
                <c:pt idx="803">
                  <c:v>11.95</c:v>
                </c:pt>
                <c:pt idx="804">
                  <c:v>12.289999</c:v>
                </c:pt>
                <c:pt idx="805">
                  <c:v>11.07</c:v>
                </c:pt>
                <c:pt idx="806">
                  <c:v>11.570001</c:v>
                </c:pt>
                <c:pt idx="807">
                  <c:v>11.059998999999999</c:v>
                </c:pt>
                <c:pt idx="808">
                  <c:v>11</c:v>
                </c:pt>
                <c:pt idx="809">
                  <c:v>10.269999500000001</c:v>
                </c:pt>
                <c:pt idx="810">
                  <c:v>10.25</c:v>
                </c:pt>
                <c:pt idx="811">
                  <c:v>10.309998999999999</c:v>
                </c:pt>
                <c:pt idx="812">
                  <c:v>10.019999500000001</c:v>
                </c:pt>
                <c:pt idx="813">
                  <c:v>11.26</c:v>
                </c:pt>
                <c:pt idx="814">
                  <c:v>12.63</c:v>
                </c:pt>
                <c:pt idx="815">
                  <c:v>12.01</c:v>
                </c:pt>
                <c:pt idx="816">
                  <c:v>10.64</c:v>
                </c:pt>
                <c:pt idx="817">
                  <c:v>9.82</c:v>
                </c:pt>
                <c:pt idx="818">
                  <c:v>9.51</c:v>
                </c:pt>
                <c:pt idx="819">
                  <c:v>9.25</c:v>
                </c:pt>
                <c:pt idx="820">
                  <c:v>9.5399999999999991</c:v>
                </c:pt>
                <c:pt idx="821">
                  <c:v>10.14</c:v>
                </c:pt>
                <c:pt idx="822">
                  <c:v>10.1</c:v>
                </c:pt>
                <c:pt idx="823">
                  <c:v>9.6500009999999996</c:v>
                </c:pt>
                <c:pt idx="824">
                  <c:v>9.1100010000000005</c:v>
                </c:pt>
                <c:pt idx="825">
                  <c:v>9.15</c:v>
                </c:pt>
                <c:pt idx="826">
                  <c:v>9.0399999999999991</c:v>
                </c:pt>
                <c:pt idx="827">
                  <c:v>9.8699999999999992</c:v>
                </c:pt>
                <c:pt idx="828">
                  <c:v>9.64</c:v>
                </c:pt>
                <c:pt idx="829">
                  <c:v>9.8699999999999992</c:v>
                </c:pt>
                <c:pt idx="830">
                  <c:v>9.89</c:v>
                </c:pt>
                <c:pt idx="831">
                  <c:v>9.6999999999999993</c:v>
                </c:pt>
                <c:pt idx="832">
                  <c:v>11.14</c:v>
                </c:pt>
                <c:pt idx="833">
                  <c:v>11.98</c:v>
                </c:pt>
                <c:pt idx="834">
                  <c:v>10.980000499999999</c:v>
                </c:pt>
                <c:pt idx="835">
                  <c:v>10.5</c:v>
                </c:pt>
                <c:pt idx="836">
                  <c:v>11.11</c:v>
                </c:pt>
                <c:pt idx="837">
                  <c:v>11.22</c:v>
                </c:pt>
                <c:pt idx="838">
                  <c:v>11.85</c:v>
                </c:pt>
                <c:pt idx="839">
                  <c:v>16.719996999999999</c:v>
                </c:pt>
                <c:pt idx="840">
                  <c:v>18.59</c:v>
                </c:pt>
                <c:pt idx="841">
                  <c:v>20.309999999999999</c:v>
                </c:pt>
                <c:pt idx="842">
                  <c:v>18.55</c:v>
                </c:pt>
                <c:pt idx="843">
                  <c:v>17.02</c:v>
                </c:pt>
                <c:pt idx="844">
                  <c:v>14.38</c:v>
                </c:pt>
                <c:pt idx="845">
                  <c:v>16.739999999999998</c:v>
                </c:pt>
                <c:pt idx="846">
                  <c:v>16.7</c:v>
                </c:pt>
                <c:pt idx="847">
                  <c:v>17.03</c:v>
                </c:pt>
                <c:pt idx="848">
                  <c:v>16.98</c:v>
                </c:pt>
                <c:pt idx="849">
                  <c:v>16.489999999999998</c:v>
                </c:pt>
                <c:pt idx="850">
                  <c:v>15.999999000000001</c:v>
                </c:pt>
                <c:pt idx="851">
                  <c:v>14.92</c:v>
                </c:pt>
                <c:pt idx="852">
                  <c:v>13.999999000000001</c:v>
                </c:pt>
                <c:pt idx="853">
                  <c:v>13.04</c:v>
                </c:pt>
                <c:pt idx="854">
                  <c:v>13.17</c:v>
                </c:pt>
                <c:pt idx="855">
                  <c:v>12.379999</c:v>
                </c:pt>
                <c:pt idx="856">
                  <c:v>13.320001</c:v>
                </c:pt>
                <c:pt idx="857">
                  <c:v>13.07</c:v>
                </c:pt>
                <c:pt idx="858">
                  <c:v>12.809998999999999</c:v>
                </c:pt>
                <c:pt idx="859">
                  <c:v>12.5</c:v>
                </c:pt>
                <c:pt idx="860">
                  <c:v>12.799999</c:v>
                </c:pt>
                <c:pt idx="861">
                  <c:v>11.91</c:v>
                </c:pt>
                <c:pt idx="862">
                  <c:v>11.99</c:v>
                </c:pt>
                <c:pt idx="863">
                  <c:v>11.18</c:v>
                </c:pt>
                <c:pt idx="864">
                  <c:v>11.94</c:v>
                </c:pt>
                <c:pt idx="865">
                  <c:v>11.63</c:v>
                </c:pt>
                <c:pt idx="866">
                  <c:v>11.570001</c:v>
                </c:pt>
                <c:pt idx="867">
                  <c:v>13.44</c:v>
                </c:pt>
                <c:pt idx="868">
                  <c:v>12.45</c:v>
                </c:pt>
                <c:pt idx="869">
                  <c:v>11.91</c:v>
                </c:pt>
                <c:pt idx="870">
                  <c:v>11.47</c:v>
                </c:pt>
                <c:pt idx="871">
                  <c:v>11.47</c:v>
                </c:pt>
                <c:pt idx="872">
                  <c:v>11.36</c:v>
                </c:pt>
                <c:pt idx="873">
                  <c:v>11.77</c:v>
                </c:pt>
                <c:pt idx="874">
                  <c:v>11.389999</c:v>
                </c:pt>
                <c:pt idx="875">
                  <c:v>11.389999</c:v>
                </c:pt>
                <c:pt idx="876">
                  <c:v>11.77</c:v>
                </c:pt>
                <c:pt idx="877">
                  <c:v>11.4</c:v>
                </c:pt>
                <c:pt idx="878">
                  <c:v>11.18</c:v>
                </c:pt>
                <c:pt idx="879">
                  <c:v>11.12</c:v>
                </c:pt>
                <c:pt idx="880">
                  <c:v>11.08</c:v>
                </c:pt>
                <c:pt idx="881">
                  <c:v>11.47</c:v>
                </c:pt>
                <c:pt idx="882">
                  <c:v>12.56</c:v>
                </c:pt>
                <c:pt idx="883">
                  <c:v>13.04</c:v>
                </c:pt>
                <c:pt idx="884">
                  <c:v>13.03</c:v>
                </c:pt>
                <c:pt idx="885">
                  <c:v>13.999999000000001</c:v>
                </c:pt>
                <c:pt idx="886">
                  <c:v>13.730000499999999</c:v>
                </c:pt>
                <c:pt idx="887">
                  <c:v>13.54</c:v>
                </c:pt>
                <c:pt idx="888">
                  <c:v>13.3</c:v>
                </c:pt>
                <c:pt idx="889">
                  <c:v>13.330000999999999</c:v>
                </c:pt>
                <c:pt idx="890">
                  <c:v>12.62</c:v>
                </c:pt>
                <c:pt idx="891">
                  <c:v>12.6</c:v>
                </c:pt>
                <c:pt idx="892">
                  <c:v>12.68</c:v>
                </c:pt>
                <c:pt idx="893">
                  <c:v>12.5</c:v>
                </c:pt>
                <c:pt idx="894">
                  <c:v>12.160000999999999</c:v>
                </c:pt>
                <c:pt idx="895">
                  <c:v>13.44</c:v>
                </c:pt>
                <c:pt idx="896">
                  <c:v>13.14</c:v>
                </c:pt>
                <c:pt idx="897">
                  <c:v>12.790001</c:v>
                </c:pt>
                <c:pt idx="898">
                  <c:v>13.280001</c:v>
                </c:pt>
                <c:pt idx="899">
                  <c:v>13.59</c:v>
                </c:pt>
                <c:pt idx="900">
                  <c:v>13.05</c:v>
                </c:pt>
                <c:pt idx="901">
                  <c:v>13.1</c:v>
                </c:pt>
                <c:pt idx="902">
                  <c:v>13.230000499999999</c:v>
                </c:pt>
                <c:pt idx="903">
                  <c:v>13.36</c:v>
                </c:pt>
                <c:pt idx="904">
                  <c:v>13.61</c:v>
                </c:pt>
                <c:pt idx="905">
                  <c:v>13.63</c:v>
                </c:pt>
                <c:pt idx="906">
                  <c:v>13.05</c:v>
                </c:pt>
                <c:pt idx="907">
                  <c:v>13.01</c:v>
                </c:pt>
                <c:pt idx="908">
                  <c:v>12.95</c:v>
                </c:pt>
                <c:pt idx="909">
                  <c:v>13.26</c:v>
                </c:pt>
                <c:pt idx="910">
                  <c:v>13.14</c:v>
                </c:pt>
                <c:pt idx="911">
                  <c:v>13.8</c:v>
                </c:pt>
                <c:pt idx="912">
                  <c:v>13.63</c:v>
                </c:pt>
                <c:pt idx="913">
                  <c:v>13.190001000000001</c:v>
                </c:pt>
                <c:pt idx="914">
                  <c:v>12.210001</c:v>
                </c:pt>
                <c:pt idx="915">
                  <c:v>12.339999000000001</c:v>
                </c:pt>
                <c:pt idx="916">
                  <c:v>11.929999</c:v>
                </c:pt>
                <c:pt idx="917">
                  <c:v>11.77</c:v>
                </c:pt>
                <c:pt idx="918">
                  <c:v>12.289999</c:v>
                </c:pt>
                <c:pt idx="919">
                  <c:v>12.76</c:v>
                </c:pt>
                <c:pt idx="920">
                  <c:v>12.249999000000001</c:v>
                </c:pt>
                <c:pt idx="921">
                  <c:v>12.289999</c:v>
                </c:pt>
                <c:pt idx="922">
                  <c:v>12.58</c:v>
                </c:pt>
                <c:pt idx="923">
                  <c:v>13</c:v>
                </c:pt>
                <c:pt idx="924">
                  <c:v>13.12</c:v>
                </c:pt>
                <c:pt idx="925">
                  <c:v>12.53</c:v>
                </c:pt>
                <c:pt idx="926">
                  <c:v>13.07</c:v>
                </c:pt>
                <c:pt idx="927">
                  <c:v>13.16</c:v>
                </c:pt>
                <c:pt idx="928">
                  <c:v>13.2</c:v>
                </c:pt>
                <c:pt idx="929">
                  <c:v>12.919999000000001</c:v>
                </c:pt>
                <c:pt idx="930">
                  <c:v>12.22</c:v>
                </c:pt>
                <c:pt idx="931">
                  <c:v>12.36</c:v>
                </c:pt>
                <c:pt idx="932">
                  <c:v>12.230000499999999</c:v>
                </c:pt>
                <c:pt idx="933">
                  <c:v>12.46</c:v>
                </c:pt>
                <c:pt idx="934">
                  <c:v>12.56</c:v>
                </c:pt>
                <c:pt idx="935">
                  <c:v>12.799999</c:v>
                </c:pt>
                <c:pt idx="936">
                  <c:v>12.750000999999999</c:v>
                </c:pt>
                <c:pt idx="937">
                  <c:v>13.150001</c:v>
                </c:pt>
                <c:pt idx="938">
                  <c:v>12.6</c:v>
                </c:pt>
                <c:pt idx="939">
                  <c:v>11.8</c:v>
                </c:pt>
                <c:pt idx="940">
                  <c:v>11.230000499999999</c:v>
                </c:pt>
                <c:pt idx="941">
                  <c:v>10.95</c:v>
                </c:pt>
                <c:pt idx="942">
                  <c:v>11.16</c:v>
                </c:pt>
                <c:pt idx="943">
                  <c:v>11.280001</c:v>
                </c:pt>
                <c:pt idx="944">
                  <c:v>11.19</c:v>
                </c:pt>
                <c:pt idx="945">
                  <c:v>11.25</c:v>
                </c:pt>
                <c:pt idx="946">
                  <c:v>11.01</c:v>
                </c:pt>
                <c:pt idx="947">
                  <c:v>11.599999</c:v>
                </c:pt>
                <c:pt idx="948">
                  <c:v>11.46</c:v>
                </c:pt>
                <c:pt idx="949">
                  <c:v>13.2</c:v>
                </c:pt>
                <c:pt idx="950">
                  <c:v>12.379999</c:v>
                </c:pt>
                <c:pt idx="951">
                  <c:v>12.04</c:v>
                </c:pt>
                <c:pt idx="952">
                  <c:v>11.74</c:v>
                </c:pt>
                <c:pt idx="953">
                  <c:v>12.240000999999999</c:v>
                </c:pt>
                <c:pt idx="954">
                  <c:v>12.790001</c:v>
                </c:pt>
                <c:pt idx="955">
                  <c:v>12.700001</c:v>
                </c:pt>
                <c:pt idx="956">
                  <c:v>12.740000999999999</c:v>
                </c:pt>
                <c:pt idx="957">
                  <c:v>12.790001</c:v>
                </c:pt>
                <c:pt idx="958">
                  <c:v>12.53</c:v>
                </c:pt>
                <c:pt idx="959">
                  <c:v>13.559998999999999</c:v>
                </c:pt>
                <c:pt idx="960">
                  <c:v>14.820001</c:v>
                </c:pt>
                <c:pt idx="961">
                  <c:v>14.940001000000001</c:v>
                </c:pt>
                <c:pt idx="962">
                  <c:v>14.98</c:v>
                </c:pt>
                <c:pt idx="963">
                  <c:v>14.13</c:v>
                </c:pt>
                <c:pt idx="964">
                  <c:v>14.27</c:v>
                </c:pt>
                <c:pt idx="965">
                  <c:v>14.860001</c:v>
                </c:pt>
                <c:pt idx="966">
                  <c:v>16.09</c:v>
                </c:pt>
                <c:pt idx="967">
                  <c:v>16.399999999999999</c:v>
                </c:pt>
                <c:pt idx="968">
                  <c:v>17.21</c:v>
                </c:pt>
                <c:pt idx="969">
                  <c:v>17.63</c:v>
                </c:pt>
                <c:pt idx="970">
                  <c:v>17.16</c:v>
                </c:pt>
                <c:pt idx="971">
                  <c:v>17.989999999999998</c:v>
                </c:pt>
                <c:pt idx="972">
                  <c:v>17.05</c:v>
                </c:pt>
                <c:pt idx="973">
                  <c:v>16.7</c:v>
                </c:pt>
                <c:pt idx="974">
                  <c:v>17.010000000000002</c:v>
                </c:pt>
                <c:pt idx="975">
                  <c:v>16.86</c:v>
                </c:pt>
                <c:pt idx="976">
                  <c:v>16.799997000000001</c:v>
                </c:pt>
                <c:pt idx="977">
                  <c:v>16.510000000000002</c:v>
                </c:pt>
                <c:pt idx="978">
                  <c:v>16.099997999999999</c:v>
                </c:pt>
                <c:pt idx="979">
                  <c:v>15.48</c:v>
                </c:pt>
                <c:pt idx="980">
                  <c:v>15.89</c:v>
                </c:pt>
                <c:pt idx="981">
                  <c:v>15.66</c:v>
                </c:pt>
                <c:pt idx="982">
                  <c:v>16.059999999999999</c:v>
                </c:pt>
                <c:pt idx="983">
                  <c:v>15.86</c:v>
                </c:pt>
                <c:pt idx="984">
                  <c:v>15.86</c:v>
                </c:pt>
                <c:pt idx="985">
                  <c:v>16.149999999999999</c:v>
                </c:pt>
                <c:pt idx="986">
                  <c:v>16.149999999999999</c:v>
                </c:pt>
                <c:pt idx="987">
                  <c:v>15.769999500000001</c:v>
                </c:pt>
                <c:pt idx="988">
                  <c:v>15.769999500000001</c:v>
                </c:pt>
                <c:pt idx="989">
                  <c:v>15.129999</c:v>
                </c:pt>
                <c:pt idx="990">
                  <c:v>15.43</c:v>
                </c:pt>
                <c:pt idx="991">
                  <c:v>15.519999500000001</c:v>
                </c:pt>
                <c:pt idx="992">
                  <c:v>15.38</c:v>
                </c:pt>
                <c:pt idx="993">
                  <c:v>15.129999</c:v>
                </c:pt>
                <c:pt idx="994">
                  <c:v>14.999999000000001</c:v>
                </c:pt>
                <c:pt idx="995">
                  <c:v>15.38</c:v>
                </c:pt>
                <c:pt idx="996">
                  <c:v>15.529999</c:v>
                </c:pt>
                <c:pt idx="997">
                  <c:v>16.440000000000001</c:v>
                </c:pt>
                <c:pt idx="998">
                  <c:v>15.76</c:v>
                </c:pt>
                <c:pt idx="999">
                  <c:v>15.97</c:v>
                </c:pt>
                <c:pt idx="1000">
                  <c:v>16.170000000000002</c:v>
                </c:pt>
                <c:pt idx="1001">
                  <c:v>15.83</c:v>
                </c:pt>
                <c:pt idx="1002">
                  <c:v>15.82</c:v>
                </c:pt>
                <c:pt idx="1003">
                  <c:v>15.43</c:v>
                </c:pt>
                <c:pt idx="1004">
                  <c:v>15.529999</c:v>
                </c:pt>
                <c:pt idx="1005">
                  <c:v>16.559999999999999</c:v>
                </c:pt>
                <c:pt idx="1006">
                  <c:v>18.100000000000001</c:v>
                </c:pt>
                <c:pt idx="1007">
                  <c:v>17.170000000000002</c:v>
                </c:pt>
                <c:pt idx="1008">
                  <c:v>16.84</c:v>
                </c:pt>
                <c:pt idx="1009">
                  <c:v>16.589998000000001</c:v>
                </c:pt>
                <c:pt idx="1010">
                  <c:v>17.600000000000001</c:v>
                </c:pt>
                <c:pt idx="1011">
                  <c:v>17.399999999999999</c:v>
                </c:pt>
                <c:pt idx="1012">
                  <c:v>17.190000000000001</c:v>
                </c:pt>
                <c:pt idx="1013">
                  <c:v>17.769998999999999</c:v>
                </c:pt>
                <c:pt idx="1014">
                  <c:v>17.440000000000001</c:v>
                </c:pt>
                <c:pt idx="1015">
                  <c:v>17.41</c:v>
                </c:pt>
                <c:pt idx="1016">
                  <c:v>16.989999999999998</c:v>
                </c:pt>
                <c:pt idx="1017">
                  <c:v>17.269998999999999</c:v>
                </c:pt>
                <c:pt idx="1018">
                  <c:v>17.82</c:v>
                </c:pt>
                <c:pt idx="1019">
                  <c:v>17.989999999999998</c:v>
                </c:pt>
                <c:pt idx="1020">
                  <c:v>17.71</c:v>
                </c:pt>
                <c:pt idx="1021">
                  <c:v>18.68</c:v>
                </c:pt>
                <c:pt idx="1022">
                  <c:v>20.440000000000001</c:v>
                </c:pt>
                <c:pt idx="1023">
                  <c:v>20.66</c:v>
                </c:pt>
                <c:pt idx="1024">
                  <c:v>21.82</c:v>
                </c:pt>
                <c:pt idx="1025">
                  <c:v>20.86</c:v>
                </c:pt>
                <c:pt idx="1026">
                  <c:v>20.94</c:v>
                </c:pt>
                <c:pt idx="1027">
                  <c:v>21.18</c:v>
                </c:pt>
                <c:pt idx="1028">
                  <c:v>21.44</c:v>
                </c:pt>
                <c:pt idx="1029">
                  <c:v>22.17</c:v>
                </c:pt>
                <c:pt idx="1030">
                  <c:v>21.24</c:v>
                </c:pt>
                <c:pt idx="1031">
                  <c:v>20.45</c:v>
                </c:pt>
                <c:pt idx="1032">
                  <c:v>21.47</c:v>
                </c:pt>
                <c:pt idx="1033">
                  <c:v>21.599997999999999</c:v>
                </c:pt>
                <c:pt idx="1034">
                  <c:v>21.75</c:v>
                </c:pt>
                <c:pt idx="1035">
                  <c:v>22.15</c:v>
                </c:pt>
                <c:pt idx="1036">
                  <c:v>23.369999</c:v>
                </c:pt>
                <c:pt idx="1037">
                  <c:v>25.17</c:v>
                </c:pt>
                <c:pt idx="1038">
                  <c:v>24.469996999999999</c:v>
                </c:pt>
                <c:pt idx="1039">
                  <c:v>25.16</c:v>
                </c:pt>
                <c:pt idx="1040">
                  <c:v>24.700002999999999</c:v>
                </c:pt>
                <c:pt idx="1041">
                  <c:v>24.97</c:v>
                </c:pt>
                <c:pt idx="1042">
                  <c:v>23.83</c:v>
                </c:pt>
                <c:pt idx="1043">
                  <c:v>22.27</c:v>
                </c:pt>
                <c:pt idx="1044">
                  <c:v>21.81</c:v>
                </c:pt>
                <c:pt idx="1045">
                  <c:v>22.77</c:v>
                </c:pt>
                <c:pt idx="1046">
                  <c:v>22.93</c:v>
                </c:pt>
                <c:pt idx="1047">
                  <c:v>22.91</c:v>
                </c:pt>
                <c:pt idx="1048">
                  <c:v>24.12</c:v>
                </c:pt>
                <c:pt idx="1049">
                  <c:v>23.9</c:v>
                </c:pt>
                <c:pt idx="1050">
                  <c:v>23.86</c:v>
                </c:pt>
                <c:pt idx="1051">
                  <c:v>24.230001000000001</c:v>
                </c:pt>
                <c:pt idx="1052">
                  <c:v>24.06</c:v>
                </c:pt>
                <c:pt idx="1053">
                  <c:v>23.93</c:v>
                </c:pt>
                <c:pt idx="1054">
                  <c:v>23.65</c:v>
                </c:pt>
                <c:pt idx="1055">
                  <c:v>23.54</c:v>
                </c:pt>
                <c:pt idx="1056">
                  <c:v>22.91</c:v>
                </c:pt>
                <c:pt idx="1057">
                  <c:v>22.56</c:v>
                </c:pt>
                <c:pt idx="1058">
                  <c:v>22.37</c:v>
                </c:pt>
                <c:pt idx="1059">
                  <c:v>22.13</c:v>
                </c:pt>
                <c:pt idx="1060">
                  <c:v>22.029999</c:v>
                </c:pt>
                <c:pt idx="1061">
                  <c:v>21.55</c:v>
                </c:pt>
                <c:pt idx="1062">
                  <c:v>20.369999</c:v>
                </c:pt>
                <c:pt idx="1063">
                  <c:v>21.01</c:v>
                </c:pt>
                <c:pt idx="1064">
                  <c:v>20.07</c:v>
                </c:pt>
                <c:pt idx="1065">
                  <c:v>21.109998999999998</c:v>
                </c:pt>
                <c:pt idx="1066">
                  <c:v>22.039999000000002</c:v>
                </c:pt>
                <c:pt idx="1067">
                  <c:v>21.76</c:v>
                </c:pt>
                <c:pt idx="1068">
                  <c:v>21.699998999999998</c:v>
                </c:pt>
                <c:pt idx="1069">
                  <c:v>21.3</c:v>
                </c:pt>
                <c:pt idx="1070">
                  <c:v>21.72</c:v>
                </c:pt>
                <c:pt idx="1071">
                  <c:v>21.949998999999998</c:v>
                </c:pt>
                <c:pt idx="1072">
                  <c:v>21.419998</c:v>
                </c:pt>
                <c:pt idx="1073">
                  <c:v>21.57</c:v>
                </c:pt>
                <c:pt idx="1074">
                  <c:v>21.49</c:v>
                </c:pt>
                <c:pt idx="1075">
                  <c:v>21.999998000000001</c:v>
                </c:pt>
                <c:pt idx="1076">
                  <c:v>21.999998000000001</c:v>
                </c:pt>
                <c:pt idx="1077">
                  <c:v>21.57</c:v>
                </c:pt>
                <c:pt idx="1078">
                  <c:v>20.76</c:v>
                </c:pt>
                <c:pt idx="1079">
                  <c:v>21.21</c:v>
                </c:pt>
                <c:pt idx="1080">
                  <c:v>22.4</c:v>
                </c:pt>
                <c:pt idx="1081">
                  <c:v>23.35</c:v>
                </c:pt>
                <c:pt idx="1082">
                  <c:v>23.56</c:v>
                </c:pt>
                <c:pt idx="1083">
                  <c:v>22.97</c:v>
                </c:pt>
                <c:pt idx="1084">
                  <c:v>22.599997999999999</c:v>
                </c:pt>
                <c:pt idx="1085">
                  <c:v>22.57</c:v>
                </c:pt>
                <c:pt idx="1086">
                  <c:v>22.989998</c:v>
                </c:pt>
                <c:pt idx="1087">
                  <c:v>23.21</c:v>
                </c:pt>
                <c:pt idx="1088">
                  <c:v>23.9</c:v>
                </c:pt>
                <c:pt idx="1089">
                  <c:v>24.43</c:v>
                </c:pt>
                <c:pt idx="1090">
                  <c:v>24.24</c:v>
                </c:pt>
                <c:pt idx="1091">
                  <c:v>24.669998</c:v>
                </c:pt>
                <c:pt idx="1092">
                  <c:v>25.82</c:v>
                </c:pt>
                <c:pt idx="1093">
                  <c:v>24.93</c:v>
                </c:pt>
                <c:pt idx="1094">
                  <c:v>24.300001000000002</c:v>
                </c:pt>
                <c:pt idx="1095">
                  <c:v>24.25</c:v>
                </c:pt>
                <c:pt idx="1096">
                  <c:v>24.220001</c:v>
                </c:pt>
                <c:pt idx="1097">
                  <c:v>23.85</c:v>
                </c:pt>
                <c:pt idx="1098">
                  <c:v>23.46</c:v>
                </c:pt>
                <c:pt idx="1099">
                  <c:v>23.529999</c:v>
                </c:pt>
                <c:pt idx="1100">
                  <c:v>22.989998</c:v>
                </c:pt>
                <c:pt idx="1101">
                  <c:v>22.789999000000002</c:v>
                </c:pt>
                <c:pt idx="1102">
                  <c:v>22.83</c:v>
                </c:pt>
                <c:pt idx="1103">
                  <c:v>22.23</c:v>
                </c:pt>
                <c:pt idx="1104">
                  <c:v>22.289999000000002</c:v>
                </c:pt>
                <c:pt idx="1105">
                  <c:v>22.449998999999998</c:v>
                </c:pt>
                <c:pt idx="1106">
                  <c:v>22.109998999999998</c:v>
                </c:pt>
                <c:pt idx="1107">
                  <c:v>22.199998999999998</c:v>
                </c:pt>
                <c:pt idx="1108">
                  <c:v>22.35</c:v>
                </c:pt>
                <c:pt idx="1109">
                  <c:v>22.22</c:v>
                </c:pt>
                <c:pt idx="1110">
                  <c:v>21.39</c:v>
                </c:pt>
                <c:pt idx="1111">
                  <c:v>21.08</c:v>
                </c:pt>
                <c:pt idx="1112">
                  <c:v>21.21</c:v>
                </c:pt>
                <c:pt idx="1113">
                  <c:v>21.509998</c:v>
                </c:pt>
              </c:numCache>
            </c:numRef>
          </c:val>
          <c:smooth val="0"/>
          <c:extLst>
            <c:ext xmlns:c16="http://schemas.microsoft.com/office/drawing/2014/chart" uri="{C3380CC4-5D6E-409C-BE32-E72D297353CC}">
              <c16:uniqueId val="{00000000-E693-BF4A-8335-954C101C9717}"/>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C$2:$C$2111</c:f>
              <c:numCache>
                <c:formatCode>General</c:formatCode>
                <c:ptCount val="2110"/>
                <c:pt idx="0">
                  <c:v>43.218654999999998</c:v>
                </c:pt>
                <c:pt idx="1">
                  <c:v>43.748159999999999</c:v>
                </c:pt>
                <c:pt idx="2">
                  <c:v>44.042949999999998</c:v>
                </c:pt>
                <c:pt idx="3">
                  <c:v>43.965763000000003</c:v>
                </c:pt>
                <c:pt idx="4">
                  <c:v>44.092255000000002</c:v>
                </c:pt>
                <c:pt idx="5">
                  <c:v>44.322327000000001</c:v>
                </c:pt>
                <c:pt idx="6">
                  <c:v>44.548220000000001</c:v>
                </c:pt>
                <c:pt idx="7">
                  <c:v>44.601436999999997</c:v>
                </c:pt>
                <c:pt idx="8">
                  <c:v>44.718384</c:v>
                </c:pt>
                <c:pt idx="9">
                  <c:v>44.935077999999997</c:v>
                </c:pt>
                <c:pt idx="10">
                  <c:v>45.21302</c:v>
                </c:pt>
                <c:pt idx="11">
                  <c:v>45.370199999999997</c:v>
                </c:pt>
                <c:pt idx="12">
                  <c:v>45.164909999999999</c:v>
                </c:pt>
                <c:pt idx="13">
                  <c:v>44.995243000000002</c:v>
                </c:pt>
                <c:pt idx="14">
                  <c:v>44.845795000000003</c:v>
                </c:pt>
                <c:pt idx="15">
                  <c:v>44.198936000000003</c:v>
                </c:pt>
                <c:pt idx="16">
                  <c:v>44.381785999999998</c:v>
                </c:pt>
                <c:pt idx="17">
                  <c:v>44.515340000000002</c:v>
                </c:pt>
                <c:pt idx="18">
                  <c:v>44.148876000000001</c:v>
                </c:pt>
                <c:pt idx="19">
                  <c:v>44.080539999999999</c:v>
                </c:pt>
                <c:pt idx="20">
                  <c:v>43.790619999999997</c:v>
                </c:pt>
                <c:pt idx="21">
                  <c:v>43.247120000000002</c:v>
                </c:pt>
                <c:pt idx="22">
                  <c:v>42.120612999999999</c:v>
                </c:pt>
                <c:pt idx="23">
                  <c:v>41.851444000000001</c:v>
                </c:pt>
                <c:pt idx="24">
                  <c:v>41.249012</c:v>
                </c:pt>
                <c:pt idx="25">
                  <c:v>40.684123999999997</c:v>
                </c:pt>
                <c:pt idx="26">
                  <c:v>41.121830000000003</c:v>
                </c:pt>
                <c:pt idx="27">
                  <c:v>40.749920000000003</c:v>
                </c:pt>
                <c:pt idx="28">
                  <c:v>39.765877000000003</c:v>
                </c:pt>
                <c:pt idx="29">
                  <c:v>40.577773999999998</c:v>
                </c:pt>
                <c:pt idx="30">
                  <c:v>41.592278</c:v>
                </c:pt>
                <c:pt idx="31">
                  <c:v>41.463337000000003</c:v>
                </c:pt>
                <c:pt idx="32">
                  <c:v>42.123220000000003</c:v>
                </c:pt>
                <c:pt idx="33">
                  <c:v>43.390926</c:v>
                </c:pt>
                <c:pt idx="34">
                  <c:v>43.969321999999998</c:v>
                </c:pt>
                <c:pt idx="35">
                  <c:v>44.164185000000003</c:v>
                </c:pt>
                <c:pt idx="36">
                  <c:v>44.329859999999996</c:v>
                </c:pt>
                <c:pt idx="37">
                  <c:v>44.236400000000003</c:v>
                </c:pt>
                <c:pt idx="38">
                  <c:v>44.557070000000003</c:v>
                </c:pt>
                <c:pt idx="39">
                  <c:v>44.797432000000001</c:v>
                </c:pt>
                <c:pt idx="40">
                  <c:v>44.08014</c:v>
                </c:pt>
                <c:pt idx="41">
                  <c:v>44.38447</c:v>
                </c:pt>
                <c:pt idx="42">
                  <c:v>43.844287999999999</c:v>
                </c:pt>
                <c:pt idx="43">
                  <c:v>43.127434000000001</c:v>
                </c:pt>
                <c:pt idx="44">
                  <c:v>43.233294999999998</c:v>
                </c:pt>
                <c:pt idx="45">
                  <c:v>44.323309999999999</c:v>
                </c:pt>
                <c:pt idx="46">
                  <c:v>42.794476000000003</c:v>
                </c:pt>
                <c:pt idx="47">
                  <c:v>44.646545000000003</c:v>
                </c:pt>
                <c:pt idx="48">
                  <c:v>44.825290000000003</c:v>
                </c:pt>
                <c:pt idx="49">
                  <c:v>44.877276999999999</c:v>
                </c:pt>
                <c:pt idx="50">
                  <c:v>44.987400000000001</c:v>
                </c:pt>
                <c:pt idx="51">
                  <c:v>45.076267000000001</c:v>
                </c:pt>
                <c:pt idx="52">
                  <c:v>43.474240000000002</c:v>
                </c:pt>
                <c:pt idx="53">
                  <c:v>42.232444999999998</c:v>
                </c:pt>
                <c:pt idx="54">
                  <c:v>41.690334</c:v>
                </c:pt>
                <c:pt idx="55">
                  <c:v>40.407325999999998</c:v>
                </c:pt>
                <c:pt idx="56">
                  <c:v>41.271576000000003</c:v>
                </c:pt>
                <c:pt idx="57">
                  <c:v>41.715812999999997</c:v>
                </c:pt>
                <c:pt idx="58">
                  <c:v>42.141530000000003</c:v>
                </c:pt>
                <c:pt idx="59">
                  <c:v>42.515537000000002</c:v>
                </c:pt>
                <c:pt idx="60">
                  <c:v>41.319912000000002</c:v>
                </c:pt>
                <c:pt idx="61">
                  <c:v>42.197650000000003</c:v>
                </c:pt>
                <c:pt idx="62">
                  <c:v>42.476875</c:v>
                </c:pt>
                <c:pt idx="63">
                  <c:v>43.121814999999998</c:v>
                </c:pt>
                <c:pt idx="64">
                  <c:v>43.562587999999998</c:v>
                </c:pt>
                <c:pt idx="65">
                  <c:v>43.661057</c:v>
                </c:pt>
                <c:pt idx="66">
                  <c:v>44.113242999999997</c:v>
                </c:pt>
                <c:pt idx="67">
                  <c:v>44.133003000000002</c:v>
                </c:pt>
                <c:pt idx="68">
                  <c:v>44.083458</c:v>
                </c:pt>
                <c:pt idx="69">
                  <c:v>44.324202999999997</c:v>
                </c:pt>
                <c:pt idx="70">
                  <c:v>44.752594000000002</c:v>
                </c:pt>
                <c:pt idx="71">
                  <c:v>45.119010000000003</c:v>
                </c:pt>
                <c:pt idx="72">
                  <c:v>45.296505000000003</c:v>
                </c:pt>
                <c:pt idx="73">
                  <c:v>45.325873999999999</c:v>
                </c:pt>
                <c:pt idx="74">
                  <c:v>45.397185999999998</c:v>
                </c:pt>
                <c:pt idx="75">
                  <c:v>45.593173999999998</c:v>
                </c:pt>
                <c:pt idx="76">
                  <c:v>45.822056000000003</c:v>
                </c:pt>
                <c:pt idx="77">
                  <c:v>45.627890000000001</c:v>
                </c:pt>
                <c:pt idx="78">
                  <c:v>45.724342</c:v>
                </c:pt>
                <c:pt idx="79">
                  <c:v>45.634999999999998</c:v>
                </c:pt>
                <c:pt idx="80">
                  <c:v>45.755977999999999</c:v>
                </c:pt>
                <c:pt idx="81">
                  <c:v>45.677143000000001</c:v>
                </c:pt>
                <c:pt idx="82">
                  <c:v>45.610596000000001</c:v>
                </c:pt>
                <c:pt idx="83">
                  <c:v>45.298900000000003</c:v>
                </c:pt>
                <c:pt idx="84">
                  <c:v>45.382976999999997</c:v>
                </c:pt>
                <c:pt idx="85">
                  <c:v>44.692355999999997</c:v>
                </c:pt>
                <c:pt idx="86">
                  <c:v>45.765456999999998</c:v>
                </c:pt>
                <c:pt idx="87">
                  <c:v>45.640630000000002</c:v>
                </c:pt>
                <c:pt idx="88">
                  <c:v>45.839469999999999</c:v>
                </c:pt>
                <c:pt idx="89">
                  <c:v>45.794964</c:v>
                </c:pt>
                <c:pt idx="90">
                  <c:v>45.943756</c:v>
                </c:pt>
                <c:pt idx="91">
                  <c:v>45.582680000000003</c:v>
                </c:pt>
                <c:pt idx="92">
                  <c:v>44.694515000000003</c:v>
                </c:pt>
                <c:pt idx="93">
                  <c:v>44.853529999999999</c:v>
                </c:pt>
                <c:pt idx="94">
                  <c:v>45.056117999999998</c:v>
                </c:pt>
                <c:pt idx="95">
                  <c:v>45.286456999999999</c:v>
                </c:pt>
                <c:pt idx="96">
                  <c:v>46.349069999999998</c:v>
                </c:pt>
                <c:pt idx="97">
                  <c:v>47.203919999999997</c:v>
                </c:pt>
                <c:pt idx="98">
                  <c:v>46.591926999999998</c:v>
                </c:pt>
                <c:pt idx="99">
                  <c:v>46.670794999999998</c:v>
                </c:pt>
                <c:pt idx="100">
                  <c:v>46.489049999999999</c:v>
                </c:pt>
                <c:pt idx="101">
                  <c:v>46.371352999999999</c:v>
                </c:pt>
                <c:pt idx="102">
                  <c:v>46.517356999999997</c:v>
                </c:pt>
                <c:pt idx="103">
                  <c:v>46.681601999999998</c:v>
                </c:pt>
                <c:pt idx="104">
                  <c:v>46.413559999999997</c:v>
                </c:pt>
                <c:pt idx="105">
                  <c:v>46.477665000000002</c:v>
                </c:pt>
                <c:pt idx="106">
                  <c:v>46.651221999999997</c:v>
                </c:pt>
                <c:pt idx="107">
                  <c:v>46.935223000000001</c:v>
                </c:pt>
                <c:pt idx="108">
                  <c:v>47.143776000000003</c:v>
                </c:pt>
                <c:pt idx="109">
                  <c:v>47.151595999999998</c:v>
                </c:pt>
                <c:pt idx="110">
                  <c:v>47.261482000000001</c:v>
                </c:pt>
                <c:pt idx="111">
                  <c:v>47.385429999999999</c:v>
                </c:pt>
                <c:pt idx="112">
                  <c:v>47.478250000000003</c:v>
                </c:pt>
                <c:pt idx="113">
                  <c:v>47.628796000000001</c:v>
                </c:pt>
                <c:pt idx="114">
                  <c:v>47.718055999999997</c:v>
                </c:pt>
                <c:pt idx="115">
                  <c:v>47.180625999999997</c:v>
                </c:pt>
                <c:pt idx="116">
                  <c:v>46.747695999999998</c:v>
                </c:pt>
                <c:pt idx="117">
                  <c:v>46.690019999999997</c:v>
                </c:pt>
                <c:pt idx="118">
                  <c:v>46.768180000000001</c:v>
                </c:pt>
                <c:pt idx="119">
                  <c:v>46.899635000000004</c:v>
                </c:pt>
                <c:pt idx="120">
                  <c:v>47.157969999999999</c:v>
                </c:pt>
                <c:pt idx="121">
                  <c:v>47.452464999999997</c:v>
                </c:pt>
                <c:pt idx="122">
                  <c:v>47.742686999999997</c:v>
                </c:pt>
                <c:pt idx="123">
                  <c:v>47.81485</c:v>
                </c:pt>
                <c:pt idx="124">
                  <c:v>47.812153000000002</c:v>
                </c:pt>
                <c:pt idx="125">
                  <c:v>47.730730000000001</c:v>
                </c:pt>
                <c:pt idx="126">
                  <c:v>47.657809999999998</c:v>
                </c:pt>
                <c:pt idx="127">
                  <c:v>47.915936000000002</c:v>
                </c:pt>
                <c:pt idx="128">
                  <c:v>48.112797</c:v>
                </c:pt>
                <c:pt idx="129">
                  <c:v>48.201743999999998</c:v>
                </c:pt>
                <c:pt idx="130">
                  <c:v>46.007109999999997</c:v>
                </c:pt>
                <c:pt idx="131">
                  <c:v>47.444310000000002</c:v>
                </c:pt>
                <c:pt idx="132">
                  <c:v>47.505836000000002</c:v>
                </c:pt>
                <c:pt idx="133">
                  <c:v>47.627519999999997</c:v>
                </c:pt>
                <c:pt idx="134">
                  <c:v>47.300632</c:v>
                </c:pt>
                <c:pt idx="135">
                  <c:v>47.054755999999998</c:v>
                </c:pt>
                <c:pt idx="136">
                  <c:v>46.249386000000001</c:v>
                </c:pt>
                <c:pt idx="137">
                  <c:v>45.982959999999999</c:v>
                </c:pt>
                <c:pt idx="138">
                  <c:v>45.994357999999998</c:v>
                </c:pt>
                <c:pt idx="139">
                  <c:v>46.030341999999997</c:v>
                </c:pt>
                <c:pt idx="140">
                  <c:v>46.274329999999999</c:v>
                </c:pt>
                <c:pt idx="141">
                  <c:v>46.407179999999997</c:v>
                </c:pt>
                <c:pt idx="142">
                  <c:v>46.062010000000001</c:v>
                </c:pt>
                <c:pt idx="143">
                  <c:v>45.660620000000002</c:v>
                </c:pt>
                <c:pt idx="144">
                  <c:v>45.719880000000003</c:v>
                </c:pt>
                <c:pt idx="145">
                  <c:v>45.887695000000001</c:v>
                </c:pt>
                <c:pt idx="146">
                  <c:v>45.703519999999997</c:v>
                </c:pt>
                <c:pt idx="147">
                  <c:v>45.677799999999998</c:v>
                </c:pt>
                <c:pt idx="148">
                  <c:v>45.529316000000001</c:v>
                </c:pt>
                <c:pt idx="149">
                  <c:v>45.616385999999999</c:v>
                </c:pt>
                <c:pt idx="150">
                  <c:v>43.796886000000001</c:v>
                </c:pt>
                <c:pt idx="151">
                  <c:v>44.49597</c:v>
                </c:pt>
                <c:pt idx="152">
                  <c:v>44.365560000000002</c:v>
                </c:pt>
                <c:pt idx="153">
                  <c:v>44.571010000000001</c:v>
                </c:pt>
                <c:pt idx="154">
                  <c:v>44.675420000000003</c:v>
                </c:pt>
                <c:pt idx="155">
                  <c:v>44.857613000000001</c:v>
                </c:pt>
                <c:pt idx="156">
                  <c:v>44.930145000000003</c:v>
                </c:pt>
                <c:pt idx="157">
                  <c:v>45.204742000000003</c:v>
                </c:pt>
                <c:pt idx="158">
                  <c:v>45.312182999999997</c:v>
                </c:pt>
                <c:pt idx="159">
                  <c:v>45.104412000000004</c:v>
                </c:pt>
                <c:pt idx="160">
                  <c:v>45.619404000000003</c:v>
                </c:pt>
                <c:pt idx="161">
                  <c:v>45.86477</c:v>
                </c:pt>
                <c:pt idx="162">
                  <c:v>44.776985000000003</c:v>
                </c:pt>
                <c:pt idx="163">
                  <c:v>45.185912999999999</c:v>
                </c:pt>
                <c:pt idx="164">
                  <c:v>45.469665999999997</c:v>
                </c:pt>
                <c:pt idx="165">
                  <c:v>45.777509999999999</c:v>
                </c:pt>
                <c:pt idx="166">
                  <c:v>46.221310000000003</c:v>
                </c:pt>
                <c:pt idx="167">
                  <c:v>45.893062999999998</c:v>
                </c:pt>
                <c:pt idx="168">
                  <c:v>45.991869999999999</c:v>
                </c:pt>
                <c:pt idx="169">
                  <c:v>46.429073000000002</c:v>
                </c:pt>
                <c:pt idx="170">
                  <c:v>46.850320000000004</c:v>
                </c:pt>
                <c:pt idx="171">
                  <c:v>47.226100000000002</c:v>
                </c:pt>
                <c:pt idx="172">
                  <c:v>47.57246</c:v>
                </c:pt>
                <c:pt idx="173">
                  <c:v>47.999769999999998</c:v>
                </c:pt>
                <c:pt idx="174">
                  <c:v>47.816574000000003</c:v>
                </c:pt>
                <c:pt idx="175">
                  <c:v>48.039349999999999</c:v>
                </c:pt>
                <c:pt idx="176">
                  <c:v>48.318072999999998</c:v>
                </c:pt>
                <c:pt idx="177">
                  <c:v>48.53595</c:v>
                </c:pt>
                <c:pt idx="178">
                  <c:v>48.630577000000002</c:v>
                </c:pt>
                <c:pt idx="179">
                  <c:v>47.930152999999997</c:v>
                </c:pt>
                <c:pt idx="180">
                  <c:v>47.756256</c:v>
                </c:pt>
                <c:pt idx="181">
                  <c:v>47.758000000000003</c:v>
                </c:pt>
                <c:pt idx="182">
                  <c:v>47.905025000000002</c:v>
                </c:pt>
                <c:pt idx="183">
                  <c:v>48.02617</c:v>
                </c:pt>
                <c:pt idx="184">
                  <c:v>48.348350000000003</c:v>
                </c:pt>
                <c:pt idx="185">
                  <c:v>48.797504000000004</c:v>
                </c:pt>
                <c:pt idx="186">
                  <c:v>48.520046000000001</c:v>
                </c:pt>
                <c:pt idx="187">
                  <c:v>48.686836</c:v>
                </c:pt>
                <c:pt idx="188">
                  <c:v>48.890106000000003</c:v>
                </c:pt>
                <c:pt idx="189">
                  <c:v>49.064045</c:v>
                </c:pt>
                <c:pt idx="190">
                  <c:v>49.284255999999999</c:v>
                </c:pt>
                <c:pt idx="191">
                  <c:v>49.562519999999999</c:v>
                </c:pt>
                <c:pt idx="192">
                  <c:v>49.861106999999997</c:v>
                </c:pt>
                <c:pt idx="193">
                  <c:v>49.802726999999997</c:v>
                </c:pt>
                <c:pt idx="194">
                  <c:v>49.844166000000001</c:v>
                </c:pt>
                <c:pt idx="195">
                  <c:v>50.046565999999999</c:v>
                </c:pt>
                <c:pt idx="196">
                  <c:v>50.272345999999999</c:v>
                </c:pt>
                <c:pt idx="197">
                  <c:v>50.444114999999996</c:v>
                </c:pt>
                <c:pt idx="198">
                  <c:v>50.626939999999998</c:v>
                </c:pt>
                <c:pt idx="199">
                  <c:v>50.827854000000002</c:v>
                </c:pt>
                <c:pt idx="200">
                  <c:v>50.916736999999998</c:v>
                </c:pt>
                <c:pt idx="201">
                  <c:v>50.978206999999998</c:v>
                </c:pt>
                <c:pt idx="202">
                  <c:v>50.734622999999999</c:v>
                </c:pt>
                <c:pt idx="203">
                  <c:v>50.725839999999998</c:v>
                </c:pt>
                <c:pt idx="204">
                  <c:v>50.736274999999999</c:v>
                </c:pt>
                <c:pt idx="205">
                  <c:v>50.593155000000003</c:v>
                </c:pt>
                <c:pt idx="206">
                  <c:v>50.709353999999998</c:v>
                </c:pt>
                <c:pt idx="207">
                  <c:v>50.842452999999999</c:v>
                </c:pt>
                <c:pt idx="208">
                  <c:v>50.930070000000001</c:v>
                </c:pt>
                <c:pt idx="209">
                  <c:v>51.048819999999999</c:v>
                </c:pt>
                <c:pt idx="210">
                  <c:v>51.213120000000004</c:v>
                </c:pt>
                <c:pt idx="211">
                  <c:v>51.312725</c:v>
                </c:pt>
                <c:pt idx="212">
                  <c:v>51.373997000000003</c:v>
                </c:pt>
                <c:pt idx="213">
                  <c:v>51.310257</c:v>
                </c:pt>
                <c:pt idx="214">
                  <c:v>50.907226999999999</c:v>
                </c:pt>
                <c:pt idx="215">
                  <c:v>51.087451999999999</c:v>
                </c:pt>
                <c:pt idx="216">
                  <c:v>51.238532999999997</c:v>
                </c:pt>
                <c:pt idx="217">
                  <c:v>51.177723</c:v>
                </c:pt>
                <c:pt idx="218">
                  <c:v>50.958945999999997</c:v>
                </c:pt>
                <c:pt idx="219">
                  <c:v>51.116300000000003</c:v>
                </c:pt>
                <c:pt idx="220">
                  <c:v>51.188186999999999</c:v>
                </c:pt>
                <c:pt idx="221">
                  <c:v>51.21902</c:v>
                </c:pt>
                <c:pt idx="222">
                  <c:v>51.319813000000003</c:v>
                </c:pt>
                <c:pt idx="223">
                  <c:v>51.399529999999999</c:v>
                </c:pt>
                <c:pt idx="224">
                  <c:v>51.613585999999998</c:v>
                </c:pt>
                <c:pt idx="225">
                  <c:v>51.581330000000001</c:v>
                </c:pt>
                <c:pt idx="226">
                  <c:v>51.573303000000003</c:v>
                </c:pt>
                <c:pt idx="227">
                  <c:v>51.552635000000002</c:v>
                </c:pt>
                <c:pt idx="228">
                  <c:v>51.659816999999997</c:v>
                </c:pt>
                <c:pt idx="229">
                  <c:v>51.791007999999998</c:v>
                </c:pt>
                <c:pt idx="230">
                  <c:v>51.896299999999997</c:v>
                </c:pt>
                <c:pt idx="231">
                  <c:v>52.033374999999999</c:v>
                </c:pt>
                <c:pt idx="232">
                  <c:v>51.95478</c:v>
                </c:pt>
                <c:pt idx="233">
                  <c:v>52.011980000000001</c:v>
                </c:pt>
                <c:pt idx="234">
                  <c:v>51.54027</c:v>
                </c:pt>
                <c:pt idx="235">
                  <c:v>51.669080000000001</c:v>
                </c:pt>
                <c:pt idx="236">
                  <c:v>51.846380000000003</c:v>
                </c:pt>
                <c:pt idx="237">
                  <c:v>51.855465000000002</c:v>
                </c:pt>
                <c:pt idx="238">
                  <c:v>51.922443000000001</c:v>
                </c:pt>
                <c:pt idx="239">
                  <c:v>52.016106000000001</c:v>
                </c:pt>
                <c:pt idx="240">
                  <c:v>52.081603999999999</c:v>
                </c:pt>
                <c:pt idx="241">
                  <c:v>50.731026</c:v>
                </c:pt>
                <c:pt idx="242">
                  <c:v>49.681440000000002</c:v>
                </c:pt>
                <c:pt idx="243">
                  <c:v>50.29074</c:v>
                </c:pt>
                <c:pt idx="244">
                  <c:v>50.437255999999998</c:v>
                </c:pt>
                <c:pt idx="245">
                  <c:v>50.242930000000001</c:v>
                </c:pt>
                <c:pt idx="246">
                  <c:v>49.918422999999997</c:v>
                </c:pt>
                <c:pt idx="247">
                  <c:v>49.841835000000003</c:v>
                </c:pt>
                <c:pt idx="248">
                  <c:v>49.746901999999999</c:v>
                </c:pt>
                <c:pt idx="249">
                  <c:v>48.866819999999997</c:v>
                </c:pt>
                <c:pt idx="250">
                  <c:v>48.095657000000003</c:v>
                </c:pt>
                <c:pt idx="251">
                  <c:v>47.494370000000004</c:v>
                </c:pt>
                <c:pt idx="252">
                  <c:v>46.413200000000003</c:v>
                </c:pt>
                <c:pt idx="253">
                  <c:v>45.335552</c:v>
                </c:pt>
                <c:pt idx="254">
                  <c:v>44.95702</c:v>
                </c:pt>
                <c:pt idx="255">
                  <c:v>45.249065000000002</c:v>
                </c:pt>
                <c:pt idx="256">
                  <c:v>45.182777000000002</c:v>
                </c:pt>
                <c:pt idx="257">
                  <c:v>45.439570000000003</c:v>
                </c:pt>
                <c:pt idx="258">
                  <c:v>46.306429999999999</c:v>
                </c:pt>
                <c:pt idx="259">
                  <c:v>47.863959999999999</c:v>
                </c:pt>
                <c:pt idx="260">
                  <c:v>47.925114000000001</c:v>
                </c:pt>
                <c:pt idx="261">
                  <c:v>48.015346999999998</c:v>
                </c:pt>
                <c:pt idx="262">
                  <c:v>49.665999999999997</c:v>
                </c:pt>
                <c:pt idx="263">
                  <c:v>50.176937000000002</c:v>
                </c:pt>
                <c:pt idx="264">
                  <c:v>50.140479999999997</c:v>
                </c:pt>
                <c:pt idx="265">
                  <c:v>50.563262999999999</c:v>
                </c:pt>
                <c:pt idx="266">
                  <c:v>51.564261999999999</c:v>
                </c:pt>
                <c:pt idx="267">
                  <c:v>51.212302999999999</c:v>
                </c:pt>
                <c:pt idx="268">
                  <c:v>51.532139999999998</c:v>
                </c:pt>
                <c:pt idx="269">
                  <c:v>51.652102999999997</c:v>
                </c:pt>
                <c:pt idx="270">
                  <c:v>51.814746999999997</c:v>
                </c:pt>
                <c:pt idx="271">
                  <c:v>50.113773000000002</c:v>
                </c:pt>
                <c:pt idx="272">
                  <c:v>49.855699999999999</c:v>
                </c:pt>
                <c:pt idx="273">
                  <c:v>50.156790000000001</c:v>
                </c:pt>
                <c:pt idx="274">
                  <c:v>50.383293000000002</c:v>
                </c:pt>
                <c:pt idx="275">
                  <c:v>50.544266</c:v>
                </c:pt>
                <c:pt idx="276">
                  <c:v>50.853335999999999</c:v>
                </c:pt>
                <c:pt idx="277">
                  <c:v>50.921990000000001</c:v>
                </c:pt>
                <c:pt idx="278">
                  <c:v>51.016834000000003</c:v>
                </c:pt>
                <c:pt idx="279">
                  <c:v>51.220435999999999</c:v>
                </c:pt>
                <c:pt idx="280">
                  <c:v>51.248707000000003</c:v>
                </c:pt>
                <c:pt idx="281">
                  <c:v>51.076030000000003</c:v>
                </c:pt>
                <c:pt idx="282">
                  <c:v>50.877479999999998</c:v>
                </c:pt>
                <c:pt idx="283">
                  <c:v>50.958602999999997</c:v>
                </c:pt>
                <c:pt idx="284">
                  <c:v>50.911009999999997</c:v>
                </c:pt>
                <c:pt idx="285">
                  <c:v>50.679366999999999</c:v>
                </c:pt>
                <c:pt idx="286">
                  <c:v>51.030320000000003</c:v>
                </c:pt>
                <c:pt idx="287">
                  <c:v>50.794291999999999</c:v>
                </c:pt>
                <c:pt idx="288">
                  <c:v>50.717514000000001</c:v>
                </c:pt>
                <c:pt idx="289">
                  <c:v>50.65616</c:v>
                </c:pt>
                <c:pt idx="290">
                  <c:v>50.535119999999999</c:v>
                </c:pt>
                <c:pt idx="291">
                  <c:v>50.636809999999997</c:v>
                </c:pt>
                <c:pt idx="292">
                  <c:v>50.526206999999999</c:v>
                </c:pt>
                <c:pt idx="293">
                  <c:v>49.868340000000003</c:v>
                </c:pt>
                <c:pt idx="294">
                  <c:v>49.367060000000002</c:v>
                </c:pt>
                <c:pt idx="295">
                  <c:v>49.138477000000002</c:v>
                </c:pt>
                <c:pt idx="296">
                  <c:v>49.099600000000002</c:v>
                </c:pt>
                <c:pt idx="297">
                  <c:v>49.108409999999999</c:v>
                </c:pt>
                <c:pt idx="298">
                  <c:v>48.845882000000003</c:v>
                </c:pt>
                <c:pt idx="299">
                  <c:v>48.328518000000003</c:v>
                </c:pt>
                <c:pt idx="300">
                  <c:v>48.073642999999997</c:v>
                </c:pt>
                <c:pt idx="301">
                  <c:v>47.90522</c:v>
                </c:pt>
                <c:pt idx="302">
                  <c:v>47.896700000000003</c:v>
                </c:pt>
                <c:pt idx="303">
                  <c:v>47.884422000000001</c:v>
                </c:pt>
                <c:pt idx="304">
                  <c:v>47.518799999999999</c:v>
                </c:pt>
                <c:pt idx="305">
                  <c:v>45.586982999999996</c:v>
                </c:pt>
                <c:pt idx="306">
                  <c:v>44.913690000000003</c:v>
                </c:pt>
                <c:pt idx="307">
                  <c:v>44.510787999999998</c:v>
                </c:pt>
                <c:pt idx="308">
                  <c:v>44.265087000000001</c:v>
                </c:pt>
                <c:pt idx="309">
                  <c:v>43.834049999999998</c:v>
                </c:pt>
                <c:pt idx="310">
                  <c:v>43.661526000000002</c:v>
                </c:pt>
                <c:pt idx="311">
                  <c:v>43.736195000000002</c:v>
                </c:pt>
                <c:pt idx="312">
                  <c:v>43.714233</c:v>
                </c:pt>
                <c:pt idx="313">
                  <c:v>43.524867999999998</c:v>
                </c:pt>
                <c:pt idx="314">
                  <c:v>43.302363999999997</c:v>
                </c:pt>
                <c:pt idx="315">
                  <c:v>43.097650000000002</c:v>
                </c:pt>
                <c:pt idx="316">
                  <c:v>43.056038000000001</c:v>
                </c:pt>
                <c:pt idx="317">
                  <c:v>43.303795000000001</c:v>
                </c:pt>
                <c:pt idx="318">
                  <c:v>42.785964999999997</c:v>
                </c:pt>
                <c:pt idx="319">
                  <c:v>42.55359</c:v>
                </c:pt>
                <c:pt idx="320">
                  <c:v>42.758212999999998</c:v>
                </c:pt>
                <c:pt idx="321">
                  <c:v>42.674590000000002</c:v>
                </c:pt>
                <c:pt idx="322">
                  <c:v>44.627791999999999</c:v>
                </c:pt>
                <c:pt idx="323">
                  <c:v>43.903744000000003</c:v>
                </c:pt>
                <c:pt idx="324">
                  <c:v>44.090224999999997</c:v>
                </c:pt>
                <c:pt idx="325">
                  <c:v>44.640770000000003</c:v>
                </c:pt>
                <c:pt idx="326">
                  <c:v>44.974539999999998</c:v>
                </c:pt>
                <c:pt idx="327">
                  <c:v>45.674487999999997</c:v>
                </c:pt>
                <c:pt idx="328">
                  <c:v>45.778370000000002</c:v>
                </c:pt>
                <c:pt idx="329">
                  <c:v>45.120150000000002</c:v>
                </c:pt>
                <c:pt idx="330">
                  <c:v>45.285136999999999</c:v>
                </c:pt>
                <c:pt idx="331">
                  <c:v>45.551563000000002</c:v>
                </c:pt>
                <c:pt idx="332">
                  <c:v>46.124899999999997</c:v>
                </c:pt>
                <c:pt idx="333">
                  <c:v>46.720801999999999</c:v>
                </c:pt>
                <c:pt idx="334">
                  <c:v>46.996029999999998</c:v>
                </c:pt>
                <c:pt idx="335">
                  <c:v>46.334583000000002</c:v>
                </c:pt>
                <c:pt idx="336">
                  <c:v>46.405360000000002</c:v>
                </c:pt>
                <c:pt idx="337">
                  <c:v>46.553690000000003</c:v>
                </c:pt>
                <c:pt idx="338">
                  <c:v>46.5062</c:v>
                </c:pt>
                <c:pt idx="339">
                  <c:v>46.748576999999997</c:v>
                </c:pt>
                <c:pt idx="340">
                  <c:v>46.456589999999998</c:v>
                </c:pt>
                <c:pt idx="341">
                  <c:v>46.397305000000003</c:v>
                </c:pt>
                <c:pt idx="342">
                  <c:v>46.289380000000001</c:v>
                </c:pt>
                <c:pt idx="343">
                  <c:v>46.402755999999997</c:v>
                </c:pt>
                <c:pt idx="344">
                  <c:v>46.627322999999997</c:v>
                </c:pt>
                <c:pt idx="345">
                  <c:v>46.406260000000003</c:v>
                </c:pt>
                <c:pt idx="346">
                  <c:v>46.089745000000001</c:v>
                </c:pt>
                <c:pt idx="347">
                  <c:v>45.643912999999998</c:v>
                </c:pt>
                <c:pt idx="348">
                  <c:v>45.361435</c:v>
                </c:pt>
                <c:pt idx="349">
                  <c:v>45.140940000000001</c:v>
                </c:pt>
                <c:pt idx="350">
                  <c:v>45.639299999999999</c:v>
                </c:pt>
                <c:pt idx="351">
                  <c:v>45.478507999999998</c:v>
                </c:pt>
                <c:pt idx="352">
                  <c:v>45.277546000000001</c:v>
                </c:pt>
                <c:pt idx="353">
                  <c:v>45.41366</c:v>
                </c:pt>
                <c:pt idx="354">
                  <c:v>45.401626999999998</c:v>
                </c:pt>
                <c:pt idx="355">
                  <c:v>45.349808000000003</c:v>
                </c:pt>
                <c:pt idx="356">
                  <c:v>45.820168000000002</c:v>
                </c:pt>
                <c:pt idx="357">
                  <c:v>42.465380000000003</c:v>
                </c:pt>
                <c:pt idx="358">
                  <c:v>40.197339999999997</c:v>
                </c:pt>
                <c:pt idx="359">
                  <c:v>38.391795999999999</c:v>
                </c:pt>
                <c:pt idx="360">
                  <c:v>37.327460000000002</c:v>
                </c:pt>
                <c:pt idx="361">
                  <c:v>36.628822</c:v>
                </c:pt>
                <c:pt idx="362">
                  <c:v>35.623238000000001</c:v>
                </c:pt>
                <c:pt idx="363">
                  <c:v>35.541890000000002</c:v>
                </c:pt>
                <c:pt idx="364">
                  <c:v>35.322499999999998</c:v>
                </c:pt>
                <c:pt idx="365">
                  <c:v>35.534252000000002</c:v>
                </c:pt>
                <c:pt idx="366">
                  <c:v>35.446350000000002</c:v>
                </c:pt>
                <c:pt idx="367">
                  <c:v>35.292610000000003</c:v>
                </c:pt>
                <c:pt idx="368">
                  <c:v>34.656376000000002</c:v>
                </c:pt>
                <c:pt idx="369">
                  <c:v>34.322629999999997</c:v>
                </c:pt>
                <c:pt idx="370">
                  <c:v>34.382153000000002</c:v>
                </c:pt>
                <c:pt idx="371">
                  <c:v>34.449084999999997</c:v>
                </c:pt>
                <c:pt idx="372">
                  <c:v>34.424244000000002</c:v>
                </c:pt>
                <c:pt idx="373">
                  <c:v>34.498463000000001</c:v>
                </c:pt>
                <c:pt idx="374">
                  <c:v>34.730809999999998</c:v>
                </c:pt>
                <c:pt idx="375">
                  <c:v>35.094822000000001</c:v>
                </c:pt>
                <c:pt idx="376">
                  <c:v>35.138095999999997</c:v>
                </c:pt>
                <c:pt idx="377">
                  <c:v>35.356490000000001</c:v>
                </c:pt>
                <c:pt idx="378">
                  <c:v>35.597282</c:v>
                </c:pt>
                <c:pt idx="379">
                  <c:v>35.493026999999998</c:v>
                </c:pt>
                <c:pt idx="380">
                  <c:v>35.646889999999999</c:v>
                </c:pt>
                <c:pt idx="381">
                  <c:v>35.774166000000001</c:v>
                </c:pt>
                <c:pt idx="382">
                  <c:v>35.772114000000002</c:v>
                </c:pt>
                <c:pt idx="383">
                  <c:v>35.767482999999999</c:v>
                </c:pt>
                <c:pt idx="384">
                  <c:v>35.647979999999997</c:v>
                </c:pt>
                <c:pt idx="385">
                  <c:v>35.250540000000001</c:v>
                </c:pt>
                <c:pt idx="386">
                  <c:v>35.115192</c:v>
                </c:pt>
                <c:pt idx="387">
                  <c:v>36.122883000000002</c:v>
                </c:pt>
                <c:pt idx="388">
                  <c:v>36.023020000000002</c:v>
                </c:pt>
                <c:pt idx="389">
                  <c:v>36.958945999999997</c:v>
                </c:pt>
                <c:pt idx="390">
                  <c:v>36.153109999999998</c:v>
                </c:pt>
                <c:pt idx="391">
                  <c:v>35.895389999999999</c:v>
                </c:pt>
                <c:pt idx="392">
                  <c:v>37.148829999999997</c:v>
                </c:pt>
                <c:pt idx="393">
                  <c:v>36.538894999999997</c:v>
                </c:pt>
                <c:pt idx="394">
                  <c:v>36.329422000000001</c:v>
                </c:pt>
                <c:pt idx="395">
                  <c:v>35.828220000000002</c:v>
                </c:pt>
                <c:pt idx="396">
                  <c:v>35.358530000000002</c:v>
                </c:pt>
                <c:pt idx="397">
                  <c:v>35.271793000000002</c:v>
                </c:pt>
                <c:pt idx="398">
                  <c:v>37.450256000000003</c:v>
                </c:pt>
                <c:pt idx="399">
                  <c:v>38.919986999999999</c:v>
                </c:pt>
                <c:pt idx="400">
                  <c:v>37.864666</c:v>
                </c:pt>
                <c:pt idx="401">
                  <c:v>37.031677000000002</c:v>
                </c:pt>
                <c:pt idx="402">
                  <c:v>37.476886999999998</c:v>
                </c:pt>
                <c:pt idx="403">
                  <c:v>37.505809999999997</c:v>
                </c:pt>
                <c:pt idx="404">
                  <c:v>36.38212</c:v>
                </c:pt>
                <c:pt idx="405">
                  <c:v>35.799812000000003</c:v>
                </c:pt>
                <c:pt idx="406">
                  <c:v>35.715269999999997</c:v>
                </c:pt>
                <c:pt idx="407">
                  <c:v>35.300193999999998</c:v>
                </c:pt>
                <c:pt idx="408">
                  <c:v>34.540095999999998</c:v>
                </c:pt>
                <c:pt idx="409">
                  <c:v>34.382599999999996</c:v>
                </c:pt>
                <c:pt idx="410">
                  <c:v>33.966124999999998</c:v>
                </c:pt>
                <c:pt idx="411">
                  <c:v>33.783614999999998</c:v>
                </c:pt>
                <c:pt idx="412">
                  <c:v>33.644109999999998</c:v>
                </c:pt>
                <c:pt idx="413">
                  <c:v>33.756076999999998</c:v>
                </c:pt>
                <c:pt idx="414">
                  <c:v>33.591503000000003</c:v>
                </c:pt>
                <c:pt idx="415">
                  <c:v>33.739094000000001</c:v>
                </c:pt>
                <c:pt idx="416">
                  <c:v>33.641666000000001</c:v>
                </c:pt>
                <c:pt idx="417">
                  <c:v>33.503596999999999</c:v>
                </c:pt>
                <c:pt idx="418">
                  <c:v>32.965060000000001</c:v>
                </c:pt>
                <c:pt idx="419">
                  <c:v>32.563975999999997</c:v>
                </c:pt>
                <c:pt idx="420">
                  <c:v>31.829940000000001</c:v>
                </c:pt>
                <c:pt idx="421">
                  <c:v>31.130293000000002</c:v>
                </c:pt>
                <c:pt idx="422">
                  <c:v>29.951913999999999</c:v>
                </c:pt>
                <c:pt idx="423">
                  <c:v>29.79316</c:v>
                </c:pt>
                <c:pt idx="424">
                  <c:v>29.925404</c:v>
                </c:pt>
                <c:pt idx="425">
                  <c:v>30.148859999999999</c:v>
                </c:pt>
                <c:pt idx="426">
                  <c:v>29.915783000000001</c:v>
                </c:pt>
                <c:pt idx="427">
                  <c:v>30.163527999999999</c:v>
                </c:pt>
                <c:pt idx="428">
                  <c:v>29.8354</c:v>
                </c:pt>
                <c:pt idx="429">
                  <c:v>30.603795999999999</c:v>
                </c:pt>
                <c:pt idx="430">
                  <c:v>30.664455</c:v>
                </c:pt>
                <c:pt idx="431">
                  <c:v>30.541499999999999</c:v>
                </c:pt>
                <c:pt idx="432">
                  <c:v>30.199528000000001</c:v>
                </c:pt>
                <c:pt idx="433">
                  <c:v>30.315757999999999</c:v>
                </c:pt>
                <c:pt idx="434">
                  <c:v>30.745685999999999</c:v>
                </c:pt>
                <c:pt idx="435">
                  <c:v>30.905156999999999</c:v>
                </c:pt>
                <c:pt idx="436">
                  <c:v>30.591778000000001</c:v>
                </c:pt>
                <c:pt idx="437">
                  <c:v>31.426836000000002</c:v>
                </c:pt>
                <c:pt idx="438">
                  <c:v>31.699933999999999</c:v>
                </c:pt>
                <c:pt idx="439">
                  <c:v>31.777785999999999</c:v>
                </c:pt>
                <c:pt idx="440">
                  <c:v>31.796199999999999</c:v>
                </c:pt>
                <c:pt idx="441">
                  <c:v>31.776405</c:v>
                </c:pt>
                <c:pt idx="442">
                  <c:v>32.031700000000001</c:v>
                </c:pt>
                <c:pt idx="443">
                  <c:v>32.286766</c:v>
                </c:pt>
                <c:pt idx="444">
                  <c:v>32.375520000000002</c:v>
                </c:pt>
                <c:pt idx="445">
                  <c:v>32.428738000000003</c:v>
                </c:pt>
                <c:pt idx="446">
                  <c:v>32.667735999999998</c:v>
                </c:pt>
                <c:pt idx="447">
                  <c:v>31.501674999999999</c:v>
                </c:pt>
                <c:pt idx="448">
                  <c:v>32.765979999999999</c:v>
                </c:pt>
                <c:pt idx="449">
                  <c:v>32.797142000000001</c:v>
                </c:pt>
                <c:pt idx="450">
                  <c:v>33.083877999999999</c:v>
                </c:pt>
                <c:pt idx="451">
                  <c:v>33.241656999999996</c:v>
                </c:pt>
                <c:pt idx="452">
                  <c:v>33.578086999999996</c:v>
                </c:pt>
                <c:pt idx="453">
                  <c:v>33.659557</c:v>
                </c:pt>
                <c:pt idx="454">
                  <c:v>33.779899999999998</c:v>
                </c:pt>
                <c:pt idx="455">
                  <c:v>34.002699999999997</c:v>
                </c:pt>
                <c:pt idx="456">
                  <c:v>34.321255000000001</c:v>
                </c:pt>
                <c:pt idx="457">
                  <c:v>34.192030000000003</c:v>
                </c:pt>
                <c:pt idx="458">
                  <c:v>34.319546000000003</c:v>
                </c:pt>
                <c:pt idx="459">
                  <c:v>33.905833999999999</c:v>
                </c:pt>
                <c:pt idx="460">
                  <c:v>33.764384999999997</c:v>
                </c:pt>
                <c:pt idx="461">
                  <c:v>33.217125000000003</c:v>
                </c:pt>
                <c:pt idx="462">
                  <c:v>33.239555000000003</c:v>
                </c:pt>
                <c:pt idx="463">
                  <c:v>32.726599999999998</c:v>
                </c:pt>
                <c:pt idx="464">
                  <c:v>33.540432000000003</c:v>
                </c:pt>
                <c:pt idx="465">
                  <c:v>33.511519999999997</c:v>
                </c:pt>
                <c:pt idx="466">
                  <c:v>33.598922999999999</c:v>
                </c:pt>
                <c:pt idx="467">
                  <c:v>33.792724999999997</c:v>
                </c:pt>
                <c:pt idx="468">
                  <c:v>33.873874999999998</c:v>
                </c:pt>
                <c:pt idx="469">
                  <c:v>34.00826</c:v>
                </c:pt>
                <c:pt idx="470">
                  <c:v>34.084674999999997</c:v>
                </c:pt>
                <c:pt idx="471">
                  <c:v>33.924990000000001</c:v>
                </c:pt>
                <c:pt idx="472">
                  <c:v>34.279220000000002</c:v>
                </c:pt>
                <c:pt idx="473">
                  <c:v>34.422553999999998</c:v>
                </c:pt>
                <c:pt idx="474">
                  <c:v>34.604874000000002</c:v>
                </c:pt>
                <c:pt idx="475">
                  <c:v>35.306989999999999</c:v>
                </c:pt>
                <c:pt idx="476">
                  <c:v>35.655067000000003</c:v>
                </c:pt>
                <c:pt idx="477">
                  <c:v>35.64902</c:v>
                </c:pt>
                <c:pt idx="478">
                  <c:v>36.165100000000002</c:v>
                </c:pt>
                <c:pt idx="479">
                  <c:v>34.923088</c:v>
                </c:pt>
                <c:pt idx="480">
                  <c:v>36.532783999999999</c:v>
                </c:pt>
                <c:pt idx="481">
                  <c:v>36.88655</c:v>
                </c:pt>
                <c:pt idx="482">
                  <c:v>37.015841999999999</c:v>
                </c:pt>
                <c:pt idx="483">
                  <c:v>36.927287999999997</c:v>
                </c:pt>
                <c:pt idx="484">
                  <c:v>36.661549999999998</c:v>
                </c:pt>
                <c:pt idx="485">
                  <c:v>37.290503999999999</c:v>
                </c:pt>
                <c:pt idx="486">
                  <c:v>36.913254000000002</c:v>
                </c:pt>
                <c:pt idx="487">
                  <c:v>36.942320000000002</c:v>
                </c:pt>
                <c:pt idx="488">
                  <c:v>37.439419999999998</c:v>
                </c:pt>
                <c:pt idx="489">
                  <c:v>37.400978000000002</c:v>
                </c:pt>
                <c:pt idx="490">
                  <c:v>37.687964999999998</c:v>
                </c:pt>
                <c:pt idx="491">
                  <c:v>38.165349999999997</c:v>
                </c:pt>
                <c:pt idx="492">
                  <c:v>37.354263000000003</c:v>
                </c:pt>
                <c:pt idx="493">
                  <c:v>35.021056999999999</c:v>
                </c:pt>
                <c:pt idx="494">
                  <c:v>32.995857000000001</c:v>
                </c:pt>
                <c:pt idx="495">
                  <c:v>33.658768000000002</c:v>
                </c:pt>
                <c:pt idx="496">
                  <c:v>32.821514000000001</c:v>
                </c:pt>
                <c:pt idx="497">
                  <c:v>32.804347999999997</c:v>
                </c:pt>
                <c:pt idx="498">
                  <c:v>33.062122000000002</c:v>
                </c:pt>
                <c:pt idx="499">
                  <c:v>33.300579999999997</c:v>
                </c:pt>
                <c:pt idx="500">
                  <c:v>33.597133999999997</c:v>
                </c:pt>
                <c:pt idx="501">
                  <c:v>33.674624999999999</c:v>
                </c:pt>
                <c:pt idx="502">
                  <c:v>33.940002</c:v>
                </c:pt>
                <c:pt idx="503">
                  <c:v>34.212864000000003</c:v>
                </c:pt>
                <c:pt idx="504">
                  <c:v>34.453533</c:v>
                </c:pt>
                <c:pt idx="505">
                  <c:v>34.740879999999997</c:v>
                </c:pt>
                <c:pt idx="506">
                  <c:v>35.022464999999997</c:v>
                </c:pt>
                <c:pt idx="507">
                  <c:v>35.12236</c:v>
                </c:pt>
                <c:pt idx="508">
                  <c:v>34.167847000000002</c:v>
                </c:pt>
                <c:pt idx="509">
                  <c:v>35.560319999999997</c:v>
                </c:pt>
                <c:pt idx="510">
                  <c:v>35.202464999999997</c:v>
                </c:pt>
                <c:pt idx="511">
                  <c:v>34.371760000000002</c:v>
                </c:pt>
                <c:pt idx="512">
                  <c:v>35.240336999999997</c:v>
                </c:pt>
                <c:pt idx="513">
                  <c:v>35.316006000000002</c:v>
                </c:pt>
                <c:pt idx="514">
                  <c:v>35.437634000000003</c:v>
                </c:pt>
                <c:pt idx="515">
                  <c:v>35.222797</c:v>
                </c:pt>
                <c:pt idx="516">
                  <c:v>35.126632999999998</c:v>
                </c:pt>
                <c:pt idx="517">
                  <c:v>35.163609999999998</c:v>
                </c:pt>
                <c:pt idx="518">
                  <c:v>35.048774999999999</c:v>
                </c:pt>
                <c:pt idx="519">
                  <c:v>34.868378</c:v>
                </c:pt>
                <c:pt idx="520">
                  <c:v>34.776843999999997</c:v>
                </c:pt>
                <c:pt idx="521">
                  <c:v>34.437122000000002</c:v>
                </c:pt>
                <c:pt idx="522">
                  <c:v>34.747943999999997</c:v>
                </c:pt>
                <c:pt idx="523">
                  <c:v>34.793759999999999</c:v>
                </c:pt>
                <c:pt idx="524">
                  <c:v>33.376550000000002</c:v>
                </c:pt>
                <c:pt idx="525">
                  <c:v>31.827824</c:v>
                </c:pt>
                <c:pt idx="526">
                  <c:v>36.011947999999997</c:v>
                </c:pt>
                <c:pt idx="527">
                  <c:v>34.677399999999999</c:v>
                </c:pt>
                <c:pt idx="528">
                  <c:v>34.396349999999998</c:v>
                </c:pt>
                <c:pt idx="529">
                  <c:v>33.994934000000001</c:v>
                </c:pt>
                <c:pt idx="530">
                  <c:v>33.872517000000002</c:v>
                </c:pt>
                <c:pt idx="531">
                  <c:v>33.921770000000002</c:v>
                </c:pt>
                <c:pt idx="532">
                  <c:v>33.930588</c:v>
                </c:pt>
                <c:pt idx="533">
                  <c:v>33.551349999999999</c:v>
                </c:pt>
                <c:pt idx="534">
                  <c:v>32.647717</c:v>
                </c:pt>
                <c:pt idx="535">
                  <c:v>34.013190000000002</c:v>
                </c:pt>
                <c:pt idx="536">
                  <c:v>32.284199999999998</c:v>
                </c:pt>
                <c:pt idx="537">
                  <c:v>34.239339999999999</c:v>
                </c:pt>
                <c:pt idx="538">
                  <c:v>33.869433999999998</c:v>
                </c:pt>
                <c:pt idx="539">
                  <c:v>32.858910000000002</c:v>
                </c:pt>
                <c:pt idx="540">
                  <c:v>31.077449999999999</c:v>
                </c:pt>
                <c:pt idx="541">
                  <c:v>34.154293000000003</c:v>
                </c:pt>
                <c:pt idx="542">
                  <c:v>34.345314000000002</c:v>
                </c:pt>
                <c:pt idx="543">
                  <c:v>33.749943000000002</c:v>
                </c:pt>
                <c:pt idx="544">
                  <c:v>32.945439999999998</c:v>
                </c:pt>
                <c:pt idx="545">
                  <c:v>32.833354999999997</c:v>
                </c:pt>
                <c:pt idx="546">
                  <c:v>33.270156999999998</c:v>
                </c:pt>
                <c:pt idx="547">
                  <c:v>33.322760000000002</c:v>
                </c:pt>
                <c:pt idx="548">
                  <c:v>33.532364000000001</c:v>
                </c:pt>
                <c:pt idx="549">
                  <c:v>33.662979999999997</c:v>
                </c:pt>
                <c:pt idx="550">
                  <c:v>33.258343000000004</c:v>
                </c:pt>
                <c:pt idx="551">
                  <c:v>33.112746999999999</c:v>
                </c:pt>
                <c:pt idx="552">
                  <c:v>33.921639999999996</c:v>
                </c:pt>
                <c:pt idx="553">
                  <c:v>34.095683999999999</c:v>
                </c:pt>
                <c:pt idx="554">
                  <c:v>34.191401999999997</c:v>
                </c:pt>
                <c:pt idx="555">
                  <c:v>34.4345</c:v>
                </c:pt>
                <c:pt idx="556">
                  <c:v>34.711579999999998</c:v>
                </c:pt>
                <c:pt idx="557">
                  <c:v>34.918633</c:v>
                </c:pt>
                <c:pt idx="558">
                  <c:v>34.375300000000003</c:v>
                </c:pt>
                <c:pt idx="559">
                  <c:v>34.435043</c:v>
                </c:pt>
                <c:pt idx="560">
                  <c:v>34.349679999999999</c:v>
                </c:pt>
                <c:pt idx="561">
                  <c:v>33.990658000000003</c:v>
                </c:pt>
                <c:pt idx="562">
                  <c:v>34.289561999999997</c:v>
                </c:pt>
                <c:pt idx="563">
                  <c:v>34.227448000000003</c:v>
                </c:pt>
                <c:pt idx="564">
                  <c:v>34.299472999999999</c:v>
                </c:pt>
                <c:pt idx="565">
                  <c:v>33.933005999999999</c:v>
                </c:pt>
                <c:pt idx="566">
                  <c:v>33.774956000000003</c:v>
                </c:pt>
                <c:pt idx="567">
                  <c:v>33.732799999999997</c:v>
                </c:pt>
                <c:pt idx="568">
                  <c:v>33.686726</c:v>
                </c:pt>
                <c:pt idx="569">
                  <c:v>33.520637999999998</c:v>
                </c:pt>
                <c:pt idx="570">
                  <c:v>33.620154999999997</c:v>
                </c:pt>
                <c:pt idx="571">
                  <c:v>32.226345000000002</c:v>
                </c:pt>
                <c:pt idx="572">
                  <c:v>34.592815000000002</c:v>
                </c:pt>
                <c:pt idx="573">
                  <c:v>34.709038</c:v>
                </c:pt>
                <c:pt idx="574">
                  <c:v>34.505240000000001</c:v>
                </c:pt>
                <c:pt idx="575">
                  <c:v>34.648789999999998</c:v>
                </c:pt>
                <c:pt idx="576">
                  <c:v>33.664096999999998</c:v>
                </c:pt>
                <c:pt idx="577">
                  <c:v>34.114539999999998</c:v>
                </c:pt>
                <c:pt idx="578">
                  <c:v>34.29204</c:v>
                </c:pt>
                <c:pt idx="579">
                  <c:v>30.721567</c:v>
                </c:pt>
                <c:pt idx="580">
                  <c:v>34.110840000000003</c:v>
                </c:pt>
                <c:pt idx="581">
                  <c:v>34.198467000000001</c:v>
                </c:pt>
                <c:pt idx="582">
                  <c:v>34.005566000000002</c:v>
                </c:pt>
                <c:pt idx="583">
                  <c:v>32.859493000000001</c:v>
                </c:pt>
                <c:pt idx="584">
                  <c:v>33.601770000000002</c:v>
                </c:pt>
                <c:pt idx="585">
                  <c:v>33.400356000000002</c:v>
                </c:pt>
                <c:pt idx="586">
                  <c:v>33.489437000000002</c:v>
                </c:pt>
                <c:pt idx="587">
                  <c:v>33.536434</c:v>
                </c:pt>
                <c:pt idx="588">
                  <c:v>33.216076000000001</c:v>
                </c:pt>
                <c:pt idx="589">
                  <c:v>34.464750000000002</c:v>
                </c:pt>
                <c:pt idx="590">
                  <c:v>34.663204</c:v>
                </c:pt>
                <c:pt idx="591">
                  <c:v>33.544505999999998</c:v>
                </c:pt>
                <c:pt idx="592">
                  <c:v>34.222805000000001</c:v>
                </c:pt>
                <c:pt idx="593">
                  <c:v>34.474784999999997</c:v>
                </c:pt>
                <c:pt idx="594">
                  <c:v>34.656619999999997</c:v>
                </c:pt>
                <c:pt idx="595">
                  <c:v>34.772956999999998</c:v>
                </c:pt>
                <c:pt idx="596">
                  <c:v>33.990223</c:v>
                </c:pt>
                <c:pt idx="597">
                  <c:v>34.157389999999999</c:v>
                </c:pt>
                <c:pt idx="598">
                  <c:v>33.804282999999998</c:v>
                </c:pt>
                <c:pt idx="599">
                  <c:v>32.704014000000001</c:v>
                </c:pt>
                <c:pt idx="600">
                  <c:v>33.643295000000002</c:v>
                </c:pt>
                <c:pt idx="601">
                  <c:v>33.645477</c:v>
                </c:pt>
                <c:pt idx="602">
                  <c:v>34.577747000000002</c:v>
                </c:pt>
                <c:pt idx="603">
                  <c:v>33.700409999999998</c:v>
                </c:pt>
                <c:pt idx="604">
                  <c:v>34.155940000000001</c:v>
                </c:pt>
                <c:pt idx="605">
                  <c:v>34.285164000000002</c:v>
                </c:pt>
                <c:pt idx="606">
                  <c:v>34.647039999999997</c:v>
                </c:pt>
                <c:pt idx="607">
                  <c:v>34.847054</c:v>
                </c:pt>
                <c:pt idx="608">
                  <c:v>34.650806000000003</c:v>
                </c:pt>
                <c:pt idx="609">
                  <c:v>34.083827999999997</c:v>
                </c:pt>
                <c:pt idx="610">
                  <c:v>33.823684999999998</c:v>
                </c:pt>
                <c:pt idx="611">
                  <c:v>32.339103999999999</c:v>
                </c:pt>
                <c:pt idx="612">
                  <c:v>32.631450000000001</c:v>
                </c:pt>
                <c:pt idx="613">
                  <c:v>32.649875999999999</c:v>
                </c:pt>
                <c:pt idx="614">
                  <c:v>32.620823000000001</c:v>
                </c:pt>
                <c:pt idx="615">
                  <c:v>31.655412999999999</c:v>
                </c:pt>
                <c:pt idx="616">
                  <c:v>32.438183000000002</c:v>
                </c:pt>
                <c:pt idx="617">
                  <c:v>32.100723000000002</c:v>
                </c:pt>
                <c:pt idx="618">
                  <c:v>31.818428000000001</c:v>
                </c:pt>
                <c:pt idx="619">
                  <c:v>30.356739000000001</c:v>
                </c:pt>
                <c:pt idx="620">
                  <c:v>28.676967999999999</c:v>
                </c:pt>
                <c:pt idx="621">
                  <c:v>30.162472000000001</c:v>
                </c:pt>
                <c:pt idx="622">
                  <c:v>29.201495999999999</c:v>
                </c:pt>
                <c:pt idx="623">
                  <c:v>29.329789999999999</c:v>
                </c:pt>
                <c:pt idx="624">
                  <c:v>28.991206999999999</c:v>
                </c:pt>
                <c:pt idx="625">
                  <c:v>28.764800000000001</c:v>
                </c:pt>
                <c:pt idx="626">
                  <c:v>28.843807000000002</c:v>
                </c:pt>
                <c:pt idx="627">
                  <c:v>28.775883</c:v>
                </c:pt>
                <c:pt idx="628">
                  <c:v>29.002565000000001</c:v>
                </c:pt>
                <c:pt idx="629">
                  <c:v>29.015387</c:v>
                </c:pt>
                <c:pt idx="630">
                  <c:v>27.616602</c:v>
                </c:pt>
                <c:pt idx="631">
                  <c:v>28.74755</c:v>
                </c:pt>
                <c:pt idx="632">
                  <c:v>28.607444999999998</c:v>
                </c:pt>
                <c:pt idx="633">
                  <c:v>28.556723000000002</c:v>
                </c:pt>
                <c:pt idx="634">
                  <c:v>28.30883</c:v>
                </c:pt>
                <c:pt idx="635">
                  <c:v>28.109379000000001</c:v>
                </c:pt>
                <c:pt idx="636">
                  <c:v>28.075690000000002</c:v>
                </c:pt>
                <c:pt idx="637">
                  <c:v>28.142900000000001</c:v>
                </c:pt>
                <c:pt idx="638">
                  <c:v>28.200614999999999</c:v>
                </c:pt>
                <c:pt idx="639">
                  <c:v>28.432186000000002</c:v>
                </c:pt>
                <c:pt idx="640">
                  <c:v>28.742198999999999</c:v>
                </c:pt>
                <c:pt idx="641">
                  <c:v>28.774231</c:v>
                </c:pt>
                <c:pt idx="642">
                  <c:v>28.720220000000001</c:v>
                </c:pt>
                <c:pt idx="643">
                  <c:v>29.048200000000001</c:v>
                </c:pt>
                <c:pt idx="644">
                  <c:v>29.173449000000002</c:v>
                </c:pt>
                <c:pt idx="645">
                  <c:v>28.981503</c:v>
                </c:pt>
                <c:pt idx="646">
                  <c:v>28.979498</c:v>
                </c:pt>
                <c:pt idx="647">
                  <c:v>28.914766</c:v>
                </c:pt>
                <c:pt idx="648">
                  <c:v>28.491731999999999</c:v>
                </c:pt>
                <c:pt idx="649">
                  <c:v>29.584247999999999</c:v>
                </c:pt>
                <c:pt idx="650">
                  <c:v>30.596496999999999</c:v>
                </c:pt>
                <c:pt idx="651">
                  <c:v>30.40194</c:v>
                </c:pt>
                <c:pt idx="652">
                  <c:v>30.872344999999999</c:v>
                </c:pt>
                <c:pt idx="653">
                  <c:v>29.681664000000001</c:v>
                </c:pt>
                <c:pt idx="654">
                  <c:v>30.489988</c:v>
                </c:pt>
                <c:pt idx="655">
                  <c:v>29.135992000000002</c:v>
                </c:pt>
                <c:pt idx="656">
                  <c:v>29.171503000000001</c:v>
                </c:pt>
                <c:pt idx="657">
                  <c:v>29.134699999999999</c:v>
                </c:pt>
                <c:pt idx="658">
                  <c:v>28.993504999999999</c:v>
                </c:pt>
                <c:pt idx="659">
                  <c:v>29.000139999999998</c:v>
                </c:pt>
                <c:pt idx="660">
                  <c:v>28.845642000000002</c:v>
                </c:pt>
                <c:pt idx="661">
                  <c:v>28.692242</c:v>
                </c:pt>
                <c:pt idx="662">
                  <c:v>28.615380999999999</c:v>
                </c:pt>
                <c:pt idx="663">
                  <c:v>28.650993</c:v>
                </c:pt>
                <c:pt idx="664">
                  <c:v>28.6066</c:v>
                </c:pt>
                <c:pt idx="665">
                  <c:v>28.861135000000001</c:v>
                </c:pt>
                <c:pt idx="666">
                  <c:v>28.832926</c:v>
                </c:pt>
                <c:pt idx="667">
                  <c:v>28.758741000000001</c:v>
                </c:pt>
                <c:pt idx="668">
                  <c:v>28.343540000000001</c:v>
                </c:pt>
                <c:pt idx="669">
                  <c:v>28.183810000000001</c:v>
                </c:pt>
                <c:pt idx="670">
                  <c:v>28.300512000000001</c:v>
                </c:pt>
                <c:pt idx="671">
                  <c:v>28.430648999999999</c:v>
                </c:pt>
                <c:pt idx="672">
                  <c:v>27.723711000000002</c:v>
                </c:pt>
                <c:pt idx="673">
                  <c:v>28.368410000000001</c:v>
                </c:pt>
                <c:pt idx="674">
                  <c:v>27.365895999999999</c:v>
                </c:pt>
                <c:pt idx="675">
                  <c:v>28.486307</c:v>
                </c:pt>
                <c:pt idx="676">
                  <c:v>28.685790000000001</c:v>
                </c:pt>
                <c:pt idx="677">
                  <c:v>28.782368000000002</c:v>
                </c:pt>
                <c:pt idx="678">
                  <c:v>28.798569000000001</c:v>
                </c:pt>
                <c:pt idx="679">
                  <c:v>28.807901000000001</c:v>
                </c:pt>
                <c:pt idx="680">
                  <c:v>28.822983000000001</c:v>
                </c:pt>
                <c:pt idx="681">
                  <c:v>28.817931999999999</c:v>
                </c:pt>
                <c:pt idx="682">
                  <c:v>28.870706999999999</c:v>
                </c:pt>
                <c:pt idx="683">
                  <c:v>27.462246</c:v>
                </c:pt>
                <c:pt idx="684">
                  <c:v>28.257989999999999</c:v>
                </c:pt>
                <c:pt idx="685">
                  <c:v>27.976590000000002</c:v>
                </c:pt>
                <c:pt idx="686">
                  <c:v>27.896698000000001</c:v>
                </c:pt>
                <c:pt idx="687">
                  <c:v>27.534409</c:v>
                </c:pt>
                <c:pt idx="688">
                  <c:v>28.162317000000002</c:v>
                </c:pt>
                <c:pt idx="689">
                  <c:v>28.193052000000002</c:v>
                </c:pt>
                <c:pt idx="690">
                  <c:v>28.272285</c:v>
                </c:pt>
                <c:pt idx="691">
                  <c:v>28.444164000000001</c:v>
                </c:pt>
                <c:pt idx="692">
                  <c:v>28.61938</c:v>
                </c:pt>
                <c:pt idx="693">
                  <c:v>28.769677999999999</c:v>
                </c:pt>
                <c:pt idx="694">
                  <c:v>28.859753000000001</c:v>
                </c:pt>
                <c:pt idx="695">
                  <c:v>28.899342999999998</c:v>
                </c:pt>
                <c:pt idx="696">
                  <c:v>29.011199999999999</c:v>
                </c:pt>
                <c:pt idx="697">
                  <c:v>29.458288</c:v>
                </c:pt>
                <c:pt idx="698">
                  <c:v>28.888663999999999</c:v>
                </c:pt>
                <c:pt idx="699">
                  <c:v>28.995445</c:v>
                </c:pt>
                <c:pt idx="700">
                  <c:v>29.124075000000001</c:v>
                </c:pt>
                <c:pt idx="701">
                  <c:v>29.243086000000002</c:v>
                </c:pt>
                <c:pt idx="702">
                  <c:v>29.171274</c:v>
                </c:pt>
                <c:pt idx="703">
                  <c:v>28.978607</c:v>
                </c:pt>
                <c:pt idx="704">
                  <c:v>28.910012999999999</c:v>
                </c:pt>
                <c:pt idx="705">
                  <c:v>28.981268</c:v>
                </c:pt>
                <c:pt idx="706">
                  <c:v>29.059145000000001</c:v>
                </c:pt>
                <c:pt idx="707">
                  <c:v>29.086510000000001</c:v>
                </c:pt>
                <c:pt idx="708">
                  <c:v>29.190714</c:v>
                </c:pt>
                <c:pt idx="709">
                  <c:v>29.294119999999999</c:v>
                </c:pt>
                <c:pt idx="710">
                  <c:v>29.867546000000001</c:v>
                </c:pt>
                <c:pt idx="711">
                  <c:v>28.953682000000001</c:v>
                </c:pt>
                <c:pt idx="712">
                  <c:v>27.996230000000001</c:v>
                </c:pt>
                <c:pt idx="713">
                  <c:v>28.964569999999998</c:v>
                </c:pt>
                <c:pt idx="714">
                  <c:v>28.977243000000001</c:v>
                </c:pt>
                <c:pt idx="715">
                  <c:v>29.030221999999998</c:v>
                </c:pt>
                <c:pt idx="716">
                  <c:v>28.101568</c:v>
                </c:pt>
                <c:pt idx="717">
                  <c:v>28.933541999999999</c:v>
                </c:pt>
                <c:pt idx="718">
                  <c:v>28.202915000000001</c:v>
                </c:pt>
                <c:pt idx="719">
                  <c:v>28.78848</c:v>
                </c:pt>
                <c:pt idx="720">
                  <c:v>28.827020000000001</c:v>
                </c:pt>
                <c:pt idx="721">
                  <c:v>28.865176999999999</c:v>
                </c:pt>
                <c:pt idx="722">
                  <c:v>28.954333999999999</c:v>
                </c:pt>
                <c:pt idx="723">
                  <c:v>28.970227999999999</c:v>
                </c:pt>
                <c:pt idx="724">
                  <c:v>28.678422999999999</c:v>
                </c:pt>
                <c:pt idx="725">
                  <c:v>28.473026000000001</c:v>
                </c:pt>
                <c:pt idx="726">
                  <c:v>28.671886000000001</c:v>
                </c:pt>
                <c:pt idx="727">
                  <c:v>28.874860000000002</c:v>
                </c:pt>
                <c:pt idx="728">
                  <c:v>28.784255999999999</c:v>
                </c:pt>
                <c:pt idx="729">
                  <c:v>28.778395</c:v>
                </c:pt>
                <c:pt idx="730">
                  <c:v>29.252571</c:v>
                </c:pt>
                <c:pt idx="731">
                  <c:v>29.327507000000001</c:v>
                </c:pt>
                <c:pt idx="732">
                  <c:v>29.387653</c:v>
                </c:pt>
                <c:pt idx="733">
                  <c:v>29.382597000000001</c:v>
                </c:pt>
                <c:pt idx="734">
                  <c:v>29.316347</c:v>
                </c:pt>
                <c:pt idx="735">
                  <c:v>28.85005</c:v>
                </c:pt>
                <c:pt idx="736">
                  <c:v>28.723541000000001</c:v>
                </c:pt>
                <c:pt idx="737">
                  <c:v>28.783404999999998</c:v>
                </c:pt>
                <c:pt idx="738">
                  <c:v>28.616285000000001</c:v>
                </c:pt>
                <c:pt idx="739">
                  <c:v>28.597656000000001</c:v>
                </c:pt>
                <c:pt idx="740">
                  <c:v>28.585584999999998</c:v>
                </c:pt>
                <c:pt idx="741">
                  <c:v>28.685257</c:v>
                </c:pt>
                <c:pt idx="742">
                  <c:v>28.641110000000001</c:v>
                </c:pt>
                <c:pt idx="743">
                  <c:v>28.697071000000001</c:v>
                </c:pt>
                <c:pt idx="744">
                  <c:v>28.797851999999999</c:v>
                </c:pt>
                <c:pt idx="745">
                  <c:v>28.796284</c:v>
                </c:pt>
                <c:pt idx="746">
                  <c:v>27.790904999999999</c:v>
                </c:pt>
                <c:pt idx="747">
                  <c:v>27.781486999999998</c:v>
                </c:pt>
                <c:pt idx="748">
                  <c:v>27.082253999999999</c:v>
                </c:pt>
                <c:pt idx="749">
                  <c:v>26.267399000000001</c:v>
                </c:pt>
                <c:pt idx="750">
                  <c:v>25.053175</c:v>
                </c:pt>
                <c:pt idx="751">
                  <c:v>24.965584</c:v>
                </c:pt>
                <c:pt idx="752">
                  <c:v>25.438772</c:v>
                </c:pt>
                <c:pt idx="753">
                  <c:v>25.199870000000001</c:v>
                </c:pt>
                <c:pt idx="754">
                  <c:v>25.915137999999999</c:v>
                </c:pt>
                <c:pt idx="755">
                  <c:v>26.377295</c:v>
                </c:pt>
                <c:pt idx="756">
                  <c:v>25.969792999999999</c:v>
                </c:pt>
                <c:pt idx="757">
                  <c:v>27.212714999999999</c:v>
                </c:pt>
                <c:pt idx="758">
                  <c:v>27.645002000000002</c:v>
                </c:pt>
                <c:pt idx="759">
                  <c:v>28.023426000000001</c:v>
                </c:pt>
                <c:pt idx="760">
                  <c:v>27.907978</c:v>
                </c:pt>
                <c:pt idx="761">
                  <c:v>27.894473999999999</c:v>
                </c:pt>
                <c:pt idx="762">
                  <c:v>27.971368999999999</c:v>
                </c:pt>
                <c:pt idx="763">
                  <c:v>27.98254</c:v>
                </c:pt>
                <c:pt idx="764">
                  <c:v>28.138013999999998</c:v>
                </c:pt>
                <c:pt idx="765">
                  <c:v>28.050428</c:v>
                </c:pt>
                <c:pt idx="766">
                  <c:v>27.977295000000002</c:v>
                </c:pt>
                <c:pt idx="767">
                  <c:v>27.837309000000001</c:v>
                </c:pt>
                <c:pt idx="768">
                  <c:v>27.547853</c:v>
                </c:pt>
                <c:pt idx="769">
                  <c:v>26.407637000000001</c:v>
                </c:pt>
                <c:pt idx="770">
                  <c:v>25.39733</c:v>
                </c:pt>
                <c:pt idx="771">
                  <c:v>24.496672</c:v>
                </c:pt>
                <c:pt idx="772">
                  <c:v>22.017633</c:v>
                </c:pt>
                <c:pt idx="773">
                  <c:v>21.500039999999998</c:v>
                </c:pt>
                <c:pt idx="774">
                  <c:v>19.807946999999999</c:v>
                </c:pt>
                <c:pt idx="775">
                  <c:v>17.543569999999999</c:v>
                </c:pt>
                <c:pt idx="776">
                  <c:v>17.451264999999999</c:v>
                </c:pt>
                <c:pt idx="777">
                  <c:v>17.842445000000001</c:v>
                </c:pt>
                <c:pt idx="778">
                  <c:v>12.696386</c:v>
                </c:pt>
                <c:pt idx="779">
                  <c:v>15.906682</c:v>
                </c:pt>
                <c:pt idx="780">
                  <c:v>14.476571</c:v>
                </c:pt>
                <c:pt idx="781">
                  <c:v>14.207015999999999</c:v>
                </c:pt>
                <c:pt idx="782">
                  <c:v>14.567220000000001</c:v>
                </c:pt>
                <c:pt idx="783">
                  <c:v>13.844521</c:v>
                </c:pt>
                <c:pt idx="784">
                  <c:v>13.629459000000001</c:v>
                </c:pt>
                <c:pt idx="785">
                  <c:v>12.5870075</c:v>
                </c:pt>
                <c:pt idx="786">
                  <c:v>11.916054000000001</c:v>
                </c:pt>
                <c:pt idx="787">
                  <c:v>11.943576</c:v>
                </c:pt>
                <c:pt idx="788">
                  <c:v>12.247980999999999</c:v>
                </c:pt>
                <c:pt idx="789">
                  <c:v>12.799882</c:v>
                </c:pt>
                <c:pt idx="790">
                  <c:v>13.027893000000001</c:v>
                </c:pt>
                <c:pt idx="791">
                  <c:v>13.27356</c:v>
                </c:pt>
                <c:pt idx="792">
                  <c:v>13.000287999999999</c:v>
                </c:pt>
                <c:pt idx="793">
                  <c:v>13.174105000000001</c:v>
                </c:pt>
                <c:pt idx="794">
                  <c:v>9.586138</c:v>
                </c:pt>
                <c:pt idx="795">
                  <c:v>9.5637840000000001</c:v>
                </c:pt>
                <c:pt idx="796">
                  <c:v>10.473371500000001</c:v>
                </c:pt>
                <c:pt idx="797">
                  <c:v>10.925243</c:v>
                </c:pt>
                <c:pt idx="798">
                  <c:v>11.1541195</c:v>
                </c:pt>
                <c:pt idx="799">
                  <c:v>12.112802</c:v>
                </c:pt>
                <c:pt idx="800">
                  <c:v>11.200813</c:v>
                </c:pt>
                <c:pt idx="801">
                  <c:v>11.707928000000001</c:v>
                </c:pt>
                <c:pt idx="802">
                  <c:v>12.225433000000001</c:v>
                </c:pt>
                <c:pt idx="803">
                  <c:v>11.789306</c:v>
                </c:pt>
                <c:pt idx="804">
                  <c:v>11.672839</c:v>
                </c:pt>
                <c:pt idx="805">
                  <c:v>12.385811</c:v>
                </c:pt>
                <c:pt idx="806">
                  <c:v>12.055399</c:v>
                </c:pt>
                <c:pt idx="807">
                  <c:v>11.741091000000001</c:v>
                </c:pt>
                <c:pt idx="808">
                  <c:v>9.3229199999999999</c:v>
                </c:pt>
                <c:pt idx="809">
                  <c:v>9.6295029999999997</c:v>
                </c:pt>
                <c:pt idx="810">
                  <c:v>11.472003000000001</c:v>
                </c:pt>
                <c:pt idx="811">
                  <c:v>11.218208000000001</c:v>
                </c:pt>
                <c:pt idx="812">
                  <c:v>11.326903</c:v>
                </c:pt>
                <c:pt idx="813">
                  <c:v>11.447016</c:v>
                </c:pt>
                <c:pt idx="814">
                  <c:v>12.062747999999999</c:v>
                </c:pt>
                <c:pt idx="815">
                  <c:v>11.927287</c:v>
                </c:pt>
                <c:pt idx="816">
                  <c:v>11.390221</c:v>
                </c:pt>
                <c:pt idx="817">
                  <c:v>12.79058</c:v>
                </c:pt>
                <c:pt idx="818">
                  <c:v>12.518775</c:v>
                </c:pt>
                <c:pt idx="819">
                  <c:v>12.49971</c:v>
                </c:pt>
                <c:pt idx="820">
                  <c:v>12.264832999999999</c:v>
                </c:pt>
                <c:pt idx="821">
                  <c:v>11.888082000000001</c:v>
                </c:pt>
                <c:pt idx="822">
                  <c:v>11.727040000000001</c:v>
                </c:pt>
                <c:pt idx="823">
                  <c:v>11.478954</c:v>
                </c:pt>
                <c:pt idx="824">
                  <c:v>10.495499000000001</c:v>
                </c:pt>
                <c:pt idx="825">
                  <c:v>11.412943</c:v>
                </c:pt>
                <c:pt idx="826">
                  <c:v>11.339263000000001</c:v>
                </c:pt>
                <c:pt idx="827">
                  <c:v>11.089663</c:v>
                </c:pt>
                <c:pt idx="828">
                  <c:v>11.183273</c:v>
                </c:pt>
                <c:pt idx="829">
                  <c:v>10.429850999999999</c:v>
                </c:pt>
                <c:pt idx="830">
                  <c:v>11.748089999999999</c:v>
                </c:pt>
                <c:pt idx="831">
                  <c:v>10.943911999999999</c:v>
                </c:pt>
                <c:pt idx="832">
                  <c:v>11.334446</c:v>
                </c:pt>
                <c:pt idx="833">
                  <c:v>12.007343000000001</c:v>
                </c:pt>
                <c:pt idx="834">
                  <c:v>11.575804</c:v>
                </c:pt>
                <c:pt idx="835">
                  <c:v>12.029207</c:v>
                </c:pt>
                <c:pt idx="836">
                  <c:v>11.901730000000001</c:v>
                </c:pt>
                <c:pt idx="837">
                  <c:v>11.505242000000001</c:v>
                </c:pt>
                <c:pt idx="838">
                  <c:v>10.346406999999999</c:v>
                </c:pt>
                <c:pt idx="839">
                  <c:v>12.467458000000001</c:v>
                </c:pt>
                <c:pt idx="840">
                  <c:v>17.549526</c:v>
                </c:pt>
                <c:pt idx="841">
                  <c:v>19.500171999999999</c:v>
                </c:pt>
                <c:pt idx="842">
                  <c:v>17.504988000000001</c:v>
                </c:pt>
                <c:pt idx="843">
                  <c:v>16.760824</c:v>
                </c:pt>
                <c:pt idx="844">
                  <c:v>16.238112999999998</c:v>
                </c:pt>
                <c:pt idx="845">
                  <c:v>15.727546</c:v>
                </c:pt>
                <c:pt idx="846">
                  <c:v>16.770648999999999</c:v>
                </c:pt>
                <c:pt idx="847">
                  <c:v>15.560570999999999</c:v>
                </c:pt>
                <c:pt idx="848">
                  <c:v>15.494766</c:v>
                </c:pt>
                <c:pt idx="849">
                  <c:v>14.777352</c:v>
                </c:pt>
                <c:pt idx="850">
                  <c:v>14.246128000000001</c:v>
                </c:pt>
                <c:pt idx="851">
                  <c:v>14.166259</c:v>
                </c:pt>
                <c:pt idx="852">
                  <c:v>13.742872</c:v>
                </c:pt>
                <c:pt idx="853">
                  <c:v>15.614952000000001</c:v>
                </c:pt>
                <c:pt idx="854">
                  <c:v>15.269572</c:v>
                </c:pt>
                <c:pt idx="855">
                  <c:v>14.9493065</c:v>
                </c:pt>
                <c:pt idx="856">
                  <c:v>14.639763</c:v>
                </c:pt>
                <c:pt idx="857">
                  <c:v>13.507076</c:v>
                </c:pt>
                <c:pt idx="858">
                  <c:v>13.151983</c:v>
                </c:pt>
                <c:pt idx="859">
                  <c:v>13.732355</c:v>
                </c:pt>
                <c:pt idx="860">
                  <c:v>13.421685</c:v>
                </c:pt>
                <c:pt idx="861">
                  <c:v>13.223779</c:v>
                </c:pt>
                <c:pt idx="862">
                  <c:v>13.09253</c:v>
                </c:pt>
                <c:pt idx="863">
                  <c:v>12.923985</c:v>
                </c:pt>
                <c:pt idx="864">
                  <c:v>12.506816000000001</c:v>
                </c:pt>
                <c:pt idx="865">
                  <c:v>12.935088</c:v>
                </c:pt>
                <c:pt idx="866">
                  <c:v>11.453417999999999</c:v>
                </c:pt>
                <c:pt idx="867">
                  <c:v>12.234387</c:v>
                </c:pt>
                <c:pt idx="868">
                  <c:v>12.813966000000001</c:v>
                </c:pt>
                <c:pt idx="869">
                  <c:v>13.006456999999999</c:v>
                </c:pt>
                <c:pt idx="870">
                  <c:v>12.395765000000001</c:v>
                </c:pt>
                <c:pt idx="871">
                  <c:v>12.551626000000001</c:v>
                </c:pt>
                <c:pt idx="872">
                  <c:v>11.733796999999999</c:v>
                </c:pt>
                <c:pt idx="873">
                  <c:v>12.154178999999999</c:v>
                </c:pt>
                <c:pt idx="874">
                  <c:v>12.900693</c:v>
                </c:pt>
                <c:pt idx="875">
                  <c:v>12.709683999999999</c:v>
                </c:pt>
                <c:pt idx="876">
                  <c:v>12.400964</c:v>
                </c:pt>
                <c:pt idx="877">
                  <c:v>12.271108999999999</c:v>
                </c:pt>
                <c:pt idx="878">
                  <c:v>12.107898</c:v>
                </c:pt>
                <c:pt idx="879">
                  <c:v>11.742535</c:v>
                </c:pt>
                <c:pt idx="880">
                  <c:v>11.908894999999999</c:v>
                </c:pt>
                <c:pt idx="881">
                  <c:v>11.892936000000001</c:v>
                </c:pt>
                <c:pt idx="882">
                  <c:v>11.986025</c:v>
                </c:pt>
                <c:pt idx="883">
                  <c:v>12.820722999999999</c:v>
                </c:pt>
                <c:pt idx="884">
                  <c:v>13.432649</c:v>
                </c:pt>
                <c:pt idx="885">
                  <c:v>12.955803</c:v>
                </c:pt>
                <c:pt idx="886">
                  <c:v>13.631423</c:v>
                </c:pt>
                <c:pt idx="887">
                  <c:v>14.0455065</c:v>
                </c:pt>
                <c:pt idx="888">
                  <c:v>13.757944999999999</c:v>
                </c:pt>
                <c:pt idx="889">
                  <c:v>13.329585</c:v>
                </c:pt>
                <c:pt idx="890">
                  <c:v>11.546989999999999</c:v>
                </c:pt>
                <c:pt idx="891">
                  <c:v>13.000353</c:v>
                </c:pt>
                <c:pt idx="892">
                  <c:v>11.563908</c:v>
                </c:pt>
                <c:pt idx="893">
                  <c:v>12.763323</c:v>
                </c:pt>
                <c:pt idx="894">
                  <c:v>12.000938</c:v>
                </c:pt>
                <c:pt idx="895">
                  <c:v>12.466314000000001</c:v>
                </c:pt>
                <c:pt idx="896">
                  <c:v>12.743093999999999</c:v>
                </c:pt>
                <c:pt idx="897">
                  <c:v>12.859406999999999</c:v>
                </c:pt>
                <c:pt idx="898">
                  <c:v>12.973086</c:v>
                </c:pt>
                <c:pt idx="899">
                  <c:v>13.672515000000001</c:v>
                </c:pt>
                <c:pt idx="900">
                  <c:v>13.406954000000001</c:v>
                </c:pt>
                <c:pt idx="901">
                  <c:v>13.166572</c:v>
                </c:pt>
                <c:pt idx="902">
                  <c:v>13.402089999999999</c:v>
                </c:pt>
                <c:pt idx="903">
                  <c:v>13.583662</c:v>
                </c:pt>
                <c:pt idx="904">
                  <c:v>13.823594</c:v>
                </c:pt>
                <c:pt idx="905">
                  <c:v>13.643795000000001</c:v>
                </c:pt>
                <c:pt idx="906">
                  <c:v>12.907406</c:v>
                </c:pt>
                <c:pt idx="907">
                  <c:v>13.597647</c:v>
                </c:pt>
                <c:pt idx="908">
                  <c:v>13.23395</c:v>
                </c:pt>
                <c:pt idx="909">
                  <c:v>12.912520000000001</c:v>
                </c:pt>
                <c:pt idx="910">
                  <c:v>12.702183</c:v>
                </c:pt>
                <c:pt idx="911">
                  <c:v>12.579001999999999</c:v>
                </c:pt>
                <c:pt idx="912">
                  <c:v>12.850235</c:v>
                </c:pt>
                <c:pt idx="913">
                  <c:v>12.631617</c:v>
                </c:pt>
                <c:pt idx="914">
                  <c:v>11.392632000000001</c:v>
                </c:pt>
                <c:pt idx="915">
                  <c:v>12.490455000000001</c:v>
                </c:pt>
                <c:pt idx="916">
                  <c:v>11.253194000000001</c:v>
                </c:pt>
                <c:pt idx="917">
                  <c:v>12.102945</c:v>
                </c:pt>
                <c:pt idx="918">
                  <c:v>12.034211000000001</c:v>
                </c:pt>
                <c:pt idx="919">
                  <c:v>11.979258</c:v>
                </c:pt>
                <c:pt idx="920">
                  <c:v>12.187818999999999</c:v>
                </c:pt>
                <c:pt idx="921">
                  <c:v>11.655946</c:v>
                </c:pt>
                <c:pt idx="922">
                  <c:v>12.084687000000001</c:v>
                </c:pt>
                <c:pt idx="923">
                  <c:v>12.462904999999999</c:v>
                </c:pt>
                <c:pt idx="924">
                  <c:v>12.082129999999999</c:v>
                </c:pt>
                <c:pt idx="925">
                  <c:v>12.976243999999999</c:v>
                </c:pt>
                <c:pt idx="926">
                  <c:v>12.413378</c:v>
                </c:pt>
                <c:pt idx="927">
                  <c:v>12.992777999999999</c:v>
                </c:pt>
                <c:pt idx="928">
                  <c:v>13.074873</c:v>
                </c:pt>
                <c:pt idx="929">
                  <c:v>13.047537999999999</c:v>
                </c:pt>
                <c:pt idx="930">
                  <c:v>13.090820000000001</c:v>
                </c:pt>
                <c:pt idx="931">
                  <c:v>13.357968</c:v>
                </c:pt>
                <c:pt idx="932">
                  <c:v>13.158227999999999</c:v>
                </c:pt>
                <c:pt idx="933">
                  <c:v>13.068208</c:v>
                </c:pt>
                <c:pt idx="934">
                  <c:v>13.048477999999999</c:v>
                </c:pt>
                <c:pt idx="935">
                  <c:v>12.6985855</c:v>
                </c:pt>
                <c:pt idx="936">
                  <c:v>13.078068</c:v>
                </c:pt>
                <c:pt idx="937">
                  <c:v>12.681281999999999</c:v>
                </c:pt>
                <c:pt idx="938">
                  <c:v>13.434716</c:v>
                </c:pt>
                <c:pt idx="939">
                  <c:v>13.613211</c:v>
                </c:pt>
                <c:pt idx="940">
                  <c:v>12.650064</c:v>
                </c:pt>
                <c:pt idx="941">
                  <c:v>13.050795000000001</c:v>
                </c:pt>
                <c:pt idx="942">
                  <c:v>11.208577</c:v>
                </c:pt>
                <c:pt idx="943">
                  <c:v>12.881401</c:v>
                </c:pt>
                <c:pt idx="944">
                  <c:v>12.687049999999999</c:v>
                </c:pt>
                <c:pt idx="945">
                  <c:v>12.451528</c:v>
                </c:pt>
                <c:pt idx="946">
                  <c:v>12.408189</c:v>
                </c:pt>
                <c:pt idx="947">
                  <c:v>12.482255</c:v>
                </c:pt>
                <c:pt idx="948">
                  <c:v>12.709228</c:v>
                </c:pt>
                <c:pt idx="949">
                  <c:v>12.719951</c:v>
                </c:pt>
                <c:pt idx="950">
                  <c:v>14.233855</c:v>
                </c:pt>
                <c:pt idx="951">
                  <c:v>14.729737999999999</c:v>
                </c:pt>
                <c:pt idx="952">
                  <c:v>14.591314000000001</c:v>
                </c:pt>
                <c:pt idx="953">
                  <c:v>14.514263</c:v>
                </c:pt>
                <c:pt idx="954">
                  <c:v>14.364333999999999</c:v>
                </c:pt>
                <c:pt idx="955">
                  <c:v>14.874787</c:v>
                </c:pt>
                <c:pt idx="956">
                  <c:v>13.412725</c:v>
                </c:pt>
                <c:pt idx="957">
                  <c:v>14.769450000000001</c:v>
                </c:pt>
                <c:pt idx="958">
                  <c:v>14.762245999999999</c:v>
                </c:pt>
                <c:pt idx="959">
                  <c:v>14.512193</c:v>
                </c:pt>
                <c:pt idx="960">
                  <c:v>14.975155000000001</c:v>
                </c:pt>
                <c:pt idx="961">
                  <c:v>15.848668</c:v>
                </c:pt>
                <c:pt idx="962">
                  <c:v>15.726941999999999</c:v>
                </c:pt>
                <c:pt idx="963">
                  <c:v>15.420139000000001</c:v>
                </c:pt>
                <c:pt idx="964">
                  <c:v>15.597745</c:v>
                </c:pt>
                <c:pt idx="965">
                  <c:v>15.545522999999999</c:v>
                </c:pt>
                <c:pt idx="966">
                  <c:v>15.539196</c:v>
                </c:pt>
                <c:pt idx="967">
                  <c:v>16.896280000000001</c:v>
                </c:pt>
                <c:pt idx="968">
                  <c:v>16.472363999999999</c:v>
                </c:pt>
                <c:pt idx="969">
                  <c:v>16.670164</c:v>
                </c:pt>
                <c:pt idx="970">
                  <c:v>16.940006</c:v>
                </c:pt>
                <c:pt idx="971">
                  <c:v>16.899626000000001</c:v>
                </c:pt>
                <c:pt idx="972">
                  <c:v>16.614899000000001</c:v>
                </c:pt>
                <c:pt idx="973">
                  <c:v>16.630458999999998</c:v>
                </c:pt>
                <c:pt idx="974">
                  <c:v>16.496003999999999</c:v>
                </c:pt>
                <c:pt idx="975">
                  <c:v>16.459440000000001</c:v>
                </c:pt>
                <c:pt idx="976">
                  <c:v>16.215530000000001</c:v>
                </c:pt>
                <c:pt idx="977">
                  <c:v>16.000347000000001</c:v>
                </c:pt>
                <c:pt idx="978">
                  <c:v>15.518554999999999</c:v>
                </c:pt>
                <c:pt idx="979">
                  <c:v>16.111916999999998</c:v>
                </c:pt>
                <c:pt idx="980">
                  <c:v>16.02225</c:v>
                </c:pt>
                <c:pt idx="981">
                  <c:v>15.864210999999999</c:v>
                </c:pt>
                <c:pt idx="982">
                  <c:v>15.512516</c:v>
                </c:pt>
                <c:pt idx="983">
                  <c:v>15.663843</c:v>
                </c:pt>
                <c:pt idx="984">
                  <c:v>15.573166000000001</c:v>
                </c:pt>
                <c:pt idx="985">
                  <c:v>14.634675</c:v>
                </c:pt>
                <c:pt idx="986">
                  <c:v>14.559174000000001</c:v>
                </c:pt>
                <c:pt idx="987">
                  <c:v>15.898368</c:v>
                </c:pt>
                <c:pt idx="988">
                  <c:v>15.938160999999999</c:v>
                </c:pt>
                <c:pt idx="989">
                  <c:v>15.943963</c:v>
                </c:pt>
                <c:pt idx="990">
                  <c:v>15.98954</c:v>
                </c:pt>
                <c:pt idx="991">
                  <c:v>15.889113999999999</c:v>
                </c:pt>
                <c:pt idx="992">
                  <c:v>15.946868</c:v>
                </c:pt>
                <c:pt idx="993">
                  <c:v>15.913691999999999</c:v>
                </c:pt>
                <c:pt idx="994">
                  <c:v>15.988759999999999</c:v>
                </c:pt>
                <c:pt idx="995">
                  <c:v>15.91047</c:v>
                </c:pt>
                <c:pt idx="996">
                  <c:v>15.138896000000001</c:v>
                </c:pt>
                <c:pt idx="997">
                  <c:v>15.901908000000001</c:v>
                </c:pt>
                <c:pt idx="998">
                  <c:v>16.192492000000001</c:v>
                </c:pt>
                <c:pt idx="999">
                  <c:v>16.059287999999999</c:v>
                </c:pt>
                <c:pt idx="1000">
                  <c:v>15.952548</c:v>
                </c:pt>
                <c:pt idx="1001">
                  <c:v>15.994144</c:v>
                </c:pt>
                <c:pt idx="1002">
                  <c:v>16.536987</c:v>
                </c:pt>
                <c:pt idx="1003">
                  <c:v>16.067549</c:v>
                </c:pt>
                <c:pt idx="1004">
                  <c:v>16.228832000000001</c:v>
                </c:pt>
                <c:pt idx="1005">
                  <c:v>16.202549999999999</c:v>
                </c:pt>
                <c:pt idx="1006">
                  <c:v>16.753895</c:v>
                </c:pt>
                <c:pt idx="1007">
                  <c:v>19.810348999999999</c:v>
                </c:pt>
                <c:pt idx="1008">
                  <c:v>18.181457999999999</c:v>
                </c:pt>
                <c:pt idx="1009">
                  <c:v>17.118566999999999</c:v>
                </c:pt>
                <c:pt idx="1010">
                  <c:v>16.836466000000001</c:v>
                </c:pt>
                <c:pt idx="1011">
                  <c:v>16.850764999999999</c:v>
                </c:pt>
                <c:pt idx="1012">
                  <c:v>16.730422999999998</c:v>
                </c:pt>
                <c:pt idx="1013">
                  <c:v>16.880592</c:v>
                </c:pt>
                <c:pt idx="1014">
                  <c:v>16.12274</c:v>
                </c:pt>
                <c:pt idx="1015">
                  <c:v>16.019579</c:v>
                </c:pt>
                <c:pt idx="1016">
                  <c:v>16.611462</c:v>
                </c:pt>
                <c:pt idx="1017">
                  <c:v>16.660124</c:v>
                </c:pt>
                <c:pt idx="1018">
                  <c:v>16.673853000000001</c:v>
                </c:pt>
                <c:pt idx="1019">
                  <c:v>16.732327999999999</c:v>
                </c:pt>
                <c:pt idx="1020">
                  <c:v>16.090544000000001</c:v>
                </c:pt>
                <c:pt idx="1021">
                  <c:v>16.796118</c:v>
                </c:pt>
                <c:pt idx="1022">
                  <c:v>16.828258999999999</c:v>
                </c:pt>
                <c:pt idx="1023">
                  <c:v>17.056228999999998</c:v>
                </c:pt>
                <c:pt idx="1024">
                  <c:v>17.01688</c:v>
                </c:pt>
                <c:pt idx="1025">
                  <c:v>17.038404</c:v>
                </c:pt>
                <c:pt idx="1026">
                  <c:v>16.942862999999999</c:v>
                </c:pt>
                <c:pt idx="1027">
                  <c:v>16.728836000000001</c:v>
                </c:pt>
                <c:pt idx="1028">
                  <c:v>16.713467000000001</c:v>
                </c:pt>
                <c:pt idx="1029">
                  <c:v>16.591533999999999</c:v>
                </c:pt>
                <c:pt idx="1030">
                  <c:v>16.563229</c:v>
                </c:pt>
                <c:pt idx="1031">
                  <c:v>16.527798000000001</c:v>
                </c:pt>
                <c:pt idx="1032">
                  <c:v>16.547322999999999</c:v>
                </c:pt>
                <c:pt idx="1033">
                  <c:v>16.393145000000001</c:v>
                </c:pt>
                <c:pt idx="1034">
                  <c:v>15.142791000000001</c:v>
                </c:pt>
                <c:pt idx="1035">
                  <c:v>14.875963</c:v>
                </c:pt>
                <c:pt idx="1036">
                  <c:v>16.462322</c:v>
                </c:pt>
                <c:pt idx="1037">
                  <c:v>15.491343000000001</c:v>
                </c:pt>
                <c:pt idx="1038">
                  <c:v>16.882027000000001</c:v>
                </c:pt>
                <c:pt idx="1039">
                  <c:v>16.883934</c:v>
                </c:pt>
                <c:pt idx="1040">
                  <c:v>16.261744</c:v>
                </c:pt>
                <c:pt idx="1041">
                  <c:v>16.862584999999999</c:v>
                </c:pt>
                <c:pt idx="1042">
                  <c:v>16.837451999999999</c:v>
                </c:pt>
                <c:pt idx="1043">
                  <c:v>16.814071999999999</c:v>
                </c:pt>
                <c:pt idx="1044">
                  <c:v>16.838646000000001</c:v>
                </c:pt>
                <c:pt idx="1045">
                  <c:v>16.763134000000001</c:v>
                </c:pt>
                <c:pt idx="1046">
                  <c:v>16.752918000000001</c:v>
                </c:pt>
                <c:pt idx="1047">
                  <c:v>16.736764999999998</c:v>
                </c:pt>
                <c:pt idx="1048">
                  <c:v>16.728750000000002</c:v>
                </c:pt>
                <c:pt idx="1049">
                  <c:v>17.888565</c:v>
                </c:pt>
                <c:pt idx="1050">
                  <c:v>17.849995</c:v>
                </c:pt>
                <c:pt idx="1051">
                  <c:v>17.93244</c:v>
                </c:pt>
                <c:pt idx="1052">
                  <c:v>18.100206</c:v>
                </c:pt>
                <c:pt idx="1053">
                  <c:v>18.233107</c:v>
                </c:pt>
                <c:pt idx="1054">
                  <c:v>18.334540000000001</c:v>
                </c:pt>
                <c:pt idx="1055">
                  <c:v>17.944154999999999</c:v>
                </c:pt>
                <c:pt idx="1056">
                  <c:v>18.692373</c:v>
                </c:pt>
                <c:pt idx="1057">
                  <c:v>17.870583</c:v>
                </c:pt>
                <c:pt idx="1058">
                  <c:v>18.889652000000002</c:v>
                </c:pt>
                <c:pt idx="1059">
                  <c:v>19.641853000000001</c:v>
                </c:pt>
                <c:pt idx="1060">
                  <c:v>18.937733000000001</c:v>
                </c:pt>
                <c:pt idx="1061">
                  <c:v>19.032205999999999</c:v>
                </c:pt>
                <c:pt idx="1062">
                  <c:v>19.116423000000001</c:v>
                </c:pt>
                <c:pt idx="1063">
                  <c:v>19.075033000000001</c:v>
                </c:pt>
                <c:pt idx="1064">
                  <c:v>19.446062000000001</c:v>
                </c:pt>
                <c:pt idx="1065">
                  <c:v>19.015129999999999</c:v>
                </c:pt>
                <c:pt idx="1066">
                  <c:v>18.933384</c:v>
                </c:pt>
                <c:pt idx="1067">
                  <c:v>18.913101000000001</c:v>
                </c:pt>
                <c:pt idx="1068">
                  <c:v>18.920366000000001</c:v>
                </c:pt>
                <c:pt idx="1069">
                  <c:v>18.986173999999998</c:v>
                </c:pt>
                <c:pt idx="1070">
                  <c:v>19.071358</c:v>
                </c:pt>
                <c:pt idx="1071">
                  <c:v>19.102160999999999</c:v>
                </c:pt>
                <c:pt idx="1072">
                  <c:v>19.154330999999999</c:v>
                </c:pt>
                <c:pt idx="1073">
                  <c:v>19.163917999999999</c:v>
                </c:pt>
                <c:pt idx="1074">
                  <c:v>19.183018000000001</c:v>
                </c:pt>
                <c:pt idx="1075">
                  <c:v>19.251335000000001</c:v>
                </c:pt>
                <c:pt idx="1076">
                  <c:v>19.303239999999999</c:v>
                </c:pt>
                <c:pt idx="1077">
                  <c:v>19.300201000000001</c:v>
                </c:pt>
                <c:pt idx="1078">
                  <c:v>17.736979000000002</c:v>
                </c:pt>
                <c:pt idx="1079">
                  <c:v>18.662362999999999</c:v>
                </c:pt>
                <c:pt idx="1080">
                  <c:v>19.091213</c:v>
                </c:pt>
                <c:pt idx="1081">
                  <c:v>19.079930999999998</c:v>
                </c:pt>
                <c:pt idx="1082">
                  <c:v>19.053508999999998</c:v>
                </c:pt>
                <c:pt idx="1083">
                  <c:v>17.959697999999999</c:v>
                </c:pt>
                <c:pt idx="1084">
                  <c:v>18.954529000000001</c:v>
                </c:pt>
                <c:pt idx="1085">
                  <c:v>18.962337000000002</c:v>
                </c:pt>
                <c:pt idx="1086">
                  <c:v>18.981998000000001</c:v>
                </c:pt>
                <c:pt idx="1087">
                  <c:v>19.078917000000001</c:v>
                </c:pt>
                <c:pt idx="1088">
                  <c:v>19.110320999999999</c:v>
                </c:pt>
                <c:pt idx="1089">
                  <c:v>19.046057000000001</c:v>
                </c:pt>
                <c:pt idx="1090">
                  <c:v>19.051839999999999</c:v>
                </c:pt>
                <c:pt idx="1091">
                  <c:v>19.061786999999999</c:v>
                </c:pt>
                <c:pt idx="1092">
                  <c:v>19.074131000000001</c:v>
                </c:pt>
                <c:pt idx="1093">
                  <c:v>19.075901000000002</c:v>
                </c:pt>
                <c:pt idx="1094">
                  <c:v>19.015090000000001</c:v>
                </c:pt>
                <c:pt idx="1095">
                  <c:v>19.021947999999998</c:v>
                </c:pt>
                <c:pt idx="1096">
                  <c:v>19.10012</c:v>
                </c:pt>
                <c:pt idx="1097">
                  <c:v>19.179752000000001</c:v>
                </c:pt>
                <c:pt idx="1098">
                  <c:v>19.283322999999999</c:v>
                </c:pt>
                <c:pt idx="1099">
                  <c:v>19.69248</c:v>
                </c:pt>
                <c:pt idx="1100">
                  <c:v>19.377597999999999</c:v>
                </c:pt>
                <c:pt idx="1101">
                  <c:v>18.564886000000001</c:v>
                </c:pt>
                <c:pt idx="1102">
                  <c:v>19.612925000000001</c:v>
                </c:pt>
                <c:pt idx="1103">
                  <c:v>19.707623999999999</c:v>
                </c:pt>
                <c:pt idx="1104">
                  <c:v>19.655670000000001</c:v>
                </c:pt>
                <c:pt idx="1105">
                  <c:v>19.605260000000001</c:v>
                </c:pt>
                <c:pt idx="1106">
                  <c:v>19.961255999999999</c:v>
                </c:pt>
                <c:pt idx="1107">
                  <c:v>19.633959000000001</c:v>
                </c:pt>
                <c:pt idx="1108">
                  <c:v>19.761536</c:v>
                </c:pt>
                <c:pt idx="1109">
                  <c:v>19.843091999999999</c:v>
                </c:pt>
                <c:pt idx="1110">
                  <c:v>19.949504999999998</c:v>
                </c:pt>
                <c:pt idx="1111">
                  <c:v>19.761644</c:v>
                </c:pt>
                <c:pt idx="1112">
                  <c:v>21.812221999999998</c:v>
                </c:pt>
                <c:pt idx="1113">
                  <c:v>21.810058999999999</c:v>
                </c:pt>
              </c:numCache>
            </c:numRef>
          </c:val>
          <c:smooth val="0"/>
          <c:extLst>
            <c:ext xmlns:c16="http://schemas.microsoft.com/office/drawing/2014/chart" uri="{C3380CC4-5D6E-409C-BE32-E72D297353CC}">
              <c16:uniqueId val="{00000001-E693-BF4A-8335-954C101C9717}"/>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60"/>
          <c:min val="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59248616432522E-2"/>
          <c:y val="3.4909703755316636E-2"/>
          <c:w val="0.92264075138356749"/>
          <c:h val="0.91987667768866288"/>
        </c:manualLayout>
      </c:layout>
      <c:lineChart>
        <c:grouping val="standard"/>
        <c:varyColors val="0"/>
        <c:ser>
          <c:idx val="0"/>
          <c:order val="0"/>
          <c:tx>
            <c:strRef>
              <c:f>Sheet1!$B$1</c:f>
              <c:strCache>
                <c:ptCount val="1"/>
                <c:pt idx="0">
                  <c:v>Actual </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13.1889515</c:v>
                </c:pt>
                <c:pt idx="1">
                  <c:v>13.669750000000001</c:v>
                </c:pt>
                <c:pt idx="2">
                  <c:v>13.443493</c:v>
                </c:pt>
                <c:pt idx="3">
                  <c:v>12.566744999999999</c:v>
                </c:pt>
                <c:pt idx="4">
                  <c:v>12.604450999999999</c:v>
                </c:pt>
                <c:pt idx="5">
                  <c:v>12.793001</c:v>
                </c:pt>
                <c:pt idx="6">
                  <c:v>12.274495999999999</c:v>
                </c:pt>
                <c:pt idx="7">
                  <c:v>12.5007515</c:v>
                </c:pt>
                <c:pt idx="8">
                  <c:v>12.642160000000001</c:v>
                </c:pt>
                <c:pt idx="9">
                  <c:v>12.661016</c:v>
                </c:pt>
                <c:pt idx="10">
                  <c:v>12.830712</c:v>
                </c:pt>
                <c:pt idx="11">
                  <c:v>13.104106</c:v>
                </c:pt>
                <c:pt idx="12">
                  <c:v>13.245518000000001</c:v>
                </c:pt>
                <c:pt idx="13">
                  <c:v>13.735741000000001</c:v>
                </c:pt>
                <c:pt idx="14">
                  <c:v>13.971429000000001</c:v>
                </c:pt>
                <c:pt idx="15">
                  <c:v>14.065701499999999</c:v>
                </c:pt>
                <c:pt idx="16">
                  <c:v>14.263679</c:v>
                </c:pt>
                <c:pt idx="17">
                  <c:v>14.612493499999999</c:v>
                </c:pt>
                <c:pt idx="18">
                  <c:v>14.999018</c:v>
                </c:pt>
                <c:pt idx="19">
                  <c:v>15.319549</c:v>
                </c:pt>
                <c:pt idx="20">
                  <c:v>15.065009</c:v>
                </c:pt>
                <c:pt idx="21">
                  <c:v>15.35726</c:v>
                </c:pt>
                <c:pt idx="22">
                  <c:v>15.819203999999999</c:v>
                </c:pt>
                <c:pt idx="23">
                  <c:v>16.243438999999999</c:v>
                </c:pt>
                <c:pt idx="24">
                  <c:v>16.026602</c:v>
                </c:pt>
                <c:pt idx="25">
                  <c:v>15.894628000000001</c:v>
                </c:pt>
                <c:pt idx="26">
                  <c:v>15.649509999999999</c:v>
                </c:pt>
                <c:pt idx="27">
                  <c:v>15.564665</c:v>
                </c:pt>
                <c:pt idx="28">
                  <c:v>15.696642000000001</c:v>
                </c:pt>
                <c:pt idx="29">
                  <c:v>15.9983225</c:v>
                </c:pt>
                <c:pt idx="30">
                  <c:v>15.715503999999999</c:v>
                </c:pt>
                <c:pt idx="31">
                  <c:v>14.838749999999999</c:v>
                </c:pt>
                <c:pt idx="32">
                  <c:v>14.640772</c:v>
                </c:pt>
                <c:pt idx="33">
                  <c:v>14.791613999999999</c:v>
                </c:pt>
                <c:pt idx="34">
                  <c:v>14.819896</c:v>
                </c:pt>
                <c:pt idx="35">
                  <c:v>14.933026999999999</c:v>
                </c:pt>
                <c:pt idx="36">
                  <c:v>14.801041</c:v>
                </c:pt>
                <c:pt idx="37">
                  <c:v>14.876459000000001</c:v>
                </c:pt>
                <c:pt idx="38">
                  <c:v>15.262985</c:v>
                </c:pt>
                <c:pt idx="39">
                  <c:v>15.215846000000001</c:v>
                </c:pt>
                <c:pt idx="40">
                  <c:v>14.697338999999999</c:v>
                </c:pt>
                <c:pt idx="41">
                  <c:v>15.43268</c:v>
                </c:pt>
                <c:pt idx="42">
                  <c:v>15.574092</c:v>
                </c:pt>
                <c:pt idx="43">
                  <c:v>15.178139</c:v>
                </c:pt>
                <c:pt idx="44">
                  <c:v>15.102719</c:v>
                </c:pt>
                <c:pt idx="45">
                  <c:v>14.631346000000001</c:v>
                </c:pt>
                <c:pt idx="46">
                  <c:v>15.366682000000001</c:v>
                </c:pt>
                <c:pt idx="47">
                  <c:v>15.508098</c:v>
                </c:pt>
                <c:pt idx="48">
                  <c:v>15.291264</c:v>
                </c:pt>
                <c:pt idx="49">
                  <c:v>15.640081</c:v>
                </c:pt>
                <c:pt idx="50">
                  <c:v>15.847481999999999</c:v>
                </c:pt>
                <c:pt idx="51">
                  <c:v>15.932332000000001</c:v>
                </c:pt>
                <c:pt idx="52">
                  <c:v>15.649509999999999</c:v>
                </c:pt>
                <c:pt idx="53">
                  <c:v>15.970036500000001</c:v>
                </c:pt>
                <c:pt idx="54">
                  <c:v>16.045456000000001</c:v>
                </c:pt>
                <c:pt idx="55">
                  <c:v>16.026602</c:v>
                </c:pt>
                <c:pt idx="56">
                  <c:v>16.007747999999999</c:v>
                </c:pt>
                <c:pt idx="57">
                  <c:v>16.347134</c:v>
                </c:pt>
                <c:pt idx="58">
                  <c:v>16.384848000000002</c:v>
                </c:pt>
                <c:pt idx="59">
                  <c:v>16.743086000000002</c:v>
                </c:pt>
                <c:pt idx="60">
                  <c:v>16.705380999999999</c:v>
                </c:pt>
                <c:pt idx="61">
                  <c:v>17.063618000000002</c:v>
                </c:pt>
                <c:pt idx="62">
                  <c:v>17.732963999999999</c:v>
                </c:pt>
                <c:pt idx="63">
                  <c:v>18.025214999999999</c:v>
                </c:pt>
                <c:pt idx="64">
                  <c:v>17.921514999999999</c:v>
                </c:pt>
                <c:pt idx="65">
                  <c:v>17.525562000000001</c:v>
                </c:pt>
                <c:pt idx="66">
                  <c:v>16.922207</c:v>
                </c:pt>
                <c:pt idx="67">
                  <c:v>16.90335</c:v>
                </c:pt>
                <c:pt idx="68">
                  <c:v>17.148465999999999</c:v>
                </c:pt>
                <c:pt idx="69">
                  <c:v>17.167324000000001</c:v>
                </c:pt>
                <c:pt idx="70">
                  <c:v>17.082476</c:v>
                </c:pt>
                <c:pt idx="71">
                  <c:v>16.809078</c:v>
                </c:pt>
                <c:pt idx="72">
                  <c:v>16.658239999999999</c:v>
                </c:pt>
                <c:pt idx="73">
                  <c:v>16.563970000000001</c:v>
                </c:pt>
                <c:pt idx="74">
                  <c:v>16.71481</c:v>
                </c:pt>
                <c:pt idx="75">
                  <c:v>16.639382999999999</c:v>
                </c:pt>
                <c:pt idx="76">
                  <c:v>15.979469999999999</c:v>
                </c:pt>
                <c:pt idx="77">
                  <c:v>15.687218</c:v>
                </c:pt>
                <c:pt idx="78">
                  <c:v>16.045456000000001</c:v>
                </c:pt>
                <c:pt idx="79">
                  <c:v>16.271715</c:v>
                </c:pt>
                <c:pt idx="80">
                  <c:v>15.951185000000001</c:v>
                </c:pt>
                <c:pt idx="81">
                  <c:v>15.913472000000001</c:v>
                </c:pt>
                <c:pt idx="82">
                  <c:v>16.036034000000001</c:v>
                </c:pt>
                <c:pt idx="83">
                  <c:v>15.960618</c:v>
                </c:pt>
                <c:pt idx="84">
                  <c:v>15.979469999999999</c:v>
                </c:pt>
                <c:pt idx="85">
                  <c:v>16.234009</c:v>
                </c:pt>
                <c:pt idx="86">
                  <c:v>16.083165999999999</c:v>
                </c:pt>
                <c:pt idx="87">
                  <c:v>15.772062999999999</c:v>
                </c:pt>
                <c:pt idx="88">
                  <c:v>15.404394</c:v>
                </c:pt>
                <c:pt idx="89">
                  <c:v>15.20642</c:v>
                </c:pt>
                <c:pt idx="90">
                  <c:v>15.517526</c:v>
                </c:pt>
                <c:pt idx="91">
                  <c:v>15.244128</c:v>
                </c:pt>
                <c:pt idx="92">
                  <c:v>15.376113999999999</c:v>
                </c:pt>
                <c:pt idx="93">
                  <c:v>15.479815</c:v>
                </c:pt>
                <c:pt idx="94">
                  <c:v>15.838056</c:v>
                </c:pt>
                <c:pt idx="95">
                  <c:v>15.489243999999999</c:v>
                </c:pt>
                <c:pt idx="96">
                  <c:v>15.790917</c:v>
                </c:pt>
                <c:pt idx="97">
                  <c:v>15.875762999999999</c:v>
                </c:pt>
                <c:pt idx="98">
                  <c:v>15.970036500000001</c:v>
                </c:pt>
                <c:pt idx="99">
                  <c:v>16.365993</c:v>
                </c:pt>
                <c:pt idx="100">
                  <c:v>16.186869000000002</c:v>
                </c:pt>
                <c:pt idx="101">
                  <c:v>16.375418</c:v>
                </c:pt>
                <c:pt idx="102">
                  <c:v>16.554542999999999</c:v>
                </c:pt>
                <c:pt idx="103">
                  <c:v>16.743086000000002</c:v>
                </c:pt>
                <c:pt idx="104">
                  <c:v>16.922207</c:v>
                </c:pt>
                <c:pt idx="105">
                  <c:v>17.393578000000002</c:v>
                </c:pt>
                <c:pt idx="106">
                  <c:v>17.365300000000001</c:v>
                </c:pt>
                <c:pt idx="107">
                  <c:v>17.186178000000002</c:v>
                </c:pt>
                <c:pt idx="108">
                  <c:v>17.110759999999999</c:v>
                </c:pt>
                <c:pt idx="109">
                  <c:v>17.016480000000001</c:v>
                </c:pt>
                <c:pt idx="110">
                  <c:v>17.440719999999999</c:v>
                </c:pt>
                <c:pt idx="111">
                  <c:v>17.751822000000001</c:v>
                </c:pt>
                <c:pt idx="112">
                  <c:v>17.996932999999999</c:v>
                </c:pt>
                <c:pt idx="113">
                  <c:v>18.128921999999999</c:v>
                </c:pt>
                <c:pt idx="114">
                  <c:v>18.100633999999999</c:v>
                </c:pt>
                <c:pt idx="115">
                  <c:v>18.242045999999998</c:v>
                </c:pt>
                <c:pt idx="116">
                  <c:v>18.270325</c:v>
                </c:pt>
                <c:pt idx="117">
                  <c:v>17.836666000000001</c:v>
                </c:pt>
                <c:pt idx="118">
                  <c:v>18.072351000000001</c:v>
                </c:pt>
                <c:pt idx="119">
                  <c:v>17.836666000000001</c:v>
                </c:pt>
                <c:pt idx="120">
                  <c:v>17.789529999999999</c:v>
                </c:pt>
                <c:pt idx="121">
                  <c:v>17.893232000000001</c:v>
                </c:pt>
                <c:pt idx="122">
                  <c:v>17.534991999999999</c:v>
                </c:pt>
                <c:pt idx="123">
                  <c:v>17.742393</c:v>
                </c:pt>
                <c:pt idx="124">
                  <c:v>15.423249999999999</c:v>
                </c:pt>
                <c:pt idx="125">
                  <c:v>15.244128</c:v>
                </c:pt>
                <c:pt idx="126">
                  <c:v>14.819896</c:v>
                </c:pt>
                <c:pt idx="127">
                  <c:v>15.09329</c:v>
                </c:pt>
                <c:pt idx="128">
                  <c:v>14.744475</c:v>
                </c:pt>
                <c:pt idx="129">
                  <c:v>14.895313</c:v>
                </c:pt>
                <c:pt idx="130">
                  <c:v>14.90474</c:v>
                </c:pt>
                <c:pt idx="131">
                  <c:v>15.338404000000001</c:v>
                </c:pt>
                <c:pt idx="132">
                  <c:v>15.234700999999999</c:v>
                </c:pt>
                <c:pt idx="133">
                  <c:v>15.281836500000001</c:v>
                </c:pt>
                <c:pt idx="134">
                  <c:v>14.584212000000001</c:v>
                </c:pt>
                <c:pt idx="135">
                  <c:v>14.4616585</c:v>
                </c:pt>
                <c:pt idx="136">
                  <c:v>15.046151999999999</c:v>
                </c:pt>
                <c:pt idx="137">
                  <c:v>15.234700999999999</c:v>
                </c:pt>
                <c:pt idx="138">
                  <c:v>15.451532</c:v>
                </c:pt>
                <c:pt idx="139">
                  <c:v>15.847481999999999</c:v>
                </c:pt>
                <c:pt idx="140">
                  <c:v>16.017181000000001</c:v>
                </c:pt>
                <c:pt idx="141">
                  <c:v>15.838056</c:v>
                </c:pt>
                <c:pt idx="142">
                  <c:v>16.469695999999999</c:v>
                </c:pt>
                <c:pt idx="143">
                  <c:v>17.082476</c:v>
                </c:pt>
                <c:pt idx="144">
                  <c:v>16.705380999999999</c:v>
                </c:pt>
                <c:pt idx="145">
                  <c:v>16.620531</c:v>
                </c:pt>
                <c:pt idx="146">
                  <c:v>16.846788</c:v>
                </c:pt>
                <c:pt idx="147">
                  <c:v>17.035336000000001</c:v>
                </c:pt>
                <c:pt idx="148">
                  <c:v>17.648119999999999</c:v>
                </c:pt>
                <c:pt idx="149">
                  <c:v>17.610415</c:v>
                </c:pt>
                <c:pt idx="150">
                  <c:v>17.883801999999999</c:v>
                </c:pt>
                <c:pt idx="151">
                  <c:v>17.808384</c:v>
                </c:pt>
                <c:pt idx="152">
                  <c:v>17.780104000000001</c:v>
                </c:pt>
                <c:pt idx="153">
                  <c:v>17.902657000000001</c:v>
                </c:pt>
                <c:pt idx="154">
                  <c:v>18.081779999999998</c:v>
                </c:pt>
                <c:pt idx="155">
                  <c:v>18.355174999999999</c:v>
                </c:pt>
                <c:pt idx="156">
                  <c:v>17.987504999999999</c:v>
                </c:pt>
                <c:pt idx="157">
                  <c:v>17.874374</c:v>
                </c:pt>
                <c:pt idx="158">
                  <c:v>18.562577999999998</c:v>
                </c:pt>
                <c:pt idx="159">
                  <c:v>18.703987000000001</c:v>
                </c:pt>
                <c:pt idx="160">
                  <c:v>19.307348000000001</c:v>
                </c:pt>
                <c:pt idx="161">
                  <c:v>19.354485</c:v>
                </c:pt>
                <c:pt idx="162">
                  <c:v>19.222498000000002</c:v>
                </c:pt>
                <c:pt idx="163">
                  <c:v>18.873685999999999</c:v>
                </c:pt>
                <c:pt idx="164">
                  <c:v>18.911397999999998</c:v>
                </c:pt>
                <c:pt idx="165">
                  <c:v>19.326198999999999</c:v>
                </c:pt>
                <c:pt idx="166">
                  <c:v>19.533605999999999</c:v>
                </c:pt>
                <c:pt idx="167">
                  <c:v>19.401623000000001</c:v>
                </c:pt>
                <c:pt idx="168">
                  <c:v>19.326198999999999</c:v>
                </c:pt>
                <c:pt idx="169">
                  <c:v>19.439333000000001</c:v>
                </c:pt>
                <c:pt idx="170">
                  <c:v>19.797571000000001</c:v>
                </c:pt>
                <c:pt idx="171">
                  <c:v>19.929552000000001</c:v>
                </c:pt>
                <c:pt idx="172">
                  <c:v>20.004974000000001</c:v>
                </c:pt>
                <c:pt idx="173">
                  <c:v>20.693173999999999</c:v>
                </c:pt>
                <c:pt idx="174">
                  <c:v>20.174664</c:v>
                </c:pt>
                <c:pt idx="175">
                  <c:v>21.371949999999998</c:v>
                </c:pt>
                <c:pt idx="176">
                  <c:v>20.881724999999999</c:v>
                </c:pt>
                <c:pt idx="177">
                  <c:v>20.749737</c:v>
                </c:pt>
                <c:pt idx="178">
                  <c:v>21.089127000000001</c:v>
                </c:pt>
                <c:pt idx="179">
                  <c:v>21.287099999999999</c:v>
                </c:pt>
                <c:pt idx="180">
                  <c:v>20.712025000000001</c:v>
                </c:pt>
                <c:pt idx="181">
                  <c:v>21.155118999999999</c:v>
                </c:pt>
                <c:pt idx="182">
                  <c:v>21.409656999999999</c:v>
                </c:pt>
                <c:pt idx="183">
                  <c:v>21.38138</c:v>
                </c:pt>
                <c:pt idx="184">
                  <c:v>21.117407</c:v>
                </c:pt>
                <c:pt idx="185">
                  <c:v>20.815725</c:v>
                </c:pt>
                <c:pt idx="186">
                  <c:v>21.881031</c:v>
                </c:pt>
                <c:pt idx="187">
                  <c:v>21.937591999999999</c:v>
                </c:pt>
                <c:pt idx="188">
                  <c:v>22.173279999999998</c:v>
                </c:pt>
                <c:pt idx="189">
                  <c:v>21.975297999999999</c:v>
                </c:pt>
                <c:pt idx="190">
                  <c:v>22.305261999999999</c:v>
                </c:pt>
                <c:pt idx="191">
                  <c:v>22.522093000000002</c:v>
                </c:pt>
                <c:pt idx="192">
                  <c:v>23.002897000000001</c:v>
                </c:pt>
                <c:pt idx="193">
                  <c:v>22.842623</c:v>
                </c:pt>
                <c:pt idx="194">
                  <c:v>22.682355999999999</c:v>
                </c:pt>
                <c:pt idx="195">
                  <c:v>22.616364000000001</c:v>
                </c:pt>
                <c:pt idx="196">
                  <c:v>22.880338999999999</c:v>
                </c:pt>
                <c:pt idx="197">
                  <c:v>22.852049999999998</c:v>
                </c:pt>
                <c:pt idx="198">
                  <c:v>22.446674000000002</c:v>
                </c:pt>
                <c:pt idx="199">
                  <c:v>22.606936999999999</c:v>
                </c:pt>
                <c:pt idx="200">
                  <c:v>22.135570000000001</c:v>
                </c:pt>
                <c:pt idx="201">
                  <c:v>21.720759999999999</c:v>
                </c:pt>
                <c:pt idx="202">
                  <c:v>21.107983000000001</c:v>
                </c:pt>
                <c:pt idx="203">
                  <c:v>20.617756</c:v>
                </c:pt>
                <c:pt idx="204">
                  <c:v>21.070270000000001</c:v>
                </c:pt>
                <c:pt idx="205">
                  <c:v>21.258823</c:v>
                </c:pt>
                <c:pt idx="206">
                  <c:v>23.191437000000001</c:v>
                </c:pt>
                <c:pt idx="207">
                  <c:v>23.455407999999998</c:v>
                </c:pt>
                <c:pt idx="208">
                  <c:v>24.501850000000001</c:v>
                </c:pt>
                <c:pt idx="209">
                  <c:v>23.992773</c:v>
                </c:pt>
                <c:pt idx="210">
                  <c:v>24.728110000000001</c:v>
                </c:pt>
                <c:pt idx="211">
                  <c:v>25.086352999999999</c:v>
                </c:pt>
                <c:pt idx="212">
                  <c:v>24.605554999999999</c:v>
                </c:pt>
                <c:pt idx="213">
                  <c:v>24.728110000000001</c:v>
                </c:pt>
                <c:pt idx="214">
                  <c:v>24.624404999999999</c:v>
                </c:pt>
                <c:pt idx="215">
                  <c:v>24.822382000000001</c:v>
                </c:pt>
                <c:pt idx="216">
                  <c:v>24.680971</c:v>
                </c:pt>
                <c:pt idx="217">
                  <c:v>24.746963999999998</c:v>
                </c:pt>
                <c:pt idx="218">
                  <c:v>24.633831000000001</c:v>
                </c:pt>
                <c:pt idx="219">
                  <c:v>23.511970000000002</c:v>
                </c:pt>
                <c:pt idx="220">
                  <c:v>23.361134</c:v>
                </c:pt>
                <c:pt idx="221">
                  <c:v>23.804217999999999</c:v>
                </c:pt>
                <c:pt idx="222">
                  <c:v>23.907927000000001</c:v>
                </c:pt>
                <c:pt idx="223">
                  <c:v>25.020357000000001</c:v>
                </c:pt>
                <c:pt idx="224">
                  <c:v>25.482303999999999</c:v>
                </c:pt>
                <c:pt idx="225">
                  <c:v>25.369177000000001</c:v>
                </c:pt>
                <c:pt idx="226">
                  <c:v>26.04795</c:v>
                </c:pt>
                <c:pt idx="227">
                  <c:v>27.735455000000002</c:v>
                </c:pt>
                <c:pt idx="228">
                  <c:v>27.669464000000001</c:v>
                </c:pt>
                <c:pt idx="229">
                  <c:v>27.009542</c:v>
                </c:pt>
                <c:pt idx="230">
                  <c:v>27.216947999999999</c:v>
                </c:pt>
                <c:pt idx="231">
                  <c:v>27.188665</c:v>
                </c:pt>
                <c:pt idx="232">
                  <c:v>27.660032000000001</c:v>
                </c:pt>
                <c:pt idx="233">
                  <c:v>28.301098</c:v>
                </c:pt>
                <c:pt idx="234">
                  <c:v>28.904451000000002</c:v>
                </c:pt>
                <c:pt idx="235">
                  <c:v>29.413536000000001</c:v>
                </c:pt>
                <c:pt idx="236">
                  <c:v>29.554945</c:v>
                </c:pt>
                <c:pt idx="237">
                  <c:v>28.659334000000001</c:v>
                </c:pt>
                <c:pt idx="238">
                  <c:v>28.451938999999999</c:v>
                </c:pt>
                <c:pt idx="239">
                  <c:v>30.130018</c:v>
                </c:pt>
                <c:pt idx="240">
                  <c:v>31.091614</c:v>
                </c:pt>
                <c:pt idx="241">
                  <c:v>31.864664000000001</c:v>
                </c:pt>
                <c:pt idx="242">
                  <c:v>31.628976999999999</c:v>
                </c:pt>
                <c:pt idx="243">
                  <c:v>32.015495000000001</c:v>
                </c:pt>
                <c:pt idx="244">
                  <c:v>32.100349999999999</c:v>
                </c:pt>
                <c:pt idx="245">
                  <c:v>31.864664000000001</c:v>
                </c:pt>
                <c:pt idx="246">
                  <c:v>32.675423000000002</c:v>
                </c:pt>
                <c:pt idx="247">
                  <c:v>33.627580000000002</c:v>
                </c:pt>
                <c:pt idx="248">
                  <c:v>33.542735999999998</c:v>
                </c:pt>
                <c:pt idx="249">
                  <c:v>33.118496</c:v>
                </c:pt>
                <c:pt idx="250">
                  <c:v>32.703693000000001</c:v>
                </c:pt>
                <c:pt idx="251">
                  <c:v>33.024234999999997</c:v>
                </c:pt>
                <c:pt idx="252">
                  <c:v>32.439728000000002</c:v>
                </c:pt>
                <c:pt idx="253">
                  <c:v>32.345466999999999</c:v>
                </c:pt>
                <c:pt idx="254">
                  <c:v>32.609425000000002</c:v>
                </c:pt>
                <c:pt idx="255">
                  <c:v>33.618155999999999</c:v>
                </c:pt>
                <c:pt idx="256">
                  <c:v>34.098959999999998</c:v>
                </c:pt>
                <c:pt idx="257">
                  <c:v>34.551487000000002</c:v>
                </c:pt>
                <c:pt idx="258">
                  <c:v>34.881439999999998</c:v>
                </c:pt>
                <c:pt idx="259">
                  <c:v>34.64575</c:v>
                </c:pt>
                <c:pt idx="260">
                  <c:v>34.466625000000001</c:v>
                </c:pt>
                <c:pt idx="261">
                  <c:v>34.815437000000003</c:v>
                </c:pt>
                <c:pt idx="262">
                  <c:v>34.032960000000003</c:v>
                </c:pt>
                <c:pt idx="263">
                  <c:v>35.201970000000003</c:v>
                </c:pt>
                <c:pt idx="264">
                  <c:v>35.692196000000003</c:v>
                </c:pt>
                <c:pt idx="265">
                  <c:v>36.587800000000001</c:v>
                </c:pt>
                <c:pt idx="266">
                  <c:v>36.785769999999999</c:v>
                </c:pt>
                <c:pt idx="267">
                  <c:v>36.729205999999998</c:v>
                </c:pt>
                <c:pt idx="268">
                  <c:v>35.899597</c:v>
                </c:pt>
                <c:pt idx="269">
                  <c:v>35.409377999999997</c:v>
                </c:pt>
                <c:pt idx="270">
                  <c:v>34.636325999999997</c:v>
                </c:pt>
                <c:pt idx="271">
                  <c:v>34.259216000000002</c:v>
                </c:pt>
                <c:pt idx="272">
                  <c:v>35.541359999999997</c:v>
                </c:pt>
                <c:pt idx="273">
                  <c:v>35.211390000000002</c:v>
                </c:pt>
                <c:pt idx="274">
                  <c:v>34.956856000000002</c:v>
                </c:pt>
                <c:pt idx="275">
                  <c:v>34.466625000000001</c:v>
                </c:pt>
                <c:pt idx="276">
                  <c:v>34.042397000000001</c:v>
                </c:pt>
                <c:pt idx="277">
                  <c:v>34.692880000000002</c:v>
                </c:pt>
                <c:pt idx="278">
                  <c:v>35.729908000000002</c:v>
                </c:pt>
                <c:pt idx="279">
                  <c:v>34.598610000000001</c:v>
                </c:pt>
                <c:pt idx="280">
                  <c:v>33.721862999999999</c:v>
                </c:pt>
                <c:pt idx="281">
                  <c:v>33.363619999999997</c:v>
                </c:pt>
                <c:pt idx="282">
                  <c:v>34.504337</c:v>
                </c:pt>
                <c:pt idx="283">
                  <c:v>35.767609999999998</c:v>
                </c:pt>
                <c:pt idx="284">
                  <c:v>35.550780000000003</c:v>
                </c:pt>
                <c:pt idx="285">
                  <c:v>35.201970000000003</c:v>
                </c:pt>
                <c:pt idx="286">
                  <c:v>34.466625000000001</c:v>
                </c:pt>
                <c:pt idx="287">
                  <c:v>33.731293000000001</c:v>
                </c:pt>
                <c:pt idx="288">
                  <c:v>33.919840000000001</c:v>
                </c:pt>
                <c:pt idx="289">
                  <c:v>34.787154999999998</c:v>
                </c:pt>
                <c:pt idx="290">
                  <c:v>33.269351999999998</c:v>
                </c:pt>
                <c:pt idx="291">
                  <c:v>31.751529999999999</c:v>
                </c:pt>
                <c:pt idx="292">
                  <c:v>31.459282000000002</c:v>
                </c:pt>
                <c:pt idx="293">
                  <c:v>31.789255000000001</c:v>
                </c:pt>
                <c:pt idx="294">
                  <c:v>33.476753000000002</c:v>
                </c:pt>
                <c:pt idx="295">
                  <c:v>33.373060000000002</c:v>
                </c:pt>
                <c:pt idx="296">
                  <c:v>33.627580000000002</c:v>
                </c:pt>
                <c:pt idx="297">
                  <c:v>34.089530000000003</c:v>
                </c:pt>
                <c:pt idx="298">
                  <c:v>34.966279999999998</c:v>
                </c:pt>
                <c:pt idx="299">
                  <c:v>35.126553000000001</c:v>
                </c:pt>
                <c:pt idx="300">
                  <c:v>33.938690000000001</c:v>
                </c:pt>
                <c:pt idx="301">
                  <c:v>33.146782000000002</c:v>
                </c:pt>
                <c:pt idx="302">
                  <c:v>33.476753000000002</c:v>
                </c:pt>
                <c:pt idx="303">
                  <c:v>33.061942999999999</c:v>
                </c:pt>
                <c:pt idx="304">
                  <c:v>34.306350000000002</c:v>
                </c:pt>
                <c:pt idx="305">
                  <c:v>34.400635000000001</c:v>
                </c:pt>
                <c:pt idx="306">
                  <c:v>34.504337</c:v>
                </c:pt>
                <c:pt idx="307">
                  <c:v>34.570335</c:v>
                </c:pt>
                <c:pt idx="308">
                  <c:v>35.088844000000002</c:v>
                </c:pt>
                <c:pt idx="309">
                  <c:v>36.059856000000003</c:v>
                </c:pt>
                <c:pt idx="310">
                  <c:v>36.069285999999998</c:v>
                </c:pt>
                <c:pt idx="311">
                  <c:v>37.134582999999999</c:v>
                </c:pt>
                <c:pt idx="312">
                  <c:v>37.059170000000002</c:v>
                </c:pt>
                <c:pt idx="313">
                  <c:v>36.616073999999998</c:v>
                </c:pt>
                <c:pt idx="314">
                  <c:v>36.003300000000003</c:v>
                </c:pt>
                <c:pt idx="315">
                  <c:v>36.323830000000001</c:v>
                </c:pt>
                <c:pt idx="316">
                  <c:v>36.361545999999997</c:v>
                </c:pt>
                <c:pt idx="317">
                  <c:v>36.050429999999999</c:v>
                </c:pt>
                <c:pt idx="318">
                  <c:v>36.125847</c:v>
                </c:pt>
                <c:pt idx="319">
                  <c:v>36.502955999999998</c:v>
                </c:pt>
                <c:pt idx="320">
                  <c:v>36.870624999999997</c:v>
                </c:pt>
                <c:pt idx="321">
                  <c:v>37.096890000000002</c:v>
                </c:pt>
                <c:pt idx="322">
                  <c:v>37.521113999999997</c:v>
                </c:pt>
                <c:pt idx="323">
                  <c:v>37.539963</c:v>
                </c:pt>
                <c:pt idx="324">
                  <c:v>37.860492999999998</c:v>
                </c:pt>
                <c:pt idx="325">
                  <c:v>38.859802000000002</c:v>
                </c:pt>
                <c:pt idx="326">
                  <c:v>39.067210000000003</c:v>
                </c:pt>
                <c:pt idx="327">
                  <c:v>40.368186999999999</c:v>
                </c:pt>
                <c:pt idx="328">
                  <c:v>39.981667000000002</c:v>
                </c:pt>
                <c:pt idx="329">
                  <c:v>41.3675</c:v>
                </c:pt>
                <c:pt idx="330">
                  <c:v>41.094104999999999</c:v>
                </c:pt>
                <c:pt idx="331">
                  <c:v>41.160094999999998</c:v>
                </c:pt>
                <c:pt idx="332">
                  <c:v>39.868538000000001</c:v>
                </c:pt>
                <c:pt idx="333">
                  <c:v>37.898209999999999</c:v>
                </c:pt>
                <c:pt idx="334">
                  <c:v>38.067900000000002</c:v>
                </c:pt>
                <c:pt idx="335">
                  <c:v>38.708970000000001</c:v>
                </c:pt>
                <c:pt idx="336">
                  <c:v>39.472580000000001</c:v>
                </c:pt>
                <c:pt idx="337">
                  <c:v>40.217342000000002</c:v>
                </c:pt>
                <c:pt idx="338">
                  <c:v>40.594448</c:v>
                </c:pt>
                <c:pt idx="339">
                  <c:v>41.999133999999998</c:v>
                </c:pt>
                <c:pt idx="340">
                  <c:v>41.820010000000003</c:v>
                </c:pt>
                <c:pt idx="341">
                  <c:v>40.707572999999996</c:v>
                </c:pt>
                <c:pt idx="342">
                  <c:v>41.395780000000002</c:v>
                </c:pt>
                <c:pt idx="343">
                  <c:v>41.999133999999998</c:v>
                </c:pt>
                <c:pt idx="344">
                  <c:v>41.480620000000002</c:v>
                </c:pt>
                <c:pt idx="345">
                  <c:v>40.500168000000002</c:v>
                </c:pt>
                <c:pt idx="346">
                  <c:v>41.348640000000003</c:v>
                </c:pt>
                <c:pt idx="347">
                  <c:v>39.548008000000003</c:v>
                </c:pt>
                <c:pt idx="348">
                  <c:v>39.236908</c:v>
                </c:pt>
                <c:pt idx="349">
                  <c:v>37.803936</c:v>
                </c:pt>
                <c:pt idx="350">
                  <c:v>37.954777</c:v>
                </c:pt>
                <c:pt idx="351">
                  <c:v>39.585723999999999</c:v>
                </c:pt>
                <c:pt idx="352">
                  <c:v>40.368186999999999</c:v>
                </c:pt>
                <c:pt idx="353">
                  <c:v>40.424762999999999</c:v>
                </c:pt>
                <c:pt idx="354">
                  <c:v>40.519024000000002</c:v>
                </c:pt>
                <c:pt idx="355">
                  <c:v>41.197806999999997</c:v>
                </c:pt>
                <c:pt idx="356">
                  <c:v>40.990400000000001</c:v>
                </c:pt>
                <c:pt idx="357">
                  <c:v>39.312325000000001</c:v>
                </c:pt>
                <c:pt idx="358">
                  <c:v>40.462463</c:v>
                </c:pt>
                <c:pt idx="359">
                  <c:v>40.047657000000001</c:v>
                </c:pt>
                <c:pt idx="360">
                  <c:v>39.953377000000003</c:v>
                </c:pt>
                <c:pt idx="361">
                  <c:v>40.848984000000002</c:v>
                </c:pt>
                <c:pt idx="362">
                  <c:v>39.745980000000003</c:v>
                </c:pt>
                <c:pt idx="363">
                  <c:v>39.293460000000003</c:v>
                </c:pt>
                <c:pt idx="364">
                  <c:v>37.983046999999999</c:v>
                </c:pt>
                <c:pt idx="365">
                  <c:v>37.266579999999998</c:v>
                </c:pt>
                <c:pt idx="366">
                  <c:v>37.285429999999998</c:v>
                </c:pt>
                <c:pt idx="367">
                  <c:v>36.718350000000001</c:v>
                </c:pt>
                <c:pt idx="368">
                  <c:v>37.266530000000003</c:v>
                </c:pt>
                <c:pt idx="369">
                  <c:v>36.047302000000002</c:v>
                </c:pt>
                <c:pt idx="370">
                  <c:v>35.139980000000001</c:v>
                </c:pt>
                <c:pt idx="371">
                  <c:v>35.404606000000001</c:v>
                </c:pt>
                <c:pt idx="372">
                  <c:v>34.837542999999997</c:v>
                </c:pt>
                <c:pt idx="373">
                  <c:v>35.139980000000001</c:v>
                </c:pt>
                <c:pt idx="374">
                  <c:v>35.886634999999998</c:v>
                </c:pt>
                <c:pt idx="375">
                  <c:v>35.461326999999997</c:v>
                </c:pt>
                <c:pt idx="376">
                  <c:v>36.028399999999998</c:v>
                </c:pt>
                <c:pt idx="377">
                  <c:v>37.398837999999998</c:v>
                </c:pt>
                <c:pt idx="378">
                  <c:v>37.039684000000001</c:v>
                </c:pt>
                <c:pt idx="379">
                  <c:v>38.429034999999999</c:v>
                </c:pt>
                <c:pt idx="380">
                  <c:v>38.211649999999999</c:v>
                </c:pt>
                <c:pt idx="381">
                  <c:v>38.372321999999997</c:v>
                </c:pt>
                <c:pt idx="382">
                  <c:v>37.342129999999997</c:v>
                </c:pt>
                <c:pt idx="383">
                  <c:v>37.663474999999998</c:v>
                </c:pt>
                <c:pt idx="384">
                  <c:v>37.257064999999997</c:v>
                </c:pt>
                <c:pt idx="385">
                  <c:v>36.945169999999997</c:v>
                </c:pt>
                <c:pt idx="386">
                  <c:v>36.850662</c:v>
                </c:pt>
                <c:pt idx="387">
                  <c:v>37.020786000000001</c:v>
                </c:pt>
                <c:pt idx="388">
                  <c:v>36.746696</c:v>
                </c:pt>
                <c:pt idx="389">
                  <c:v>38.277813000000002</c:v>
                </c:pt>
                <c:pt idx="390">
                  <c:v>36.992435</c:v>
                </c:pt>
                <c:pt idx="391">
                  <c:v>36.359200000000001</c:v>
                </c:pt>
                <c:pt idx="392">
                  <c:v>35.773212000000001</c:v>
                </c:pt>
                <c:pt idx="393">
                  <c:v>36.132365999999998</c:v>
                </c:pt>
                <c:pt idx="394">
                  <c:v>35.877181999999998</c:v>
                </c:pt>
                <c:pt idx="395">
                  <c:v>36.463164999999996</c:v>
                </c:pt>
                <c:pt idx="396">
                  <c:v>36.000050000000002</c:v>
                </c:pt>
                <c:pt idx="397">
                  <c:v>35.58419</c:v>
                </c:pt>
                <c:pt idx="398">
                  <c:v>35.036020000000001</c:v>
                </c:pt>
                <c:pt idx="399">
                  <c:v>35.896079999999998</c:v>
                </c:pt>
                <c:pt idx="400">
                  <c:v>35.404606000000001</c:v>
                </c:pt>
                <c:pt idx="401">
                  <c:v>35.962240000000001</c:v>
                </c:pt>
                <c:pt idx="402">
                  <c:v>34.620159999999998</c:v>
                </c:pt>
                <c:pt idx="403">
                  <c:v>33.627766000000001</c:v>
                </c:pt>
                <c:pt idx="404">
                  <c:v>33.391486999999998</c:v>
                </c:pt>
                <c:pt idx="405">
                  <c:v>34.138137999999998</c:v>
                </c:pt>
                <c:pt idx="406">
                  <c:v>33.278064999999998</c:v>
                </c:pt>
                <c:pt idx="407">
                  <c:v>33.958556999999999</c:v>
                </c:pt>
                <c:pt idx="408">
                  <c:v>33.107950000000002</c:v>
                </c:pt>
                <c:pt idx="409">
                  <c:v>33.533256999999999</c:v>
                </c:pt>
                <c:pt idx="410">
                  <c:v>32.503067000000001</c:v>
                </c:pt>
                <c:pt idx="411">
                  <c:v>32.068294999999999</c:v>
                </c:pt>
                <c:pt idx="412">
                  <c:v>34.242100000000001</c:v>
                </c:pt>
                <c:pt idx="413">
                  <c:v>33.01343</c:v>
                </c:pt>
                <c:pt idx="414">
                  <c:v>32.219529999999999</c:v>
                </c:pt>
                <c:pt idx="415">
                  <c:v>31.189326999999999</c:v>
                </c:pt>
                <c:pt idx="416">
                  <c:v>30.225294000000002</c:v>
                </c:pt>
                <c:pt idx="417">
                  <c:v>29.091137</c:v>
                </c:pt>
                <c:pt idx="418">
                  <c:v>27.011849999999999</c:v>
                </c:pt>
                <c:pt idx="419">
                  <c:v>29.781079999999999</c:v>
                </c:pt>
                <c:pt idx="420">
                  <c:v>29.951208000000001</c:v>
                </c:pt>
                <c:pt idx="421">
                  <c:v>31.160978</c:v>
                </c:pt>
                <c:pt idx="422">
                  <c:v>31.548476999999998</c:v>
                </c:pt>
                <c:pt idx="423">
                  <c:v>33.287529999999997</c:v>
                </c:pt>
                <c:pt idx="424">
                  <c:v>35.773212000000001</c:v>
                </c:pt>
                <c:pt idx="425">
                  <c:v>35.007655999999997</c:v>
                </c:pt>
                <c:pt idx="426">
                  <c:v>36.368645000000001</c:v>
                </c:pt>
                <c:pt idx="427">
                  <c:v>37.635128000000002</c:v>
                </c:pt>
                <c:pt idx="428">
                  <c:v>37.720179999999999</c:v>
                </c:pt>
                <c:pt idx="429">
                  <c:v>38.032089999999997</c:v>
                </c:pt>
                <c:pt idx="430">
                  <c:v>37.748530000000002</c:v>
                </c:pt>
                <c:pt idx="431">
                  <c:v>38.18439</c:v>
                </c:pt>
                <c:pt idx="432">
                  <c:v>39.179256000000002</c:v>
                </c:pt>
                <c:pt idx="433">
                  <c:v>39.795147</c:v>
                </c:pt>
                <c:pt idx="434">
                  <c:v>40.458404999999999</c:v>
                </c:pt>
                <c:pt idx="435">
                  <c:v>40.032024</c:v>
                </c:pt>
                <c:pt idx="436">
                  <c:v>40.875293999999997</c:v>
                </c:pt>
                <c:pt idx="437">
                  <c:v>40.932147999999998</c:v>
                </c:pt>
                <c:pt idx="438">
                  <c:v>41.529076000000003</c:v>
                </c:pt>
                <c:pt idx="439">
                  <c:v>41.159542000000002</c:v>
                </c:pt>
                <c:pt idx="440">
                  <c:v>41.150078000000001</c:v>
                </c:pt>
                <c:pt idx="441">
                  <c:v>41.803856000000003</c:v>
                </c:pt>
                <c:pt idx="442">
                  <c:v>41.699629999999999</c:v>
                </c:pt>
                <c:pt idx="443">
                  <c:v>41.396422999999999</c:v>
                </c:pt>
                <c:pt idx="444">
                  <c:v>42.685028000000003</c:v>
                </c:pt>
                <c:pt idx="445">
                  <c:v>41.7849</c:v>
                </c:pt>
                <c:pt idx="446">
                  <c:v>41.841749999999998</c:v>
                </c:pt>
                <c:pt idx="447">
                  <c:v>41.036372999999998</c:v>
                </c:pt>
                <c:pt idx="448">
                  <c:v>40.941628000000001</c:v>
                </c:pt>
                <c:pt idx="449">
                  <c:v>41.832275000000003</c:v>
                </c:pt>
                <c:pt idx="450">
                  <c:v>42.609229999999997</c:v>
                </c:pt>
                <c:pt idx="451">
                  <c:v>45.982346</c:v>
                </c:pt>
                <c:pt idx="452">
                  <c:v>45.366463000000003</c:v>
                </c:pt>
                <c:pt idx="453">
                  <c:v>45.347515000000001</c:v>
                </c:pt>
                <c:pt idx="454">
                  <c:v>45.707572999999996</c:v>
                </c:pt>
                <c:pt idx="455">
                  <c:v>47.043550000000003</c:v>
                </c:pt>
                <c:pt idx="456">
                  <c:v>48.332146000000002</c:v>
                </c:pt>
                <c:pt idx="457">
                  <c:v>48.152121999999999</c:v>
                </c:pt>
                <c:pt idx="458">
                  <c:v>45.773895000000003</c:v>
                </c:pt>
                <c:pt idx="459">
                  <c:v>46.370820000000002</c:v>
                </c:pt>
                <c:pt idx="460">
                  <c:v>47.877346000000003</c:v>
                </c:pt>
                <c:pt idx="461">
                  <c:v>47.346760000000003</c:v>
                </c:pt>
                <c:pt idx="462">
                  <c:v>48.171078000000001</c:v>
                </c:pt>
                <c:pt idx="463">
                  <c:v>45.442264999999999</c:v>
                </c:pt>
                <c:pt idx="464">
                  <c:v>46.238174000000001</c:v>
                </c:pt>
                <c:pt idx="465">
                  <c:v>47.507823999999999</c:v>
                </c:pt>
                <c:pt idx="466">
                  <c:v>48.047893999999999</c:v>
                </c:pt>
                <c:pt idx="467">
                  <c:v>48.171078000000001</c:v>
                </c:pt>
                <c:pt idx="468">
                  <c:v>47.574145999999999</c:v>
                </c:pt>
                <c:pt idx="469">
                  <c:v>48.730117999999997</c:v>
                </c:pt>
                <c:pt idx="470">
                  <c:v>49.232280000000003</c:v>
                </c:pt>
                <c:pt idx="471">
                  <c:v>50.075564999999997</c:v>
                </c:pt>
                <c:pt idx="472">
                  <c:v>50.615639999999999</c:v>
                </c:pt>
                <c:pt idx="473">
                  <c:v>50.814616999999998</c:v>
                </c:pt>
                <c:pt idx="474">
                  <c:v>51.079917999999999</c:v>
                </c:pt>
                <c:pt idx="475">
                  <c:v>51.051479999999998</c:v>
                </c:pt>
                <c:pt idx="476">
                  <c:v>50.255580000000002</c:v>
                </c:pt>
                <c:pt idx="477">
                  <c:v>50.227158000000003</c:v>
                </c:pt>
                <c:pt idx="478">
                  <c:v>50.843037000000002</c:v>
                </c:pt>
                <c:pt idx="479">
                  <c:v>49.289127000000001</c:v>
                </c:pt>
                <c:pt idx="480">
                  <c:v>46.977221999999998</c:v>
                </c:pt>
                <c:pt idx="481">
                  <c:v>47.754173000000002</c:v>
                </c:pt>
                <c:pt idx="482">
                  <c:v>46.816153999999997</c:v>
                </c:pt>
                <c:pt idx="483">
                  <c:v>46.816153999999997</c:v>
                </c:pt>
                <c:pt idx="484">
                  <c:v>47.195149999999998</c:v>
                </c:pt>
                <c:pt idx="485">
                  <c:v>49.980815999999997</c:v>
                </c:pt>
                <c:pt idx="486">
                  <c:v>50.852511999999997</c:v>
                </c:pt>
                <c:pt idx="487">
                  <c:v>52.671709999999997</c:v>
                </c:pt>
                <c:pt idx="488">
                  <c:v>52.766475999999997</c:v>
                </c:pt>
                <c:pt idx="489">
                  <c:v>52.539073999999999</c:v>
                </c:pt>
                <c:pt idx="490">
                  <c:v>49.933436999999998</c:v>
                </c:pt>
                <c:pt idx="491">
                  <c:v>47.962615999999997</c:v>
                </c:pt>
                <c:pt idx="492">
                  <c:v>49.497579999999999</c:v>
                </c:pt>
                <c:pt idx="493">
                  <c:v>46.503459999999997</c:v>
                </c:pt>
                <c:pt idx="494">
                  <c:v>46.162370000000003</c:v>
                </c:pt>
                <c:pt idx="495">
                  <c:v>45.006413000000002</c:v>
                </c:pt>
                <c:pt idx="496">
                  <c:v>46.863525000000003</c:v>
                </c:pt>
                <c:pt idx="497">
                  <c:v>46.341346999999999</c:v>
                </c:pt>
                <c:pt idx="498">
                  <c:v>45.714725000000001</c:v>
                </c:pt>
                <c:pt idx="499">
                  <c:v>44.176654999999997</c:v>
                </c:pt>
                <c:pt idx="500">
                  <c:v>45.619774</c:v>
                </c:pt>
                <c:pt idx="501">
                  <c:v>45.183050000000001</c:v>
                </c:pt>
                <c:pt idx="502">
                  <c:v>45.458370000000002</c:v>
                </c:pt>
                <c:pt idx="503">
                  <c:v>45.942585000000001</c:v>
                </c:pt>
                <c:pt idx="504">
                  <c:v>45.581806</c:v>
                </c:pt>
                <c:pt idx="505">
                  <c:v>46.816049999999997</c:v>
                </c:pt>
                <c:pt idx="506">
                  <c:v>47.262287000000001</c:v>
                </c:pt>
                <c:pt idx="507">
                  <c:v>48.43956</c:v>
                </c:pt>
                <c:pt idx="508">
                  <c:v>48.714893000000004</c:v>
                </c:pt>
                <c:pt idx="509">
                  <c:v>48.914279999999998</c:v>
                </c:pt>
                <c:pt idx="510">
                  <c:v>47.21481</c:v>
                </c:pt>
                <c:pt idx="511">
                  <c:v>46.854022999999998</c:v>
                </c:pt>
                <c:pt idx="512">
                  <c:v>45.477367000000001</c:v>
                </c:pt>
                <c:pt idx="513">
                  <c:v>45.866630000000001</c:v>
                </c:pt>
                <c:pt idx="514">
                  <c:v>46.303370000000001</c:v>
                </c:pt>
                <c:pt idx="515">
                  <c:v>46.474262000000003</c:v>
                </c:pt>
                <c:pt idx="516">
                  <c:v>45.952080000000002</c:v>
                </c:pt>
                <c:pt idx="517">
                  <c:v>45.572308</c:v>
                </c:pt>
                <c:pt idx="518">
                  <c:v>45.496346000000003</c:v>
                </c:pt>
                <c:pt idx="519">
                  <c:v>44.376038000000001</c:v>
                </c:pt>
                <c:pt idx="520">
                  <c:v>44.993169999999999</c:v>
                </c:pt>
                <c:pt idx="521">
                  <c:v>46.217919999999999</c:v>
                </c:pt>
                <c:pt idx="522">
                  <c:v>46.730609999999999</c:v>
                </c:pt>
                <c:pt idx="523">
                  <c:v>47.680027000000003</c:v>
                </c:pt>
                <c:pt idx="524">
                  <c:v>50.974519999999998</c:v>
                </c:pt>
                <c:pt idx="525">
                  <c:v>51.392277</c:v>
                </c:pt>
                <c:pt idx="526">
                  <c:v>52.398662999999999</c:v>
                </c:pt>
                <c:pt idx="527">
                  <c:v>52.939830000000001</c:v>
                </c:pt>
                <c:pt idx="528">
                  <c:v>51.648605000000003</c:v>
                </c:pt>
                <c:pt idx="529">
                  <c:v>51.202385</c:v>
                </c:pt>
                <c:pt idx="530">
                  <c:v>49.379489999999997</c:v>
                </c:pt>
                <c:pt idx="531">
                  <c:v>48.676926000000002</c:v>
                </c:pt>
                <c:pt idx="532">
                  <c:v>49.99662</c:v>
                </c:pt>
                <c:pt idx="533">
                  <c:v>50.927047999999999</c:v>
                </c:pt>
                <c:pt idx="534">
                  <c:v>50.110557999999997</c:v>
                </c:pt>
                <c:pt idx="535">
                  <c:v>47.8889</c:v>
                </c:pt>
                <c:pt idx="536">
                  <c:v>46.692622999999998</c:v>
                </c:pt>
                <c:pt idx="537">
                  <c:v>45.648262000000003</c:v>
                </c:pt>
                <c:pt idx="538">
                  <c:v>45.097588000000002</c:v>
                </c:pt>
                <c:pt idx="539">
                  <c:v>46.274883000000003</c:v>
                </c:pt>
                <c:pt idx="540">
                  <c:v>45.420394999999999</c:v>
                </c:pt>
                <c:pt idx="541">
                  <c:v>45.315967999999998</c:v>
                </c:pt>
                <c:pt idx="542">
                  <c:v>45.372920000000001</c:v>
                </c:pt>
                <c:pt idx="543">
                  <c:v>45.021639999999998</c:v>
                </c:pt>
                <c:pt idx="544">
                  <c:v>45.334946000000002</c:v>
                </c:pt>
                <c:pt idx="545">
                  <c:v>45.800170000000001</c:v>
                </c:pt>
                <c:pt idx="546">
                  <c:v>45.752699999999997</c:v>
                </c:pt>
                <c:pt idx="547">
                  <c:v>47.243285999999998</c:v>
                </c:pt>
                <c:pt idx="548">
                  <c:v>48.76238</c:v>
                </c:pt>
                <c:pt idx="549">
                  <c:v>48.800350000000002</c:v>
                </c:pt>
                <c:pt idx="550">
                  <c:v>48.847816000000002</c:v>
                </c:pt>
                <c:pt idx="551">
                  <c:v>50.044089999999997</c:v>
                </c:pt>
                <c:pt idx="552">
                  <c:v>49.246569999999998</c:v>
                </c:pt>
                <c:pt idx="553">
                  <c:v>48.600966999999997</c:v>
                </c:pt>
                <c:pt idx="554">
                  <c:v>46.407803000000001</c:v>
                </c:pt>
                <c:pt idx="555">
                  <c:v>45.941630000000004</c:v>
                </c:pt>
                <c:pt idx="556">
                  <c:v>46.988135999999997</c:v>
                </c:pt>
                <c:pt idx="557">
                  <c:v>46.569541999999998</c:v>
                </c:pt>
                <c:pt idx="558">
                  <c:v>44.723877000000002</c:v>
                </c:pt>
                <c:pt idx="559">
                  <c:v>44.761916999999997</c:v>
                </c:pt>
                <c:pt idx="560">
                  <c:v>46.67418</c:v>
                </c:pt>
                <c:pt idx="561">
                  <c:v>46.655149999999999</c:v>
                </c:pt>
                <c:pt idx="562">
                  <c:v>47.235492999999998</c:v>
                </c:pt>
                <c:pt idx="563">
                  <c:v>46.47439</c:v>
                </c:pt>
                <c:pt idx="564">
                  <c:v>46.131912</c:v>
                </c:pt>
                <c:pt idx="565">
                  <c:v>46.445853999999997</c:v>
                </c:pt>
                <c:pt idx="566">
                  <c:v>46.303153999999999</c:v>
                </c:pt>
                <c:pt idx="567">
                  <c:v>46.617103999999998</c:v>
                </c:pt>
                <c:pt idx="568">
                  <c:v>45.523014000000003</c:v>
                </c:pt>
                <c:pt idx="569">
                  <c:v>40.965960000000003</c:v>
                </c:pt>
                <c:pt idx="570">
                  <c:v>40.404662999999999</c:v>
                </c:pt>
                <c:pt idx="571">
                  <c:v>40.537846000000002</c:v>
                </c:pt>
                <c:pt idx="572">
                  <c:v>39.538919999999997</c:v>
                </c:pt>
                <c:pt idx="573">
                  <c:v>40.185850000000002</c:v>
                </c:pt>
                <c:pt idx="574">
                  <c:v>39.928986000000002</c:v>
                </c:pt>
                <c:pt idx="575">
                  <c:v>40.309525000000001</c:v>
                </c:pt>
                <c:pt idx="576">
                  <c:v>42.031497999999999</c:v>
                </c:pt>
                <c:pt idx="577">
                  <c:v>41.650950000000002</c:v>
                </c:pt>
                <c:pt idx="578">
                  <c:v>41.03257</c:v>
                </c:pt>
                <c:pt idx="579">
                  <c:v>40.119244000000002</c:v>
                </c:pt>
                <c:pt idx="580">
                  <c:v>39.691135000000003</c:v>
                </c:pt>
                <c:pt idx="581">
                  <c:v>37.921593000000001</c:v>
                </c:pt>
                <c:pt idx="582">
                  <c:v>38.368724999999998</c:v>
                </c:pt>
                <c:pt idx="583">
                  <c:v>38.463875000000002</c:v>
                </c:pt>
                <c:pt idx="584">
                  <c:v>38.073807000000002</c:v>
                </c:pt>
                <c:pt idx="585">
                  <c:v>38.730246999999999</c:v>
                </c:pt>
                <c:pt idx="586">
                  <c:v>38.121369999999999</c:v>
                </c:pt>
                <c:pt idx="587">
                  <c:v>37.560062000000002</c:v>
                </c:pt>
                <c:pt idx="588">
                  <c:v>37.940617000000003</c:v>
                </c:pt>
                <c:pt idx="589">
                  <c:v>38.03575</c:v>
                </c:pt>
                <c:pt idx="590">
                  <c:v>39.538919999999997</c:v>
                </c:pt>
                <c:pt idx="591">
                  <c:v>40.937415999999999</c:v>
                </c:pt>
                <c:pt idx="592">
                  <c:v>40.652016000000003</c:v>
                </c:pt>
                <c:pt idx="593">
                  <c:v>40.185850000000002</c:v>
                </c:pt>
                <c:pt idx="594">
                  <c:v>40.185850000000002</c:v>
                </c:pt>
                <c:pt idx="595">
                  <c:v>39.424747000000004</c:v>
                </c:pt>
                <c:pt idx="596">
                  <c:v>37.816929999999999</c:v>
                </c:pt>
                <c:pt idx="597">
                  <c:v>37.997695999999998</c:v>
                </c:pt>
                <c:pt idx="598">
                  <c:v>36.913139999999999</c:v>
                </c:pt>
                <c:pt idx="599">
                  <c:v>37.131943</c:v>
                </c:pt>
                <c:pt idx="600">
                  <c:v>37.797910000000002</c:v>
                </c:pt>
                <c:pt idx="601">
                  <c:v>38.692183999999997</c:v>
                </c:pt>
                <c:pt idx="602">
                  <c:v>37.398330000000001</c:v>
                </c:pt>
                <c:pt idx="603">
                  <c:v>37.740819999999999</c:v>
                </c:pt>
                <c:pt idx="604">
                  <c:v>39.205930000000002</c:v>
                </c:pt>
                <c:pt idx="605">
                  <c:v>40.357086000000002</c:v>
                </c:pt>
                <c:pt idx="606">
                  <c:v>40.014600000000002</c:v>
                </c:pt>
                <c:pt idx="607">
                  <c:v>39.519897</c:v>
                </c:pt>
                <c:pt idx="608">
                  <c:v>39.377173999999997</c:v>
                </c:pt>
                <c:pt idx="609">
                  <c:v>39.386691999999996</c:v>
                </c:pt>
                <c:pt idx="610">
                  <c:v>38.578026000000001</c:v>
                </c:pt>
                <c:pt idx="611">
                  <c:v>38.911006999999998</c:v>
                </c:pt>
                <c:pt idx="612">
                  <c:v>39.415230000000001</c:v>
                </c:pt>
                <c:pt idx="613">
                  <c:v>40.537846000000002</c:v>
                </c:pt>
                <c:pt idx="614">
                  <c:v>37.702765999999997</c:v>
                </c:pt>
                <c:pt idx="615">
                  <c:v>38.187964999999998</c:v>
                </c:pt>
                <c:pt idx="616">
                  <c:v>39.167876999999997</c:v>
                </c:pt>
                <c:pt idx="617">
                  <c:v>38.749274999999997</c:v>
                </c:pt>
                <c:pt idx="618">
                  <c:v>38.31165</c:v>
                </c:pt>
                <c:pt idx="619">
                  <c:v>38.149914000000003</c:v>
                </c:pt>
                <c:pt idx="620">
                  <c:v>39.681614000000003</c:v>
                </c:pt>
                <c:pt idx="621">
                  <c:v>40.661526000000002</c:v>
                </c:pt>
                <c:pt idx="622">
                  <c:v>40.870834000000002</c:v>
                </c:pt>
                <c:pt idx="623">
                  <c:v>40.222380000000001</c:v>
                </c:pt>
                <c:pt idx="624">
                  <c:v>39.564419999999998</c:v>
                </c:pt>
                <c:pt idx="625">
                  <c:v>39.745604999999998</c:v>
                </c:pt>
                <c:pt idx="626">
                  <c:v>40.718254000000002</c:v>
                </c:pt>
                <c:pt idx="627">
                  <c:v>40.546607999999999</c:v>
                </c:pt>
                <c:pt idx="628">
                  <c:v>40.689647999999998</c:v>
                </c:pt>
                <c:pt idx="629">
                  <c:v>40.889896</c:v>
                </c:pt>
                <c:pt idx="630">
                  <c:v>41.910240000000002</c:v>
                </c:pt>
                <c:pt idx="631">
                  <c:v>41.605083</c:v>
                </c:pt>
                <c:pt idx="632">
                  <c:v>41.509740000000001</c:v>
                </c:pt>
                <c:pt idx="633">
                  <c:v>40.031669999999998</c:v>
                </c:pt>
                <c:pt idx="634">
                  <c:v>37.905155000000001</c:v>
                </c:pt>
                <c:pt idx="635">
                  <c:v>35.874023000000001</c:v>
                </c:pt>
                <c:pt idx="636">
                  <c:v>35.759585999999999</c:v>
                </c:pt>
                <c:pt idx="637">
                  <c:v>37.046944000000003</c:v>
                </c:pt>
                <c:pt idx="638">
                  <c:v>37.218581999999998</c:v>
                </c:pt>
                <c:pt idx="639">
                  <c:v>36.82761</c:v>
                </c:pt>
                <c:pt idx="640">
                  <c:v>37.170900000000003</c:v>
                </c:pt>
                <c:pt idx="641">
                  <c:v>37.380684000000002</c:v>
                </c:pt>
                <c:pt idx="642">
                  <c:v>39.583485000000003</c:v>
                </c:pt>
                <c:pt idx="643">
                  <c:v>38.992263999999999</c:v>
                </c:pt>
                <c:pt idx="644">
                  <c:v>38.715710000000001</c:v>
                </c:pt>
                <c:pt idx="645">
                  <c:v>38.906436999999997</c:v>
                </c:pt>
                <c:pt idx="646">
                  <c:v>39.097152999999999</c:v>
                </c:pt>
                <c:pt idx="647">
                  <c:v>39.297398000000001</c:v>
                </c:pt>
                <c:pt idx="648">
                  <c:v>40.193779999999997</c:v>
                </c:pt>
                <c:pt idx="649">
                  <c:v>40.327292999999997</c:v>
                </c:pt>
                <c:pt idx="650">
                  <c:v>40.66104</c:v>
                </c:pt>
                <c:pt idx="651">
                  <c:v>41.061546</c:v>
                </c:pt>
                <c:pt idx="652">
                  <c:v>41.94838</c:v>
                </c:pt>
                <c:pt idx="653">
                  <c:v>41.471589999999999</c:v>
                </c:pt>
                <c:pt idx="654">
                  <c:v>41.223655999999998</c:v>
                </c:pt>
                <c:pt idx="655">
                  <c:v>39.27834</c:v>
                </c:pt>
                <c:pt idx="656">
                  <c:v>39.326014999999998</c:v>
                </c:pt>
                <c:pt idx="657">
                  <c:v>38.381954</c:v>
                </c:pt>
                <c:pt idx="658">
                  <c:v>38.372433000000001</c:v>
                </c:pt>
                <c:pt idx="659">
                  <c:v>37.266269999999999</c:v>
                </c:pt>
                <c:pt idx="660">
                  <c:v>37.361626000000001</c:v>
                </c:pt>
                <c:pt idx="661">
                  <c:v>37.027866000000003</c:v>
                </c:pt>
                <c:pt idx="662">
                  <c:v>37.380684000000002</c:v>
                </c:pt>
                <c:pt idx="663">
                  <c:v>36.837153999999998</c:v>
                </c:pt>
                <c:pt idx="664">
                  <c:v>38.324745</c:v>
                </c:pt>
                <c:pt idx="665">
                  <c:v>36.360349999999997</c:v>
                </c:pt>
                <c:pt idx="666">
                  <c:v>37.485596000000001</c:v>
                </c:pt>
                <c:pt idx="667">
                  <c:v>37.895626</c:v>
                </c:pt>
                <c:pt idx="668">
                  <c:v>40.451251999999997</c:v>
                </c:pt>
                <c:pt idx="669">
                  <c:v>41.805346999999998</c:v>
                </c:pt>
                <c:pt idx="670">
                  <c:v>41.395297999999997</c:v>
                </c:pt>
                <c:pt idx="671">
                  <c:v>41.767197000000003</c:v>
                </c:pt>
                <c:pt idx="672">
                  <c:v>42.396569999999997</c:v>
                </c:pt>
                <c:pt idx="673">
                  <c:v>41.681379999999997</c:v>
                </c:pt>
                <c:pt idx="674">
                  <c:v>42.387030000000003</c:v>
                </c:pt>
                <c:pt idx="675">
                  <c:v>42.711253999999997</c:v>
                </c:pt>
                <c:pt idx="676">
                  <c:v>42.253535999999997</c:v>
                </c:pt>
                <c:pt idx="677">
                  <c:v>43.855559999999997</c:v>
                </c:pt>
                <c:pt idx="678">
                  <c:v>43.550407</c:v>
                </c:pt>
                <c:pt idx="679">
                  <c:v>44.313290000000002</c:v>
                </c:pt>
                <c:pt idx="680">
                  <c:v>44.303750000000001</c:v>
                </c:pt>
                <c:pt idx="681">
                  <c:v>43.7316</c:v>
                </c:pt>
                <c:pt idx="682">
                  <c:v>43.7316</c:v>
                </c:pt>
                <c:pt idx="683">
                  <c:v>44.074883</c:v>
                </c:pt>
                <c:pt idx="684">
                  <c:v>44.313290000000002</c:v>
                </c:pt>
                <c:pt idx="685">
                  <c:v>44.437522999999999</c:v>
                </c:pt>
                <c:pt idx="686">
                  <c:v>43.606110000000001</c:v>
                </c:pt>
                <c:pt idx="687">
                  <c:v>43.577440000000003</c:v>
                </c:pt>
                <c:pt idx="688">
                  <c:v>43.328968000000003</c:v>
                </c:pt>
                <c:pt idx="689">
                  <c:v>42.669581999999998</c:v>
                </c:pt>
                <c:pt idx="690">
                  <c:v>42.516669999999998</c:v>
                </c:pt>
                <c:pt idx="691">
                  <c:v>42.421104</c:v>
                </c:pt>
                <c:pt idx="692">
                  <c:v>41.952846999999998</c:v>
                </c:pt>
                <c:pt idx="693">
                  <c:v>41.522804000000001</c:v>
                </c:pt>
                <c:pt idx="694">
                  <c:v>40.930298000000001</c:v>
                </c:pt>
                <c:pt idx="695">
                  <c:v>40.423805000000002</c:v>
                </c:pt>
                <c:pt idx="696">
                  <c:v>39.898209999999999</c:v>
                </c:pt>
                <c:pt idx="697">
                  <c:v>40.423805000000002</c:v>
                </c:pt>
                <c:pt idx="698">
                  <c:v>40.328246999999998</c:v>
                </c:pt>
                <c:pt idx="699">
                  <c:v>40.423805000000002</c:v>
                </c:pt>
                <c:pt idx="700">
                  <c:v>39.401257000000001</c:v>
                </c:pt>
                <c:pt idx="701">
                  <c:v>39.477722</c:v>
                </c:pt>
                <c:pt idx="702">
                  <c:v>39.840862000000001</c:v>
                </c:pt>
                <c:pt idx="703">
                  <c:v>39.429929999999999</c:v>
                </c:pt>
                <c:pt idx="704">
                  <c:v>41.341225000000001</c:v>
                </c:pt>
                <c:pt idx="705">
                  <c:v>41.876392000000003</c:v>
                </c:pt>
                <c:pt idx="706">
                  <c:v>41.350783999999997</c:v>
                </c:pt>
                <c:pt idx="707">
                  <c:v>42.975383999999998</c:v>
                </c:pt>
                <c:pt idx="708">
                  <c:v>43.749447000000004</c:v>
                </c:pt>
                <c:pt idx="709">
                  <c:v>42.573999999999998</c:v>
                </c:pt>
                <c:pt idx="710">
                  <c:v>41.713935999999997</c:v>
                </c:pt>
                <c:pt idx="711">
                  <c:v>42.134410000000003</c:v>
                </c:pt>
                <c:pt idx="712">
                  <c:v>40.223132999999997</c:v>
                </c:pt>
                <c:pt idx="713">
                  <c:v>39.917316</c:v>
                </c:pt>
                <c:pt idx="714">
                  <c:v>40.710503000000003</c:v>
                </c:pt>
                <c:pt idx="715">
                  <c:v>41.283893999999997</c:v>
                </c:pt>
                <c:pt idx="716">
                  <c:v>40.576714000000003</c:v>
                </c:pt>
                <c:pt idx="717">
                  <c:v>39.267487000000003</c:v>
                </c:pt>
                <c:pt idx="718">
                  <c:v>40.519370000000002</c:v>
                </c:pt>
                <c:pt idx="719">
                  <c:v>40.997191999999998</c:v>
                </c:pt>
                <c:pt idx="720">
                  <c:v>41.369900000000001</c:v>
                </c:pt>
                <c:pt idx="721">
                  <c:v>41.866833</c:v>
                </c:pt>
                <c:pt idx="722">
                  <c:v>41.312556999999998</c:v>
                </c:pt>
                <c:pt idx="723">
                  <c:v>41.57058</c:v>
                </c:pt>
                <c:pt idx="724">
                  <c:v>40.901626999999998</c:v>
                </c:pt>
                <c:pt idx="725">
                  <c:v>40.471589999999999</c:v>
                </c:pt>
                <c:pt idx="726">
                  <c:v>39.095455000000001</c:v>
                </c:pt>
                <c:pt idx="727">
                  <c:v>38.722766999999997</c:v>
                </c:pt>
                <c:pt idx="728">
                  <c:v>39.401257000000001</c:v>
                </c:pt>
                <c:pt idx="729">
                  <c:v>38.655853</c:v>
                </c:pt>
                <c:pt idx="730">
                  <c:v>38.579407000000003</c:v>
                </c:pt>
                <c:pt idx="731">
                  <c:v>39.257914999999997</c:v>
                </c:pt>
                <c:pt idx="732">
                  <c:v>40.137115000000001</c:v>
                </c:pt>
                <c:pt idx="733">
                  <c:v>38.321399999999997</c:v>
                </c:pt>
                <c:pt idx="734">
                  <c:v>38.751427</c:v>
                </c:pt>
                <c:pt idx="735">
                  <c:v>37.040824999999998</c:v>
                </c:pt>
                <c:pt idx="736">
                  <c:v>37.136383000000002</c:v>
                </c:pt>
                <c:pt idx="737">
                  <c:v>37.32752</c:v>
                </c:pt>
                <c:pt idx="738">
                  <c:v>38.025143</c:v>
                </c:pt>
                <c:pt idx="739">
                  <c:v>38.378729999999997</c:v>
                </c:pt>
                <c:pt idx="740">
                  <c:v>37.155501999999998</c:v>
                </c:pt>
                <c:pt idx="741">
                  <c:v>37.881785999999998</c:v>
                </c:pt>
                <c:pt idx="742">
                  <c:v>37.929569999999998</c:v>
                </c:pt>
                <c:pt idx="743">
                  <c:v>36.448321999999997</c:v>
                </c:pt>
                <c:pt idx="744">
                  <c:v>37.260629999999999</c:v>
                </c:pt>
                <c:pt idx="745">
                  <c:v>37.633319999999998</c:v>
                </c:pt>
                <c:pt idx="746">
                  <c:v>35.387557999999999</c:v>
                </c:pt>
                <c:pt idx="747">
                  <c:v>35.846269999999997</c:v>
                </c:pt>
                <c:pt idx="748">
                  <c:v>36.515217</c:v>
                </c:pt>
                <c:pt idx="749">
                  <c:v>35.119987000000002</c:v>
                </c:pt>
                <c:pt idx="750">
                  <c:v>34.065890000000003</c:v>
                </c:pt>
                <c:pt idx="751">
                  <c:v>34.679175999999998</c:v>
                </c:pt>
                <c:pt idx="752">
                  <c:v>35.570346999999998</c:v>
                </c:pt>
                <c:pt idx="753">
                  <c:v>34.966639999999998</c:v>
                </c:pt>
                <c:pt idx="754">
                  <c:v>36.241120000000002</c:v>
                </c:pt>
                <c:pt idx="755">
                  <c:v>36.998150000000003</c:v>
                </c:pt>
                <c:pt idx="756">
                  <c:v>37.697679999999998</c:v>
                </c:pt>
                <c:pt idx="757">
                  <c:v>37.889324000000002</c:v>
                </c:pt>
                <c:pt idx="758">
                  <c:v>38.100147</c:v>
                </c:pt>
                <c:pt idx="759">
                  <c:v>39.135060000000003</c:v>
                </c:pt>
                <c:pt idx="760">
                  <c:v>38.694262999999999</c:v>
                </c:pt>
                <c:pt idx="761">
                  <c:v>38.962560000000003</c:v>
                </c:pt>
                <c:pt idx="762">
                  <c:v>39.633347000000001</c:v>
                </c:pt>
                <c:pt idx="763">
                  <c:v>39.163800000000002</c:v>
                </c:pt>
                <c:pt idx="764">
                  <c:v>39.288372000000003</c:v>
                </c:pt>
                <c:pt idx="765">
                  <c:v>40.083725000000001</c:v>
                </c:pt>
                <c:pt idx="766">
                  <c:v>39.853752</c:v>
                </c:pt>
                <c:pt idx="767">
                  <c:v>40.131639999999997</c:v>
                </c:pt>
                <c:pt idx="768">
                  <c:v>39.89208</c:v>
                </c:pt>
                <c:pt idx="769">
                  <c:v>40.371197000000002</c:v>
                </c:pt>
                <c:pt idx="770">
                  <c:v>39.067979999999999</c:v>
                </c:pt>
                <c:pt idx="771">
                  <c:v>39.911242999999999</c:v>
                </c:pt>
                <c:pt idx="772">
                  <c:v>39.89208</c:v>
                </c:pt>
                <c:pt idx="773">
                  <c:v>40.697014000000003</c:v>
                </c:pt>
                <c:pt idx="774">
                  <c:v>40.811993000000001</c:v>
                </c:pt>
                <c:pt idx="775">
                  <c:v>40.352040000000002</c:v>
                </c:pt>
                <c:pt idx="776">
                  <c:v>40.543681999999997</c:v>
                </c:pt>
                <c:pt idx="777">
                  <c:v>40.342449999999999</c:v>
                </c:pt>
                <c:pt idx="778">
                  <c:v>41.626506999999997</c:v>
                </c:pt>
                <c:pt idx="779">
                  <c:v>41.655259999999998</c:v>
                </c:pt>
                <c:pt idx="780">
                  <c:v>40.974890000000002</c:v>
                </c:pt>
                <c:pt idx="781">
                  <c:v>40.169969999999999</c:v>
                </c:pt>
                <c:pt idx="782">
                  <c:v>38.809246000000002</c:v>
                </c:pt>
                <c:pt idx="783">
                  <c:v>39.202126</c:v>
                </c:pt>
                <c:pt idx="784">
                  <c:v>39.623764000000001</c:v>
                </c:pt>
                <c:pt idx="785">
                  <c:v>39.652509999999999</c:v>
                </c:pt>
                <c:pt idx="786">
                  <c:v>39.297960000000003</c:v>
                </c:pt>
                <c:pt idx="787">
                  <c:v>37.870159999999998</c:v>
                </c:pt>
                <c:pt idx="788">
                  <c:v>37.726419999999997</c:v>
                </c:pt>
                <c:pt idx="789">
                  <c:v>37.304789999999997</c:v>
                </c:pt>
                <c:pt idx="790">
                  <c:v>37.276046999999998</c:v>
                </c:pt>
                <c:pt idx="791">
                  <c:v>36.758586999999999</c:v>
                </c:pt>
                <c:pt idx="792">
                  <c:v>36.892741999999998</c:v>
                </c:pt>
                <c:pt idx="793">
                  <c:v>37.113148000000002</c:v>
                </c:pt>
                <c:pt idx="794">
                  <c:v>37.553939999999997</c:v>
                </c:pt>
                <c:pt idx="795">
                  <c:v>38.272629999999999</c:v>
                </c:pt>
                <c:pt idx="796">
                  <c:v>39.451282999999997</c:v>
                </c:pt>
                <c:pt idx="797">
                  <c:v>39.202126</c:v>
                </c:pt>
                <c:pt idx="798">
                  <c:v>39.211716000000003</c:v>
                </c:pt>
                <c:pt idx="799">
                  <c:v>39.614184999999999</c:v>
                </c:pt>
                <c:pt idx="800">
                  <c:v>39.537509999999997</c:v>
                </c:pt>
                <c:pt idx="801">
                  <c:v>38.339709999999997</c:v>
                </c:pt>
                <c:pt idx="802">
                  <c:v>36.614849999999997</c:v>
                </c:pt>
                <c:pt idx="803">
                  <c:v>35.455364000000003</c:v>
                </c:pt>
                <c:pt idx="804">
                  <c:v>35.378708000000003</c:v>
                </c:pt>
                <c:pt idx="805">
                  <c:v>35.177480000000003</c:v>
                </c:pt>
                <c:pt idx="806">
                  <c:v>34.46837</c:v>
                </c:pt>
                <c:pt idx="807">
                  <c:v>33.241790000000002</c:v>
                </c:pt>
                <c:pt idx="808">
                  <c:v>33.088030000000003</c:v>
                </c:pt>
                <c:pt idx="809">
                  <c:v>33.232190000000003</c:v>
                </c:pt>
                <c:pt idx="810">
                  <c:v>31.915585</c:v>
                </c:pt>
                <c:pt idx="811">
                  <c:v>31.531174</c:v>
                </c:pt>
                <c:pt idx="812">
                  <c:v>31.742601000000001</c:v>
                </c:pt>
                <c:pt idx="813">
                  <c:v>31.656110000000002</c:v>
                </c:pt>
                <c:pt idx="814">
                  <c:v>32.453760000000003</c:v>
                </c:pt>
                <c:pt idx="815">
                  <c:v>31.579232999999999</c:v>
                </c:pt>
                <c:pt idx="816">
                  <c:v>30.108864000000001</c:v>
                </c:pt>
                <c:pt idx="817">
                  <c:v>30.281849000000001</c:v>
                </c:pt>
                <c:pt idx="818">
                  <c:v>30.868067</c:v>
                </c:pt>
                <c:pt idx="819">
                  <c:v>31.367804</c:v>
                </c:pt>
                <c:pt idx="820">
                  <c:v>31.338974</c:v>
                </c:pt>
                <c:pt idx="821">
                  <c:v>30.896896000000002</c:v>
                </c:pt>
                <c:pt idx="822">
                  <c:v>30.762356</c:v>
                </c:pt>
                <c:pt idx="823">
                  <c:v>30.493272999999999</c:v>
                </c:pt>
                <c:pt idx="824">
                  <c:v>30.896896000000002</c:v>
                </c:pt>
                <c:pt idx="825">
                  <c:v>30.916122000000001</c:v>
                </c:pt>
                <c:pt idx="826">
                  <c:v>30.281849000000001</c:v>
                </c:pt>
                <c:pt idx="827">
                  <c:v>30.416388000000001</c:v>
                </c:pt>
                <c:pt idx="828">
                  <c:v>30.666256000000001</c:v>
                </c:pt>
                <c:pt idx="829">
                  <c:v>30.704692999999999</c:v>
                </c:pt>
                <c:pt idx="830">
                  <c:v>30.435607999999998</c:v>
                </c:pt>
                <c:pt idx="831">
                  <c:v>29.609124999999999</c:v>
                </c:pt>
                <c:pt idx="832">
                  <c:v>30.041589999999999</c:v>
                </c:pt>
                <c:pt idx="833">
                  <c:v>31.098718999999999</c:v>
                </c:pt>
                <c:pt idx="834">
                  <c:v>31.242868000000001</c:v>
                </c:pt>
                <c:pt idx="835">
                  <c:v>32.098185999999998</c:v>
                </c:pt>
                <c:pt idx="836">
                  <c:v>31.848306999999998</c:v>
                </c:pt>
                <c:pt idx="837">
                  <c:v>30.56054</c:v>
                </c:pt>
                <c:pt idx="838">
                  <c:v>29.176666000000001</c:v>
                </c:pt>
                <c:pt idx="839">
                  <c:v>29.301603</c:v>
                </c:pt>
                <c:pt idx="840">
                  <c:v>28.004217000000001</c:v>
                </c:pt>
                <c:pt idx="841">
                  <c:v>28.196425999999999</c:v>
                </c:pt>
                <c:pt idx="842">
                  <c:v>28.552002000000002</c:v>
                </c:pt>
                <c:pt idx="843">
                  <c:v>28.849914999999999</c:v>
                </c:pt>
                <c:pt idx="844">
                  <c:v>28.724989999999998</c:v>
                </c:pt>
                <c:pt idx="845">
                  <c:v>29.147839000000001</c:v>
                </c:pt>
                <c:pt idx="846">
                  <c:v>25.995687</c:v>
                </c:pt>
                <c:pt idx="847">
                  <c:v>24.285063000000001</c:v>
                </c:pt>
                <c:pt idx="848">
                  <c:v>25.726599</c:v>
                </c:pt>
                <c:pt idx="849">
                  <c:v>26.620346000000001</c:v>
                </c:pt>
                <c:pt idx="850">
                  <c:v>27.206568000000001</c:v>
                </c:pt>
                <c:pt idx="851">
                  <c:v>28.186813000000001</c:v>
                </c:pt>
                <c:pt idx="852">
                  <c:v>27.802403999999999</c:v>
                </c:pt>
                <c:pt idx="853">
                  <c:v>27.245011999999999</c:v>
                </c:pt>
                <c:pt idx="854">
                  <c:v>28.254086999999998</c:v>
                </c:pt>
                <c:pt idx="855">
                  <c:v>28.869146000000001</c:v>
                </c:pt>
                <c:pt idx="856">
                  <c:v>29.945485999999999</c:v>
                </c:pt>
                <c:pt idx="857">
                  <c:v>33.309063000000002</c:v>
                </c:pt>
                <c:pt idx="858">
                  <c:v>33.107259999999997</c:v>
                </c:pt>
                <c:pt idx="859">
                  <c:v>34.481513999999997</c:v>
                </c:pt>
                <c:pt idx="860">
                  <c:v>34.491123000000002</c:v>
                </c:pt>
                <c:pt idx="861">
                  <c:v>34.625667999999997</c:v>
                </c:pt>
                <c:pt idx="862">
                  <c:v>34.606450000000002</c:v>
                </c:pt>
                <c:pt idx="863">
                  <c:v>34.519955000000003</c:v>
                </c:pt>
                <c:pt idx="864">
                  <c:v>33.597369999999998</c:v>
                </c:pt>
                <c:pt idx="865">
                  <c:v>34.942805999999997</c:v>
                </c:pt>
                <c:pt idx="866">
                  <c:v>34.404636000000004</c:v>
                </c:pt>
                <c:pt idx="867">
                  <c:v>35.125410000000002</c:v>
                </c:pt>
                <c:pt idx="868">
                  <c:v>34.789042999999999</c:v>
                </c:pt>
                <c:pt idx="869">
                  <c:v>34.923580000000001</c:v>
                </c:pt>
                <c:pt idx="870">
                  <c:v>34.116332999999997</c:v>
                </c:pt>
                <c:pt idx="871">
                  <c:v>34.212429999999998</c:v>
                </c:pt>
                <c:pt idx="872">
                  <c:v>32.203899999999997</c:v>
                </c:pt>
                <c:pt idx="873">
                  <c:v>32.271362000000003</c:v>
                </c:pt>
                <c:pt idx="874">
                  <c:v>32.367750000000001</c:v>
                </c:pt>
                <c:pt idx="875">
                  <c:v>33.196705000000001</c:v>
                </c:pt>
                <c:pt idx="876">
                  <c:v>33.109949999999998</c:v>
                </c:pt>
                <c:pt idx="877">
                  <c:v>33.341293</c:v>
                </c:pt>
                <c:pt idx="878">
                  <c:v>32.946095</c:v>
                </c:pt>
                <c:pt idx="879">
                  <c:v>33.697940000000003</c:v>
                </c:pt>
                <c:pt idx="880">
                  <c:v>33.659374</c:v>
                </c:pt>
                <c:pt idx="881">
                  <c:v>34.57508</c:v>
                </c:pt>
                <c:pt idx="882">
                  <c:v>35.423319999999997</c:v>
                </c:pt>
                <c:pt idx="883">
                  <c:v>35.278731999999998</c:v>
                </c:pt>
                <c:pt idx="884">
                  <c:v>35.346209999999999</c:v>
                </c:pt>
                <c:pt idx="885">
                  <c:v>35.172699999999999</c:v>
                </c:pt>
                <c:pt idx="886">
                  <c:v>34.700397000000002</c:v>
                </c:pt>
                <c:pt idx="887">
                  <c:v>35.085953000000003</c:v>
                </c:pt>
                <c:pt idx="888">
                  <c:v>35.326926999999998</c:v>
                </c:pt>
                <c:pt idx="889">
                  <c:v>35.394398000000002</c:v>
                </c:pt>
                <c:pt idx="890">
                  <c:v>34.922091999999999</c:v>
                </c:pt>
                <c:pt idx="891">
                  <c:v>34.864254000000003</c:v>
                </c:pt>
                <c:pt idx="892">
                  <c:v>35.712485999999998</c:v>
                </c:pt>
                <c:pt idx="893">
                  <c:v>34.989567000000001</c:v>
                </c:pt>
                <c:pt idx="894">
                  <c:v>34.931731999999997</c:v>
                </c:pt>
                <c:pt idx="895">
                  <c:v>35.211253999999997</c:v>
                </c:pt>
                <c:pt idx="896">
                  <c:v>35.625729999999997</c:v>
                </c:pt>
                <c:pt idx="897">
                  <c:v>37.351112000000001</c:v>
                </c:pt>
                <c:pt idx="898">
                  <c:v>37.929454999999997</c:v>
                </c:pt>
                <c:pt idx="899">
                  <c:v>37.100506000000003</c:v>
                </c:pt>
                <c:pt idx="900">
                  <c:v>36.955930000000002</c:v>
                </c:pt>
                <c:pt idx="901">
                  <c:v>36.020940000000003</c:v>
                </c:pt>
                <c:pt idx="902">
                  <c:v>35.076304999999998</c:v>
                </c:pt>
                <c:pt idx="903">
                  <c:v>35.095592000000003</c:v>
                </c:pt>
                <c:pt idx="904">
                  <c:v>34.208804999999998</c:v>
                </c:pt>
                <c:pt idx="905">
                  <c:v>34.160606000000001</c:v>
                </c:pt>
                <c:pt idx="906">
                  <c:v>33.881076999999998</c:v>
                </c:pt>
                <c:pt idx="907">
                  <c:v>33.418404000000002</c:v>
                </c:pt>
                <c:pt idx="908">
                  <c:v>33.977466999999997</c:v>
                </c:pt>
                <c:pt idx="909">
                  <c:v>34.266632000000001</c:v>
                </c:pt>
                <c:pt idx="910">
                  <c:v>33.669020000000003</c:v>
                </c:pt>
                <c:pt idx="911">
                  <c:v>34.700397000000002</c:v>
                </c:pt>
                <c:pt idx="912">
                  <c:v>34.546165000000002</c:v>
                </c:pt>
                <c:pt idx="913">
                  <c:v>34.526890000000002</c:v>
                </c:pt>
                <c:pt idx="914">
                  <c:v>35.28837</c:v>
                </c:pt>
                <c:pt idx="915">
                  <c:v>36.339024000000002</c:v>
                </c:pt>
                <c:pt idx="916">
                  <c:v>36.271552999999997</c:v>
                </c:pt>
                <c:pt idx="917">
                  <c:v>36.502884000000002</c:v>
                </c:pt>
                <c:pt idx="918">
                  <c:v>36.792053000000003</c:v>
                </c:pt>
                <c:pt idx="919">
                  <c:v>36.367935000000003</c:v>
                </c:pt>
                <c:pt idx="920">
                  <c:v>37.486057000000002</c:v>
                </c:pt>
                <c:pt idx="921">
                  <c:v>36.820971999999998</c:v>
                </c:pt>
                <c:pt idx="922">
                  <c:v>36.030574999999999</c:v>
                </c:pt>
                <c:pt idx="923">
                  <c:v>37.823430000000002</c:v>
                </c:pt>
                <c:pt idx="924">
                  <c:v>37.254730000000002</c:v>
                </c:pt>
                <c:pt idx="925">
                  <c:v>37.187252000000001</c:v>
                </c:pt>
                <c:pt idx="926">
                  <c:v>37.929454999999997</c:v>
                </c:pt>
                <c:pt idx="927">
                  <c:v>39.163241999999997</c:v>
                </c:pt>
                <c:pt idx="928">
                  <c:v>39.124695000000003</c:v>
                </c:pt>
                <c:pt idx="929">
                  <c:v>38.459601999999997</c:v>
                </c:pt>
                <c:pt idx="930">
                  <c:v>38.392128</c:v>
                </c:pt>
                <c:pt idx="931">
                  <c:v>38.257187000000002</c:v>
                </c:pt>
                <c:pt idx="932">
                  <c:v>37.900542999999999</c:v>
                </c:pt>
                <c:pt idx="933">
                  <c:v>38.469239999999999</c:v>
                </c:pt>
                <c:pt idx="934">
                  <c:v>38.613827000000001</c:v>
                </c:pt>
                <c:pt idx="935">
                  <c:v>39.134323000000002</c:v>
                </c:pt>
                <c:pt idx="936">
                  <c:v>38.363210000000002</c:v>
                </c:pt>
                <c:pt idx="937">
                  <c:v>38.27646</c:v>
                </c:pt>
                <c:pt idx="938">
                  <c:v>38.054206999999998</c:v>
                </c:pt>
                <c:pt idx="939">
                  <c:v>38.402084000000002</c:v>
                </c:pt>
                <c:pt idx="940">
                  <c:v>40.093162999999997</c:v>
                </c:pt>
                <c:pt idx="941">
                  <c:v>40.296097000000003</c:v>
                </c:pt>
                <c:pt idx="942">
                  <c:v>40.982193000000002</c:v>
                </c:pt>
                <c:pt idx="943">
                  <c:v>40.875895999999997</c:v>
                </c:pt>
                <c:pt idx="944">
                  <c:v>41.484690000000001</c:v>
                </c:pt>
                <c:pt idx="945">
                  <c:v>41.938859999999998</c:v>
                </c:pt>
                <c:pt idx="946">
                  <c:v>43.253067000000001</c:v>
                </c:pt>
                <c:pt idx="947">
                  <c:v>42.953518000000003</c:v>
                </c:pt>
                <c:pt idx="948">
                  <c:v>44.287059999999997</c:v>
                </c:pt>
                <c:pt idx="949">
                  <c:v>44.702567999999999</c:v>
                </c:pt>
                <c:pt idx="950">
                  <c:v>44.528632999999999</c:v>
                </c:pt>
                <c:pt idx="951">
                  <c:v>44.528632999999999</c:v>
                </c:pt>
                <c:pt idx="952">
                  <c:v>44.779876999999999</c:v>
                </c:pt>
                <c:pt idx="953">
                  <c:v>45.243720000000003</c:v>
                </c:pt>
                <c:pt idx="954">
                  <c:v>44.934497999999998</c:v>
                </c:pt>
                <c:pt idx="955">
                  <c:v>45.311366999999997</c:v>
                </c:pt>
                <c:pt idx="956">
                  <c:v>44.876510000000003</c:v>
                </c:pt>
                <c:pt idx="957">
                  <c:v>44.209743000000003</c:v>
                </c:pt>
                <c:pt idx="958">
                  <c:v>44.547966000000002</c:v>
                </c:pt>
                <c:pt idx="959">
                  <c:v>44.180756000000002</c:v>
                </c:pt>
                <c:pt idx="960">
                  <c:v>44.866860000000003</c:v>
                </c:pt>
                <c:pt idx="961">
                  <c:v>47.012107999999998</c:v>
                </c:pt>
                <c:pt idx="962">
                  <c:v>46.432304000000002</c:v>
                </c:pt>
                <c:pt idx="963">
                  <c:v>47.968772999999999</c:v>
                </c:pt>
                <c:pt idx="964">
                  <c:v>45.987803999999997</c:v>
                </c:pt>
                <c:pt idx="965">
                  <c:v>46.229377999999997</c:v>
                </c:pt>
                <c:pt idx="966">
                  <c:v>46.306683</c:v>
                </c:pt>
                <c:pt idx="967">
                  <c:v>46.67389</c:v>
                </c:pt>
                <c:pt idx="968">
                  <c:v>46.026449999999997</c:v>
                </c:pt>
                <c:pt idx="969">
                  <c:v>46.944473000000002</c:v>
                </c:pt>
                <c:pt idx="970">
                  <c:v>47.562927000000002</c:v>
                </c:pt>
                <c:pt idx="971">
                  <c:v>47.804504000000001</c:v>
                </c:pt>
                <c:pt idx="972">
                  <c:v>47.050773999999997</c:v>
                </c:pt>
                <c:pt idx="973">
                  <c:v>46.847830000000002</c:v>
                </c:pt>
                <c:pt idx="974">
                  <c:v>46.973460000000003</c:v>
                </c:pt>
                <c:pt idx="975">
                  <c:v>46.065097999999999</c:v>
                </c:pt>
                <c:pt idx="976">
                  <c:v>45.659244999999999</c:v>
                </c:pt>
                <c:pt idx="977">
                  <c:v>45.118090000000002</c:v>
                </c:pt>
                <c:pt idx="978">
                  <c:v>44.741225999999997</c:v>
                </c:pt>
                <c:pt idx="979">
                  <c:v>45.127758</c:v>
                </c:pt>
                <c:pt idx="980">
                  <c:v>44.345030000000001</c:v>
                </c:pt>
                <c:pt idx="981">
                  <c:v>44.654254999999999</c:v>
                </c:pt>
                <c:pt idx="982">
                  <c:v>45.494971999999997</c:v>
                </c:pt>
                <c:pt idx="983">
                  <c:v>46.847830000000002</c:v>
                </c:pt>
                <c:pt idx="984">
                  <c:v>47.002450000000003</c:v>
                </c:pt>
                <c:pt idx="985">
                  <c:v>46.480625000000003</c:v>
                </c:pt>
                <c:pt idx="986">
                  <c:v>46.045775999999996</c:v>
                </c:pt>
                <c:pt idx="987">
                  <c:v>45.176079999999999</c:v>
                </c:pt>
                <c:pt idx="988">
                  <c:v>46.036124999999998</c:v>
                </c:pt>
                <c:pt idx="989">
                  <c:v>45.668903</c:v>
                </c:pt>
                <c:pt idx="990">
                  <c:v>46.383994999999999</c:v>
                </c:pt>
                <c:pt idx="991">
                  <c:v>45.359676</c:v>
                </c:pt>
                <c:pt idx="992">
                  <c:v>45.939487</c:v>
                </c:pt>
                <c:pt idx="993">
                  <c:v>46.297027999999997</c:v>
                </c:pt>
                <c:pt idx="994">
                  <c:v>47.920459999999999</c:v>
                </c:pt>
                <c:pt idx="995">
                  <c:v>45.369349999999997</c:v>
                </c:pt>
                <c:pt idx="996">
                  <c:v>43.388362999999998</c:v>
                </c:pt>
                <c:pt idx="997">
                  <c:v>42.760241999999998</c:v>
                </c:pt>
                <c:pt idx="998">
                  <c:v>42.566969999999998</c:v>
                </c:pt>
                <c:pt idx="999">
                  <c:v>42.528328000000002</c:v>
                </c:pt>
                <c:pt idx="1000">
                  <c:v>42.711936999999999</c:v>
                </c:pt>
                <c:pt idx="1001">
                  <c:v>43.774887</c:v>
                </c:pt>
                <c:pt idx="1002">
                  <c:v>43.649273000000001</c:v>
                </c:pt>
                <c:pt idx="1003">
                  <c:v>43.542976000000003</c:v>
                </c:pt>
                <c:pt idx="1004">
                  <c:v>44.840739999999997</c:v>
                </c:pt>
                <c:pt idx="1005">
                  <c:v>44.986015000000002</c:v>
                </c:pt>
                <c:pt idx="1006">
                  <c:v>45.915756000000002</c:v>
                </c:pt>
                <c:pt idx="1007">
                  <c:v>45.102238</c:v>
                </c:pt>
                <c:pt idx="1008">
                  <c:v>46.041663999999997</c:v>
                </c:pt>
                <c:pt idx="1009">
                  <c:v>45.489623999999999</c:v>
                </c:pt>
                <c:pt idx="1010">
                  <c:v>45.431519999999999</c:v>
                </c:pt>
                <c:pt idx="1011">
                  <c:v>45.334679999999999</c:v>
                </c:pt>
                <c:pt idx="1012">
                  <c:v>44.860109999999999</c:v>
                </c:pt>
                <c:pt idx="1013">
                  <c:v>44.647039999999997</c:v>
                </c:pt>
                <c:pt idx="1014">
                  <c:v>44.821370000000002</c:v>
                </c:pt>
                <c:pt idx="1015">
                  <c:v>44.860109999999999</c:v>
                </c:pt>
                <c:pt idx="1016">
                  <c:v>44.898845999999999</c:v>
                </c:pt>
                <c:pt idx="1017">
                  <c:v>45.605846</c:v>
                </c:pt>
                <c:pt idx="1018">
                  <c:v>44.279020000000003</c:v>
                </c:pt>
                <c:pt idx="1019">
                  <c:v>45.344344999999997</c:v>
                </c:pt>
                <c:pt idx="1020">
                  <c:v>43.881943</c:v>
                </c:pt>
                <c:pt idx="1021">
                  <c:v>43.426754000000003</c:v>
                </c:pt>
                <c:pt idx="1022">
                  <c:v>43.475185000000003</c:v>
                </c:pt>
                <c:pt idx="1023">
                  <c:v>41.964348000000001</c:v>
                </c:pt>
                <c:pt idx="1024">
                  <c:v>42.516387999999999</c:v>
                </c:pt>
                <c:pt idx="1025">
                  <c:v>41.034602999999997</c:v>
                </c:pt>
                <c:pt idx="1026">
                  <c:v>39.911163000000002</c:v>
                </c:pt>
                <c:pt idx="1027">
                  <c:v>40.76343</c:v>
                </c:pt>
                <c:pt idx="1028">
                  <c:v>40.802177</c:v>
                </c:pt>
                <c:pt idx="1029">
                  <c:v>40.405098000000002</c:v>
                </c:pt>
                <c:pt idx="1030">
                  <c:v>40.385719999999999</c:v>
                </c:pt>
                <c:pt idx="1031">
                  <c:v>39.146070000000002</c:v>
                </c:pt>
                <c:pt idx="1032">
                  <c:v>39.078270000000003</c:v>
                </c:pt>
                <c:pt idx="1033">
                  <c:v>40.104866000000001</c:v>
                </c:pt>
                <c:pt idx="1034">
                  <c:v>40.414783</c:v>
                </c:pt>
                <c:pt idx="1035">
                  <c:v>40.424458000000001</c:v>
                </c:pt>
                <c:pt idx="1036">
                  <c:v>41.257359999999998</c:v>
                </c:pt>
                <c:pt idx="1037">
                  <c:v>40.637529999999998</c:v>
                </c:pt>
                <c:pt idx="1038">
                  <c:v>41.199244999999998</c:v>
                </c:pt>
                <c:pt idx="1039">
                  <c:v>40.966810000000002</c:v>
                </c:pt>
                <c:pt idx="1040">
                  <c:v>41.112087000000002</c:v>
                </c:pt>
                <c:pt idx="1041">
                  <c:v>39.610930000000003</c:v>
                </c:pt>
                <c:pt idx="1042">
                  <c:v>40.008006999999999</c:v>
                </c:pt>
                <c:pt idx="1043">
                  <c:v>40.405098000000002</c:v>
                </c:pt>
                <c:pt idx="1044">
                  <c:v>40.492260000000002</c:v>
                </c:pt>
                <c:pt idx="1045">
                  <c:v>40.986190000000001</c:v>
                </c:pt>
                <c:pt idx="1046">
                  <c:v>42.545439999999999</c:v>
                </c:pt>
                <c:pt idx="1047">
                  <c:v>42.574492999999997</c:v>
                </c:pt>
                <c:pt idx="1048">
                  <c:v>41.983710000000002</c:v>
                </c:pt>
                <c:pt idx="1049">
                  <c:v>42.835982999999999</c:v>
                </c:pt>
                <c:pt idx="1050">
                  <c:v>42.429220000000001</c:v>
                </c:pt>
                <c:pt idx="1051">
                  <c:v>43.000630000000001</c:v>
                </c:pt>
                <c:pt idx="1052">
                  <c:v>43.794784999999997</c:v>
                </c:pt>
                <c:pt idx="1053">
                  <c:v>43.726999999999997</c:v>
                </c:pt>
                <c:pt idx="1054">
                  <c:v>44.976322000000003</c:v>
                </c:pt>
                <c:pt idx="1055">
                  <c:v>45.140970000000003</c:v>
                </c:pt>
                <c:pt idx="1056">
                  <c:v>44.937595000000002</c:v>
                </c:pt>
                <c:pt idx="1057">
                  <c:v>42.593857</c:v>
                </c:pt>
                <c:pt idx="1058">
                  <c:v>41.276730000000001</c:v>
                </c:pt>
                <c:pt idx="1059">
                  <c:v>40.753746</c:v>
                </c:pt>
                <c:pt idx="1060">
                  <c:v>42.48733</c:v>
                </c:pt>
                <c:pt idx="1061">
                  <c:v>42.53575</c:v>
                </c:pt>
                <c:pt idx="1062">
                  <c:v>42.526069999999997</c:v>
                </c:pt>
                <c:pt idx="1063">
                  <c:v>43.107162000000002</c:v>
                </c:pt>
                <c:pt idx="1064">
                  <c:v>43.523609999999998</c:v>
                </c:pt>
                <c:pt idx="1065">
                  <c:v>45.596159999999998</c:v>
                </c:pt>
                <c:pt idx="1066">
                  <c:v>45.809223000000003</c:v>
                </c:pt>
                <c:pt idx="1067">
                  <c:v>45.073177000000001</c:v>
                </c:pt>
                <c:pt idx="1068">
                  <c:v>44.481133</c:v>
                </c:pt>
                <c:pt idx="1069">
                  <c:v>45.306114000000001</c:v>
                </c:pt>
                <c:pt idx="1070">
                  <c:v>45.558459999999997</c:v>
                </c:pt>
                <c:pt idx="1071">
                  <c:v>43.597909999999999</c:v>
                </c:pt>
                <c:pt idx="1072">
                  <c:v>43.335859999999997</c:v>
                </c:pt>
                <c:pt idx="1073">
                  <c:v>43.889088000000001</c:v>
                </c:pt>
                <c:pt idx="1074">
                  <c:v>44.849944999999998</c:v>
                </c:pt>
                <c:pt idx="1075">
                  <c:v>45.286704999999998</c:v>
                </c:pt>
                <c:pt idx="1076">
                  <c:v>45.393459999999997</c:v>
                </c:pt>
                <c:pt idx="1077">
                  <c:v>46.606678000000002</c:v>
                </c:pt>
                <c:pt idx="1078">
                  <c:v>47.305492000000001</c:v>
                </c:pt>
                <c:pt idx="1079">
                  <c:v>46.548439999999999</c:v>
                </c:pt>
                <c:pt idx="1080">
                  <c:v>46.985199999999999</c:v>
                </c:pt>
                <c:pt idx="1081">
                  <c:v>47.606354000000003</c:v>
                </c:pt>
                <c:pt idx="1082">
                  <c:v>48.062527000000003</c:v>
                </c:pt>
                <c:pt idx="1083">
                  <c:v>48.276049999999998</c:v>
                </c:pt>
                <c:pt idx="1084">
                  <c:v>48.276049999999998</c:v>
                </c:pt>
                <c:pt idx="1085">
                  <c:v>49.363083000000003</c:v>
                </c:pt>
                <c:pt idx="1086">
                  <c:v>49.916313000000002</c:v>
                </c:pt>
                <c:pt idx="1087">
                  <c:v>48.790455000000001</c:v>
                </c:pt>
                <c:pt idx="1088">
                  <c:v>48.023705</c:v>
                </c:pt>
                <c:pt idx="1089">
                  <c:v>47.994587000000003</c:v>
                </c:pt>
                <c:pt idx="1090">
                  <c:v>47.936349999999997</c:v>
                </c:pt>
                <c:pt idx="1091">
                  <c:v>47.664589999999997</c:v>
                </c:pt>
                <c:pt idx="1092">
                  <c:v>47.354014999999997</c:v>
                </c:pt>
                <c:pt idx="1093">
                  <c:v>48.198405999999999</c:v>
                </c:pt>
                <c:pt idx="1094">
                  <c:v>46.616382999999999</c:v>
                </c:pt>
                <c:pt idx="1095">
                  <c:v>47.004604</c:v>
                </c:pt>
                <c:pt idx="1096">
                  <c:v>47.528717</c:v>
                </c:pt>
                <c:pt idx="1097">
                  <c:v>47.198723000000001</c:v>
                </c:pt>
                <c:pt idx="1098">
                  <c:v>47.344307000000001</c:v>
                </c:pt>
                <c:pt idx="1099">
                  <c:v>47.072544000000001</c:v>
                </c:pt>
                <c:pt idx="1100">
                  <c:v>47.800471999999999</c:v>
                </c:pt>
                <c:pt idx="1101">
                  <c:v>48.159576000000001</c:v>
                </c:pt>
                <c:pt idx="1102">
                  <c:v>48.838977999999997</c:v>
                </c:pt>
                <c:pt idx="1103">
                  <c:v>48.906917999999997</c:v>
                </c:pt>
                <c:pt idx="1104">
                  <c:v>49.751305000000002</c:v>
                </c:pt>
                <c:pt idx="1105">
                  <c:v>50.518059999999998</c:v>
                </c:pt>
                <c:pt idx="1106">
                  <c:v>51.46922</c:v>
                </c:pt>
                <c:pt idx="1107">
                  <c:v>51.110115</c:v>
                </c:pt>
                <c:pt idx="1108">
                  <c:v>50.091006999999998</c:v>
                </c:pt>
                <c:pt idx="1109">
                  <c:v>52.216560000000001</c:v>
                </c:pt>
                <c:pt idx="1110">
                  <c:v>52.226264999999998</c:v>
                </c:pt>
                <c:pt idx="1111">
                  <c:v>52.624195</c:v>
                </c:pt>
                <c:pt idx="1112">
                  <c:v>52.284495999999997</c:v>
                </c:pt>
                <c:pt idx="1113">
                  <c:v>51.58569</c:v>
                </c:pt>
                <c:pt idx="1114">
                  <c:v>51.061573000000003</c:v>
                </c:pt>
                <c:pt idx="1115">
                  <c:v>50.799526</c:v>
                </c:pt>
                <c:pt idx="1116">
                  <c:v>50.382182999999998</c:v>
                </c:pt>
                <c:pt idx="1117">
                  <c:v>49.770719999999997</c:v>
                </c:pt>
                <c:pt idx="1118">
                  <c:v>49.120449999999998</c:v>
                </c:pt>
                <c:pt idx="1119">
                  <c:v>49.508670000000002</c:v>
                </c:pt>
                <c:pt idx="1120">
                  <c:v>48.528396999999998</c:v>
                </c:pt>
                <c:pt idx="1121">
                  <c:v>49.003982999999998</c:v>
                </c:pt>
                <c:pt idx="1122">
                  <c:v>48.955449999999999</c:v>
                </c:pt>
                <c:pt idx="1123">
                  <c:v>49.557200000000002</c:v>
                </c:pt>
                <c:pt idx="1124">
                  <c:v>48.965156999999998</c:v>
                </c:pt>
                <c:pt idx="1125">
                  <c:v>49.062213999999997</c:v>
                </c:pt>
                <c:pt idx="1126">
                  <c:v>49.304850000000002</c:v>
                </c:pt>
                <c:pt idx="1127">
                  <c:v>49.091329999999999</c:v>
                </c:pt>
                <c:pt idx="1128">
                  <c:v>48.528396999999998</c:v>
                </c:pt>
                <c:pt idx="1129">
                  <c:v>47.946055999999999</c:v>
                </c:pt>
                <c:pt idx="1130">
                  <c:v>47.216656</c:v>
                </c:pt>
                <c:pt idx="1131">
                  <c:v>47.022143999999997</c:v>
                </c:pt>
                <c:pt idx="1132">
                  <c:v>47.46951</c:v>
                </c:pt>
                <c:pt idx="1133">
                  <c:v>47.187477000000001</c:v>
                </c:pt>
                <c:pt idx="1134">
                  <c:v>47.080505000000002</c:v>
                </c:pt>
                <c:pt idx="1135">
                  <c:v>44.765860000000004</c:v>
                </c:pt>
                <c:pt idx="1136">
                  <c:v>44.299045999999997</c:v>
                </c:pt>
                <c:pt idx="1137">
                  <c:v>44.454650000000001</c:v>
                </c:pt>
                <c:pt idx="1138">
                  <c:v>44.162889999999997</c:v>
                </c:pt>
                <c:pt idx="1139">
                  <c:v>42.762439999999998</c:v>
                </c:pt>
                <c:pt idx="1140">
                  <c:v>41.74127</c:v>
                </c:pt>
                <c:pt idx="1141">
                  <c:v>44.007286000000001</c:v>
                </c:pt>
                <c:pt idx="1142">
                  <c:v>43.715527000000002</c:v>
                </c:pt>
                <c:pt idx="1143">
                  <c:v>43.33623</c:v>
                </c:pt>
                <c:pt idx="1144">
                  <c:v>43.102820000000001</c:v>
                </c:pt>
                <c:pt idx="1145">
                  <c:v>43.511294999999997</c:v>
                </c:pt>
                <c:pt idx="1146">
                  <c:v>44.065635999999998</c:v>
                </c:pt>
                <c:pt idx="1147">
                  <c:v>42.713818000000003</c:v>
                </c:pt>
                <c:pt idx="1148">
                  <c:v>43.0931</c:v>
                </c:pt>
                <c:pt idx="1149">
                  <c:v>42.636009999999999</c:v>
                </c:pt>
                <c:pt idx="1150">
                  <c:v>42.4026</c:v>
                </c:pt>
                <c:pt idx="1151">
                  <c:v>44.600532999999999</c:v>
                </c:pt>
                <c:pt idx="1152">
                  <c:v>45.018723000000001</c:v>
                </c:pt>
                <c:pt idx="1153">
                  <c:v>45.709225000000004</c:v>
                </c:pt>
                <c:pt idx="1154">
                  <c:v>44.921474000000003</c:v>
                </c:pt>
                <c:pt idx="1155">
                  <c:v>44.736687000000003</c:v>
                </c:pt>
                <c:pt idx="1156">
                  <c:v>44.065635999999998</c:v>
                </c:pt>
                <c:pt idx="1157">
                  <c:v>43.161186000000001</c:v>
                </c:pt>
                <c:pt idx="1158">
                  <c:v>44.172606999999999</c:v>
                </c:pt>
                <c:pt idx="1159">
                  <c:v>45.018723000000001</c:v>
                </c:pt>
                <c:pt idx="1160">
                  <c:v>45.767580000000002</c:v>
                </c:pt>
                <c:pt idx="1161">
                  <c:v>46.390006999999997</c:v>
                </c:pt>
                <c:pt idx="1162">
                  <c:v>46.273296000000002</c:v>
                </c:pt>
                <c:pt idx="1163">
                  <c:v>45.563339999999997</c:v>
                </c:pt>
                <c:pt idx="1164">
                  <c:v>46.185775999999997</c:v>
                </c:pt>
                <c:pt idx="1165">
                  <c:v>46.185775999999997</c:v>
                </c:pt>
                <c:pt idx="1166">
                  <c:v>46.419173999999998</c:v>
                </c:pt>
                <c:pt idx="1167">
                  <c:v>49.122819999999997</c:v>
                </c:pt>
                <c:pt idx="1168">
                  <c:v>49.336784000000002</c:v>
                </c:pt>
                <c:pt idx="1169">
                  <c:v>49.171460000000003</c:v>
                </c:pt>
                <c:pt idx="1170">
                  <c:v>49.891129999999997</c:v>
                </c:pt>
                <c:pt idx="1171">
                  <c:v>49.210354000000002</c:v>
                </c:pt>
                <c:pt idx="1172">
                  <c:v>51.573624000000002</c:v>
                </c:pt>
                <c:pt idx="1173">
                  <c:v>51.379105000000003</c:v>
                </c:pt>
                <c:pt idx="1174">
                  <c:v>51.204059999999998</c:v>
                </c:pt>
                <c:pt idx="1175">
                  <c:v>51.252679999999998</c:v>
                </c:pt>
                <c:pt idx="1176">
                  <c:v>50.834484000000003</c:v>
                </c:pt>
                <c:pt idx="1177">
                  <c:v>50.639995999999996</c:v>
                </c:pt>
                <c:pt idx="1178">
                  <c:v>50.601080000000003</c:v>
                </c:pt>
                <c:pt idx="1179">
                  <c:v>50.095363999999996</c:v>
                </c:pt>
                <c:pt idx="1180">
                  <c:v>50.503825999999997</c:v>
                </c:pt>
                <c:pt idx="1181">
                  <c:v>49.579914000000002</c:v>
                </c:pt>
                <c:pt idx="1182">
                  <c:v>50.52328</c:v>
                </c:pt>
                <c:pt idx="1183">
                  <c:v>49.618819999999999</c:v>
                </c:pt>
                <c:pt idx="1184">
                  <c:v>47.274999999999999</c:v>
                </c:pt>
                <c:pt idx="1185">
                  <c:v>46.253844999999998</c:v>
                </c:pt>
                <c:pt idx="1186">
                  <c:v>45.952354</c:v>
                </c:pt>
                <c:pt idx="1187">
                  <c:v>45.534170000000003</c:v>
                </c:pt>
                <c:pt idx="1188">
                  <c:v>46.526156999999998</c:v>
                </c:pt>
                <c:pt idx="1189">
                  <c:v>46.059337999999997</c:v>
                </c:pt>
                <c:pt idx="1190">
                  <c:v>46.146866000000003</c:v>
                </c:pt>
                <c:pt idx="1191">
                  <c:v>46.205215000000003</c:v>
                </c:pt>
                <c:pt idx="1192">
                  <c:v>45.184055000000001</c:v>
                </c:pt>
                <c:pt idx="1193">
                  <c:v>45.096522999999998</c:v>
                </c:pt>
                <c:pt idx="1194">
                  <c:v>44.513004000000002</c:v>
                </c:pt>
                <c:pt idx="1195">
                  <c:v>44.659202999999998</c:v>
                </c:pt>
                <c:pt idx="1196">
                  <c:v>44.581234000000002</c:v>
                </c:pt>
                <c:pt idx="1197">
                  <c:v>44.649451999999997</c:v>
                </c:pt>
                <c:pt idx="1198">
                  <c:v>45.994489999999999</c:v>
                </c:pt>
                <c:pt idx="1199">
                  <c:v>46.472087999999999</c:v>
                </c:pt>
                <c:pt idx="1200">
                  <c:v>46.189425999999997</c:v>
                </c:pt>
                <c:pt idx="1201">
                  <c:v>46.481830000000002</c:v>
                </c:pt>
                <c:pt idx="1202">
                  <c:v>47.41751</c:v>
                </c:pt>
                <c:pt idx="1203">
                  <c:v>47.427253999999998</c:v>
                </c:pt>
                <c:pt idx="1204">
                  <c:v>47.329791999999998</c:v>
                </c:pt>
                <c:pt idx="1205">
                  <c:v>47.193333000000003</c:v>
                </c:pt>
                <c:pt idx="1206">
                  <c:v>47.97307</c:v>
                </c:pt>
                <c:pt idx="1207">
                  <c:v>48.002307999999999</c:v>
                </c:pt>
                <c:pt idx="1208">
                  <c:v>49.210889999999999</c:v>
                </c:pt>
                <c:pt idx="1209">
                  <c:v>47.758643999999997</c:v>
                </c:pt>
                <c:pt idx="1210">
                  <c:v>48.665089999999999</c:v>
                </c:pt>
                <c:pt idx="1211">
                  <c:v>48.216732</c:v>
                </c:pt>
                <c:pt idx="1212">
                  <c:v>48.353180000000002</c:v>
                </c:pt>
                <c:pt idx="1213">
                  <c:v>49.591006999999998</c:v>
                </c:pt>
                <c:pt idx="1214">
                  <c:v>49.727469999999997</c:v>
                </c:pt>
                <c:pt idx="1215">
                  <c:v>50.000369999999997</c:v>
                </c:pt>
                <c:pt idx="1216">
                  <c:v>49.191406000000001</c:v>
                </c:pt>
                <c:pt idx="1217">
                  <c:v>48.82103</c:v>
                </c:pt>
                <c:pt idx="1218">
                  <c:v>48.937984</c:v>
                </c:pt>
                <c:pt idx="1219">
                  <c:v>49.766452999999998</c:v>
                </c:pt>
                <c:pt idx="1220">
                  <c:v>50.185555000000001</c:v>
                </c:pt>
                <c:pt idx="1221">
                  <c:v>50.136830000000003</c:v>
                </c:pt>
                <c:pt idx="1222">
                  <c:v>50.604664</c:v>
                </c:pt>
                <c:pt idx="1223">
                  <c:v>51.452624999999998</c:v>
                </c:pt>
                <c:pt idx="1224">
                  <c:v>51.257686999999997</c:v>
                </c:pt>
                <c:pt idx="1225">
                  <c:v>51.511105000000001</c:v>
                </c:pt>
                <c:pt idx="1226">
                  <c:v>51.072510000000001</c:v>
                </c:pt>
                <c:pt idx="1227">
                  <c:v>51.130980000000001</c:v>
                </c:pt>
                <c:pt idx="1228">
                  <c:v>50.711872</c:v>
                </c:pt>
                <c:pt idx="1229">
                  <c:v>51.647556000000002</c:v>
                </c:pt>
                <c:pt idx="1230">
                  <c:v>51.014029999999998</c:v>
                </c:pt>
                <c:pt idx="1231">
                  <c:v>51.335662999999997</c:v>
                </c:pt>
                <c:pt idx="1232">
                  <c:v>51.316177000000003</c:v>
                </c:pt>
                <c:pt idx="1233">
                  <c:v>50.809345</c:v>
                </c:pt>
                <c:pt idx="1234">
                  <c:v>50.760612000000002</c:v>
                </c:pt>
                <c:pt idx="1235">
                  <c:v>52.417540000000002</c:v>
                </c:pt>
                <c:pt idx="1236">
                  <c:v>54.990665</c:v>
                </c:pt>
                <c:pt idx="1237">
                  <c:v>56.988728000000002</c:v>
                </c:pt>
                <c:pt idx="1238">
                  <c:v>56.511139999999997</c:v>
                </c:pt>
                <c:pt idx="1239">
                  <c:v>56.686579999999999</c:v>
                </c:pt>
                <c:pt idx="1240">
                  <c:v>56.862022000000003</c:v>
                </c:pt>
                <c:pt idx="1241">
                  <c:v>56.589123000000001</c:v>
                </c:pt>
                <c:pt idx="1242">
                  <c:v>56.628098000000001</c:v>
                </c:pt>
                <c:pt idx="1243">
                  <c:v>56.813285999999998</c:v>
                </c:pt>
                <c:pt idx="1244">
                  <c:v>53.401960000000003</c:v>
                </c:pt>
                <c:pt idx="1245">
                  <c:v>51.706035999999997</c:v>
                </c:pt>
                <c:pt idx="1246">
                  <c:v>51.725532999999999</c:v>
                </c:pt>
                <c:pt idx="1247">
                  <c:v>51.345410000000001</c:v>
                </c:pt>
                <c:pt idx="1248">
                  <c:v>51.257686999999997</c:v>
                </c:pt>
                <c:pt idx="1249">
                  <c:v>52.943860000000001</c:v>
                </c:pt>
                <c:pt idx="1250">
                  <c:v>52.515014999999998</c:v>
                </c:pt>
                <c:pt idx="1251">
                  <c:v>50.780106000000004</c:v>
                </c:pt>
                <c:pt idx="1252">
                  <c:v>48.592649999999999</c:v>
                </c:pt>
                <c:pt idx="1253">
                  <c:v>49.979343</c:v>
                </c:pt>
                <c:pt idx="1254">
                  <c:v>50.194180000000003</c:v>
                </c:pt>
                <c:pt idx="1255">
                  <c:v>47.459865999999998</c:v>
                </c:pt>
                <c:pt idx="1256">
                  <c:v>47.225499999999997</c:v>
                </c:pt>
                <c:pt idx="1257">
                  <c:v>48.914917000000003</c:v>
                </c:pt>
                <c:pt idx="1258">
                  <c:v>49.676617</c:v>
                </c:pt>
                <c:pt idx="1259">
                  <c:v>49.871920000000003</c:v>
                </c:pt>
                <c:pt idx="1260">
                  <c:v>50.457847999999998</c:v>
                </c:pt>
                <c:pt idx="1261">
                  <c:v>50.369956999999999</c:v>
                </c:pt>
                <c:pt idx="1262">
                  <c:v>50.506675999999999</c:v>
                </c:pt>
                <c:pt idx="1263">
                  <c:v>51.541804999999997</c:v>
                </c:pt>
                <c:pt idx="1264">
                  <c:v>51.737110000000001</c:v>
                </c:pt>
                <c:pt idx="1265">
                  <c:v>52.137500000000003</c:v>
                </c:pt>
                <c:pt idx="1266">
                  <c:v>53.709732000000002</c:v>
                </c:pt>
                <c:pt idx="1267">
                  <c:v>52.987090000000002</c:v>
                </c:pt>
                <c:pt idx="1268">
                  <c:v>52.977319999999999</c:v>
                </c:pt>
                <c:pt idx="1269">
                  <c:v>52.225389999999997</c:v>
                </c:pt>
                <c:pt idx="1270">
                  <c:v>51.93242</c:v>
                </c:pt>
                <c:pt idx="1271">
                  <c:v>51.942189999999997</c:v>
                </c:pt>
                <c:pt idx="1272">
                  <c:v>52.313270000000003</c:v>
                </c:pt>
                <c:pt idx="1273">
                  <c:v>52.840614000000002</c:v>
                </c:pt>
                <c:pt idx="1274">
                  <c:v>53.504654000000002</c:v>
                </c:pt>
                <c:pt idx="1275">
                  <c:v>54.754623000000002</c:v>
                </c:pt>
                <c:pt idx="1276">
                  <c:v>55.174537999999998</c:v>
                </c:pt>
                <c:pt idx="1277">
                  <c:v>54.910865999999999</c:v>
                </c:pt>
                <c:pt idx="1278">
                  <c:v>53.983153999999999</c:v>
                </c:pt>
                <c:pt idx="1279">
                  <c:v>53.875731999999999</c:v>
                </c:pt>
                <c:pt idx="1280">
                  <c:v>54.100346000000002</c:v>
                </c:pt>
                <c:pt idx="1281">
                  <c:v>53.338633999999999</c:v>
                </c:pt>
                <c:pt idx="1282">
                  <c:v>54.022219999999997</c:v>
                </c:pt>
                <c:pt idx="1283">
                  <c:v>52.821069999999999</c:v>
                </c:pt>
                <c:pt idx="1284">
                  <c:v>51.082836</c:v>
                </c:pt>
                <c:pt idx="1285">
                  <c:v>49.813327999999998</c:v>
                </c:pt>
                <c:pt idx="1286">
                  <c:v>50.643389999999997</c:v>
                </c:pt>
                <c:pt idx="1287">
                  <c:v>49.705914</c:v>
                </c:pt>
                <c:pt idx="1288">
                  <c:v>49.657080000000001</c:v>
                </c:pt>
                <c:pt idx="1289">
                  <c:v>50.741034999999997</c:v>
                </c:pt>
                <c:pt idx="1290">
                  <c:v>48.612186000000001</c:v>
                </c:pt>
                <c:pt idx="1291">
                  <c:v>50.262543000000001</c:v>
                </c:pt>
                <c:pt idx="1292">
                  <c:v>50.819167999999998</c:v>
                </c:pt>
                <c:pt idx="1293">
                  <c:v>50.916812999999998</c:v>
                </c:pt>
                <c:pt idx="1294">
                  <c:v>49.110219999999998</c:v>
                </c:pt>
                <c:pt idx="1295">
                  <c:v>48.651249999999997</c:v>
                </c:pt>
                <c:pt idx="1296">
                  <c:v>46.346609999999998</c:v>
                </c:pt>
                <c:pt idx="1297">
                  <c:v>44.334946000000002</c:v>
                </c:pt>
                <c:pt idx="1298">
                  <c:v>45.477493000000003</c:v>
                </c:pt>
                <c:pt idx="1299">
                  <c:v>44.793914999999998</c:v>
                </c:pt>
                <c:pt idx="1300">
                  <c:v>45.311484999999998</c:v>
                </c:pt>
                <c:pt idx="1301">
                  <c:v>44.676727</c:v>
                </c:pt>
                <c:pt idx="1302">
                  <c:v>46.639569999999999</c:v>
                </c:pt>
                <c:pt idx="1303">
                  <c:v>45.78022</c:v>
                </c:pt>
                <c:pt idx="1304">
                  <c:v>45.682560000000002</c:v>
                </c:pt>
                <c:pt idx="1305">
                  <c:v>45.584910000000001</c:v>
                </c:pt>
                <c:pt idx="1306">
                  <c:v>44.618133999999998</c:v>
                </c:pt>
                <c:pt idx="1307">
                  <c:v>44.188459999999999</c:v>
                </c:pt>
                <c:pt idx="1308">
                  <c:v>41.376021999999999</c:v>
                </c:pt>
                <c:pt idx="1309">
                  <c:v>42.381860000000003</c:v>
                </c:pt>
                <c:pt idx="1310">
                  <c:v>41.922885999999998</c:v>
                </c:pt>
                <c:pt idx="1311">
                  <c:v>42.342796</c:v>
                </c:pt>
                <c:pt idx="1312">
                  <c:v>41.249073000000003</c:v>
                </c:pt>
                <c:pt idx="1313">
                  <c:v>41.122123999999999</c:v>
                </c:pt>
                <c:pt idx="1314">
                  <c:v>41.854526999999997</c:v>
                </c:pt>
                <c:pt idx="1315">
                  <c:v>41.5413</c:v>
                </c:pt>
                <c:pt idx="1316">
                  <c:v>42.089440000000003</c:v>
                </c:pt>
                <c:pt idx="1317">
                  <c:v>40.621203999999999</c:v>
                </c:pt>
                <c:pt idx="1318">
                  <c:v>41.149773000000003</c:v>
                </c:pt>
                <c:pt idx="1319">
                  <c:v>41.697920000000003</c:v>
                </c:pt>
                <c:pt idx="1320">
                  <c:v>41.560879999999997</c:v>
                </c:pt>
                <c:pt idx="1321">
                  <c:v>42.275424999999998</c:v>
                </c:pt>
                <c:pt idx="1322">
                  <c:v>43.127000000000002</c:v>
                </c:pt>
                <c:pt idx="1323">
                  <c:v>42.706099999999999</c:v>
                </c:pt>
                <c:pt idx="1324">
                  <c:v>42.461399999999998</c:v>
                </c:pt>
                <c:pt idx="1325">
                  <c:v>43.34234</c:v>
                </c:pt>
                <c:pt idx="1326">
                  <c:v>41.971980000000002</c:v>
                </c:pt>
                <c:pt idx="1327">
                  <c:v>41.893673</c:v>
                </c:pt>
                <c:pt idx="1328">
                  <c:v>42.637591999999998</c:v>
                </c:pt>
                <c:pt idx="1329">
                  <c:v>43.958995999999999</c:v>
                </c:pt>
                <c:pt idx="1330">
                  <c:v>42.666946000000003</c:v>
                </c:pt>
                <c:pt idx="1331">
                  <c:v>42.383090000000003</c:v>
                </c:pt>
                <c:pt idx="1332">
                  <c:v>42.618009999999998</c:v>
                </c:pt>
                <c:pt idx="1333">
                  <c:v>43.068269999999998</c:v>
                </c:pt>
                <c:pt idx="1334">
                  <c:v>43.910057000000002</c:v>
                </c:pt>
                <c:pt idx="1335">
                  <c:v>43.244464999999998</c:v>
                </c:pt>
                <c:pt idx="1336">
                  <c:v>43.254241999999998</c:v>
                </c:pt>
                <c:pt idx="1337">
                  <c:v>42.911655000000003</c:v>
                </c:pt>
                <c:pt idx="1338">
                  <c:v>42.197113000000002</c:v>
                </c:pt>
                <c:pt idx="1339">
                  <c:v>43.224879999999999</c:v>
                </c:pt>
                <c:pt idx="1340">
                  <c:v>42.490765000000003</c:v>
                </c:pt>
                <c:pt idx="1341">
                  <c:v>42.011130000000001</c:v>
                </c:pt>
                <c:pt idx="1342">
                  <c:v>42.167755</c:v>
                </c:pt>
                <c:pt idx="1343">
                  <c:v>41.864314999999998</c:v>
                </c:pt>
                <c:pt idx="1344">
                  <c:v>41.5413</c:v>
                </c:pt>
                <c:pt idx="1345">
                  <c:v>40.631</c:v>
                </c:pt>
                <c:pt idx="1346">
                  <c:v>41.139980000000001</c:v>
                </c:pt>
                <c:pt idx="1347">
                  <c:v>40.611423000000002</c:v>
                </c:pt>
                <c:pt idx="1348">
                  <c:v>40.474384000000001</c:v>
                </c:pt>
                <c:pt idx="1349">
                  <c:v>38.839750000000002</c:v>
                </c:pt>
                <c:pt idx="1350">
                  <c:v>38.262239999999998</c:v>
                </c:pt>
                <c:pt idx="1351">
                  <c:v>37.449818</c:v>
                </c:pt>
                <c:pt idx="1352">
                  <c:v>37.391086999999999</c:v>
                </c:pt>
                <c:pt idx="1353">
                  <c:v>37.156177999999997</c:v>
                </c:pt>
                <c:pt idx="1354">
                  <c:v>37.547702999999998</c:v>
                </c:pt>
                <c:pt idx="1355">
                  <c:v>36.950620000000001</c:v>
                </c:pt>
                <c:pt idx="1356">
                  <c:v>37.185535000000002</c:v>
                </c:pt>
                <c:pt idx="1357">
                  <c:v>37.283417</c:v>
                </c:pt>
                <c:pt idx="1358">
                  <c:v>38.477584999999998</c:v>
                </c:pt>
                <c:pt idx="1359">
                  <c:v>38.291603000000002</c:v>
                </c:pt>
                <c:pt idx="1360">
                  <c:v>35.198523999999999</c:v>
                </c:pt>
                <c:pt idx="1361">
                  <c:v>35.560690000000001</c:v>
                </c:pt>
                <c:pt idx="1362">
                  <c:v>36.333953999999999</c:v>
                </c:pt>
                <c:pt idx="1363">
                  <c:v>36.490561999999997</c:v>
                </c:pt>
                <c:pt idx="1364">
                  <c:v>36.588450000000002</c:v>
                </c:pt>
                <c:pt idx="1365">
                  <c:v>37.557487000000002</c:v>
                </c:pt>
                <c:pt idx="1366">
                  <c:v>37.322575000000001</c:v>
                </c:pt>
                <c:pt idx="1367">
                  <c:v>37.077869999999997</c:v>
                </c:pt>
                <c:pt idx="1368">
                  <c:v>37.234473999999999</c:v>
                </c:pt>
                <c:pt idx="1369">
                  <c:v>36.656970000000001</c:v>
                </c:pt>
                <c:pt idx="1370">
                  <c:v>37.381298000000001</c:v>
                </c:pt>
                <c:pt idx="1371">
                  <c:v>39.172542999999997</c:v>
                </c:pt>
                <c:pt idx="1372">
                  <c:v>38.849536999999998</c:v>
                </c:pt>
                <c:pt idx="1373">
                  <c:v>38.144782999999997</c:v>
                </c:pt>
                <c:pt idx="1374">
                  <c:v>38.702713000000003</c:v>
                </c:pt>
                <c:pt idx="1375">
                  <c:v>37.332349999999998</c:v>
                </c:pt>
                <c:pt idx="1376">
                  <c:v>37.126804</c:v>
                </c:pt>
                <c:pt idx="1377">
                  <c:v>37.606434</c:v>
                </c:pt>
                <c:pt idx="1378">
                  <c:v>37.694749999999999</c:v>
                </c:pt>
                <c:pt idx="1379">
                  <c:v>37.547545999999997</c:v>
                </c:pt>
                <c:pt idx="1380">
                  <c:v>37.665309999999998</c:v>
                </c:pt>
                <c:pt idx="1381">
                  <c:v>37.213875000000002</c:v>
                </c:pt>
                <c:pt idx="1382">
                  <c:v>36.566166000000003</c:v>
                </c:pt>
                <c:pt idx="1383">
                  <c:v>36.10492</c:v>
                </c:pt>
                <c:pt idx="1384">
                  <c:v>36.399334000000003</c:v>
                </c:pt>
                <c:pt idx="1385">
                  <c:v>36.742809999999999</c:v>
                </c:pt>
                <c:pt idx="1386">
                  <c:v>37.449406000000003</c:v>
                </c:pt>
                <c:pt idx="1387">
                  <c:v>37.086295999999997</c:v>
                </c:pt>
                <c:pt idx="1388">
                  <c:v>39.245339999999999</c:v>
                </c:pt>
                <c:pt idx="1389">
                  <c:v>39.579000000000001</c:v>
                </c:pt>
                <c:pt idx="1390">
                  <c:v>38.460223999999997</c:v>
                </c:pt>
                <c:pt idx="1391">
                  <c:v>38.106937000000002</c:v>
                </c:pt>
                <c:pt idx="1392">
                  <c:v>38.097119999999997</c:v>
                </c:pt>
                <c:pt idx="1393">
                  <c:v>38.784089999999999</c:v>
                </c:pt>
                <c:pt idx="1394">
                  <c:v>39.932290000000002</c:v>
                </c:pt>
                <c:pt idx="1395">
                  <c:v>39.745834000000002</c:v>
                </c:pt>
                <c:pt idx="1396">
                  <c:v>39.647697000000001</c:v>
                </c:pt>
                <c:pt idx="1397">
                  <c:v>39.726204000000003</c:v>
                </c:pt>
                <c:pt idx="1398">
                  <c:v>40.010807</c:v>
                </c:pt>
                <c:pt idx="1399">
                  <c:v>38.931289999999997</c:v>
                </c:pt>
                <c:pt idx="1400">
                  <c:v>37.763449999999999</c:v>
                </c:pt>
                <c:pt idx="1401">
                  <c:v>37.714379999999998</c:v>
                </c:pt>
                <c:pt idx="1402">
                  <c:v>38.69576</c:v>
                </c:pt>
                <c:pt idx="1403">
                  <c:v>39.431789999999999</c:v>
                </c:pt>
                <c:pt idx="1404">
                  <c:v>38.528919999999999</c:v>
                </c:pt>
                <c:pt idx="1405">
                  <c:v>38.744822999999997</c:v>
                </c:pt>
                <c:pt idx="1406">
                  <c:v>38.999991999999999</c:v>
                </c:pt>
                <c:pt idx="1407">
                  <c:v>39.569183000000002</c:v>
                </c:pt>
                <c:pt idx="1408">
                  <c:v>40.030434</c:v>
                </c:pt>
                <c:pt idx="1409">
                  <c:v>40.825347999999998</c:v>
                </c:pt>
                <c:pt idx="1410">
                  <c:v>41.109946999999998</c:v>
                </c:pt>
                <c:pt idx="1411">
                  <c:v>42.788105000000002</c:v>
                </c:pt>
                <c:pt idx="1412">
                  <c:v>41.198279999999997</c:v>
                </c:pt>
                <c:pt idx="1413">
                  <c:v>40.050060000000002</c:v>
                </c:pt>
                <c:pt idx="1414">
                  <c:v>40.275779999999997</c:v>
                </c:pt>
                <c:pt idx="1415">
                  <c:v>40.727209999999999</c:v>
                </c:pt>
                <c:pt idx="1416">
                  <c:v>40.560383000000002</c:v>
                </c:pt>
                <c:pt idx="1417">
                  <c:v>38.872402000000001</c:v>
                </c:pt>
                <c:pt idx="1418">
                  <c:v>37.783073000000002</c:v>
                </c:pt>
                <c:pt idx="1419">
                  <c:v>38.077488000000002</c:v>
                </c:pt>
                <c:pt idx="1420">
                  <c:v>37.213875000000002</c:v>
                </c:pt>
                <c:pt idx="1421">
                  <c:v>35.761436000000003</c:v>
                </c:pt>
                <c:pt idx="1422">
                  <c:v>35.231495000000002</c:v>
                </c:pt>
                <c:pt idx="1423">
                  <c:v>32.925249999999998</c:v>
                </c:pt>
                <c:pt idx="1424">
                  <c:v>31.021380000000001</c:v>
                </c:pt>
                <c:pt idx="1425">
                  <c:v>30.687708000000001</c:v>
                </c:pt>
                <c:pt idx="1426">
                  <c:v>30.334415</c:v>
                </c:pt>
                <c:pt idx="1427">
                  <c:v>31.188215</c:v>
                </c:pt>
                <c:pt idx="1428">
                  <c:v>32.660274999999999</c:v>
                </c:pt>
                <c:pt idx="1429">
                  <c:v>32.944884999999999</c:v>
                </c:pt>
                <c:pt idx="1430">
                  <c:v>31.463000999999998</c:v>
                </c:pt>
                <c:pt idx="1431">
                  <c:v>31.443373000000001</c:v>
                </c:pt>
                <c:pt idx="1432">
                  <c:v>31.561133999999999</c:v>
                </c:pt>
                <c:pt idx="1433">
                  <c:v>31.777042000000002</c:v>
                </c:pt>
                <c:pt idx="1434">
                  <c:v>29.775027999999999</c:v>
                </c:pt>
                <c:pt idx="1435">
                  <c:v>31.767220999999999</c:v>
                </c:pt>
                <c:pt idx="1436">
                  <c:v>31.855547000000001</c:v>
                </c:pt>
                <c:pt idx="1437">
                  <c:v>31.992940000000001</c:v>
                </c:pt>
                <c:pt idx="1438">
                  <c:v>34.014583999999999</c:v>
                </c:pt>
                <c:pt idx="1439">
                  <c:v>34.426765000000003</c:v>
                </c:pt>
                <c:pt idx="1440">
                  <c:v>35.692740000000001</c:v>
                </c:pt>
                <c:pt idx="1441">
                  <c:v>35.653492</c:v>
                </c:pt>
                <c:pt idx="1442">
                  <c:v>35.151603999999999</c:v>
                </c:pt>
                <c:pt idx="1443">
                  <c:v>34.610354999999998</c:v>
                </c:pt>
                <c:pt idx="1444">
                  <c:v>36.381709999999998</c:v>
                </c:pt>
                <c:pt idx="1445">
                  <c:v>36.273463999999997</c:v>
                </c:pt>
                <c:pt idx="1446">
                  <c:v>35.643645999999997</c:v>
                </c:pt>
                <c:pt idx="1447">
                  <c:v>36.273463999999997</c:v>
                </c:pt>
                <c:pt idx="1448">
                  <c:v>37.178820000000002</c:v>
                </c:pt>
                <c:pt idx="1449">
                  <c:v>37.503566999999997</c:v>
                </c:pt>
                <c:pt idx="1450">
                  <c:v>37.218184999999998</c:v>
                </c:pt>
                <c:pt idx="1451">
                  <c:v>36.165215000000003</c:v>
                </c:pt>
                <c:pt idx="1452">
                  <c:v>35.250008000000001</c:v>
                </c:pt>
                <c:pt idx="1453">
                  <c:v>35.023674</c:v>
                </c:pt>
                <c:pt idx="1454">
                  <c:v>35.732210000000002</c:v>
                </c:pt>
                <c:pt idx="1455">
                  <c:v>37.346114999999998</c:v>
                </c:pt>
                <c:pt idx="1456">
                  <c:v>37.493724999999998</c:v>
                </c:pt>
                <c:pt idx="1457">
                  <c:v>37.680706000000001</c:v>
                </c:pt>
                <c:pt idx="1458">
                  <c:v>38.320360000000001</c:v>
                </c:pt>
                <c:pt idx="1459">
                  <c:v>37.808639999999997</c:v>
                </c:pt>
                <c:pt idx="1460">
                  <c:v>39.520947</c:v>
                </c:pt>
                <c:pt idx="1461">
                  <c:v>39.019066000000002</c:v>
                </c:pt>
                <c:pt idx="1462">
                  <c:v>36.106163000000002</c:v>
                </c:pt>
                <c:pt idx="1463">
                  <c:v>36.352184000000001</c:v>
                </c:pt>
                <c:pt idx="1464">
                  <c:v>33.035812</c:v>
                </c:pt>
                <c:pt idx="1465">
                  <c:v>33.301516999999997</c:v>
                </c:pt>
                <c:pt idx="1466">
                  <c:v>33.557377000000002</c:v>
                </c:pt>
                <c:pt idx="1467">
                  <c:v>33.803401999999998</c:v>
                </c:pt>
                <c:pt idx="1468">
                  <c:v>31.943476</c:v>
                </c:pt>
                <c:pt idx="1469">
                  <c:v>31.894269999999999</c:v>
                </c:pt>
                <c:pt idx="1470">
                  <c:v>31.530159000000001</c:v>
                </c:pt>
                <c:pt idx="1471">
                  <c:v>33.00629</c:v>
                </c:pt>
                <c:pt idx="1472">
                  <c:v>31.904109999999999</c:v>
                </c:pt>
                <c:pt idx="1473">
                  <c:v>31.382545</c:v>
                </c:pt>
                <c:pt idx="1474">
                  <c:v>30.290209999999998</c:v>
                </c:pt>
                <c:pt idx="1475">
                  <c:v>29.247076</c:v>
                </c:pt>
                <c:pt idx="1476">
                  <c:v>31.776178000000002</c:v>
                </c:pt>
                <c:pt idx="1477">
                  <c:v>31.530159000000001</c:v>
                </c:pt>
                <c:pt idx="1478">
                  <c:v>31.323498000000001</c:v>
                </c:pt>
                <c:pt idx="1479">
                  <c:v>31.599045</c:v>
                </c:pt>
                <c:pt idx="1480">
                  <c:v>31.963159999999998</c:v>
                </c:pt>
                <c:pt idx="1481">
                  <c:v>29.581666999999999</c:v>
                </c:pt>
                <c:pt idx="1482">
                  <c:v>31.530159000000001</c:v>
                </c:pt>
                <c:pt idx="1483">
                  <c:v>32.42568</c:v>
                </c:pt>
                <c:pt idx="1484">
                  <c:v>31.904109999999999</c:v>
                </c:pt>
                <c:pt idx="1485">
                  <c:v>32.888199999999998</c:v>
                </c:pt>
                <c:pt idx="1486">
                  <c:v>31.530159000000001</c:v>
                </c:pt>
                <c:pt idx="1487">
                  <c:v>31.293980000000001</c:v>
                </c:pt>
                <c:pt idx="1488">
                  <c:v>31.205407999999998</c:v>
                </c:pt>
                <c:pt idx="1489">
                  <c:v>31.589205</c:v>
                </c:pt>
                <c:pt idx="1490">
                  <c:v>32.317430000000002</c:v>
                </c:pt>
                <c:pt idx="1491">
                  <c:v>33.045653999999999</c:v>
                </c:pt>
                <c:pt idx="1492">
                  <c:v>33.429454999999997</c:v>
                </c:pt>
                <c:pt idx="1493">
                  <c:v>32.219025000000002</c:v>
                </c:pt>
                <c:pt idx="1494">
                  <c:v>31.146363999999998</c:v>
                </c:pt>
                <c:pt idx="1495">
                  <c:v>33.124389999999998</c:v>
                </c:pt>
                <c:pt idx="1496">
                  <c:v>34.423378</c:v>
                </c:pt>
                <c:pt idx="1497">
                  <c:v>35.988075000000002</c:v>
                </c:pt>
                <c:pt idx="1498">
                  <c:v>35.712536</c:v>
                </c:pt>
                <c:pt idx="1499">
                  <c:v>35.761733999999997</c:v>
                </c:pt>
                <c:pt idx="1500">
                  <c:v>35.200806</c:v>
                </c:pt>
                <c:pt idx="1501">
                  <c:v>35.535397000000003</c:v>
                </c:pt>
                <c:pt idx="1502">
                  <c:v>36.194732999999999</c:v>
                </c:pt>
                <c:pt idx="1503">
                  <c:v>36.441425000000002</c:v>
                </c:pt>
                <c:pt idx="1504">
                  <c:v>36.273670000000003</c:v>
                </c:pt>
                <c:pt idx="1505">
                  <c:v>35.691479999999999</c:v>
                </c:pt>
                <c:pt idx="1506">
                  <c:v>35.523724000000001</c:v>
                </c:pt>
                <c:pt idx="1507">
                  <c:v>36.105927000000001</c:v>
                </c:pt>
                <c:pt idx="1508">
                  <c:v>35.27704</c:v>
                </c:pt>
                <c:pt idx="1509">
                  <c:v>35.73095</c:v>
                </c:pt>
                <c:pt idx="1510">
                  <c:v>35.632280000000002</c:v>
                </c:pt>
                <c:pt idx="1511">
                  <c:v>34.586300000000001</c:v>
                </c:pt>
                <c:pt idx="1512">
                  <c:v>35.00074</c:v>
                </c:pt>
                <c:pt idx="1513">
                  <c:v>34.596170000000001</c:v>
                </c:pt>
                <c:pt idx="1514">
                  <c:v>34.517223000000001</c:v>
                </c:pt>
                <c:pt idx="1515">
                  <c:v>35.020477</c:v>
                </c:pt>
                <c:pt idx="1516">
                  <c:v>35.425055999999998</c:v>
                </c:pt>
                <c:pt idx="1517">
                  <c:v>35.770420000000001</c:v>
                </c:pt>
                <c:pt idx="1518">
                  <c:v>35.217827</c:v>
                </c:pt>
                <c:pt idx="1519">
                  <c:v>35.158630000000002</c:v>
                </c:pt>
                <c:pt idx="1520">
                  <c:v>34.181716999999999</c:v>
                </c:pt>
                <c:pt idx="1521">
                  <c:v>33.273895000000003</c:v>
                </c:pt>
                <c:pt idx="1522">
                  <c:v>32.790374999999997</c:v>
                </c:pt>
                <c:pt idx="1523">
                  <c:v>32.326590000000003</c:v>
                </c:pt>
                <c:pt idx="1524">
                  <c:v>31.79374</c:v>
                </c:pt>
                <c:pt idx="1525">
                  <c:v>31.487839000000001</c:v>
                </c:pt>
                <c:pt idx="1526">
                  <c:v>31.625988</c:v>
                </c:pt>
                <c:pt idx="1527">
                  <c:v>30.510935</c:v>
                </c:pt>
                <c:pt idx="1528">
                  <c:v>31.418763999999999</c:v>
                </c:pt>
                <c:pt idx="1529">
                  <c:v>31.704927000000001</c:v>
                </c:pt>
                <c:pt idx="1530">
                  <c:v>31.014189999999999</c:v>
                </c:pt>
                <c:pt idx="1531">
                  <c:v>30.964848</c:v>
                </c:pt>
                <c:pt idx="1532">
                  <c:v>31.172077000000002</c:v>
                </c:pt>
                <c:pt idx="1533">
                  <c:v>30.550405999999999</c:v>
                </c:pt>
                <c:pt idx="1534">
                  <c:v>31.033926000000001</c:v>
                </c:pt>
                <c:pt idx="1535">
                  <c:v>30.165565000000001</c:v>
                </c:pt>
                <c:pt idx="1536">
                  <c:v>29.810327999999998</c:v>
                </c:pt>
                <c:pt idx="1537">
                  <c:v>29.810327999999998</c:v>
                </c:pt>
                <c:pt idx="1538">
                  <c:v>30.530671999999999</c:v>
                </c:pt>
                <c:pt idx="1539">
                  <c:v>30.491199999999999</c:v>
                </c:pt>
                <c:pt idx="1540">
                  <c:v>31.339822999999999</c:v>
                </c:pt>
                <c:pt idx="1541">
                  <c:v>31.922018000000001</c:v>
                </c:pt>
                <c:pt idx="1542">
                  <c:v>32.553550000000001</c:v>
                </c:pt>
                <c:pt idx="1543">
                  <c:v>33.264023000000002</c:v>
                </c:pt>
                <c:pt idx="1544">
                  <c:v>33.481116999999998</c:v>
                </c:pt>
                <c:pt idx="1545">
                  <c:v>33.609397999999999</c:v>
                </c:pt>
                <c:pt idx="1546">
                  <c:v>33.431778000000001</c:v>
                </c:pt>
                <c:pt idx="1547">
                  <c:v>32.869320000000002</c:v>
                </c:pt>
                <c:pt idx="1548">
                  <c:v>33.569927</c:v>
                </c:pt>
                <c:pt idx="1549">
                  <c:v>34.349471999999999</c:v>
                </c:pt>
                <c:pt idx="1550">
                  <c:v>34.231064000000003</c:v>
                </c:pt>
                <c:pt idx="1551">
                  <c:v>33.303497</c:v>
                </c:pt>
                <c:pt idx="1552">
                  <c:v>33.579790000000003</c:v>
                </c:pt>
                <c:pt idx="1553">
                  <c:v>33.925162999999998</c:v>
                </c:pt>
                <c:pt idx="1554">
                  <c:v>33.915295</c:v>
                </c:pt>
                <c:pt idx="1555">
                  <c:v>33.03707</c:v>
                </c:pt>
                <c:pt idx="1556">
                  <c:v>33.520587999999996</c:v>
                </c:pt>
                <c:pt idx="1557">
                  <c:v>33.540325000000003</c:v>
                </c:pt>
                <c:pt idx="1558">
                  <c:v>32.967995000000002</c:v>
                </c:pt>
                <c:pt idx="1559">
                  <c:v>32.622622999999997</c:v>
                </c:pt>
                <c:pt idx="1560">
                  <c:v>33.323239999999998</c:v>
                </c:pt>
                <c:pt idx="1561">
                  <c:v>33.727801999999997</c:v>
                </c:pt>
                <c:pt idx="1562">
                  <c:v>33.461376000000001</c:v>
                </c:pt>
                <c:pt idx="1563">
                  <c:v>33.500853999999997</c:v>
                </c:pt>
                <c:pt idx="1564">
                  <c:v>34.329734999999999</c:v>
                </c:pt>
                <c:pt idx="1565">
                  <c:v>34.290264000000001</c:v>
                </c:pt>
                <c:pt idx="1566">
                  <c:v>33.557952999999998</c:v>
                </c:pt>
                <c:pt idx="1567">
                  <c:v>33.399610000000003</c:v>
                </c:pt>
                <c:pt idx="1568">
                  <c:v>33.597534000000003</c:v>
                </c:pt>
                <c:pt idx="1569">
                  <c:v>33.637120000000003</c:v>
                </c:pt>
                <c:pt idx="1570">
                  <c:v>31.806325999999999</c:v>
                </c:pt>
                <c:pt idx="1571">
                  <c:v>32.004252999999999</c:v>
                </c:pt>
                <c:pt idx="1572">
                  <c:v>31.826118000000001</c:v>
                </c:pt>
                <c:pt idx="1573">
                  <c:v>31.984456999999999</c:v>
                </c:pt>
                <c:pt idx="1574">
                  <c:v>31.410477</c:v>
                </c:pt>
                <c:pt idx="1575">
                  <c:v>30.638574999999999</c:v>
                </c:pt>
                <c:pt idx="1576">
                  <c:v>30.975045999999999</c:v>
                </c:pt>
                <c:pt idx="1577">
                  <c:v>29.609375</c:v>
                </c:pt>
                <c:pt idx="1578">
                  <c:v>29.193731</c:v>
                </c:pt>
                <c:pt idx="1579">
                  <c:v>28.867159999999998</c:v>
                </c:pt>
                <c:pt idx="1580">
                  <c:v>28.431726000000001</c:v>
                </c:pt>
                <c:pt idx="1581">
                  <c:v>28.11505</c:v>
                </c:pt>
                <c:pt idx="1582">
                  <c:v>27.87754</c:v>
                </c:pt>
                <c:pt idx="1583">
                  <c:v>26.947298</c:v>
                </c:pt>
                <c:pt idx="1584">
                  <c:v>26.917611999999998</c:v>
                </c:pt>
                <c:pt idx="1585">
                  <c:v>28.817678000000001</c:v>
                </c:pt>
                <c:pt idx="1586">
                  <c:v>30.044806000000001</c:v>
                </c:pt>
                <c:pt idx="1587">
                  <c:v>30.064598</c:v>
                </c:pt>
                <c:pt idx="1588">
                  <c:v>30.598987999999999</c:v>
                </c:pt>
                <c:pt idx="1589">
                  <c:v>30.440655</c:v>
                </c:pt>
                <c:pt idx="1590">
                  <c:v>30.262519999999999</c:v>
                </c:pt>
                <c:pt idx="1591">
                  <c:v>30.777125999999999</c:v>
                </c:pt>
                <c:pt idx="1592">
                  <c:v>32.746464000000003</c:v>
                </c:pt>
                <c:pt idx="1593">
                  <c:v>32.340719999999997</c:v>
                </c:pt>
                <c:pt idx="1594">
                  <c:v>32.221966000000002</c:v>
                </c:pt>
                <c:pt idx="1595">
                  <c:v>32.182380000000002</c:v>
                </c:pt>
                <c:pt idx="1596">
                  <c:v>32.865220000000001</c:v>
                </c:pt>
                <c:pt idx="1597">
                  <c:v>31.816223000000001</c:v>
                </c:pt>
                <c:pt idx="1598">
                  <c:v>31.242242999999998</c:v>
                </c:pt>
                <c:pt idx="1599">
                  <c:v>31.489649</c:v>
                </c:pt>
                <c:pt idx="1600">
                  <c:v>30.935459999999999</c:v>
                </c:pt>
                <c:pt idx="1601">
                  <c:v>31.133385000000001</c:v>
                </c:pt>
                <c:pt idx="1602">
                  <c:v>31.816223000000001</c:v>
                </c:pt>
                <c:pt idx="1603">
                  <c:v>32.271445999999997</c:v>
                </c:pt>
                <c:pt idx="1604">
                  <c:v>32.538643</c:v>
                </c:pt>
                <c:pt idx="1605">
                  <c:v>31.855803999999999</c:v>
                </c:pt>
                <c:pt idx="1606">
                  <c:v>32.380305999999997</c:v>
                </c:pt>
                <c:pt idx="1607">
                  <c:v>32.123004999999999</c:v>
                </c:pt>
                <c:pt idx="1608">
                  <c:v>32.449573999999998</c:v>
                </c:pt>
                <c:pt idx="1609">
                  <c:v>32.024044000000004</c:v>
                </c:pt>
                <c:pt idx="1610">
                  <c:v>32.598019999999998</c:v>
                </c:pt>
                <c:pt idx="1611">
                  <c:v>32.687083999999999</c:v>
                </c:pt>
                <c:pt idx="1612">
                  <c:v>33.429299999999998</c:v>
                </c:pt>
                <c:pt idx="1613">
                  <c:v>33.261063</c:v>
                </c:pt>
                <c:pt idx="1614">
                  <c:v>33.864735000000003</c:v>
                </c:pt>
                <c:pt idx="1615">
                  <c:v>32.914695999999999</c:v>
                </c:pt>
                <c:pt idx="1616">
                  <c:v>33.389716999999997</c:v>
                </c:pt>
                <c:pt idx="1617">
                  <c:v>32.73657</c:v>
                </c:pt>
                <c:pt idx="1618">
                  <c:v>32.558436999999998</c:v>
                </c:pt>
                <c:pt idx="1619">
                  <c:v>33.379818</c:v>
                </c:pt>
                <c:pt idx="1620">
                  <c:v>34.230891999999997</c:v>
                </c:pt>
                <c:pt idx="1621">
                  <c:v>31.341206</c:v>
                </c:pt>
                <c:pt idx="1622">
                  <c:v>30.915668</c:v>
                </c:pt>
                <c:pt idx="1623">
                  <c:v>30.420856000000001</c:v>
                </c:pt>
                <c:pt idx="1624">
                  <c:v>30.391169999999999</c:v>
                </c:pt>
                <c:pt idx="1625">
                  <c:v>30.193245000000001</c:v>
                </c:pt>
                <c:pt idx="1626">
                  <c:v>29.530207000000001</c:v>
                </c:pt>
                <c:pt idx="1627">
                  <c:v>29.144255000000001</c:v>
                </c:pt>
                <c:pt idx="1628">
                  <c:v>28.233806999999999</c:v>
                </c:pt>
                <c:pt idx="1629">
                  <c:v>28.164290000000001</c:v>
                </c:pt>
                <c:pt idx="1630">
                  <c:v>28.432424999999999</c:v>
                </c:pt>
                <c:pt idx="1631">
                  <c:v>28.879318000000001</c:v>
                </c:pt>
                <c:pt idx="1632">
                  <c:v>28.581389999999999</c:v>
                </c:pt>
                <c:pt idx="1633">
                  <c:v>27.449256999999999</c:v>
                </c:pt>
                <c:pt idx="1634">
                  <c:v>27.320153999999999</c:v>
                </c:pt>
                <c:pt idx="1635">
                  <c:v>25.919886000000002</c:v>
                </c:pt>
                <c:pt idx="1636">
                  <c:v>25.234648</c:v>
                </c:pt>
                <c:pt idx="1637">
                  <c:v>25.612024000000002</c:v>
                </c:pt>
                <c:pt idx="1638">
                  <c:v>25.919886000000002</c:v>
                </c:pt>
                <c:pt idx="1639">
                  <c:v>25.65175</c:v>
                </c:pt>
                <c:pt idx="1640">
                  <c:v>26.237673000000001</c:v>
                </c:pt>
                <c:pt idx="1641">
                  <c:v>26.346920000000001</c:v>
                </c:pt>
                <c:pt idx="1642">
                  <c:v>25.244575999999999</c:v>
                </c:pt>
                <c:pt idx="1643">
                  <c:v>25.016165000000001</c:v>
                </c:pt>
                <c:pt idx="1644">
                  <c:v>24.281272999999999</c:v>
                </c:pt>
                <c:pt idx="1645">
                  <c:v>25.155200000000001</c:v>
                </c:pt>
                <c:pt idx="1646">
                  <c:v>26.138369000000001</c:v>
                </c:pt>
                <c:pt idx="1647">
                  <c:v>26.128437000000002</c:v>
                </c:pt>
                <c:pt idx="1648">
                  <c:v>26.327052999999999</c:v>
                </c:pt>
                <c:pt idx="1649">
                  <c:v>26.813675</c:v>
                </c:pt>
                <c:pt idx="1650">
                  <c:v>27.498909999999999</c:v>
                </c:pt>
                <c:pt idx="1651">
                  <c:v>27.598223000000001</c:v>
                </c:pt>
                <c:pt idx="1652">
                  <c:v>28.243738</c:v>
                </c:pt>
                <c:pt idx="1653">
                  <c:v>28.919044</c:v>
                </c:pt>
                <c:pt idx="1654">
                  <c:v>29.554625999999999</c:v>
                </c:pt>
                <c:pt idx="1655">
                  <c:v>29.733384999999998</c:v>
                </c:pt>
                <c:pt idx="1656">
                  <c:v>29.743317000000001</c:v>
                </c:pt>
                <c:pt idx="1657">
                  <c:v>27.57836</c:v>
                </c:pt>
                <c:pt idx="1658">
                  <c:v>28.442354000000002</c:v>
                </c:pt>
                <c:pt idx="1659">
                  <c:v>28.402632000000001</c:v>
                </c:pt>
                <c:pt idx="1660">
                  <c:v>28.104704000000002</c:v>
                </c:pt>
                <c:pt idx="1661">
                  <c:v>27.79684</c:v>
                </c:pt>
                <c:pt idx="1662">
                  <c:v>27.310223000000001</c:v>
                </c:pt>
                <c:pt idx="1663">
                  <c:v>26.813675</c:v>
                </c:pt>
                <c:pt idx="1664">
                  <c:v>27.250637000000001</c:v>
                </c:pt>
                <c:pt idx="1665">
                  <c:v>27.002362999999999</c:v>
                </c:pt>
                <c:pt idx="1666">
                  <c:v>26.823605000000001</c:v>
                </c:pt>
                <c:pt idx="1667">
                  <c:v>26.78388</c:v>
                </c:pt>
                <c:pt idx="1668">
                  <c:v>26.615053</c:v>
                </c:pt>
                <c:pt idx="1669">
                  <c:v>25.194925000000001</c:v>
                </c:pt>
                <c:pt idx="1670">
                  <c:v>25.095613</c:v>
                </c:pt>
                <c:pt idx="1671">
                  <c:v>25.65175</c:v>
                </c:pt>
                <c:pt idx="1672">
                  <c:v>25.65175</c:v>
                </c:pt>
                <c:pt idx="1673">
                  <c:v>26.078779999999998</c:v>
                </c:pt>
                <c:pt idx="1674">
                  <c:v>26.883192000000001</c:v>
                </c:pt>
                <c:pt idx="1675">
                  <c:v>26.992432000000001</c:v>
                </c:pt>
                <c:pt idx="1676">
                  <c:v>27.171192000000001</c:v>
                </c:pt>
                <c:pt idx="1677">
                  <c:v>27.429397999999999</c:v>
                </c:pt>
                <c:pt idx="1678">
                  <c:v>28.074911</c:v>
                </c:pt>
                <c:pt idx="1679">
                  <c:v>27.856425999999999</c:v>
                </c:pt>
                <c:pt idx="1680">
                  <c:v>27.737255000000001</c:v>
                </c:pt>
                <c:pt idx="1681">
                  <c:v>28.025251000000001</c:v>
                </c:pt>
                <c:pt idx="1682">
                  <c:v>28.422495000000001</c:v>
                </c:pt>
                <c:pt idx="1683">
                  <c:v>28.064978</c:v>
                </c:pt>
                <c:pt idx="1684">
                  <c:v>28.094771999999999</c:v>
                </c:pt>
                <c:pt idx="1685">
                  <c:v>29.207039999999999</c:v>
                </c:pt>
                <c:pt idx="1686">
                  <c:v>30.647036</c:v>
                </c:pt>
                <c:pt idx="1687">
                  <c:v>31.143585000000002</c:v>
                </c:pt>
                <c:pt idx="1688">
                  <c:v>30.706623</c:v>
                </c:pt>
                <c:pt idx="1689">
                  <c:v>30.080970000000001</c:v>
                </c:pt>
                <c:pt idx="1690">
                  <c:v>29.852551999999999</c:v>
                </c:pt>
                <c:pt idx="1691">
                  <c:v>30.349105999999999</c:v>
                </c:pt>
                <c:pt idx="1692">
                  <c:v>30.736415999999998</c:v>
                </c:pt>
                <c:pt idx="1693">
                  <c:v>31.065200000000001</c:v>
                </c:pt>
                <c:pt idx="1694">
                  <c:v>30.846008000000001</c:v>
                </c:pt>
                <c:pt idx="1695">
                  <c:v>30.776266</c:v>
                </c:pt>
                <c:pt idx="1696">
                  <c:v>30.646746</c:v>
                </c:pt>
                <c:pt idx="1697">
                  <c:v>30.477371000000002</c:v>
                </c:pt>
                <c:pt idx="1698">
                  <c:v>29.411307999999998</c:v>
                </c:pt>
                <c:pt idx="1699">
                  <c:v>28.554476000000001</c:v>
                </c:pt>
                <c:pt idx="1700">
                  <c:v>28.664073999999999</c:v>
                </c:pt>
                <c:pt idx="1701">
                  <c:v>28.753737999999998</c:v>
                </c:pt>
                <c:pt idx="1702">
                  <c:v>28.494700000000002</c:v>
                </c:pt>
                <c:pt idx="1703">
                  <c:v>29.182158000000001</c:v>
                </c:pt>
                <c:pt idx="1704">
                  <c:v>28.126059999999999</c:v>
                </c:pt>
                <c:pt idx="1705">
                  <c:v>27.827165999999998</c:v>
                </c:pt>
                <c:pt idx="1706">
                  <c:v>28.574404000000001</c:v>
                </c:pt>
                <c:pt idx="1707">
                  <c:v>28.883262999999999</c:v>
                </c:pt>
                <c:pt idx="1708">
                  <c:v>28.943042999999999</c:v>
                </c:pt>
                <c:pt idx="1709">
                  <c:v>28.843409999999999</c:v>
                </c:pt>
                <c:pt idx="1710">
                  <c:v>28.634181999999999</c:v>
                </c:pt>
                <c:pt idx="1711">
                  <c:v>27.976611999999999</c:v>
                </c:pt>
                <c:pt idx="1712">
                  <c:v>27.189522</c:v>
                </c:pt>
                <c:pt idx="1713">
                  <c:v>27.279188000000001</c:v>
                </c:pt>
                <c:pt idx="1714">
                  <c:v>27.139706</c:v>
                </c:pt>
                <c:pt idx="1715">
                  <c:v>27.627901000000001</c:v>
                </c:pt>
                <c:pt idx="1716">
                  <c:v>27.388783</c:v>
                </c:pt>
                <c:pt idx="1717">
                  <c:v>26.900587000000002</c:v>
                </c:pt>
                <c:pt idx="1718">
                  <c:v>26.761105000000001</c:v>
                </c:pt>
                <c:pt idx="1719">
                  <c:v>27.617937000000001</c:v>
                </c:pt>
                <c:pt idx="1720">
                  <c:v>27.378820000000001</c:v>
                </c:pt>
                <c:pt idx="1721">
                  <c:v>27.817204</c:v>
                </c:pt>
                <c:pt idx="1722">
                  <c:v>28.175878999999998</c:v>
                </c:pt>
                <c:pt idx="1723">
                  <c:v>27.896909999999998</c:v>
                </c:pt>
                <c:pt idx="1724">
                  <c:v>28.444880999999999</c:v>
                </c:pt>
                <c:pt idx="1725">
                  <c:v>28.933078999999999</c:v>
                </c:pt>
                <c:pt idx="1726">
                  <c:v>29.192119999999999</c:v>
                </c:pt>
                <c:pt idx="1727">
                  <c:v>29.072562999999999</c:v>
                </c:pt>
                <c:pt idx="1728">
                  <c:v>29.560759999999998</c:v>
                </c:pt>
                <c:pt idx="1729">
                  <c:v>28.335287000000001</c:v>
                </c:pt>
                <c:pt idx="1730">
                  <c:v>28.195799999999998</c:v>
                </c:pt>
                <c:pt idx="1731">
                  <c:v>28.574404000000001</c:v>
                </c:pt>
                <c:pt idx="1732">
                  <c:v>28.982893000000001</c:v>
                </c:pt>
                <c:pt idx="1733">
                  <c:v>27.548195</c:v>
                </c:pt>
                <c:pt idx="1734">
                  <c:v>27.219411999999998</c:v>
                </c:pt>
                <c:pt idx="1735">
                  <c:v>27.119779999999999</c:v>
                </c:pt>
                <c:pt idx="1736">
                  <c:v>27.737494999999999</c:v>
                </c:pt>
                <c:pt idx="1737">
                  <c:v>27.847092</c:v>
                </c:pt>
                <c:pt idx="1738">
                  <c:v>27.219411999999998</c:v>
                </c:pt>
                <c:pt idx="1739">
                  <c:v>27.289149999999999</c:v>
                </c:pt>
                <c:pt idx="1740">
                  <c:v>27.428636999999998</c:v>
                </c:pt>
                <c:pt idx="1741">
                  <c:v>27.478455</c:v>
                </c:pt>
                <c:pt idx="1742">
                  <c:v>28.126059999999999</c:v>
                </c:pt>
                <c:pt idx="1743">
                  <c:v>28.295432999999999</c:v>
                </c:pt>
                <c:pt idx="1744">
                  <c:v>27.099854000000001</c:v>
                </c:pt>
                <c:pt idx="1745">
                  <c:v>27.219411999999998</c:v>
                </c:pt>
                <c:pt idx="1746">
                  <c:v>28.693957999999999</c:v>
                </c:pt>
                <c:pt idx="1747">
                  <c:v>27.538229999999999</c:v>
                </c:pt>
                <c:pt idx="1748">
                  <c:v>26.013866</c:v>
                </c:pt>
                <c:pt idx="1749">
                  <c:v>26.800957</c:v>
                </c:pt>
                <c:pt idx="1750">
                  <c:v>26.701324</c:v>
                </c:pt>
                <c:pt idx="1751">
                  <c:v>27.617937000000001</c:v>
                </c:pt>
                <c:pt idx="1752">
                  <c:v>26.741178999999999</c:v>
                </c:pt>
                <c:pt idx="1753">
                  <c:v>27.06</c:v>
                </c:pt>
                <c:pt idx="1754">
                  <c:v>28.43</c:v>
                </c:pt>
                <c:pt idx="1755">
                  <c:v>29.099997999999999</c:v>
                </c:pt>
                <c:pt idx="1756">
                  <c:v>28.3</c:v>
                </c:pt>
                <c:pt idx="1757">
                  <c:v>28.38</c:v>
                </c:pt>
                <c:pt idx="1758">
                  <c:v>28.79</c:v>
                </c:pt>
                <c:pt idx="1759">
                  <c:v>29.84</c:v>
                </c:pt>
                <c:pt idx="1760">
                  <c:v>30.47</c:v>
                </c:pt>
                <c:pt idx="1761">
                  <c:v>30.089998000000001</c:v>
                </c:pt>
                <c:pt idx="1762">
                  <c:v>29.200002999999999</c:v>
                </c:pt>
                <c:pt idx="1763">
                  <c:v>28.629996999999999</c:v>
                </c:pt>
                <c:pt idx="1764">
                  <c:v>28.33</c:v>
                </c:pt>
                <c:pt idx="1765">
                  <c:v>28.51</c:v>
                </c:pt>
                <c:pt idx="1766">
                  <c:v>27.820001999999999</c:v>
                </c:pt>
                <c:pt idx="1767">
                  <c:v>25.45</c:v>
                </c:pt>
                <c:pt idx="1768">
                  <c:v>23.12</c:v>
                </c:pt>
                <c:pt idx="1769">
                  <c:v>22.309998</c:v>
                </c:pt>
                <c:pt idx="1770">
                  <c:v>20.6</c:v>
                </c:pt>
                <c:pt idx="1771">
                  <c:v>19.05</c:v>
                </c:pt>
                <c:pt idx="1772">
                  <c:v>18.86</c:v>
                </c:pt>
                <c:pt idx="1773">
                  <c:v>17.850000000000001</c:v>
                </c:pt>
                <c:pt idx="1774">
                  <c:v>18.53</c:v>
                </c:pt>
                <c:pt idx="1775">
                  <c:v>16.04</c:v>
                </c:pt>
                <c:pt idx="1776">
                  <c:v>15.97</c:v>
                </c:pt>
                <c:pt idx="1777">
                  <c:v>14.75</c:v>
                </c:pt>
                <c:pt idx="1778">
                  <c:v>17</c:v>
                </c:pt>
                <c:pt idx="1779">
                  <c:v>16.260000000000002</c:v>
                </c:pt>
                <c:pt idx="1780">
                  <c:v>13.45</c:v>
                </c:pt>
                <c:pt idx="1781">
                  <c:v>14.31</c:v>
                </c:pt>
                <c:pt idx="1782">
                  <c:v>15.92</c:v>
                </c:pt>
                <c:pt idx="1783">
                  <c:v>15.579999000000001</c:v>
                </c:pt>
                <c:pt idx="1784">
                  <c:v>11.65</c:v>
                </c:pt>
                <c:pt idx="1785">
                  <c:v>10.29</c:v>
                </c:pt>
                <c:pt idx="1786">
                  <c:v>10.38</c:v>
                </c:pt>
                <c:pt idx="1787">
                  <c:v>10.25</c:v>
                </c:pt>
                <c:pt idx="1788">
                  <c:v>13.919999000000001</c:v>
                </c:pt>
                <c:pt idx="1789">
                  <c:v>15.39</c:v>
                </c:pt>
                <c:pt idx="1790">
                  <c:v>15.66</c:v>
                </c:pt>
                <c:pt idx="1791">
                  <c:v>14.04</c:v>
                </c:pt>
                <c:pt idx="1792">
                  <c:v>12.249999000000001</c:v>
                </c:pt>
                <c:pt idx="1793">
                  <c:v>12.190001000000001</c:v>
                </c:pt>
                <c:pt idx="1794">
                  <c:v>10.690001000000001</c:v>
                </c:pt>
                <c:pt idx="1795">
                  <c:v>10.059998999999999</c:v>
                </c:pt>
                <c:pt idx="1796">
                  <c:v>9.39</c:v>
                </c:pt>
                <c:pt idx="1797">
                  <c:v>9.5</c:v>
                </c:pt>
                <c:pt idx="1798">
                  <c:v>10.219999</c:v>
                </c:pt>
                <c:pt idx="1799">
                  <c:v>11.33</c:v>
                </c:pt>
                <c:pt idx="1800">
                  <c:v>12.51</c:v>
                </c:pt>
                <c:pt idx="1801">
                  <c:v>11.56</c:v>
                </c:pt>
                <c:pt idx="1802">
                  <c:v>11.95</c:v>
                </c:pt>
                <c:pt idx="1803">
                  <c:v>12.289999</c:v>
                </c:pt>
                <c:pt idx="1804">
                  <c:v>11.07</c:v>
                </c:pt>
                <c:pt idx="1805">
                  <c:v>11.570001</c:v>
                </c:pt>
                <c:pt idx="1806">
                  <c:v>11.059998999999999</c:v>
                </c:pt>
                <c:pt idx="1807">
                  <c:v>11</c:v>
                </c:pt>
                <c:pt idx="1808">
                  <c:v>10.269999500000001</c:v>
                </c:pt>
                <c:pt idx="1809">
                  <c:v>10.25</c:v>
                </c:pt>
                <c:pt idx="1810">
                  <c:v>10.309998999999999</c:v>
                </c:pt>
                <c:pt idx="1811">
                  <c:v>10.019999500000001</c:v>
                </c:pt>
                <c:pt idx="1812">
                  <c:v>11.26</c:v>
                </c:pt>
                <c:pt idx="1813">
                  <c:v>12.63</c:v>
                </c:pt>
                <c:pt idx="1814">
                  <c:v>12.01</c:v>
                </c:pt>
                <c:pt idx="1815">
                  <c:v>10.64</c:v>
                </c:pt>
                <c:pt idx="1816">
                  <c:v>9.82</c:v>
                </c:pt>
                <c:pt idx="1817">
                  <c:v>9.51</c:v>
                </c:pt>
                <c:pt idx="1818">
                  <c:v>9.25</c:v>
                </c:pt>
                <c:pt idx="1819">
                  <c:v>9.5399999999999991</c:v>
                </c:pt>
                <c:pt idx="1820">
                  <c:v>10.14</c:v>
                </c:pt>
                <c:pt idx="1821">
                  <c:v>10.1</c:v>
                </c:pt>
                <c:pt idx="1822">
                  <c:v>9.6500009999999996</c:v>
                </c:pt>
                <c:pt idx="1823">
                  <c:v>9.1100010000000005</c:v>
                </c:pt>
                <c:pt idx="1824">
                  <c:v>9.15</c:v>
                </c:pt>
                <c:pt idx="1825">
                  <c:v>9.0399999999999991</c:v>
                </c:pt>
                <c:pt idx="1826">
                  <c:v>9.8699999999999992</c:v>
                </c:pt>
                <c:pt idx="1827">
                  <c:v>9.64</c:v>
                </c:pt>
                <c:pt idx="1828">
                  <c:v>9.8699999999999992</c:v>
                </c:pt>
                <c:pt idx="1829">
                  <c:v>9.89</c:v>
                </c:pt>
                <c:pt idx="1830">
                  <c:v>9.6999999999999993</c:v>
                </c:pt>
                <c:pt idx="1831">
                  <c:v>11.14</c:v>
                </c:pt>
                <c:pt idx="1832">
                  <c:v>11.98</c:v>
                </c:pt>
                <c:pt idx="1833">
                  <c:v>10.980000499999999</c:v>
                </c:pt>
                <c:pt idx="1834">
                  <c:v>10.5</c:v>
                </c:pt>
                <c:pt idx="1835">
                  <c:v>11.11</c:v>
                </c:pt>
                <c:pt idx="1836">
                  <c:v>11.22</c:v>
                </c:pt>
                <c:pt idx="1837">
                  <c:v>11.85</c:v>
                </c:pt>
                <c:pt idx="1838">
                  <c:v>16.719996999999999</c:v>
                </c:pt>
                <c:pt idx="1839">
                  <c:v>18.59</c:v>
                </c:pt>
                <c:pt idx="1840">
                  <c:v>20.309999999999999</c:v>
                </c:pt>
                <c:pt idx="1841">
                  <c:v>18.55</c:v>
                </c:pt>
                <c:pt idx="1842">
                  <c:v>17.02</c:v>
                </c:pt>
                <c:pt idx="1843">
                  <c:v>14.38</c:v>
                </c:pt>
                <c:pt idx="1844">
                  <c:v>16.739999999999998</c:v>
                </c:pt>
                <c:pt idx="1845">
                  <c:v>16.7</c:v>
                </c:pt>
                <c:pt idx="1846">
                  <c:v>17.03</c:v>
                </c:pt>
                <c:pt idx="1847">
                  <c:v>16.98</c:v>
                </c:pt>
                <c:pt idx="1848">
                  <c:v>16.489999999999998</c:v>
                </c:pt>
                <c:pt idx="1849">
                  <c:v>15.999999000000001</c:v>
                </c:pt>
                <c:pt idx="1850">
                  <c:v>14.92</c:v>
                </c:pt>
                <c:pt idx="1851">
                  <c:v>13.999999000000001</c:v>
                </c:pt>
                <c:pt idx="1852">
                  <c:v>13.04</c:v>
                </c:pt>
                <c:pt idx="1853">
                  <c:v>13.17</c:v>
                </c:pt>
                <c:pt idx="1854">
                  <c:v>12.379999</c:v>
                </c:pt>
                <c:pt idx="1855">
                  <c:v>13.320001</c:v>
                </c:pt>
                <c:pt idx="1856">
                  <c:v>13.07</c:v>
                </c:pt>
                <c:pt idx="1857">
                  <c:v>12.809998999999999</c:v>
                </c:pt>
                <c:pt idx="1858">
                  <c:v>12.5</c:v>
                </c:pt>
                <c:pt idx="1859">
                  <c:v>12.799999</c:v>
                </c:pt>
                <c:pt idx="1860">
                  <c:v>11.91</c:v>
                </c:pt>
                <c:pt idx="1861">
                  <c:v>11.99</c:v>
                </c:pt>
                <c:pt idx="1862">
                  <c:v>11.18</c:v>
                </c:pt>
                <c:pt idx="1863">
                  <c:v>11.94</c:v>
                </c:pt>
                <c:pt idx="1864">
                  <c:v>11.63</c:v>
                </c:pt>
                <c:pt idx="1865">
                  <c:v>11.570001</c:v>
                </c:pt>
                <c:pt idx="1866">
                  <c:v>13.44</c:v>
                </c:pt>
                <c:pt idx="1867">
                  <c:v>12.45</c:v>
                </c:pt>
                <c:pt idx="1868">
                  <c:v>11.91</c:v>
                </c:pt>
                <c:pt idx="1869">
                  <c:v>11.47</c:v>
                </c:pt>
                <c:pt idx="1870">
                  <c:v>11.47</c:v>
                </c:pt>
                <c:pt idx="1871">
                  <c:v>11.36</c:v>
                </c:pt>
                <c:pt idx="1872">
                  <c:v>11.77</c:v>
                </c:pt>
                <c:pt idx="1873">
                  <c:v>11.389999</c:v>
                </c:pt>
                <c:pt idx="1874">
                  <c:v>11.389999</c:v>
                </c:pt>
                <c:pt idx="1875">
                  <c:v>11.77</c:v>
                </c:pt>
                <c:pt idx="1876">
                  <c:v>11.4</c:v>
                </c:pt>
                <c:pt idx="1877">
                  <c:v>11.18</c:v>
                </c:pt>
                <c:pt idx="1878">
                  <c:v>11.12</c:v>
                </c:pt>
                <c:pt idx="1879">
                  <c:v>11.08</c:v>
                </c:pt>
                <c:pt idx="1880">
                  <c:v>11.47</c:v>
                </c:pt>
                <c:pt idx="1881">
                  <c:v>12.56</c:v>
                </c:pt>
                <c:pt idx="1882">
                  <c:v>13.04</c:v>
                </c:pt>
                <c:pt idx="1883">
                  <c:v>13.03</c:v>
                </c:pt>
                <c:pt idx="1884">
                  <c:v>13.999999000000001</c:v>
                </c:pt>
                <c:pt idx="1885">
                  <c:v>13.730000499999999</c:v>
                </c:pt>
                <c:pt idx="1886">
                  <c:v>13.54</c:v>
                </c:pt>
                <c:pt idx="1887">
                  <c:v>13.3</c:v>
                </c:pt>
                <c:pt idx="1888">
                  <c:v>13.330000999999999</c:v>
                </c:pt>
                <c:pt idx="1889">
                  <c:v>12.62</c:v>
                </c:pt>
                <c:pt idx="1890">
                  <c:v>12.6</c:v>
                </c:pt>
                <c:pt idx="1891">
                  <c:v>12.68</c:v>
                </c:pt>
                <c:pt idx="1892">
                  <c:v>12.5</c:v>
                </c:pt>
                <c:pt idx="1893">
                  <c:v>12.160000999999999</c:v>
                </c:pt>
                <c:pt idx="1894">
                  <c:v>13.44</c:v>
                </c:pt>
                <c:pt idx="1895">
                  <c:v>13.14</c:v>
                </c:pt>
                <c:pt idx="1896">
                  <c:v>12.790001</c:v>
                </c:pt>
                <c:pt idx="1897">
                  <c:v>13.280001</c:v>
                </c:pt>
                <c:pt idx="1898">
                  <c:v>13.59</c:v>
                </c:pt>
                <c:pt idx="1899">
                  <c:v>13.05</c:v>
                </c:pt>
                <c:pt idx="1900">
                  <c:v>13.1</c:v>
                </c:pt>
                <c:pt idx="1901">
                  <c:v>13.230000499999999</c:v>
                </c:pt>
                <c:pt idx="1902">
                  <c:v>13.36</c:v>
                </c:pt>
                <c:pt idx="1903">
                  <c:v>13.61</c:v>
                </c:pt>
                <c:pt idx="1904">
                  <c:v>13.63</c:v>
                </c:pt>
                <c:pt idx="1905">
                  <c:v>13.05</c:v>
                </c:pt>
                <c:pt idx="1906">
                  <c:v>13.01</c:v>
                </c:pt>
                <c:pt idx="1907">
                  <c:v>12.95</c:v>
                </c:pt>
                <c:pt idx="1908">
                  <c:v>13.26</c:v>
                </c:pt>
                <c:pt idx="1909">
                  <c:v>13.14</c:v>
                </c:pt>
                <c:pt idx="1910">
                  <c:v>13.8</c:v>
                </c:pt>
                <c:pt idx="1911">
                  <c:v>13.63</c:v>
                </c:pt>
                <c:pt idx="1912">
                  <c:v>13.190001000000001</c:v>
                </c:pt>
                <c:pt idx="1913">
                  <c:v>12.210001</c:v>
                </c:pt>
                <c:pt idx="1914">
                  <c:v>12.339999000000001</c:v>
                </c:pt>
                <c:pt idx="1915">
                  <c:v>11.929999</c:v>
                </c:pt>
                <c:pt idx="1916">
                  <c:v>11.77</c:v>
                </c:pt>
                <c:pt idx="1917">
                  <c:v>12.289999</c:v>
                </c:pt>
                <c:pt idx="1918">
                  <c:v>12.76</c:v>
                </c:pt>
                <c:pt idx="1919">
                  <c:v>12.249999000000001</c:v>
                </c:pt>
                <c:pt idx="1920">
                  <c:v>12.289999</c:v>
                </c:pt>
                <c:pt idx="1921">
                  <c:v>12.58</c:v>
                </c:pt>
                <c:pt idx="1922">
                  <c:v>13</c:v>
                </c:pt>
                <c:pt idx="1923">
                  <c:v>13.12</c:v>
                </c:pt>
                <c:pt idx="1924">
                  <c:v>12.53</c:v>
                </c:pt>
                <c:pt idx="1925">
                  <c:v>13.07</c:v>
                </c:pt>
                <c:pt idx="1926">
                  <c:v>13.16</c:v>
                </c:pt>
                <c:pt idx="1927">
                  <c:v>13.2</c:v>
                </c:pt>
                <c:pt idx="1928">
                  <c:v>12.919999000000001</c:v>
                </c:pt>
                <c:pt idx="1929">
                  <c:v>12.22</c:v>
                </c:pt>
                <c:pt idx="1930">
                  <c:v>12.36</c:v>
                </c:pt>
                <c:pt idx="1931">
                  <c:v>12.230000499999999</c:v>
                </c:pt>
                <c:pt idx="1932">
                  <c:v>12.46</c:v>
                </c:pt>
                <c:pt idx="1933">
                  <c:v>12.56</c:v>
                </c:pt>
                <c:pt idx="1934">
                  <c:v>12.799999</c:v>
                </c:pt>
                <c:pt idx="1935">
                  <c:v>12.750000999999999</c:v>
                </c:pt>
                <c:pt idx="1936">
                  <c:v>13.150001</c:v>
                </c:pt>
                <c:pt idx="1937">
                  <c:v>12.6</c:v>
                </c:pt>
                <c:pt idx="1938">
                  <c:v>11.8</c:v>
                </c:pt>
                <c:pt idx="1939">
                  <c:v>11.230000499999999</c:v>
                </c:pt>
                <c:pt idx="1940">
                  <c:v>10.95</c:v>
                </c:pt>
                <c:pt idx="1941">
                  <c:v>11.16</c:v>
                </c:pt>
                <c:pt idx="1942">
                  <c:v>11.280001</c:v>
                </c:pt>
                <c:pt idx="1943">
                  <c:v>11.19</c:v>
                </c:pt>
                <c:pt idx="1944">
                  <c:v>11.25</c:v>
                </c:pt>
                <c:pt idx="1945">
                  <c:v>11.01</c:v>
                </c:pt>
                <c:pt idx="1946">
                  <c:v>11.599999</c:v>
                </c:pt>
                <c:pt idx="1947">
                  <c:v>11.46</c:v>
                </c:pt>
                <c:pt idx="1948">
                  <c:v>13.2</c:v>
                </c:pt>
                <c:pt idx="1949">
                  <c:v>12.379999</c:v>
                </c:pt>
                <c:pt idx="1950">
                  <c:v>12.04</c:v>
                </c:pt>
                <c:pt idx="1951">
                  <c:v>11.74</c:v>
                </c:pt>
                <c:pt idx="1952">
                  <c:v>12.240000999999999</c:v>
                </c:pt>
                <c:pt idx="1953">
                  <c:v>12.790001</c:v>
                </c:pt>
                <c:pt idx="1954">
                  <c:v>12.700001</c:v>
                </c:pt>
                <c:pt idx="1955">
                  <c:v>12.740000999999999</c:v>
                </c:pt>
                <c:pt idx="1956">
                  <c:v>12.790001</c:v>
                </c:pt>
                <c:pt idx="1957">
                  <c:v>12.53</c:v>
                </c:pt>
                <c:pt idx="1958">
                  <c:v>13.559998999999999</c:v>
                </c:pt>
                <c:pt idx="1959">
                  <c:v>14.820001</c:v>
                </c:pt>
                <c:pt idx="1960">
                  <c:v>14.940001000000001</c:v>
                </c:pt>
                <c:pt idx="1961">
                  <c:v>14.98</c:v>
                </c:pt>
                <c:pt idx="1962">
                  <c:v>14.13</c:v>
                </c:pt>
                <c:pt idx="1963">
                  <c:v>14.27</c:v>
                </c:pt>
                <c:pt idx="1964">
                  <c:v>14.860001</c:v>
                </c:pt>
                <c:pt idx="1965">
                  <c:v>16.09</c:v>
                </c:pt>
                <c:pt idx="1966">
                  <c:v>16.399999999999999</c:v>
                </c:pt>
                <c:pt idx="1967">
                  <c:v>17.21</c:v>
                </c:pt>
                <c:pt idx="1968">
                  <c:v>17.63</c:v>
                </c:pt>
                <c:pt idx="1969">
                  <c:v>17.16</c:v>
                </c:pt>
                <c:pt idx="1970">
                  <c:v>17.989999999999998</c:v>
                </c:pt>
                <c:pt idx="1971">
                  <c:v>17.05</c:v>
                </c:pt>
                <c:pt idx="1972">
                  <c:v>16.7</c:v>
                </c:pt>
                <c:pt idx="1973">
                  <c:v>17.010000000000002</c:v>
                </c:pt>
                <c:pt idx="1974">
                  <c:v>16.86</c:v>
                </c:pt>
                <c:pt idx="1975">
                  <c:v>16.799997000000001</c:v>
                </c:pt>
                <c:pt idx="1976">
                  <c:v>16.510000000000002</c:v>
                </c:pt>
                <c:pt idx="1977">
                  <c:v>16.099997999999999</c:v>
                </c:pt>
                <c:pt idx="1978">
                  <c:v>15.48</c:v>
                </c:pt>
                <c:pt idx="1979">
                  <c:v>15.89</c:v>
                </c:pt>
                <c:pt idx="1980">
                  <c:v>15.66</c:v>
                </c:pt>
                <c:pt idx="1981">
                  <c:v>16.059999999999999</c:v>
                </c:pt>
                <c:pt idx="1982">
                  <c:v>15.86</c:v>
                </c:pt>
                <c:pt idx="1983">
                  <c:v>16.149999999999999</c:v>
                </c:pt>
                <c:pt idx="1984">
                  <c:v>15.769999500000001</c:v>
                </c:pt>
                <c:pt idx="1985">
                  <c:v>15.129999</c:v>
                </c:pt>
                <c:pt idx="1986">
                  <c:v>15.43</c:v>
                </c:pt>
                <c:pt idx="1987">
                  <c:v>15.519999500000001</c:v>
                </c:pt>
                <c:pt idx="1988">
                  <c:v>15.38</c:v>
                </c:pt>
                <c:pt idx="1989">
                  <c:v>15.129999</c:v>
                </c:pt>
                <c:pt idx="1990">
                  <c:v>14.999999000000001</c:v>
                </c:pt>
                <c:pt idx="1991">
                  <c:v>15.38</c:v>
                </c:pt>
                <c:pt idx="1992">
                  <c:v>15.529999</c:v>
                </c:pt>
                <c:pt idx="1993">
                  <c:v>16.440000000000001</c:v>
                </c:pt>
                <c:pt idx="1994">
                  <c:v>15.76</c:v>
                </c:pt>
                <c:pt idx="1995">
                  <c:v>15.97</c:v>
                </c:pt>
                <c:pt idx="1996">
                  <c:v>16.170000000000002</c:v>
                </c:pt>
                <c:pt idx="1997">
                  <c:v>15.83</c:v>
                </c:pt>
                <c:pt idx="1998">
                  <c:v>15.82</c:v>
                </c:pt>
                <c:pt idx="1999">
                  <c:v>15.43</c:v>
                </c:pt>
                <c:pt idx="2000">
                  <c:v>15.529999</c:v>
                </c:pt>
                <c:pt idx="2001">
                  <c:v>16.559999999999999</c:v>
                </c:pt>
                <c:pt idx="2002">
                  <c:v>18.100000000000001</c:v>
                </c:pt>
                <c:pt idx="2003">
                  <c:v>17.170000000000002</c:v>
                </c:pt>
                <c:pt idx="2004">
                  <c:v>16.84</c:v>
                </c:pt>
                <c:pt idx="2005">
                  <c:v>16.589998000000001</c:v>
                </c:pt>
                <c:pt idx="2006">
                  <c:v>17.600000000000001</c:v>
                </c:pt>
                <c:pt idx="2007">
                  <c:v>17.399999999999999</c:v>
                </c:pt>
                <c:pt idx="2008">
                  <c:v>17.190000000000001</c:v>
                </c:pt>
                <c:pt idx="2009">
                  <c:v>17.769998999999999</c:v>
                </c:pt>
                <c:pt idx="2010">
                  <c:v>17.440000000000001</c:v>
                </c:pt>
                <c:pt idx="2011">
                  <c:v>17.41</c:v>
                </c:pt>
                <c:pt idx="2012">
                  <c:v>16.989999999999998</c:v>
                </c:pt>
                <c:pt idx="2013">
                  <c:v>17.269998999999999</c:v>
                </c:pt>
                <c:pt idx="2014">
                  <c:v>17.82</c:v>
                </c:pt>
                <c:pt idx="2015">
                  <c:v>17.989999999999998</c:v>
                </c:pt>
                <c:pt idx="2016">
                  <c:v>17.71</c:v>
                </c:pt>
                <c:pt idx="2017">
                  <c:v>18.68</c:v>
                </c:pt>
                <c:pt idx="2018">
                  <c:v>20.440000000000001</c:v>
                </c:pt>
                <c:pt idx="2019">
                  <c:v>20.66</c:v>
                </c:pt>
                <c:pt idx="2020">
                  <c:v>21.82</c:v>
                </c:pt>
                <c:pt idx="2021">
                  <c:v>20.86</c:v>
                </c:pt>
                <c:pt idx="2022">
                  <c:v>20.94</c:v>
                </c:pt>
                <c:pt idx="2023">
                  <c:v>21.18</c:v>
                </c:pt>
                <c:pt idx="2024">
                  <c:v>21.44</c:v>
                </c:pt>
                <c:pt idx="2025">
                  <c:v>22.17</c:v>
                </c:pt>
                <c:pt idx="2026">
                  <c:v>21.24</c:v>
                </c:pt>
                <c:pt idx="2027">
                  <c:v>20.45</c:v>
                </c:pt>
                <c:pt idx="2028">
                  <c:v>21.47</c:v>
                </c:pt>
                <c:pt idx="2029">
                  <c:v>21.599997999999999</c:v>
                </c:pt>
                <c:pt idx="2030">
                  <c:v>21.75</c:v>
                </c:pt>
                <c:pt idx="2031">
                  <c:v>22.15</c:v>
                </c:pt>
                <c:pt idx="2032">
                  <c:v>23.369999</c:v>
                </c:pt>
                <c:pt idx="2033">
                  <c:v>25.17</c:v>
                </c:pt>
                <c:pt idx="2034">
                  <c:v>24.469996999999999</c:v>
                </c:pt>
                <c:pt idx="2035">
                  <c:v>25.16</c:v>
                </c:pt>
                <c:pt idx="2036">
                  <c:v>24.700002999999999</c:v>
                </c:pt>
                <c:pt idx="2037">
                  <c:v>24.97</c:v>
                </c:pt>
                <c:pt idx="2038">
                  <c:v>23.83</c:v>
                </c:pt>
                <c:pt idx="2039">
                  <c:v>22.27</c:v>
                </c:pt>
                <c:pt idx="2040">
                  <c:v>21.81</c:v>
                </c:pt>
                <c:pt idx="2041">
                  <c:v>22.77</c:v>
                </c:pt>
                <c:pt idx="2042">
                  <c:v>22.93</c:v>
                </c:pt>
                <c:pt idx="2043">
                  <c:v>22.91</c:v>
                </c:pt>
                <c:pt idx="2044">
                  <c:v>24.12</c:v>
                </c:pt>
                <c:pt idx="2045">
                  <c:v>23.9</c:v>
                </c:pt>
                <c:pt idx="2046">
                  <c:v>23.86</c:v>
                </c:pt>
                <c:pt idx="2047">
                  <c:v>24.230001000000001</c:v>
                </c:pt>
                <c:pt idx="2048">
                  <c:v>24.06</c:v>
                </c:pt>
                <c:pt idx="2049">
                  <c:v>23.93</c:v>
                </c:pt>
                <c:pt idx="2050">
                  <c:v>23.65</c:v>
                </c:pt>
                <c:pt idx="2051">
                  <c:v>23.54</c:v>
                </c:pt>
                <c:pt idx="2052">
                  <c:v>22.91</c:v>
                </c:pt>
                <c:pt idx="2053">
                  <c:v>22.56</c:v>
                </c:pt>
                <c:pt idx="2054">
                  <c:v>22.37</c:v>
                </c:pt>
                <c:pt idx="2055">
                  <c:v>22.13</c:v>
                </c:pt>
                <c:pt idx="2056">
                  <c:v>22.029999</c:v>
                </c:pt>
                <c:pt idx="2057">
                  <c:v>21.55</c:v>
                </c:pt>
                <c:pt idx="2058">
                  <c:v>20.369999</c:v>
                </c:pt>
                <c:pt idx="2059">
                  <c:v>21.01</c:v>
                </c:pt>
                <c:pt idx="2060">
                  <c:v>20.07</c:v>
                </c:pt>
                <c:pt idx="2061">
                  <c:v>21.109998999999998</c:v>
                </c:pt>
                <c:pt idx="2062">
                  <c:v>22.039999000000002</c:v>
                </c:pt>
                <c:pt idx="2063">
                  <c:v>21.76</c:v>
                </c:pt>
                <c:pt idx="2064">
                  <c:v>21.699998999999998</c:v>
                </c:pt>
                <c:pt idx="2065">
                  <c:v>21.3</c:v>
                </c:pt>
                <c:pt idx="2066">
                  <c:v>21.72</c:v>
                </c:pt>
                <c:pt idx="2067">
                  <c:v>21.949998999999998</c:v>
                </c:pt>
                <c:pt idx="2068">
                  <c:v>21.419998</c:v>
                </c:pt>
                <c:pt idx="2069">
                  <c:v>21.57</c:v>
                </c:pt>
                <c:pt idx="2070">
                  <c:v>21.49</c:v>
                </c:pt>
                <c:pt idx="2071">
                  <c:v>21.999998000000001</c:v>
                </c:pt>
                <c:pt idx="2072">
                  <c:v>21.999998000000001</c:v>
                </c:pt>
                <c:pt idx="2073">
                  <c:v>21.57</c:v>
                </c:pt>
                <c:pt idx="2074">
                  <c:v>20.76</c:v>
                </c:pt>
                <c:pt idx="2075">
                  <c:v>21.21</c:v>
                </c:pt>
                <c:pt idx="2076">
                  <c:v>22.4</c:v>
                </c:pt>
                <c:pt idx="2077">
                  <c:v>23.35</c:v>
                </c:pt>
                <c:pt idx="2078">
                  <c:v>23.56</c:v>
                </c:pt>
                <c:pt idx="2079">
                  <c:v>22.97</c:v>
                </c:pt>
                <c:pt idx="2080">
                  <c:v>22.599997999999999</c:v>
                </c:pt>
                <c:pt idx="2081">
                  <c:v>22.57</c:v>
                </c:pt>
                <c:pt idx="2082">
                  <c:v>22.989998</c:v>
                </c:pt>
                <c:pt idx="2083">
                  <c:v>23.21</c:v>
                </c:pt>
                <c:pt idx="2084">
                  <c:v>23.9</c:v>
                </c:pt>
                <c:pt idx="2085">
                  <c:v>24.43</c:v>
                </c:pt>
                <c:pt idx="2086">
                  <c:v>24.24</c:v>
                </c:pt>
                <c:pt idx="2087">
                  <c:v>24.669998</c:v>
                </c:pt>
                <c:pt idx="2088">
                  <c:v>25.82</c:v>
                </c:pt>
                <c:pt idx="2089">
                  <c:v>24.93</c:v>
                </c:pt>
                <c:pt idx="2090">
                  <c:v>24.300001000000002</c:v>
                </c:pt>
                <c:pt idx="2091">
                  <c:v>24.25</c:v>
                </c:pt>
                <c:pt idx="2092">
                  <c:v>24.220001</c:v>
                </c:pt>
                <c:pt idx="2093">
                  <c:v>23.85</c:v>
                </c:pt>
                <c:pt idx="2094">
                  <c:v>23.46</c:v>
                </c:pt>
                <c:pt idx="2095">
                  <c:v>23.529999</c:v>
                </c:pt>
                <c:pt idx="2096">
                  <c:v>22.989998</c:v>
                </c:pt>
                <c:pt idx="2097">
                  <c:v>22.789999000000002</c:v>
                </c:pt>
                <c:pt idx="2098">
                  <c:v>22.83</c:v>
                </c:pt>
                <c:pt idx="2099">
                  <c:v>22.23</c:v>
                </c:pt>
                <c:pt idx="2100">
                  <c:v>22.289999000000002</c:v>
                </c:pt>
                <c:pt idx="2101">
                  <c:v>22.449998999999998</c:v>
                </c:pt>
                <c:pt idx="2102">
                  <c:v>22.109998999999998</c:v>
                </c:pt>
                <c:pt idx="2103">
                  <c:v>22.199998999999998</c:v>
                </c:pt>
                <c:pt idx="2104">
                  <c:v>22.35</c:v>
                </c:pt>
                <c:pt idx="2105">
                  <c:v>22.22</c:v>
                </c:pt>
                <c:pt idx="2106">
                  <c:v>21.39</c:v>
                </c:pt>
                <c:pt idx="2107">
                  <c:v>21.08</c:v>
                </c:pt>
                <c:pt idx="2108">
                  <c:v>21.21</c:v>
                </c:pt>
                <c:pt idx="2109">
                  <c:v>148.19999999999999</c:v>
                </c:pt>
              </c:numCache>
            </c:numRef>
          </c:val>
          <c:smooth val="0"/>
          <c:extLst>
            <c:ext xmlns:c16="http://schemas.microsoft.com/office/drawing/2014/chart" uri="{C3380CC4-5D6E-409C-BE32-E72D297353CC}">
              <c16:uniqueId val="{00000000-39F2-104F-8D1D-22D1266C2E0E}"/>
            </c:ext>
          </c:extLst>
        </c:ser>
        <c:ser>
          <c:idx val="1"/>
          <c:order val="1"/>
          <c:tx>
            <c:strRef>
              <c:f>Sheet1!$C$1</c:f>
              <c:strCache>
                <c:ptCount val="1"/>
                <c:pt idx="0">
                  <c:v>Prediction</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14.537283</c:v>
                </c:pt>
                <c:pt idx="1">
                  <c:v>15.291124</c:v>
                </c:pt>
                <c:pt idx="2">
                  <c:v>14.698055</c:v>
                </c:pt>
                <c:pt idx="3">
                  <c:v>14.606634</c:v>
                </c:pt>
                <c:pt idx="4">
                  <c:v>14.690144999999999</c:v>
                </c:pt>
                <c:pt idx="5">
                  <c:v>14.557596999999999</c:v>
                </c:pt>
                <c:pt idx="6">
                  <c:v>14.402514999999999</c:v>
                </c:pt>
                <c:pt idx="7">
                  <c:v>14.361514</c:v>
                </c:pt>
                <c:pt idx="8">
                  <c:v>14.443555999999999</c:v>
                </c:pt>
                <c:pt idx="9">
                  <c:v>14.433704000000001</c:v>
                </c:pt>
                <c:pt idx="10">
                  <c:v>14.410104</c:v>
                </c:pt>
                <c:pt idx="11">
                  <c:v>14.477143999999999</c:v>
                </c:pt>
                <c:pt idx="12">
                  <c:v>14.540095000000001</c:v>
                </c:pt>
                <c:pt idx="13">
                  <c:v>14.594108</c:v>
                </c:pt>
                <c:pt idx="14">
                  <c:v>14.81244</c:v>
                </c:pt>
                <c:pt idx="15">
                  <c:v>14.715058000000001</c:v>
                </c:pt>
                <c:pt idx="16">
                  <c:v>14.815310500000001</c:v>
                </c:pt>
                <c:pt idx="17">
                  <c:v>14.755834999999999</c:v>
                </c:pt>
                <c:pt idx="18">
                  <c:v>14.847348</c:v>
                </c:pt>
                <c:pt idx="19">
                  <c:v>14.956567</c:v>
                </c:pt>
                <c:pt idx="20">
                  <c:v>14.917899999999999</c:v>
                </c:pt>
                <c:pt idx="21">
                  <c:v>15.233973000000001</c:v>
                </c:pt>
                <c:pt idx="22">
                  <c:v>14.868506999999999</c:v>
                </c:pt>
                <c:pt idx="23">
                  <c:v>15.034179</c:v>
                </c:pt>
                <c:pt idx="24">
                  <c:v>15.045591999999999</c:v>
                </c:pt>
                <c:pt idx="25">
                  <c:v>15.01385</c:v>
                </c:pt>
                <c:pt idx="26">
                  <c:v>14.989744999999999</c:v>
                </c:pt>
                <c:pt idx="27">
                  <c:v>14.985830999999999</c:v>
                </c:pt>
                <c:pt idx="28">
                  <c:v>14.997916999999999</c:v>
                </c:pt>
                <c:pt idx="29">
                  <c:v>14.987769999999999</c:v>
                </c:pt>
                <c:pt idx="30">
                  <c:v>15.123687</c:v>
                </c:pt>
                <c:pt idx="31">
                  <c:v>15.047466</c:v>
                </c:pt>
                <c:pt idx="32">
                  <c:v>15.379348999999999</c:v>
                </c:pt>
                <c:pt idx="33">
                  <c:v>15.331984</c:v>
                </c:pt>
                <c:pt idx="34">
                  <c:v>15.068114</c:v>
                </c:pt>
                <c:pt idx="35">
                  <c:v>15.055939</c:v>
                </c:pt>
                <c:pt idx="36">
                  <c:v>15.059405999999999</c:v>
                </c:pt>
                <c:pt idx="37">
                  <c:v>15.127094</c:v>
                </c:pt>
                <c:pt idx="38">
                  <c:v>15.214905999999999</c:v>
                </c:pt>
                <c:pt idx="39">
                  <c:v>15.339873000000001</c:v>
                </c:pt>
                <c:pt idx="40">
                  <c:v>15.344711</c:v>
                </c:pt>
                <c:pt idx="41">
                  <c:v>15.307245999999999</c:v>
                </c:pt>
                <c:pt idx="42">
                  <c:v>15.479412</c:v>
                </c:pt>
                <c:pt idx="43">
                  <c:v>15.280597999999999</c:v>
                </c:pt>
                <c:pt idx="44">
                  <c:v>15.241002999999999</c:v>
                </c:pt>
                <c:pt idx="45">
                  <c:v>15.1987095</c:v>
                </c:pt>
                <c:pt idx="46">
                  <c:v>15.323256499999999</c:v>
                </c:pt>
                <c:pt idx="47">
                  <c:v>15.476703000000001</c:v>
                </c:pt>
                <c:pt idx="48">
                  <c:v>15.320285999999999</c:v>
                </c:pt>
                <c:pt idx="49">
                  <c:v>15.362171</c:v>
                </c:pt>
                <c:pt idx="50">
                  <c:v>15.437594000000001</c:v>
                </c:pt>
                <c:pt idx="51">
                  <c:v>15.461145</c:v>
                </c:pt>
                <c:pt idx="52">
                  <c:v>15.475977</c:v>
                </c:pt>
                <c:pt idx="53">
                  <c:v>15.505057000000001</c:v>
                </c:pt>
                <c:pt idx="54">
                  <c:v>15.580577999999999</c:v>
                </c:pt>
                <c:pt idx="55">
                  <c:v>15.739941999999999</c:v>
                </c:pt>
                <c:pt idx="56">
                  <c:v>15.759537</c:v>
                </c:pt>
                <c:pt idx="57">
                  <c:v>15.8522835</c:v>
                </c:pt>
                <c:pt idx="58">
                  <c:v>16.058167000000001</c:v>
                </c:pt>
                <c:pt idx="59">
                  <c:v>16.106247</c:v>
                </c:pt>
                <c:pt idx="60">
                  <c:v>16.145636</c:v>
                </c:pt>
                <c:pt idx="61">
                  <c:v>16.225944999999999</c:v>
                </c:pt>
                <c:pt idx="62">
                  <c:v>16.424081999999999</c:v>
                </c:pt>
                <c:pt idx="63">
                  <c:v>16.644480000000001</c:v>
                </c:pt>
                <c:pt idx="64">
                  <c:v>16.656668</c:v>
                </c:pt>
                <c:pt idx="65">
                  <c:v>16.832909999999998</c:v>
                </c:pt>
                <c:pt idx="66">
                  <c:v>16.906233</c:v>
                </c:pt>
                <c:pt idx="67">
                  <c:v>17.105437999999999</c:v>
                </c:pt>
                <c:pt idx="68">
                  <c:v>17.085978000000001</c:v>
                </c:pt>
                <c:pt idx="69">
                  <c:v>17.067996999999998</c:v>
                </c:pt>
                <c:pt idx="70">
                  <c:v>17.015574999999998</c:v>
                </c:pt>
                <c:pt idx="71">
                  <c:v>17.11037</c:v>
                </c:pt>
                <c:pt idx="72">
                  <c:v>17.109701000000001</c:v>
                </c:pt>
                <c:pt idx="73">
                  <c:v>17.161695000000002</c:v>
                </c:pt>
                <c:pt idx="74">
                  <c:v>17.073452</c:v>
                </c:pt>
                <c:pt idx="75">
                  <c:v>17.126455</c:v>
                </c:pt>
                <c:pt idx="76">
                  <c:v>17.047070999999999</c:v>
                </c:pt>
                <c:pt idx="77">
                  <c:v>17.069269999999999</c:v>
                </c:pt>
                <c:pt idx="78">
                  <c:v>17.0412</c:v>
                </c:pt>
                <c:pt idx="79">
                  <c:v>16.883873000000001</c:v>
                </c:pt>
                <c:pt idx="80">
                  <c:v>16.926860000000001</c:v>
                </c:pt>
                <c:pt idx="81">
                  <c:v>16.863298</c:v>
                </c:pt>
                <c:pt idx="82">
                  <c:v>16.764399999999998</c:v>
                </c:pt>
                <c:pt idx="83">
                  <c:v>16.868068999999998</c:v>
                </c:pt>
                <c:pt idx="84">
                  <c:v>16.773243000000001</c:v>
                </c:pt>
                <c:pt idx="85">
                  <c:v>16.836628000000001</c:v>
                </c:pt>
                <c:pt idx="86">
                  <c:v>16.963909999999998</c:v>
                </c:pt>
                <c:pt idx="87">
                  <c:v>16.861418</c:v>
                </c:pt>
                <c:pt idx="88">
                  <c:v>16.702185</c:v>
                </c:pt>
                <c:pt idx="89">
                  <c:v>16.612545000000001</c:v>
                </c:pt>
                <c:pt idx="90">
                  <c:v>16.417831</c:v>
                </c:pt>
                <c:pt idx="91">
                  <c:v>16.269825000000001</c:v>
                </c:pt>
                <c:pt idx="92">
                  <c:v>16.283794</c:v>
                </c:pt>
                <c:pt idx="93">
                  <c:v>16.318014000000002</c:v>
                </c:pt>
                <c:pt idx="94">
                  <c:v>16.379273999999999</c:v>
                </c:pt>
                <c:pt idx="95">
                  <c:v>16.337530000000001</c:v>
                </c:pt>
                <c:pt idx="96">
                  <c:v>16.323063000000001</c:v>
                </c:pt>
                <c:pt idx="97">
                  <c:v>16.304483000000001</c:v>
                </c:pt>
                <c:pt idx="98">
                  <c:v>16.392396999999999</c:v>
                </c:pt>
                <c:pt idx="99">
                  <c:v>16.497185000000002</c:v>
                </c:pt>
                <c:pt idx="100">
                  <c:v>16.654033999999999</c:v>
                </c:pt>
                <c:pt idx="101">
                  <c:v>16.745531</c:v>
                </c:pt>
                <c:pt idx="102">
                  <c:v>16.906829999999999</c:v>
                </c:pt>
                <c:pt idx="103">
                  <c:v>17.087741999999999</c:v>
                </c:pt>
                <c:pt idx="104">
                  <c:v>17.223648000000001</c:v>
                </c:pt>
                <c:pt idx="105">
                  <c:v>17.336690000000001</c:v>
                </c:pt>
                <c:pt idx="106">
                  <c:v>17.506338</c:v>
                </c:pt>
                <c:pt idx="107">
                  <c:v>17.694464</c:v>
                </c:pt>
                <c:pt idx="108">
                  <c:v>17.736443999999999</c:v>
                </c:pt>
                <c:pt idx="109">
                  <c:v>17.879543000000002</c:v>
                </c:pt>
                <c:pt idx="110">
                  <c:v>17.977913000000001</c:v>
                </c:pt>
                <c:pt idx="111">
                  <c:v>18.134370000000001</c:v>
                </c:pt>
                <c:pt idx="112">
                  <c:v>18.162182000000001</c:v>
                </c:pt>
                <c:pt idx="113">
                  <c:v>18.16751</c:v>
                </c:pt>
                <c:pt idx="114">
                  <c:v>18.150627</c:v>
                </c:pt>
                <c:pt idx="115">
                  <c:v>18.168272000000002</c:v>
                </c:pt>
                <c:pt idx="116">
                  <c:v>18.255201</c:v>
                </c:pt>
                <c:pt idx="117">
                  <c:v>18.356632000000001</c:v>
                </c:pt>
                <c:pt idx="118">
                  <c:v>18.465418</c:v>
                </c:pt>
                <c:pt idx="119">
                  <c:v>18.508216999999998</c:v>
                </c:pt>
                <c:pt idx="120">
                  <c:v>18.537179999999999</c:v>
                </c:pt>
                <c:pt idx="121">
                  <c:v>18.568249000000002</c:v>
                </c:pt>
                <c:pt idx="122">
                  <c:v>18.626574999999999</c:v>
                </c:pt>
                <c:pt idx="123">
                  <c:v>18.644089999999998</c:v>
                </c:pt>
                <c:pt idx="124">
                  <c:v>18.655470000000001</c:v>
                </c:pt>
                <c:pt idx="125">
                  <c:v>20.393888</c:v>
                </c:pt>
                <c:pt idx="126">
                  <c:v>18.801088</c:v>
                </c:pt>
                <c:pt idx="127">
                  <c:v>18.142022999999998</c:v>
                </c:pt>
                <c:pt idx="128">
                  <c:v>17.991219000000001</c:v>
                </c:pt>
                <c:pt idx="129">
                  <c:v>17.800373</c:v>
                </c:pt>
                <c:pt idx="130">
                  <c:v>17.756392999999999</c:v>
                </c:pt>
                <c:pt idx="131">
                  <c:v>17.614424</c:v>
                </c:pt>
                <c:pt idx="132">
                  <c:v>17.636263</c:v>
                </c:pt>
                <c:pt idx="133">
                  <c:v>17.615376000000001</c:v>
                </c:pt>
                <c:pt idx="134">
                  <c:v>17.614695000000001</c:v>
                </c:pt>
                <c:pt idx="135">
                  <c:v>17.533664999999999</c:v>
                </c:pt>
                <c:pt idx="136">
                  <c:v>17.390615</c:v>
                </c:pt>
                <c:pt idx="137">
                  <c:v>17.427745999999999</c:v>
                </c:pt>
                <c:pt idx="138">
                  <c:v>17.333494000000002</c:v>
                </c:pt>
                <c:pt idx="139">
                  <c:v>17.225203</c:v>
                </c:pt>
                <c:pt idx="140">
                  <c:v>17.283804</c:v>
                </c:pt>
                <c:pt idx="141">
                  <c:v>17.295864000000002</c:v>
                </c:pt>
                <c:pt idx="142">
                  <c:v>17.347795000000001</c:v>
                </c:pt>
                <c:pt idx="143">
                  <c:v>17.470547</c:v>
                </c:pt>
                <c:pt idx="144">
                  <c:v>17.611809999999998</c:v>
                </c:pt>
                <c:pt idx="145">
                  <c:v>17.740364</c:v>
                </c:pt>
                <c:pt idx="146">
                  <c:v>17.747482000000002</c:v>
                </c:pt>
                <c:pt idx="147">
                  <c:v>17.824406</c:v>
                </c:pt>
                <c:pt idx="148">
                  <c:v>18.012445</c:v>
                </c:pt>
                <c:pt idx="149">
                  <c:v>18.134444999999999</c:v>
                </c:pt>
                <c:pt idx="150">
                  <c:v>18.328496999999999</c:v>
                </c:pt>
                <c:pt idx="151">
                  <c:v>18.496151000000001</c:v>
                </c:pt>
                <c:pt idx="152">
                  <c:v>18.562332000000001</c:v>
                </c:pt>
                <c:pt idx="153">
                  <c:v>18.569279999999999</c:v>
                </c:pt>
                <c:pt idx="154">
                  <c:v>18.613430000000001</c:v>
                </c:pt>
                <c:pt idx="155">
                  <c:v>18.641098</c:v>
                </c:pt>
                <c:pt idx="156">
                  <c:v>18.714175999999998</c:v>
                </c:pt>
                <c:pt idx="157">
                  <c:v>18.728956</c:v>
                </c:pt>
                <c:pt idx="158">
                  <c:v>18.671299000000001</c:v>
                </c:pt>
                <c:pt idx="159">
                  <c:v>18.762530999999999</c:v>
                </c:pt>
                <c:pt idx="160">
                  <c:v>18.723585</c:v>
                </c:pt>
                <c:pt idx="161">
                  <c:v>18.671531999999999</c:v>
                </c:pt>
                <c:pt idx="162">
                  <c:v>18.648357000000001</c:v>
                </c:pt>
                <c:pt idx="163">
                  <c:v>18.509027</c:v>
                </c:pt>
                <c:pt idx="164">
                  <c:v>18.344024999999998</c:v>
                </c:pt>
                <c:pt idx="165">
                  <c:v>18.228407000000001</c:v>
                </c:pt>
                <c:pt idx="166">
                  <c:v>18.365252999999999</c:v>
                </c:pt>
                <c:pt idx="167">
                  <c:v>18.523634000000001</c:v>
                </c:pt>
                <c:pt idx="168">
                  <c:v>18.690147</c:v>
                </c:pt>
                <c:pt idx="169">
                  <c:v>18.754812000000001</c:v>
                </c:pt>
                <c:pt idx="170">
                  <c:v>18.980803999999999</c:v>
                </c:pt>
                <c:pt idx="171">
                  <c:v>19.233467000000001</c:v>
                </c:pt>
                <c:pt idx="172">
                  <c:v>19.494116000000002</c:v>
                </c:pt>
                <c:pt idx="173">
                  <c:v>19.710668999999999</c:v>
                </c:pt>
                <c:pt idx="174">
                  <c:v>20.032253000000001</c:v>
                </c:pt>
                <c:pt idx="175">
                  <c:v>20.201301999999998</c:v>
                </c:pt>
                <c:pt idx="176">
                  <c:v>20.414621</c:v>
                </c:pt>
                <c:pt idx="177">
                  <c:v>20.558959999999999</c:v>
                </c:pt>
                <c:pt idx="178">
                  <c:v>20.648577</c:v>
                </c:pt>
                <c:pt idx="179">
                  <c:v>20.892931000000001</c:v>
                </c:pt>
                <c:pt idx="180">
                  <c:v>21.069984000000002</c:v>
                </c:pt>
                <c:pt idx="181">
                  <c:v>21.006098000000001</c:v>
                </c:pt>
                <c:pt idx="182">
                  <c:v>21.128966999999999</c:v>
                </c:pt>
                <c:pt idx="183">
                  <c:v>21.367037</c:v>
                </c:pt>
                <c:pt idx="184">
                  <c:v>21.219567999999999</c:v>
                </c:pt>
                <c:pt idx="185">
                  <c:v>21.374677999999999</c:v>
                </c:pt>
                <c:pt idx="186">
                  <c:v>21.294551999999999</c:v>
                </c:pt>
                <c:pt idx="187">
                  <c:v>21.502383999999999</c:v>
                </c:pt>
                <c:pt idx="188">
                  <c:v>21.64264</c:v>
                </c:pt>
                <c:pt idx="189">
                  <c:v>22.168177</c:v>
                </c:pt>
                <c:pt idx="190">
                  <c:v>21.884409999999999</c:v>
                </c:pt>
                <c:pt idx="191">
                  <c:v>22.068353999999999</c:v>
                </c:pt>
                <c:pt idx="192">
                  <c:v>22.501138999999998</c:v>
                </c:pt>
                <c:pt idx="193">
                  <c:v>22.895689999999998</c:v>
                </c:pt>
                <c:pt idx="194">
                  <c:v>23.456302999999998</c:v>
                </c:pt>
                <c:pt idx="195">
                  <c:v>23.872976000000001</c:v>
                </c:pt>
                <c:pt idx="196">
                  <c:v>24.371867999999999</c:v>
                </c:pt>
                <c:pt idx="197">
                  <c:v>24.907982000000001</c:v>
                </c:pt>
                <c:pt idx="198">
                  <c:v>25.307431999999999</c:v>
                </c:pt>
                <c:pt idx="199">
                  <c:v>25.678076000000001</c:v>
                </c:pt>
                <c:pt idx="200">
                  <c:v>25.875015000000001</c:v>
                </c:pt>
                <c:pt idx="201">
                  <c:v>26.057417000000001</c:v>
                </c:pt>
                <c:pt idx="202">
                  <c:v>26.204049999999999</c:v>
                </c:pt>
                <c:pt idx="203">
                  <c:v>26.006187000000001</c:v>
                </c:pt>
                <c:pt idx="204">
                  <c:v>25.806725</c:v>
                </c:pt>
                <c:pt idx="205">
                  <c:v>25.449342999999999</c:v>
                </c:pt>
                <c:pt idx="206">
                  <c:v>25.226465000000001</c:v>
                </c:pt>
                <c:pt idx="207">
                  <c:v>25.058937</c:v>
                </c:pt>
                <c:pt idx="208">
                  <c:v>24.251321999999998</c:v>
                </c:pt>
                <c:pt idx="209">
                  <c:v>23.875315000000001</c:v>
                </c:pt>
                <c:pt idx="210">
                  <c:v>23.382679</c:v>
                </c:pt>
                <c:pt idx="211">
                  <c:v>23.025369999999999</c:v>
                </c:pt>
                <c:pt idx="212">
                  <c:v>22.950873999999999</c:v>
                </c:pt>
                <c:pt idx="213">
                  <c:v>23.233485999999999</c:v>
                </c:pt>
                <c:pt idx="214">
                  <c:v>23.366129000000001</c:v>
                </c:pt>
                <c:pt idx="215">
                  <c:v>23.576084000000002</c:v>
                </c:pt>
                <c:pt idx="216">
                  <c:v>23.868814</c:v>
                </c:pt>
                <c:pt idx="217">
                  <c:v>24.315190999999999</c:v>
                </c:pt>
                <c:pt idx="218">
                  <c:v>24.45356</c:v>
                </c:pt>
                <c:pt idx="219">
                  <c:v>26.440360999999999</c:v>
                </c:pt>
                <c:pt idx="220">
                  <c:v>27.533263999999999</c:v>
                </c:pt>
                <c:pt idx="221">
                  <c:v>28.038889999999999</c:v>
                </c:pt>
                <c:pt idx="222">
                  <c:v>28.829552</c:v>
                </c:pt>
                <c:pt idx="223">
                  <c:v>29.143818</c:v>
                </c:pt>
                <c:pt idx="224">
                  <c:v>29.613281000000001</c:v>
                </c:pt>
                <c:pt idx="225">
                  <c:v>29.726976000000001</c:v>
                </c:pt>
                <c:pt idx="226">
                  <c:v>29.832594</c:v>
                </c:pt>
                <c:pt idx="227">
                  <c:v>30.036434</c:v>
                </c:pt>
                <c:pt idx="228">
                  <c:v>29.708931</c:v>
                </c:pt>
                <c:pt idx="229">
                  <c:v>29.514220999999999</c:v>
                </c:pt>
                <c:pt idx="230">
                  <c:v>29.502275000000001</c:v>
                </c:pt>
                <c:pt idx="231">
                  <c:v>28.964265999999999</c:v>
                </c:pt>
                <c:pt idx="232">
                  <c:v>28.746787999999999</c:v>
                </c:pt>
                <c:pt idx="233">
                  <c:v>29.266332999999999</c:v>
                </c:pt>
                <c:pt idx="234">
                  <c:v>29.425298999999999</c:v>
                </c:pt>
                <c:pt idx="235">
                  <c:v>31.873443999999999</c:v>
                </c:pt>
                <c:pt idx="236">
                  <c:v>35.158526999999999</c:v>
                </c:pt>
                <c:pt idx="237">
                  <c:v>36.153170000000003</c:v>
                </c:pt>
                <c:pt idx="238">
                  <c:v>35.222909999999999</c:v>
                </c:pt>
                <c:pt idx="239">
                  <c:v>34.315944999999999</c:v>
                </c:pt>
                <c:pt idx="240">
                  <c:v>33.699505000000002</c:v>
                </c:pt>
                <c:pt idx="241">
                  <c:v>32.923789999999997</c:v>
                </c:pt>
                <c:pt idx="242">
                  <c:v>32.663620000000002</c:v>
                </c:pt>
                <c:pt idx="243">
                  <c:v>32.431362</c:v>
                </c:pt>
                <c:pt idx="244">
                  <c:v>31.574656999999998</c:v>
                </c:pt>
                <c:pt idx="245">
                  <c:v>31.031790000000001</c:v>
                </c:pt>
                <c:pt idx="246">
                  <c:v>30.516970000000001</c:v>
                </c:pt>
                <c:pt idx="247">
                  <c:v>30.256329999999998</c:v>
                </c:pt>
                <c:pt idx="248">
                  <c:v>30.255203000000002</c:v>
                </c:pt>
                <c:pt idx="249">
                  <c:v>30.344704</c:v>
                </c:pt>
                <c:pt idx="250">
                  <c:v>30.71968</c:v>
                </c:pt>
                <c:pt idx="251">
                  <c:v>31.116844</c:v>
                </c:pt>
                <c:pt idx="252">
                  <c:v>31.652225000000001</c:v>
                </c:pt>
                <c:pt idx="253">
                  <c:v>32.281880000000001</c:v>
                </c:pt>
                <c:pt idx="254">
                  <c:v>33.050423000000002</c:v>
                </c:pt>
                <c:pt idx="255">
                  <c:v>33.500169999999997</c:v>
                </c:pt>
                <c:pt idx="256">
                  <c:v>33.888817000000003</c:v>
                </c:pt>
                <c:pt idx="257">
                  <c:v>34.396999999999998</c:v>
                </c:pt>
                <c:pt idx="258">
                  <c:v>35.603572999999997</c:v>
                </c:pt>
                <c:pt idx="259">
                  <c:v>35.889290000000003</c:v>
                </c:pt>
                <c:pt idx="260">
                  <c:v>35.811638000000002</c:v>
                </c:pt>
                <c:pt idx="261">
                  <c:v>35.822636000000003</c:v>
                </c:pt>
                <c:pt idx="262">
                  <c:v>35.921480000000003</c:v>
                </c:pt>
                <c:pt idx="263">
                  <c:v>35.144165000000001</c:v>
                </c:pt>
                <c:pt idx="264">
                  <c:v>36.178412999999999</c:v>
                </c:pt>
                <c:pt idx="265">
                  <c:v>36.613247000000001</c:v>
                </c:pt>
                <c:pt idx="266">
                  <c:v>36.769579999999998</c:v>
                </c:pt>
                <c:pt idx="267">
                  <c:v>37.669753999999998</c:v>
                </c:pt>
                <c:pt idx="268">
                  <c:v>38.554234000000001</c:v>
                </c:pt>
                <c:pt idx="269">
                  <c:v>38.612465</c:v>
                </c:pt>
                <c:pt idx="270">
                  <c:v>37.670850000000002</c:v>
                </c:pt>
                <c:pt idx="271">
                  <c:v>36.53192</c:v>
                </c:pt>
                <c:pt idx="272">
                  <c:v>36.029110000000003</c:v>
                </c:pt>
                <c:pt idx="273">
                  <c:v>35.894460000000002</c:v>
                </c:pt>
                <c:pt idx="274">
                  <c:v>36.044764999999998</c:v>
                </c:pt>
                <c:pt idx="275">
                  <c:v>36.080672999999997</c:v>
                </c:pt>
                <c:pt idx="276">
                  <c:v>36.149372</c:v>
                </c:pt>
                <c:pt idx="277">
                  <c:v>36.026919999999997</c:v>
                </c:pt>
                <c:pt idx="278">
                  <c:v>35.977795</c:v>
                </c:pt>
                <c:pt idx="279">
                  <c:v>35.957915999999997</c:v>
                </c:pt>
                <c:pt idx="280">
                  <c:v>35.860022999999998</c:v>
                </c:pt>
                <c:pt idx="281">
                  <c:v>35.707934999999999</c:v>
                </c:pt>
                <c:pt idx="282">
                  <c:v>35.747233999999999</c:v>
                </c:pt>
                <c:pt idx="283">
                  <c:v>35.920529999999999</c:v>
                </c:pt>
                <c:pt idx="284">
                  <c:v>36.166609999999999</c:v>
                </c:pt>
                <c:pt idx="285">
                  <c:v>36.402645</c:v>
                </c:pt>
                <c:pt idx="286">
                  <c:v>36.643177000000001</c:v>
                </c:pt>
                <c:pt idx="287">
                  <c:v>36.484439999999999</c:v>
                </c:pt>
                <c:pt idx="288">
                  <c:v>36.073430000000002</c:v>
                </c:pt>
                <c:pt idx="289">
                  <c:v>35.759079999999997</c:v>
                </c:pt>
                <c:pt idx="290">
                  <c:v>35.892029999999998</c:v>
                </c:pt>
                <c:pt idx="291">
                  <c:v>35.502505999999997</c:v>
                </c:pt>
                <c:pt idx="292">
                  <c:v>35.040035000000003</c:v>
                </c:pt>
                <c:pt idx="293">
                  <c:v>34.911459999999998</c:v>
                </c:pt>
                <c:pt idx="294">
                  <c:v>34.943114999999999</c:v>
                </c:pt>
                <c:pt idx="295">
                  <c:v>35.225914000000003</c:v>
                </c:pt>
                <c:pt idx="296">
                  <c:v>35.681873000000003</c:v>
                </c:pt>
                <c:pt idx="297">
                  <c:v>36.217475999999998</c:v>
                </c:pt>
                <c:pt idx="298">
                  <c:v>36.661540000000002</c:v>
                </c:pt>
                <c:pt idx="299">
                  <c:v>36.762782999999999</c:v>
                </c:pt>
                <c:pt idx="300">
                  <c:v>36.692770000000003</c:v>
                </c:pt>
                <c:pt idx="301">
                  <c:v>36.68965</c:v>
                </c:pt>
                <c:pt idx="302">
                  <c:v>36.642727000000001</c:v>
                </c:pt>
                <c:pt idx="303">
                  <c:v>36.77948</c:v>
                </c:pt>
                <c:pt idx="304">
                  <c:v>36.950159999999997</c:v>
                </c:pt>
                <c:pt idx="305">
                  <c:v>36.929122999999997</c:v>
                </c:pt>
                <c:pt idx="306">
                  <c:v>36.932372999999998</c:v>
                </c:pt>
                <c:pt idx="307">
                  <c:v>36.921824999999998</c:v>
                </c:pt>
                <c:pt idx="308">
                  <c:v>36.599060000000001</c:v>
                </c:pt>
                <c:pt idx="309">
                  <c:v>36.501779999999997</c:v>
                </c:pt>
                <c:pt idx="310">
                  <c:v>36.309708000000001</c:v>
                </c:pt>
                <c:pt idx="311">
                  <c:v>36.323005999999999</c:v>
                </c:pt>
                <c:pt idx="312">
                  <c:v>36.509453000000001</c:v>
                </c:pt>
                <c:pt idx="313">
                  <c:v>36.74924</c:v>
                </c:pt>
                <c:pt idx="314">
                  <c:v>36.801144000000001</c:v>
                </c:pt>
                <c:pt idx="315">
                  <c:v>36.553809999999999</c:v>
                </c:pt>
                <c:pt idx="316">
                  <c:v>36.500810000000001</c:v>
                </c:pt>
                <c:pt idx="317">
                  <c:v>36.515770000000003</c:v>
                </c:pt>
                <c:pt idx="318">
                  <c:v>36.382950000000001</c:v>
                </c:pt>
                <c:pt idx="319">
                  <c:v>36.431399999999996</c:v>
                </c:pt>
                <c:pt idx="320">
                  <c:v>36.512535</c:v>
                </c:pt>
                <c:pt idx="321">
                  <c:v>36.601554999999998</c:v>
                </c:pt>
                <c:pt idx="322">
                  <c:v>36.820267000000001</c:v>
                </c:pt>
                <c:pt idx="323">
                  <c:v>36.932609999999997</c:v>
                </c:pt>
                <c:pt idx="324">
                  <c:v>37.159996</c:v>
                </c:pt>
                <c:pt idx="325">
                  <c:v>37.284813</c:v>
                </c:pt>
                <c:pt idx="326">
                  <c:v>37.485455000000002</c:v>
                </c:pt>
                <c:pt idx="327">
                  <c:v>37.579773000000003</c:v>
                </c:pt>
                <c:pt idx="328">
                  <c:v>37.617400000000004</c:v>
                </c:pt>
                <c:pt idx="329">
                  <c:v>37.842896000000003</c:v>
                </c:pt>
                <c:pt idx="330">
                  <c:v>37.975197000000001</c:v>
                </c:pt>
                <c:pt idx="331">
                  <c:v>38.168697000000002</c:v>
                </c:pt>
                <c:pt idx="332">
                  <c:v>38.312812999999998</c:v>
                </c:pt>
                <c:pt idx="333">
                  <c:v>38.18768</c:v>
                </c:pt>
                <c:pt idx="334">
                  <c:v>37.701309999999999</c:v>
                </c:pt>
                <c:pt idx="335">
                  <c:v>38.053406000000003</c:v>
                </c:pt>
                <c:pt idx="336">
                  <c:v>38.248004999999999</c:v>
                </c:pt>
                <c:pt idx="337">
                  <c:v>38.455173000000002</c:v>
                </c:pt>
                <c:pt idx="338">
                  <c:v>38.762714000000003</c:v>
                </c:pt>
                <c:pt idx="339">
                  <c:v>38.918129999999998</c:v>
                </c:pt>
                <c:pt idx="340">
                  <c:v>38.650795000000002</c:v>
                </c:pt>
                <c:pt idx="341">
                  <c:v>39.190052000000001</c:v>
                </c:pt>
                <c:pt idx="342">
                  <c:v>39.448368000000002</c:v>
                </c:pt>
                <c:pt idx="343">
                  <c:v>39.707465999999997</c:v>
                </c:pt>
                <c:pt idx="344">
                  <c:v>39.730595000000001</c:v>
                </c:pt>
                <c:pt idx="345">
                  <c:v>39.252116999999998</c:v>
                </c:pt>
                <c:pt idx="346">
                  <c:v>39.835976000000002</c:v>
                </c:pt>
                <c:pt idx="347">
                  <c:v>40.212128</c:v>
                </c:pt>
                <c:pt idx="348">
                  <c:v>40.206577000000003</c:v>
                </c:pt>
                <c:pt idx="349">
                  <c:v>40.656585999999997</c:v>
                </c:pt>
                <c:pt idx="350">
                  <c:v>40.566160000000004</c:v>
                </c:pt>
                <c:pt idx="351">
                  <c:v>40.163969999999999</c:v>
                </c:pt>
                <c:pt idx="352">
                  <c:v>40.316029999999998</c:v>
                </c:pt>
                <c:pt idx="353">
                  <c:v>40.462139999999998</c:v>
                </c:pt>
                <c:pt idx="354">
                  <c:v>40.569206000000001</c:v>
                </c:pt>
                <c:pt idx="355">
                  <c:v>40.608307000000003</c:v>
                </c:pt>
                <c:pt idx="356">
                  <c:v>40.540256999999997</c:v>
                </c:pt>
                <c:pt idx="357">
                  <c:v>40.660269999999997</c:v>
                </c:pt>
                <c:pt idx="358">
                  <c:v>40.299500000000002</c:v>
                </c:pt>
                <c:pt idx="359">
                  <c:v>40.824420000000003</c:v>
                </c:pt>
                <c:pt idx="360">
                  <c:v>41.098089999999999</c:v>
                </c:pt>
                <c:pt idx="361">
                  <c:v>41.467995000000002</c:v>
                </c:pt>
                <c:pt idx="362">
                  <c:v>41.981453000000002</c:v>
                </c:pt>
                <c:pt idx="363">
                  <c:v>42.154420000000002</c:v>
                </c:pt>
                <c:pt idx="364">
                  <c:v>40.756275000000002</c:v>
                </c:pt>
                <c:pt idx="365">
                  <c:v>40.928642000000004</c:v>
                </c:pt>
                <c:pt idx="366">
                  <c:v>41.223680000000002</c:v>
                </c:pt>
                <c:pt idx="367">
                  <c:v>41.438377000000003</c:v>
                </c:pt>
                <c:pt idx="368">
                  <c:v>41.090170000000001</c:v>
                </c:pt>
                <c:pt idx="369">
                  <c:v>40.827500000000001</c:v>
                </c:pt>
                <c:pt idx="370">
                  <c:v>38.614372000000003</c:v>
                </c:pt>
                <c:pt idx="371">
                  <c:v>38.051400000000001</c:v>
                </c:pt>
                <c:pt idx="372">
                  <c:v>37.792230000000004</c:v>
                </c:pt>
                <c:pt idx="373">
                  <c:v>37.508555999999999</c:v>
                </c:pt>
                <c:pt idx="374">
                  <c:v>37.497929999999997</c:v>
                </c:pt>
                <c:pt idx="375">
                  <c:v>37.340009999999999</c:v>
                </c:pt>
                <c:pt idx="376">
                  <c:v>37.592925999999999</c:v>
                </c:pt>
                <c:pt idx="377">
                  <c:v>37.884422000000001</c:v>
                </c:pt>
                <c:pt idx="378">
                  <c:v>37.963833000000001</c:v>
                </c:pt>
                <c:pt idx="379">
                  <c:v>38.098559999999999</c:v>
                </c:pt>
                <c:pt idx="380">
                  <c:v>38.294600000000003</c:v>
                </c:pt>
                <c:pt idx="381">
                  <c:v>38.55686</c:v>
                </c:pt>
                <c:pt idx="382">
                  <c:v>38.688319999999997</c:v>
                </c:pt>
                <c:pt idx="383">
                  <c:v>38.778109999999998</c:v>
                </c:pt>
                <c:pt idx="384">
                  <c:v>38.808619999999998</c:v>
                </c:pt>
                <c:pt idx="385">
                  <c:v>38.848509999999997</c:v>
                </c:pt>
                <c:pt idx="386">
                  <c:v>38.912170000000003</c:v>
                </c:pt>
                <c:pt idx="387">
                  <c:v>38.907004999999998</c:v>
                </c:pt>
                <c:pt idx="388">
                  <c:v>38.865119999999997</c:v>
                </c:pt>
                <c:pt idx="389">
                  <c:v>38.837048000000003</c:v>
                </c:pt>
                <c:pt idx="390">
                  <c:v>38.825232999999997</c:v>
                </c:pt>
                <c:pt idx="391">
                  <c:v>38.960022000000002</c:v>
                </c:pt>
                <c:pt idx="392">
                  <c:v>39.041595000000001</c:v>
                </c:pt>
                <c:pt idx="393">
                  <c:v>39.222427000000003</c:v>
                </c:pt>
                <c:pt idx="394">
                  <c:v>39.523575000000001</c:v>
                </c:pt>
                <c:pt idx="395">
                  <c:v>39.37565</c:v>
                </c:pt>
                <c:pt idx="396">
                  <c:v>39.502544</c:v>
                </c:pt>
                <c:pt idx="397">
                  <c:v>39.578887999999999</c:v>
                </c:pt>
                <c:pt idx="398">
                  <c:v>39.372123999999999</c:v>
                </c:pt>
                <c:pt idx="399">
                  <c:v>39.301085999999998</c:v>
                </c:pt>
                <c:pt idx="400">
                  <c:v>39.350616000000002</c:v>
                </c:pt>
                <c:pt idx="401">
                  <c:v>39.291466</c:v>
                </c:pt>
                <c:pt idx="402">
                  <c:v>39.315742</c:v>
                </c:pt>
                <c:pt idx="403">
                  <c:v>38.924778000000003</c:v>
                </c:pt>
                <c:pt idx="404">
                  <c:v>38.493465</c:v>
                </c:pt>
                <c:pt idx="405">
                  <c:v>38.172756</c:v>
                </c:pt>
                <c:pt idx="406">
                  <c:v>38.262462999999997</c:v>
                </c:pt>
                <c:pt idx="407">
                  <c:v>37.856566999999998</c:v>
                </c:pt>
                <c:pt idx="408">
                  <c:v>37.809063000000002</c:v>
                </c:pt>
                <c:pt idx="409">
                  <c:v>37.726264999999998</c:v>
                </c:pt>
                <c:pt idx="410">
                  <c:v>37.535426999999999</c:v>
                </c:pt>
                <c:pt idx="411">
                  <c:v>37.043182000000002</c:v>
                </c:pt>
                <c:pt idx="412">
                  <c:v>36.822090000000003</c:v>
                </c:pt>
                <c:pt idx="413">
                  <c:v>37.172665000000002</c:v>
                </c:pt>
                <c:pt idx="414">
                  <c:v>37.52026</c:v>
                </c:pt>
                <c:pt idx="415">
                  <c:v>37.499274999999997</c:v>
                </c:pt>
                <c:pt idx="416">
                  <c:v>37.614674000000001</c:v>
                </c:pt>
                <c:pt idx="417">
                  <c:v>37.391570000000002</c:v>
                </c:pt>
                <c:pt idx="418">
                  <c:v>36.913105000000002</c:v>
                </c:pt>
                <c:pt idx="419">
                  <c:v>36.243842999999998</c:v>
                </c:pt>
                <c:pt idx="420">
                  <c:v>35.948169999999998</c:v>
                </c:pt>
                <c:pt idx="421">
                  <c:v>35.346510000000002</c:v>
                </c:pt>
                <c:pt idx="422">
                  <c:v>35.139015000000001</c:v>
                </c:pt>
                <c:pt idx="423">
                  <c:v>35.649929999999998</c:v>
                </c:pt>
                <c:pt idx="424">
                  <c:v>36.556522000000001</c:v>
                </c:pt>
                <c:pt idx="425">
                  <c:v>37.500149999999998</c:v>
                </c:pt>
                <c:pt idx="426">
                  <c:v>38.370556000000001</c:v>
                </c:pt>
                <c:pt idx="427">
                  <c:v>38.928401999999998</c:v>
                </c:pt>
                <c:pt idx="428">
                  <c:v>40.106479999999998</c:v>
                </c:pt>
                <c:pt idx="429">
                  <c:v>41.118209999999998</c:v>
                </c:pt>
                <c:pt idx="430">
                  <c:v>42.04204</c:v>
                </c:pt>
                <c:pt idx="431">
                  <c:v>42.311573000000003</c:v>
                </c:pt>
                <c:pt idx="432">
                  <c:v>42.598739999999999</c:v>
                </c:pt>
                <c:pt idx="433">
                  <c:v>42.841589999999997</c:v>
                </c:pt>
                <c:pt idx="434">
                  <c:v>43.065040000000003</c:v>
                </c:pt>
                <c:pt idx="435">
                  <c:v>42.871322999999997</c:v>
                </c:pt>
                <c:pt idx="436">
                  <c:v>43.289679999999997</c:v>
                </c:pt>
                <c:pt idx="437">
                  <c:v>43.74286</c:v>
                </c:pt>
                <c:pt idx="438">
                  <c:v>44.499879999999997</c:v>
                </c:pt>
                <c:pt idx="439">
                  <c:v>45.267856999999999</c:v>
                </c:pt>
                <c:pt idx="440">
                  <c:v>46.076607000000003</c:v>
                </c:pt>
                <c:pt idx="441">
                  <c:v>46.376682000000002</c:v>
                </c:pt>
                <c:pt idx="442">
                  <c:v>46.28302</c:v>
                </c:pt>
                <c:pt idx="443">
                  <c:v>46.203270000000003</c:v>
                </c:pt>
                <c:pt idx="444">
                  <c:v>46.053350000000002</c:v>
                </c:pt>
                <c:pt idx="445">
                  <c:v>46.050727999999999</c:v>
                </c:pt>
                <c:pt idx="446">
                  <c:v>46.100304000000001</c:v>
                </c:pt>
                <c:pt idx="447">
                  <c:v>46.072777000000002</c:v>
                </c:pt>
                <c:pt idx="448">
                  <c:v>46.043616999999998</c:v>
                </c:pt>
                <c:pt idx="449">
                  <c:v>46.010962999999997</c:v>
                </c:pt>
                <c:pt idx="450">
                  <c:v>45.788739999999997</c:v>
                </c:pt>
                <c:pt idx="451">
                  <c:v>45.617072999999998</c:v>
                </c:pt>
                <c:pt idx="452">
                  <c:v>45.27854</c:v>
                </c:pt>
                <c:pt idx="453">
                  <c:v>45.129382999999997</c:v>
                </c:pt>
                <c:pt idx="454">
                  <c:v>45.180903999999998</c:v>
                </c:pt>
                <c:pt idx="455">
                  <c:v>45.306496000000003</c:v>
                </c:pt>
                <c:pt idx="456">
                  <c:v>45.130333</c:v>
                </c:pt>
                <c:pt idx="457">
                  <c:v>44.916637000000001</c:v>
                </c:pt>
                <c:pt idx="458">
                  <c:v>43.984046999999997</c:v>
                </c:pt>
                <c:pt idx="459">
                  <c:v>42.938225000000003</c:v>
                </c:pt>
                <c:pt idx="460">
                  <c:v>41.795966999999997</c:v>
                </c:pt>
                <c:pt idx="461">
                  <c:v>40.514248000000002</c:v>
                </c:pt>
                <c:pt idx="462">
                  <c:v>39.698073999999998</c:v>
                </c:pt>
                <c:pt idx="463">
                  <c:v>38.744984000000002</c:v>
                </c:pt>
                <c:pt idx="464">
                  <c:v>38.075904999999999</c:v>
                </c:pt>
                <c:pt idx="465">
                  <c:v>37.491579999999999</c:v>
                </c:pt>
                <c:pt idx="466">
                  <c:v>38.419254000000002</c:v>
                </c:pt>
                <c:pt idx="467">
                  <c:v>38.872818000000002</c:v>
                </c:pt>
                <c:pt idx="468">
                  <c:v>40.256034999999997</c:v>
                </c:pt>
                <c:pt idx="469">
                  <c:v>41.021884999999997</c:v>
                </c:pt>
                <c:pt idx="470">
                  <c:v>41.394511999999999</c:v>
                </c:pt>
                <c:pt idx="471">
                  <c:v>41.573410000000003</c:v>
                </c:pt>
                <c:pt idx="472">
                  <c:v>41.527729999999998</c:v>
                </c:pt>
                <c:pt idx="473">
                  <c:v>41.447426</c:v>
                </c:pt>
                <c:pt idx="474">
                  <c:v>41.046978000000003</c:v>
                </c:pt>
                <c:pt idx="475">
                  <c:v>40.694102999999998</c:v>
                </c:pt>
                <c:pt idx="476">
                  <c:v>39.99971</c:v>
                </c:pt>
                <c:pt idx="477">
                  <c:v>39.338923999999999</c:v>
                </c:pt>
                <c:pt idx="478">
                  <c:v>39.414112000000003</c:v>
                </c:pt>
                <c:pt idx="479">
                  <c:v>40.227623000000001</c:v>
                </c:pt>
                <c:pt idx="480">
                  <c:v>40.663677</c:v>
                </c:pt>
                <c:pt idx="481">
                  <c:v>40.802190000000003</c:v>
                </c:pt>
                <c:pt idx="482">
                  <c:v>40.559364000000002</c:v>
                </c:pt>
                <c:pt idx="483">
                  <c:v>40.916972999999999</c:v>
                </c:pt>
                <c:pt idx="484">
                  <c:v>42.061473999999997</c:v>
                </c:pt>
                <c:pt idx="485">
                  <c:v>43.556310000000003</c:v>
                </c:pt>
                <c:pt idx="486">
                  <c:v>44.005172999999999</c:v>
                </c:pt>
                <c:pt idx="487">
                  <c:v>44.459310000000002</c:v>
                </c:pt>
                <c:pt idx="488">
                  <c:v>45.067416999999999</c:v>
                </c:pt>
                <c:pt idx="489">
                  <c:v>45.445419999999999</c:v>
                </c:pt>
                <c:pt idx="490">
                  <c:v>45.375610000000002</c:v>
                </c:pt>
                <c:pt idx="491">
                  <c:v>44.438960000000002</c:v>
                </c:pt>
                <c:pt idx="492">
                  <c:v>41.939010000000003</c:v>
                </c:pt>
                <c:pt idx="493">
                  <c:v>39.709496000000001</c:v>
                </c:pt>
                <c:pt idx="494">
                  <c:v>38.255355999999999</c:v>
                </c:pt>
                <c:pt idx="495">
                  <c:v>37.990830000000003</c:v>
                </c:pt>
                <c:pt idx="496">
                  <c:v>38.594104999999999</c:v>
                </c:pt>
                <c:pt idx="497">
                  <c:v>39.078575000000001</c:v>
                </c:pt>
                <c:pt idx="498">
                  <c:v>39.767048000000003</c:v>
                </c:pt>
                <c:pt idx="499">
                  <c:v>40.113101999999998</c:v>
                </c:pt>
                <c:pt idx="500">
                  <c:v>40.084316000000001</c:v>
                </c:pt>
                <c:pt idx="501">
                  <c:v>40.563450000000003</c:v>
                </c:pt>
                <c:pt idx="502">
                  <c:v>40.897533000000003</c:v>
                </c:pt>
                <c:pt idx="503">
                  <c:v>41.603943000000001</c:v>
                </c:pt>
                <c:pt idx="504">
                  <c:v>42.254683999999997</c:v>
                </c:pt>
                <c:pt idx="505">
                  <c:v>42.977642000000003</c:v>
                </c:pt>
                <c:pt idx="506">
                  <c:v>43.40699</c:v>
                </c:pt>
                <c:pt idx="507">
                  <c:v>43.594783999999997</c:v>
                </c:pt>
                <c:pt idx="508">
                  <c:v>44.495235000000001</c:v>
                </c:pt>
                <c:pt idx="509">
                  <c:v>45.221164999999999</c:v>
                </c:pt>
                <c:pt idx="510">
                  <c:v>45.251823000000002</c:v>
                </c:pt>
                <c:pt idx="511">
                  <c:v>45.035040000000002</c:v>
                </c:pt>
                <c:pt idx="512">
                  <c:v>45.02637</c:v>
                </c:pt>
                <c:pt idx="513">
                  <c:v>44.644604000000001</c:v>
                </c:pt>
                <c:pt idx="514">
                  <c:v>44.764797000000002</c:v>
                </c:pt>
                <c:pt idx="515">
                  <c:v>44.772728000000001</c:v>
                </c:pt>
                <c:pt idx="516">
                  <c:v>44.596145999999997</c:v>
                </c:pt>
                <c:pt idx="517">
                  <c:v>44.399776000000003</c:v>
                </c:pt>
                <c:pt idx="518">
                  <c:v>43.835422999999999</c:v>
                </c:pt>
                <c:pt idx="519">
                  <c:v>43.547122999999999</c:v>
                </c:pt>
                <c:pt idx="520">
                  <c:v>42.880997000000001</c:v>
                </c:pt>
                <c:pt idx="521">
                  <c:v>42.578471999999998</c:v>
                </c:pt>
                <c:pt idx="522">
                  <c:v>42.759354000000002</c:v>
                </c:pt>
                <c:pt idx="523">
                  <c:v>42.624634</c:v>
                </c:pt>
                <c:pt idx="524">
                  <c:v>42.210383999999998</c:v>
                </c:pt>
                <c:pt idx="525">
                  <c:v>38.410373999999997</c:v>
                </c:pt>
                <c:pt idx="526">
                  <c:v>37.822212</c:v>
                </c:pt>
                <c:pt idx="527">
                  <c:v>37.836129999999997</c:v>
                </c:pt>
                <c:pt idx="528">
                  <c:v>35.065693000000003</c:v>
                </c:pt>
                <c:pt idx="529">
                  <c:v>37.408250000000002</c:v>
                </c:pt>
                <c:pt idx="530">
                  <c:v>40.119475999999999</c:v>
                </c:pt>
                <c:pt idx="531">
                  <c:v>42.089005</c:v>
                </c:pt>
                <c:pt idx="532">
                  <c:v>43.154899999999998</c:v>
                </c:pt>
                <c:pt idx="533">
                  <c:v>43.698279999999997</c:v>
                </c:pt>
                <c:pt idx="534">
                  <c:v>43.994705000000003</c:v>
                </c:pt>
                <c:pt idx="535">
                  <c:v>43.771763</c:v>
                </c:pt>
                <c:pt idx="536">
                  <c:v>43.315919999999998</c:v>
                </c:pt>
                <c:pt idx="537">
                  <c:v>43.362136999999997</c:v>
                </c:pt>
                <c:pt idx="538">
                  <c:v>43.752090000000003</c:v>
                </c:pt>
                <c:pt idx="539">
                  <c:v>44.193992999999999</c:v>
                </c:pt>
                <c:pt idx="540">
                  <c:v>44.475320000000004</c:v>
                </c:pt>
                <c:pt idx="541">
                  <c:v>44.936799999999998</c:v>
                </c:pt>
                <c:pt idx="542">
                  <c:v>45.463405999999999</c:v>
                </c:pt>
                <c:pt idx="543">
                  <c:v>45.661799999999999</c:v>
                </c:pt>
                <c:pt idx="544">
                  <c:v>45.642715000000003</c:v>
                </c:pt>
                <c:pt idx="545">
                  <c:v>45.668680000000002</c:v>
                </c:pt>
                <c:pt idx="546">
                  <c:v>45.59357</c:v>
                </c:pt>
                <c:pt idx="547">
                  <c:v>44.999091999999997</c:v>
                </c:pt>
                <c:pt idx="548">
                  <c:v>44.841790000000003</c:v>
                </c:pt>
                <c:pt idx="549">
                  <c:v>44.652200000000001</c:v>
                </c:pt>
                <c:pt idx="550">
                  <c:v>44.787846000000002</c:v>
                </c:pt>
                <c:pt idx="551">
                  <c:v>44.763626000000002</c:v>
                </c:pt>
                <c:pt idx="552">
                  <c:v>44.523330000000001</c:v>
                </c:pt>
                <c:pt idx="553">
                  <c:v>44.750442999999997</c:v>
                </c:pt>
                <c:pt idx="554">
                  <c:v>44.798717000000003</c:v>
                </c:pt>
                <c:pt idx="555">
                  <c:v>44.030560000000001</c:v>
                </c:pt>
                <c:pt idx="556">
                  <c:v>43.762447000000002</c:v>
                </c:pt>
                <c:pt idx="557">
                  <c:v>43.909782</c:v>
                </c:pt>
                <c:pt idx="558">
                  <c:v>40.835909999999998</c:v>
                </c:pt>
                <c:pt idx="559">
                  <c:v>39.898913999999998</c:v>
                </c:pt>
                <c:pt idx="560">
                  <c:v>39.605778000000001</c:v>
                </c:pt>
                <c:pt idx="561">
                  <c:v>38.979263000000003</c:v>
                </c:pt>
                <c:pt idx="562">
                  <c:v>39.067256999999998</c:v>
                </c:pt>
                <c:pt idx="563">
                  <c:v>39.178032000000002</c:v>
                </c:pt>
                <c:pt idx="564">
                  <c:v>39.363357999999998</c:v>
                </c:pt>
                <c:pt idx="565">
                  <c:v>39.298732999999999</c:v>
                </c:pt>
                <c:pt idx="566">
                  <c:v>39.082439999999998</c:v>
                </c:pt>
                <c:pt idx="567">
                  <c:v>39.078830000000004</c:v>
                </c:pt>
                <c:pt idx="568">
                  <c:v>39.185679999999998</c:v>
                </c:pt>
                <c:pt idx="569">
                  <c:v>38.929366999999999</c:v>
                </c:pt>
                <c:pt idx="570">
                  <c:v>37.272889999999997</c:v>
                </c:pt>
                <c:pt idx="571">
                  <c:v>37.384613000000002</c:v>
                </c:pt>
                <c:pt idx="572">
                  <c:v>37.678314</c:v>
                </c:pt>
                <c:pt idx="573">
                  <c:v>37.621426</c:v>
                </c:pt>
                <c:pt idx="574">
                  <c:v>37.995728</c:v>
                </c:pt>
                <c:pt idx="575">
                  <c:v>38.388809999999999</c:v>
                </c:pt>
                <c:pt idx="576">
                  <c:v>38.312286</c:v>
                </c:pt>
                <c:pt idx="577">
                  <c:v>37.881459999999997</c:v>
                </c:pt>
                <c:pt idx="578">
                  <c:v>37.890762000000002</c:v>
                </c:pt>
                <c:pt idx="579">
                  <c:v>37.951644999999999</c:v>
                </c:pt>
                <c:pt idx="580">
                  <c:v>37.834339999999997</c:v>
                </c:pt>
                <c:pt idx="581">
                  <c:v>37.903168000000001</c:v>
                </c:pt>
                <c:pt idx="582">
                  <c:v>36.941032</c:v>
                </c:pt>
                <c:pt idx="583">
                  <c:v>36.413017000000004</c:v>
                </c:pt>
                <c:pt idx="584">
                  <c:v>36.810595999999997</c:v>
                </c:pt>
                <c:pt idx="585">
                  <c:v>37.309170000000002</c:v>
                </c:pt>
                <c:pt idx="586">
                  <c:v>37.590941999999998</c:v>
                </c:pt>
                <c:pt idx="587">
                  <c:v>37.756836</c:v>
                </c:pt>
                <c:pt idx="588">
                  <c:v>37.959716999999998</c:v>
                </c:pt>
                <c:pt idx="589">
                  <c:v>38.045529999999999</c:v>
                </c:pt>
                <c:pt idx="590">
                  <c:v>38.269154</c:v>
                </c:pt>
                <c:pt idx="591">
                  <c:v>37.916412000000001</c:v>
                </c:pt>
                <c:pt idx="592">
                  <c:v>38.083976999999997</c:v>
                </c:pt>
                <c:pt idx="593">
                  <c:v>38.358159999999998</c:v>
                </c:pt>
                <c:pt idx="594">
                  <c:v>38.538139999999999</c:v>
                </c:pt>
                <c:pt idx="595">
                  <c:v>38.578994999999999</c:v>
                </c:pt>
                <c:pt idx="596">
                  <c:v>38.797381999999999</c:v>
                </c:pt>
                <c:pt idx="597">
                  <c:v>39.034669999999998</c:v>
                </c:pt>
                <c:pt idx="598">
                  <c:v>42.044967999999997</c:v>
                </c:pt>
                <c:pt idx="599">
                  <c:v>42.043453</c:v>
                </c:pt>
                <c:pt idx="600">
                  <c:v>37.386920000000003</c:v>
                </c:pt>
                <c:pt idx="601">
                  <c:v>37.368403999999998</c:v>
                </c:pt>
                <c:pt idx="602">
                  <c:v>37.667575999999997</c:v>
                </c:pt>
                <c:pt idx="603">
                  <c:v>37.486522999999998</c:v>
                </c:pt>
                <c:pt idx="604">
                  <c:v>37.65175</c:v>
                </c:pt>
                <c:pt idx="605">
                  <c:v>38.071606000000003</c:v>
                </c:pt>
                <c:pt idx="606">
                  <c:v>38.937054000000003</c:v>
                </c:pt>
                <c:pt idx="607">
                  <c:v>38.968803000000001</c:v>
                </c:pt>
                <c:pt idx="608">
                  <c:v>39.150215000000003</c:v>
                </c:pt>
                <c:pt idx="609">
                  <c:v>39.900955000000003</c:v>
                </c:pt>
                <c:pt idx="610">
                  <c:v>40.341118000000002</c:v>
                </c:pt>
                <c:pt idx="611">
                  <c:v>41.180252000000003</c:v>
                </c:pt>
                <c:pt idx="612">
                  <c:v>40.02102</c:v>
                </c:pt>
                <c:pt idx="613">
                  <c:v>39.491272000000002</c:v>
                </c:pt>
                <c:pt idx="614">
                  <c:v>38.861310000000003</c:v>
                </c:pt>
                <c:pt idx="615">
                  <c:v>38.115302999999997</c:v>
                </c:pt>
                <c:pt idx="616">
                  <c:v>37.7682</c:v>
                </c:pt>
                <c:pt idx="617">
                  <c:v>37.970478</c:v>
                </c:pt>
                <c:pt idx="618">
                  <c:v>38.418599999999998</c:v>
                </c:pt>
                <c:pt idx="619">
                  <c:v>38.864080000000001</c:v>
                </c:pt>
                <c:pt idx="620">
                  <c:v>39.181170000000002</c:v>
                </c:pt>
                <c:pt idx="621">
                  <c:v>39.003050000000002</c:v>
                </c:pt>
                <c:pt idx="622">
                  <c:v>38.821494999999999</c:v>
                </c:pt>
                <c:pt idx="623">
                  <c:v>39.271644999999999</c:v>
                </c:pt>
                <c:pt idx="624">
                  <c:v>39.896102999999997</c:v>
                </c:pt>
                <c:pt idx="625">
                  <c:v>40.912649999999999</c:v>
                </c:pt>
                <c:pt idx="626">
                  <c:v>42.214770000000001</c:v>
                </c:pt>
                <c:pt idx="627">
                  <c:v>40.874316999999998</c:v>
                </c:pt>
                <c:pt idx="628">
                  <c:v>40.867381999999999</c:v>
                </c:pt>
                <c:pt idx="629">
                  <c:v>38.895744000000001</c:v>
                </c:pt>
                <c:pt idx="630">
                  <c:v>38.875770000000003</c:v>
                </c:pt>
                <c:pt idx="631">
                  <c:v>38.826827999999999</c:v>
                </c:pt>
                <c:pt idx="632">
                  <c:v>38.743113999999998</c:v>
                </c:pt>
                <c:pt idx="633">
                  <c:v>38.281649999999999</c:v>
                </c:pt>
                <c:pt idx="634">
                  <c:v>37.563823999999997</c:v>
                </c:pt>
                <c:pt idx="635">
                  <c:v>36.145429999999998</c:v>
                </c:pt>
                <c:pt idx="636">
                  <c:v>34.582230000000003</c:v>
                </c:pt>
                <c:pt idx="637">
                  <c:v>33.711314999999999</c:v>
                </c:pt>
                <c:pt idx="638">
                  <c:v>33.999766999999999</c:v>
                </c:pt>
                <c:pt idx="639">
                  <c:v>34.992150000000002</c:v>
                </c:pt>
                <c:pt idx="640">
                  <c:v>36.06165</c:v>
                </c:pt>
                <c:pt idx="641">
                  <c:v>36.824706999999997</c:v>
                </c:pt>
                <c:pt idx="642">
                  <c:v>36.705480000000001</c:v>
                </c:pt>
                <c:pt idx="643">
                  <c:v>36.946109999999997</c:v>
                </c:pt>
                <c:pt idx="644">
                  <c:v>37.434593</c:v>
                </c:pt>
                <c:pt idx="645">
                  <c:v>37.395927</c:v>
                </c:pt>
                <c:pt idx="646">
                  <c:v>37.844031999999999</c:v>
                </c:pt>
                <c:pt idx="647">
                  <c:v>37.793854000000003</c:v>
                </c:pt>
                <c:pt idx="648">
                  <c:v>37.908614999999998</c:v>
                </c:pt>
                <c:pt idx="649">
                  <c:v>38.035716999999998</c:v>
                </c:pt>
                <c:pt idx="650">
                  <c:v>37.995852999999997</c:v>
                </c:pt>
                <c:pt idx="651">
                  <c:v>38.200924000000001</c:v>
                </c:pt>
                <c:pt idx="652">
                  <c:v>38.493262999999999</c:v>
                </c:pt>
                <c:pt idx="653">
                  <c:v>38.521861999999999</c:v>
                </c:pt>
                <c:pt idx="654">
                  <c:v>38.220753000000002</c:v>
                </c:pt>
                <c:pt idx="655">
                  <c:v>38.205185</c:v>
                </c:pt>
                <c:pt idx="656">
                  <c:v>37.751224999999998</c:v>
                </c:pt>
                <c:pt idx="657">
                  <c:v>37.539140000000003</c:v>
                </c:pt>
                <c:pt idx="658">
                  <c:v>37.279440000000001</c:v>
                </c:pt>
                <c:pt idx="659">
                  <c:v>37.206145999999997</c:v>
                </c:pt>
                <c:pt idx="660">
                  <c:v>36.585090000000001</c:v>
                </c:pt>
                <c:pt idx="661">
                  <c:v>36.274006</c:v>
                </c:pt>
                <c:pt idx="662">
                  <c:v>36.455204000000002</c:v>
                </c:pt>
                <c:pt idx="663">
                  <c:v>36.853050000000003</c:v>
                </c:pt>
                <c:pt idx="664">
                  <c:v>37.410693999999999</c:v>
                </c:pt>
                <c:pt idx="665">
                  <c:v>38.2393</c:v>
                </c:pt>
                <c:pt idx="666">
                  <c:v>38.601529999999997</c:v>
                </c:pt>
                <c:pt idx="667">
                  <c:v>39.140880000000003</c:v>
                </c:pt>
                <c:pt idx="668">
                  <c:v>39.69641</c:v>
                </c:pt>
                <c:pt idx="669">
                  <c:v>39.848681999999997</c:v>
                </c:pt>
                <c:pt idx="670">
                  <c:v>40.205437000000003</c:v>
                </c:pt>
                <c:pt idx="671">
                  <c:v>40.120579999999997</c:v>
                </c:pt>
                <c:pt idx="672">
                  <c:v>39.926723000000003</c:v>
                </c:pt>
                <c:pt idx="673">
                  <c:v>40.159019999999998</c:v>
                </c:pt>
                <c:pt idx="674">
                  <c:v>40.371822000000002</c:v>
                </c:pt>
                <c:pt idx="675">
                  <c:v>40.627983</c:v>
                </c:pt>
                <c:pt idx="676">
                  <c:v>40.741095999999999</c:v>
                </c:pt>
                <c:pt idx="677">
                  <c:v>40.605559999999997</c:v>
                </c:pt>
                <c:pt idx="678">
                  <c:v>40.858868000000001</c:v>
                </c:pt>
                <c:pt idx="679">
                  <c:v>41.499622000000002</c:v>
                </c:pt>
                <c:pt idx="680">
                  <c:v>42.498767999999998</c:v>
                </c:pt>
                <c:pt idx="681">
                  <c:v>43.365532000000002</c:v>
                </c:pt>
                <c:pt idx="682">
                  <c:v>44.533515999999999</c:v>
                </c:pt>
                <c:pt idx="683">
                  <c:v>45.41048</c:v>
                </c:pt>
                <c:pt idx="684">
                  <c:v>45.657111999999998</c:v>
                </c:pt>
                <c:pt idx="685">
                  <c:v>46.28989</c:v>
                </c:pt>
                <c:pt idx="686">
                  <c:v>46.326979999999999</c:v>
                </c:pt>
                <c:pt idx="687">
                  <c:v>46.055695</c:v>
                </c:pt>
                <c:pt idx="688">
                  <c:v>45.801945000000003</c:v>
                </c:pt>
                <c:pt idx="689">
                  <c:v>45.360520000000001</c:v>
                </c:pt>
                <c:pt idx="690">
                  <c:v>44.991860000000003</c:v>
                </c:pt>
                <c:pt idx="691">
                  <c:v>44.709774000000003</c:v>
                </c:pt>
                <c:pt idx="692">
                  <c:v>44.342196999999999</c:v>
                </c:pt>
                <c:pt idx="693">
                  <c:v>43.606254999999997</c:v>
                </c:pt>
                <c:pt idx="694">
                  <c:v>42.688859999999998</c:v>
                </c:pt>
                <c:pt idx="695">
                  <c:v>42.608229999999999</c:v>
                </c:pt>
                <c:pt idx="696">
                  <c:v>42.436489999999999</c:v>
                </c:pt>
                <c:pt idx="697">
                  <c:v>42.872494000000003</c:v>
                </c:pt>
                <c:pt idx="698">
                  <c:v>43.54522</c:v>
                </c:pt>
                <c:pt idx="699">
                  <c:v>43.335116999999997</c:v>
                </c:pt>
                <c:pt idx="700">
                  <c:v>43.199016999999998</c:v>
                </c:pt>
                <c:pt idx="701">
                  <c:v>42.110106999999999</c:v>
                </c:pt>
                <c:pt idx="702">
                  <c:v>41.22542</c:v>
                </c:pt>
                <c:pt idx="703">
                  <c:v>40.911909999999999</c:v>
                </c:pt>
                <c:pt idx="704">
                  <c:v>39.975403</c:v>
                </c:pt>
                <c:pt idx="705">
                  <c:v>39.698417999999997</c:v>
                </c:pt>
                <c:pt idx="706">
                  <c:v>39.295887</c:v>
                </c:pt>
                <c:pt idx="707">
                  <c:v>38.634450000000001</c:v>
                </c:pt>
                <c:pt idx="708">
                  <c:v>38.454242999999998</c:v>
                </c:pt>
                <c:pt idx="709">
                  <c:v>38.190784000000001</c:v>
                </c:pt>
                <c:pt idx="710">
                  <c:v>37.940314999999998</c:v>
                </c:pt>
                <c:pt idx="711">
                  <c:v>37.65352</c:v>
                </c:pt>
                <c:pt idx="712">
                  <c:v>37.530537000000002</c:v>
                </c:pt>
                <c:pt idx="713">
                  <c:v>36.980089999999997</c:v>
                </c:pt>
                <c:pt idx="714">
                  <c:v>36.754981999999998</c:v>
                </c:pt>
                <c:pt idx="715">
                  <c:v>37.048378</c:v>
                </c:pt>
                <c:pt idx="716">
                  <c:v>37.607104999999997</c:v>
                </c:pt>
                <c:pt idx="717">
                  <c:v>37.709564</c:v>
                </c:pt>
                <c:pt idx="718">
                  <c:v>37.108024999999998</c:v>
                </c:pt>
                <c:pt idx="719">
                  <c:v>37.249206999999998</c:v>
                </c:pt>
                <c:pt idx="720">
                  <c:v>37.543255000000002</c:v>
                </c:pt>
                <c:pt idx="721">
                  <c:v>38.028824</c:v>
                </c:pt>
                <c:pt idx="722">
                  <c:v>38.388103000000001</c:v>
                </c:pt>
                <c:pt idx="723">
                  <c:v>38.428139999999999</c:v>
                </c:pt>
                <c:pt idx="724">
                  <c:v>38.657204</c:v>
                </c:pt>
                <c:pt idx="725">
                  <c:v>38.561283000000003</c:v>
                </c:pt>
                <c:pt idx="726">
                  <c:v>38.221890000000002</c:v>
                </c:pt>
                <c:pt idx="727">
                  <c:v>37.51511</c:v>
                </c:pt>
                <c:pt idx="728">
                  <c:v>37.217019999999998</c:v>
                </c:pt>
                <c:pt idx="729">
                  <c:v>36.725740000000002</c:v>
                </c:pt>
                <c:pt idx="730">
                  <c:v>36.018214999999998</c:v>
                </c:pt>
                <c:pt idx="731">
                  <c:v>35.487465</c:v>
                </c:pt>
                <c:pt idx="732">
                  <c:v>35.157719999999998</c:v>
                </c:pt>
                <c:pt idx="733">
                  <c:v>35.356180000000002</c:v>
                </c:pt>
                <c:pt idx="734">
                  <c:v>35.170997999999997</c:v>
                </c:pt>
                <c:pt idx="735">
                  <c:v>35.530636000000001</c:v>
                </c:pt>
                <c:pt idx="736">
                  <c:v>35.343792000000001</c:v>
                </c:pt>
                <c:pt idx="737">
                  <c:v>35.516719999999999</c:v>
                </c:pt>
                <c:pt idx="738">
                  <c:v>35.375754999999998</c:v>
                </c:pt>
                <c:pt idx="739">
                  <c:v>35.564889999999998</c:v>
                </c:pt>
                <c:pt idx="740">
                  <c:v>36.222343000000002</c:v>
                </c:pt>
                <c:pt idx="741">
                  <c:v>36.325879999999998</c:v>
                </c:pt>
                <c:pt idx="742">
                  <c:v>36.716059999999999</c:v>
                </c:pt>
                <c:pt idx="743">
                  <c:v>36.689526000000001</c:v>
                </c:pt>
                <c:pt idx="744">
                  <c:v>36.6449</c:v>
                </c:pt>
                <c:pt idx="745">
                  <c:v>37.122172999999997</c:v>
                </c:pt>
                <c:pt idx="746">
                  <c:v>37.746560000000002</c:v>
                </c:pt>
                <c:pt idx="747">
                  <c:v>37.708739999999999</c:v>
                </c:pt>
                <c:pt idx="748">
                  <c:v>37.720874999999999</c:v>
                </c:pt>
                <c:pt idx="749">
                  <c:v>37.778064999999998</c:v>
                </c:pt>
                <c:pt idx="750">
                  <c:v>37.278170000000003</c:v>
                </c:pt>
                <c:pt idx="751">
                  <c:v>36.543880000000001</c:v>
                </c:pt>
                <c:pt idx="752">
                  <c:v>36.063270000000003</c:v>
                </c:pt>
                <c:pt idx="753">
                  <c:v>35.794933</c:v>
                </c:pt>
                <c:pt idx="754">
                  <c:v>35.382786000000003</c:v>
                </c:pt>
                <c:pt idx="755">
                  <c:v>35.503059999999998</c:v>
                </c:pt>
                <c:pt idx="756">
                  <c:v>36.021523000000002</c:v>
                </c:pt>
                <c:pt idx="757">
                  <c:v>36.764102999999999</c:v>
                </c:pt>
                <c:pt idx="758">
                  <c:v>37.185856000000001</c:v>
                </c:pt>
                <c:pt idx="759">
                  <c:v>37.419249999999998</c:v>
                </c:pt>
                <c:pt idx="760">
                  <c:v>37.893276</c:v>
                </c:pt>
                <c:pt idx="761">
                  <c:v>37.940964000000001</c:v>
                </c:pt>
                <c:pt idx="762">
                  <c:v>37.932079999999999</c:v>
                </c:pt>
                <c:pt idx="763">
                  <c:v>38.088752999999997</c:v>
                </c:pt>
                <c:pt idx="764">
                  <c:v>38.095529999999997</c:v>
                </c:pt>
                <c:pt idx="765">
                  <c:v>37.883809999999997</c:v>
                </c:pt>
                <c:pt idx="766">
                  <c:v>38.19594</c:v>
                </c:pt>
                <c:pt idx="767">
                  <c:v>38.537556000000002</c:v>
                </c:pt>
                <c:pt idx="768">
                  <c:v>38.817126999999999</c:v>
                </c:pt>
                <c:pt idx="769">
                  <c:v>39.084820000000001</c:v>
                </c:pt>
                <c:pt idx="770">
                  <c:v>39.336975000000002</c:v>
                </c:pt>
                <c:pt idx="771">
                  <c:v>39.136600000000001</c:v>
                </c:pt>
                <c:pt idx="772">
                  <c:v>39.155859999999997</c:v>
                </c:pt>
                <c:pt idx="773">
                  <c:v>39.254559999999998</c:v>
                </c:pt>
                <c:pt idx="774">
                  <c:v>39.706786999999998</c:v>
                </c:pt>
                <c:pt idx="775">
                  <c:v>39.986109999999996</c:v>
                </c:pt>
                <c:pt idx="776">
                  <c:v>40.186874000000003</c:v>
                </c:pt>
                <c:pt idx="777">
                  <c:v>40.498275999999997</c:v>
                </c:pt>
                <c:pt idx="778">
                  <c:v>40.917470000000002</c:v>
                </c:pt>
                <c:pt idx="779">
                  <c:v>41.353442999999999</c:v>
                </c:pt>
                <c:pt idx="780">
                  <c:v>41.957073000000001</c:v>
                </c:pt>
                <c:pt idx="781">
                  <c:v>41.880394000000003</c:v>
                </c:pt>
                <c:pt idx="782">
                  <c:v>41.512450000000001</c:v>
                </c:pt>
                <c:pt idx="783">
                  <c:v>41.225257999999997</c:v>
                </c:pt>
                <c:pt idx="784">
                  <c:v>41.174970000000002</c:v>
                </c:pt>
                <c:pt idx="785">
                  <c:v>41.283380000000001</c:v>
                </c:pt>
                <c:pt idx="786">
                  <c:v>41.66516</c:v>
                </c:pt>
                <c:pt idx="787">
                  <c:v>41.774143000000002</c:v>
                </c:pt>
                <c:pt idx="788">
                  <c:v>41.799582999999998</c:v>
                </c:pt>
                <c:pt idx="789">
                  <c:v>41.656067</c:v>
                </c:pt>
                <c:pt idx="790">
                  <c:v>41.134613000000002</c:v>
                </c:pt>
                <c:pt idx="791">
                  <c:v>41.077170000000002</c:v>
                </c:pt>
                <c:pt idx="792">
                  <c:v>40.541533999999999</c:v>
                </c:pt>
                <c:pt idx="793">
                  <c:v>40.269634000000003</c:v>
                </c:pt>
                <c:pt idx="794">
                  <c:v>39.818179999999998</c:v>
                </c:pt>
                <c:pt idx="795">
                  <c:v>39.873856000000004</c:v>
                </c:pt>
                <c:pt idx="796">
                  <c:v>39.998955000000002</c:v>
                </c:pt>
                <c:pt idx="797">
                  <c:v>40.212623999999998</c:v>
                </c:pt>
                <c:pt idx="798">
                  <c:v>40.286569999999998</c:v>
                </c:pt>
                <c:pt idx="799">
                  <c:v>40.388035000000002</c:v>
                </c:pt>
                <c:pt idx="800">
                  <c:v>40.444096000000002</c:v>
                </c:pt>
                <c:pt idx="801">
                  <c:v>40.38212</c:v>
                </c:pt>
                <c:pt idx="802">
                  <c:v>39.926422000000002</c:v>
                </c:pt>
                <c:pt idx="803">
                  <c:v>39.356403</c:v>
                </c:pt>
                <c:pt idx="804">
                  <c:v>39.355434000000002</c:v>
                </c:pt>
                <c:pt idx="805">
                  <c:v>39.255935999999998</c:v>
                </c:pt>
                <c:pt idx="806">
                  <c:v>39.362569999999998</c:v>
                </c:pt>
                <c:pt idx="807">
                  <c:v>39.304220000000001</c:v>
                </c:pt>
                <c:pt idx="808">
                  <c:v>38.809536000000001</c:v>
                </c:pt>
                <c:pt idx="809">
                  <c:v>38.817520000000002</c:v>
                </c:pt>
                <c:pt idx="810">
                  <c:v>38.673786</c:v>
                </c:pt>
                <c:pt idx="811">
                  <c:v>38.265976000000002</c:v>
                </c:pt>
                <c:pt idx="812">
                  <c:v>37.950108</c:v>
                </c:pt>
                <c:pt idx="813">
                  <c:v>37.728133999999997</c:v>
                </c:pt>
                <c:pt idx="814">
                  <c:v>37.856180000000002</c:v>
                </c:pt>
                <c:pt idx="815">
                  <c:v>38.310035999999997</c:v>
                </c:pt>
                <c:pt idx="816">
                  <c:v>38.431106999999997</c:v>
                </c:pt>
                <c:pt idx="817">
                  <c:v>38.254886999999997</c:v>
                </c:pt>
                <c:pt idx="818">
                  <c:v>38.050873000000003</c:v>
                </c:pt>
                <c:pt idx="819">
                  <c:v>38.047393999999997</c:v>
                </c:pt>
                <c:pt idx="820">
                  <c:v>37.793860000000002</c:v>
                </c:pt>
                <c:pt idx="821">
                  <c:v>37.798972999999997</c:v>
                </c:pt>
                <c:pt idx="822">
                  <c:v>37.654235999999997</c:v>
                </c:pt>
                <c:pt idx="823">
                  <c:v>37.768340000000002</c:v>
                </c:pt>
                <c:pt idx="824">
                  <c:v>37.807040000000001</c:v>
                </c:pt>
                <c:pt idx="825">
                  <c:v>38.143219999999999</c:v>
                </c:pt>
                <c:pt idx="826">
                  <c:v>38.51285</c:v>
                </c:pt>
                <c:pt idx="827">
                  <c:v>38.770007999999997</c:v>
                </c:pt>
                <c:pt idx="828">
                  <c:v>39.010860000000001</c:v>
                </c:pt>
                <c:pt idx="829">
                  <c:v>39.173965000000003</c:v>
                </c:pt>
                <c:pt idx="830">
                  <c:v>39.493076000000002</c:v>
                </c:pt>
                <c:pt idx="831">
                  <c:v>39.909053999999998</c:v>
                </c:pt>
                <c:pt idx="832">
                  <c:v>39.965440000000001</c:v>
                </c:pt>
                <c:pt idx="833">
                  <c:v>40.014682999999998</c:v>
                </c:pt>
                <c:pt idx="834">
                  <c:v>40.141300000000001</c:v>
                </c:pt>
                <c:pt idx="835">
                  <c:v>40.488869999999999</c:v>
                </c:pt>
                <c:pt idx="836">
                  <c:v>40.726303000000001</c:v>
                </c:pt>
                <c:pt idx="837">
                  <c:v>40.750030000000002</c:v>
                </c:pt>
                <c:pt idx="838">
                  <c:v>39.996273000000002</c:v>
                </c:pt>
                <c:pt idx="839">
                  <c:v>39.677135</c:v>
                </c:pt>
                <c:pt idx="840">
                  <c:v>39.548943000000001</c:v>
                </c:pt>
                <c:pt idx="841">
                  <c:v>38.902405000000002</c:v>
                </c:pt>
                <c:pt idx="842">
                  <c:v>38.655670000000001</c:v>
                </c:pt>
                <c:pt idx="843">
                  <c:v>38.884520000000002</c:v>
                </c:pt>
                <c:pt idx="844">
                  <c:v>39.319369999999999</c:v>
                </c:pt>
                <c:pt idx="845">
                  <c:v>39.976337000000001</c:v>
                </c:pt>
                <c:pt idx="846">
                  <c:v>40.757019999999997</c:v>
                </c:pt>
                <c:pt idx="847">
                  <c:v>38.492615000000001</c:v>
                </c:pt>
                <c:pt idx="848">
                  <c:v>37.199725999999998</c:v>
                </c:pt>
                <c:pt idx="849">
                  <c:v>36.689979999999998</c:v>
                </c:pt>
                <c:pt idx="850">
                  <c:v>37.040173000000003</c:v>
                </c:pt>
                <c:pt idx="851">
                  <c:v>37.976073999999997</c:v>
                </c:pt>
                <c:pt idx="852">
                  <c:v>38.641261999999998</c:v>
                </c:pt>
                <c:pt idx="853">
                  <c:v>39.08379</c:v>
                </c:pt>
                <c:pt idx="854">
                  <c:v>39.056310000000003</c:v>
                </c:pt>
                <c:pt idx="855">
                  <c:v>39.320320000000002</c:v>
                </c:pt>
                <c:pt idx="856">
                  <c:v>39.685119999999998</c:v>
                </c:pt>
                <c:pt idx="857">
                  <c:v>40.069360000000003</c:v>
                </c:pt>
                <c:pt idx="858">
                  <c:v>39.904499999999999</c:v>
                </c:pt>
                <c:pt idx="859">
                  <c:v>40.336533000000003</c:v>
                </c:pt>
                <c:pt idx="860">
                  <c:v>40.574837000000002</c:v>
                </c:pt>
                <c:pt idx="861">
                  <c:v>41.089863000000001</c:v>
                </c:pt>
                <c:pt idx="862">
                  <c:v>41.450069999999997</c:v>
                </c:pt>
                <c:pt idx="863">
                  <c:v>41.820286000000003</c:v>
                </c:pt>
                <c:pt idx="864">
                  <c:v>41.932859999999998</c:v>
                </c:pt>
                <c:pt idx="865">
                  <c:v>42.012318</c:v>
                </c:pt>
                <c:pt idx="866">
                  <c:v>42.4405</c:v>
                </c:pt>
                <c:pt idx="867">
                  <c:v>43.061570000000003</c:v>
                </c:pt>
                <c:pt idx="868">
                  <c:v>43.654730000000001</c:v>
                </c:pt>
                <c:pt idx="869">
                  <c:v>43.995643999999999</c:v>
                </c:pt>
                <c:pt idx="870">
                  <c:v>44.518234</c:v>
                </c:pt>
                <c:pt idx="871">
                  <c:v>44.389060000000001</c:v>
                </c:pt>
                <c:pt idx="872">
                  <c:v>44.367718000000004</c:v>
                </c:pt>
                <c:pt idx="873">
                  <c:v>43.763035000000002</c:v>
                </c:pt>
                <c:pt idx="874">
                  <c:v>43.652805000000001</c:v>
                </c:pt>
                <c:pt idx="875">
                  <c:v>43.666767</c:v>
                </c:pt>
                <c:pt idx="876">
                  <c:v>43.373722000000001</c:v>
                </c:pt>
                <c:pt idx="877">
                  <c:v>43.681797000000003</c:v>
                </c:pt>
                <c:pt idx="878">
                  <c:v>43.643149999999999</c:v>
                </c:pt>
                <c:pt idx="879">
                  <c:v>41.850560000000002</c:v>
                </c:pt>
                <c:pt idx="880">
                  <c:v>40.866756000000002</c:v>
                </c:pt>
                <c:pt idx="881">
                  <c:v>40.897717</c:v>
                </c:pt>
                <c:pt idx="882">
                  <c:v>40.488822999999996</c:v>
                </c:pt>
                <c:pt idx="883">
                  <c:v>40.191955999999998</c:v>
                </c:pt>
                <c:pt idx="884">
                  <c:v>39.442219999999999</c:v>
                </c:pt>
                <c:pt idx="885">
                  <c:v>39.619970000000002</c:v>
                </c:pt>
                <c:pt idx="886">
                  <c:v>39.652200000000001</c:v>
                </c:pt>
                <c:pt idx="887">
                  <c:v>39.871540000000003</c:v>
                </c:pt>
                <c:pt idx="888">
                  <c:v>39.458365999999998</c:v>
                </c:pt>
                <c:pt idx="889">
                  <c:v>39.350433000000002</c:v>
                </c:pt>
                <c:pt idx="890">
                  <c:v>39.259064000000002</c:v>
                </c:pt>
                <c:pt idx="891">
                  <c:v>39.254134999999998</c:v>
                </c:pt>
                <c:pt idx="892">
                  <c:v>39.582169999999998</c:v>
                </c:pt>
                <c:pt idx="893">
                  <c:v>39.323642999999997</c:v>
                </c:pt>
                <c:pt idx="894">
                  <c:v>39.023262000000003</c:v>
                </c:pt>
                <c:pt idx="895">
                  <c:v>38.916224999999997</c:v>
                </c:pt>
                <c:pt idx="896">
                  <c:v>39.029015000000001</c:v>
                </c:pt>
                <c:pt idx="897">
                  <c:v>39.261519999999997</c:v>
                </c:pt>
                <c:pt idx="898">
                  <c:v>38.982773000000002</c:v>
                </c:pt>
                <c:pt idx="899">
                  <c:v>39.144962</c:v>
                </c:pt>
                <c:pt idx="900">
                  <c:v>38.498286999999998</c:v>
                </c:pt>
                <c:pt idx="901">
                  <c:v>38.176884000000001</c:v>
                </c:pt>
                <c:pt idx="902">
                  <c:v>37.729579999999999</c:v>
                </c:pt>
                <c:pt idx="903">
                  <c:v>37.343758000000001</c:v>
                </c:pt>
                <c:pt idx="904">
                  <c:v>37.408397999999998</c:v>
                </c:pt>
                <c:pt idx="905">
                  <c:v>37.272525999999999</c:v>
                </c:pt>
                <c:pt idx="906">
                  <c:v>37.405262</c:v>
                </c:pt>
                <c:pt idx="907">
                  <c:v>37.497880000000002</c:v>
                </c:pt>
                <c:pt idx="908">
                  <c:v>37.667651999999997</c:v>
                </c:pt>
                <c:pt idx="909">
                  <c:v>38.099476000000003</c:v>
                </c:pt>
                <c:pt idx="910">
                  <c:v>38.38373</c:v>
                </c:pt>
                <c:pt idx="911">
                  <c:v>38.233817999999999</c:v>
                </c:pt>
                <c:pt idx="912">
                  <c:v>38.410879999999999</c:v>
                </c:pt>
                <c:pt idx="913">
                  <c:v>38.585662999999997</c:v>
                </c:pt>
                <c:pt idx="914">
                  <c:v>38.511932000000002</c:v>
                </c:pt>
                <c:pt idx="915">
                  <c:v>38.611829999999998</c:v>
                </c:pt>
                <c:pt idx="916">
                  <c:v>38.549908000000002</c:v>
                </c:pt>
                <c:pt idx="917">
                  <c:v>38.386817999999998</c:v>
                </c:pt>
                <c:pt idx="918">
                  <c:v>38.594307000000001</c:v>
                </c:pt>
                <c:pt idx="919">
                  <c:v>38.720387000000002</c:v>
                </c:pt>
                <c:pt idx="920">
                  <c:v>38.770800000000001</c:v>
                </c:pt>
                <c:pt idx="921">
                  <c:v>38.86871</c:v>
                </c:pt>
                <c:pt idx="922">
                  <c:v>38.538975000000001</c:v>
                </c:pt>
                <c:pt idx="923">
                  <c:v>38.409669999999998</c:v>
                </c:pt>
                <c:pt idx="924">
                  <c:v>37.887394</c:v>
                </c:pt>
                <c:pt idx="925">
                  <c:v>37.899746</c:v>
                </c:pt>
                <c:pt idx="926">
                  <c:v>38.046320000000001</c:v>
                </c:pt>
                <c:pt idx="927">
                  <c:v>38.190125000000002</c:v>
                </c:pt>
                <c:pt idx="928">
                  <c:v>38.131880000000002</c:v>
                </c:pt>
                <c:pt idx="929">
                  <c:v>38.061729999999997</c:v>
                </c:pt>
                <c:pt idx="930">
                  <c:v>38.047750000000001</c:v>
                </c:pt>
                <c:pt idx="931">
                  <c:v>38.24588</c:v>
                </c:pt>
                <c:pt idx="932">
                  <c:v>38.261940000000003</c:v>
                </c:pt>
                <c:pt idx="933">
                  <c:v>38.042667000000002</c:v>
                </c:pt>
                <c:pt idx="934">
                  <c:v>38.01558</c:v>
                </c:pt>
                <c:pt idx="935">
                  <c:v>37.862735999999998</c:v>
                </c:pt>
                <c:pt idx="936">
                  <c:v>37.827613999999997</c:v>
                </c:pt>
                <c:pt idx="937">
                  <c:v>37.528163999999997</c:v>
                </c:pt>
                <c:pt idx="938">
                  <c:v>37.367939999999997</c:v>
                </c:pt>
                <c:pt idx="939">
                  <c:v>37.149113</c:v>
                </c:pt>
                <c:pt idx="940">
                  <c:v>36.988556000000003</c:v>
                </c:pt>
                <c:pt idx="941">
                  <c:v>37.346043000000002</c:v>
                </c:pt>
                <c:pt idx="942">
                  <c:v>37.847636999999999</c:v>
                </c:pt>
                <c:pt idx="943">
                  <c:v>38.343173999999998</c:v>
                </c:pt>
                <c:pt idx="944">
                  <c:v>38.742286999999997</c:v>
                </c:pt>
                <c:pt idx="945">
                  <c:v>39.070369999999997</c:v>
                </c:pt>
                <c:pt idx="946">
                  <c:v>39.203519999999997</c:v>
                </c:pt>
                <c:pt idx="947">
                  <c:v>39.222465999999997</c:v>
                </c:pt>
                <c:pt idx="948">
                  <c:v>39.601750000000003</c:v>
                </c:pt>
                <c:pt idx="949">
                  <c:v>39.830419999999997</c:v>
                </c:pt>
                <c:pt idx="950">
                  <c:v>40.048865999999997</c:v>
                </c:pt>
                <c:pt idx="951">
                  <c:v>40.515279999999997</c:v>
                </c:pt>
                <c:pt idx="952">
                  <c:v>40.911490000000001</c:v>
                </c:pt>
                <c:pt idx="953">
                  <c:v>41.357135999999997</c:v>
                </c:pt>
                <c:pt idx="954">
                  <c:v>41.823162000000004</c:v>
                </c:pt>
                <c:pt idx="955">
                  <c:v>41.901260000000001</c:v>
                </c:pt>
                <c:pt idx="956">
                  <c:v>42.404612999999998</c:v>
                </c:pt>
                <c:pt idx="957">
                  <c:v>42.492789999999999</c:v>
                </c:pt>
                <c:pt idx="958">
                  <c:v>42.486153000000002</c:v>
                </c:pt>
                <c:pt idx="959">
                  <c:v>42.495193</c:v>
                </c:pt>
                <c:pt idx="960">
                  <c:v>42.972580000000001</c:v>
                </c:pt>
                <c:pt idx="961">
                  <c:v>43.693066000000002</c:v>
                </c:pt>
                <c:pt idx="962">
                  <c:v>44.366528000000002</c:v>
                </c:pt>
                <c:pt idx="963">
                  <c:v>44.994083000000003</c:v>
                </c:pt>
                <c:pt idx="964">
                  <c:v>45.248359999999998</c:v>
                </c:pt>
                <c:pt idx="965">
                  <c:v>45.312297999999998</c:v>
                </c:pt>
                <c:pt idx="966">
                  <c:v>45.567189999999997</c:v>
                </c:pt>
                <c:pt idx="967">
                  <c:v>45.461030000000001</c:v>
                </c:pt>
                <c:pt idx="968">
                  <c:v>45.284714000000001</c:v>
                </c:pt>
                <c:pt idx="969">
                  <c:v>44.863259999999997</c:v>
                </c:pt>
                <c:pt idx="970">
                  <c:v>44.819144999999999</c:v>
                </c:pt>
                <c:pt idx="971">
                  <c:v>44.942962999999999</c:v>
                </c:pt>
                <c:pt idx="972">
                  <c:v>45.126567999999999</c:v>
                </c:pt>
                <c:pt idx="973">
                  <c:v>45.247149999999998</c:v>
                </c:pt>
                <c:pt idx="974">
                  <c:v>45.442</c:v>
                </c:pt>
                <c:pt idx="975">
                  <c:v>45.675409999999999</c:v>
                </c:pt>
                <c:pt idx="976">
                  <c:v>45.494210000000002</c:v>
                </c:pt>
                <c:pt idx="977">
                  <c:v>45.411777000000001</c:v>
                </c:pt>
                <c:pt idx="978">
                  <c:v>45.202927000000003</c:v>
                </c:pt>
                <c:pt idx="979">
                  <c:v>45.182667000000002</c:v>
                </c:pt>
                <c:pt idx="980">
                  <c:v>45.391539999999999</c:v>
                </c:pt>
                <c:pt idx="981">
                  <c:v>45.395443</c:v>
                </c:pt>
                <c:pt idx="982">
                  <c:v>45.418185999999999</c:v>
                </c:pt>
                <c:pt idx="983">
                  <c:v>45.444847000000003</c:v>
                </c:pt>
                <c:pt idx="984">
                  <c:v>45.195945999999999</c:v>
                </c:pt>
                <c:pt idx="985">
                  <c:v>45.146312999999999</c:v>
                </c:pt>
                <c:pt idx="986">
                  <c:v>45.114780000000003</c:v>
                </c:pt>
                <c:pt idx="987">
                  <c:v>45.293489999999998</c:v>
                </c:pt>
                <c:pt idx="988">
                  <c:v>45.22907</c:v>
                </c:pt>
                <c:pt idx="989">
                  <c:v>45.280914000000003</c:v>
                </c:pt>
                <c:pt idx="990">
                  <c:v>45.310029999999998</c:v>
                </c:pt>
                <c:pt idx="991">
                  <c:v>45.298050000000003</c:v>
                </c:pt>
                <c:pt idx="992">
                  <c:v>45.310715000000002</c:v>
                </c:pt>
                <c:pt idx="993">
                  <c:v>45.451009999999997</c:v>
                </c:pt>
                <c:pt idx="994">
                  <c:v>45.735709999999997</c:v>
                </c:pt>
                <c:pt idx="995">
                  <c:v>45.455730000000003</c:v>
                </c:pt>
                <c:pt idx="996">
                  <c:v>44.431139999999999</c:v>
                </c:pt>
                <c:pt idx="997">
                  <c:v>43.563155999999999</c:v>
                </c:pt>
                <c:pt idx="998">
                  <c:v>43.102580000000003</c:v>
                </c:pt>
                <c:pt idx="999">
                  <c:v>43.02581</c:v>
                </c:pt>
                <c:pt idx="1000">
                  <c:v>43.043399999999998</c:v>
                </c:pt>
                <c:pt idx="1001">
                  <c:v>43.397044999999999</c:v>
                </c:pt>
                <c:pt idx="1002">
                  <c:v>43.581862999999998</c:v>
                </c:pt>
                <c:pt idx="1003">
                  <c:v>43.74192</c:v>
                </c:pt>
                <c:pt idx="1004">
                  <c:v>44.027442999999998</c:v>
                </c:pt>
                <c:pt idx="1005">
                  <c:v>44.166466</c:v>
                </c:pt>
                <c:pt idx="1006">
                  <c:v>44.519416999999997</c:v>
                </c:pt>
                <c:pt idx="1007">
                  <c:v>44.612349999999999</c:v>
                </c:pt>
                <c:pt idx="1008">
                  <c:v>44.624656999999999</c:v>
                </c:pt>
                <c:pt idx="1009">
                  <c:v>44.681224999999998</c:v>
                </c:pt>
                <c:pt idx="1010">
                  <c:v>44.951239999999999</c:v>
                </c:pt>
                <c:pt idx="1011">
                  <c:v>45.284045999999996</c:v>
                </c:pt>
                <c:pt idx="1012">
                  <c:v>45.798786</c:v>
                </c:pt>
                <c:pt idx="1013">
                  <c:v>45.997349999999997</c:v>
                </c:pt>
                <c:pt idx="1014">
                  <c:v>46.255344000000001</c:v>
                </c:pt>
                <c:pt idx="1015">
                  <c:v>46.568992999999999</c:v>
                </c:pt>
                <c:pt idx="1016">
                  <c:v>46.843066999999998</c:v>
                </c:pt>
                <c:pt idx="1017">
                  <c:v>46.890340000000002</c:v>
                </c:pt>
                <c:pt idx="1018">
                  <c:v>47.005929999999999</c:v>
                </c:pt>
                <c:pt idx="1019">
                  <c:v>46.855007000000001</c:v>
                </c:pt>
                <c:pt idx="1020">
                  <c:v>46.652186999999998</c:v>
                </c:pt>
                <c:pt idx="1021">
                  <c:v>45.923274999999997</c:v>
                </c:pt>
                <c:pt idx="1022">
                  <c:v>45.831111999999997</c:v>
                </c:pt>
                <c:pt idx="1023">
                  <c:v>45.525272000000001</c:v>
                </c:pt>
                <c:pt idx="1024">
                  <c:v>44.994453</c:v>
                </c:pt>
                <c:pt idx="1025">
                  <c:v>44.917279999999998</c:v>
                </c:pt>
                <c:pt idx="1026">
                  <c:v>44.639595</c:v>
                </c:pt>
                <c:pt idx="1027">
                  <c:v>44.179630000000003</c:v>
                </c:pt>
                <c:pt idx="1028">
                  <c:v>43.617736999999998</c:v>
                </c:pt>
                <c:pt idx="1029">
                  <c:v>43.686264000000001</c:v>
                </c:pt>
                <c:pt idx="1030">
                  <c:v>43.330883</c:v>
                </c:pt>
                <c:pt idx="1031">
                  <c:v>43.408855000000003</c:v>
                </c:pt>
                <c:pt idx="1032">
                  <c:v>43.024914000000003</c:v>
                </c:pt>
                <c:pt idx="1033">
                  <c:v>42.696899999999999</c:v>
                </c:pt>
                <c:pt idx="1034">
                  <c:v>42.492910000000002</c:v>
                </c:pt>
                <c:pt idx="1035">
                  <c:v>42.620089999999998</c:v>
                </c:pt>
                <c:pt idx="1036">
                  <c:v>42.848709999999997</c:v>
                </c:pt>
                <c:pt idx="1037">
                  <c:v>43.297449999999998</c:v>
                </c:pt>
                <c:pt idx="1038">
                  <c:v>43.79542</c:v>
                </c:pt>
                <c:pt idx="1039">
                  <c:v>44.453316000000001</c:v>
                </c:pt>
                <c:pt idx="1040">
                  <c:v>44.739640000000001</c:v>
                </c:pt>
                <c:pt idx="1041">
                  <c:v>44.679397999999999</c:v>
                </c:pt>
                <c:pt idx="1042">
                  <c:v>44.099933999999998</c:v>
                </c:pt>
                <c:pt idx="1043">
                  <c:v>43.335070000000002</c:v>
                </c:pt>
                <c:pt idx="1044">
                  <c:v>43.073810000000002</c:v>
                </c:pt>
                <c:pt idx="1045">
                  <c:v>43.001575000000003</c:v>
                </c:pt>
                <c:pt idx="1046">
                  <c:v>43.192523999999999</c:v>
                </c:pt>
                <c:pt idx="1047">
                  <c:v>42.986240000000002</c:v>
                </c:pt>
                <c:pt idx="1048">
                  <c:v>43.048873999999998</c:v>
                </c:pt>
                <c:pt idx="1049">
                  <c:v>43.217680000000001</c:v>
                </c:pt>
                <c:pt idx="1050">
                  <c:v>43.768467000000001</c:v>
                </c:pt>
                <c:pt idx="1051">
                  <c:v>44.224654999999998</c:v>
                </c:pt>
                <c:pt idx="1052">
                  <c:v>44.305250000000001</c:v>
                </c:pt>
                <c:pt idx="1053">
                  <c:v>44.840015000000001</c:v>
                </c:pt>
                <c:pt idx="1054">
                  <c:v>45.224316000000002</c:v>
                </c:pt>
                <c:pt idx="1055">
                  <c:v>45.732230000000001</c:v>
                </c:pt>
                <c:pt idx="1056">
                  <c:v>46.224110000000003</c:v>
                </c:pt>
                <c:pt idx="1057">
                  <c:v>46.382603000000003</c:v>
                </c:pt>
                <c:pt idx="1058">
                  <c:v>45.071125000000002</c:v>
                </c:pt>
                <c:pt idx="1059">
                  <c:v>44.368084000000003</c:v>
                </c:pt>
                <c:pt idx="1060">
                  <c:v>44.074627</c:v>
                </c:pt>
                <c:pt idx="1061">
                  <c:v>43.775100000000002</c:v>
                </c:pt>
                <c:pt idx="1062">
                  <c:v>43.971339999999998</c:v>
                </c:pt>
                <c:pt idx="1063">
                  <c:v>44.263399999999997</c:v>
                </c:pt>
                <c:pt idx="1064">
                  <c:v>44.594430000000003</c:v>
                </c:pt>
                <c:pt idx="1065">
                  <c:v>44.834617999999999</c:v>
                </c:pt>
                <c:pt idx="1066">
                  <c:v>44.488846000000002</c:v>
                </c:pt>
                <c:pt idx="1067">
                  <c:v>44.547234000000003</c:v>
                </c:pt>
                <c:pt idx="1068">
                  <c:v>44.629890000000003</c:v>
                </c:pt>
                <c:pt idx="1069">
                  <c:v>44.940649999999998</c:v>
                </c:pt>
                <c:pt idx="1070">
                  <c:v>45.214779999999998</c:v>
                </c:pt>
                <c:pt idx="1071">
                  <c:v>45.530692999999999</c:v>
                </c:pt>
                <c:pt idx="1072">
                  <c:v>45.046706999999998</c:v>
                </c:pt>
                <c:pt idx="1073">
                  <c:v>44.919364999999999</c:v>
                </c:pt>
                <c:pt idx="1074">
                  <c:v>45.061157000000001</c:v>
                </c:pt>
                <c:pt idx="1075">
                  <c:v>45.511203999999999</c:v>
                </c:pt>
                <c:pt idx="1076">
                  <c:v>46.017142999999997</c:v>
                </c:pt>
                <c:pt idx="1077">
                  <c:v>46.338344999999997</c:v>
                </c:pt>
                <c:pt idx="1078">
                  <c:v>46.562054000000003</c:v>
                </c:pt>
                <c:pt idx="1079">
                  <c:v>46.758842000000001</c:v>
                </c:pt>
                <c:pt idx="1080">
                  <c:v>46.865130000000001</c:v>
                </c:pt>
                <c:pt idx="1081">
                  <c:v>47.002032999999997</c:v>
                </c:pt>
                <c:pt idx="1082">
                  <c:v>47.305526999999998</c:v>
                </c:pt>
                <c:pt idx="1083">
                  <c:v>47.261074000000001</c:v>
                </c:pt>
                <c:pt idx="1084">
                  <c:v>47.298340000000003</c:v>
                </c:pt>
                <c:pt idx="1085">
                  <c:v>47.177387000000003</c:v>
                </c:pt>
                <c:pt idx="1086">
                  <c:v>46.833329999999997</c:v>
                </c:pt>
                <c:pt idx="1087">
                  <c:v>46.616996999999998</c:v>
                </c:pt>
                <c:pt idx="1088">
                  <c:v>46.245083000000001</c:v>
                </c:pt>
                <c:pt idx="1089">
                  <c:v>45.826410000000003</c:v>
                </c:pt>
                <c:pt idx="1090">
                  <c:v>45.963790000000003</c:v>
                </c:pt>
                <c:pt idx="1091">
                  <c:v>46.086745999999998</c:v>
                </c:pt>
                <c:pt idx="1092">
                  <c:v>46.116066000000004</c:v>
                </c:pt>
                <c:pt idx="1093">
                  <c:v>45.996997999999998</c:v>
                </c:pt>
                <c:pt idx="1094">
                  <c:v>46.360615000000003</c:v>
                </c:pt>
                <c:pt idx="1095">
                  <c:v>46.193854999999999</c:v>
                </c:pt>
                <c:pt idx="1096">
                  <c:v>46.308950000000003</c:v>
                </c:pt>
                <c:pt idx="1097">
                  <c:v>45.813488</c:v>
                </c:pt>
                <c:pt idx="1098">
                  <c:v>45.198399999999999</c:v>
                </c:pt>
                <c:pt idx="1099">
                  <c:v>45.459816000000004</c:v>
                </c:pt>
                <c:pt idx="1100">
                  <c:v>45.345936000000002</c:v>
                </c:pt>
                <c:pt idx="1101">
                  <c:v>45.62077</c:v>
                </c:pt>
                <c:pt idx="1102">
                  <c:v>45.43244</c:v>
                </c:pt>
                <c:pt idx="1103">
                  <c:v>45.341434</c:v>
                </c:pt>
                <c:pt idx="1104">
                  <c:v>45.693066000000002</c:v>
                </c:pt>
                <c:pt idx="1105">
                  <c:v>45.790832999999999</c:v>
                </c:pt>
                <c:pt idx="1106">
                  <c:v>45.478324999999998</c:v>
                </c:pt>
                <c:pt idx="1107">
                  <c:v>45.495266000000001</c:v>
                </c:pt>
                <c:pt idx="1108">
                  <c:v>45.682983</c:v>
                </c:pt>
                <c:pt idx="1109">
                  <c:v>45.793379999999999</c:v>
                </c:pt>
                <c:pt idx="1110">
                  <c:v>45.730922999999997</c:v>
                </c:pt>
                <c:pt idx="1111">
                  <c:v>45.974643999999998</c:v>
                </c:pt>
                <c:pt idx="1112">
                  <c:v>46.274419999999999</c:v>
                </c:pt>
                <c:pt idx="1113">
                  <c:v>46.514060000000001</c:v>
                </c:pt>
                <c:pt idx="1114">
                  <c:v>46.686079999999997</c:v>
                </c:pt>
                <c:pt idx="1115">
                  <c:v>46.816153999999997</c:v>
                </c:pt>
                <c:pt idx="1116">
                  <c:v>46.938107000000002</c:v>
                </c:pt>
                <c:pt idx="1117">
                  <c:v>47.007514999999998</c:v>
                </c:pt>
                <c:pt idx="1118">
                  <c:v>46.996679999999998</c:v>
                </c:pt>
                <c:pt idx="1119">
                  <c:v>47.111248000000003</c:v>
                </c:pt>
                <c:pt idx="1120">
                  <c:v>47.178890000000003</c:v>
                </c:pt>
                <c:pt idx="1121">
                  <c:v>46.68441</c:v>
                </c:pt>
                <c:pt idx="1122">
                  <c:v>46.346187999999998</c:v>
                </c:pt>
                <c:pt idx="1123">
                  <c:v>46.25497</c:v>
                </c:pt>
                <c:pt idx="1124">
                  <c:v>46.318268000000003</c:v>
                </c:pt>
                <c:pt idx="1125">
                  <c:v>46.418354000000001</c:v>
                </c:pt>
                <c:pt idx="1126">
                  <c:v>46.602832999999997</c:v>
                </c:pt>
                <c:pt idx="1127">
                  <c:v>46.847470000000001</c:v>
                </c:pt>
                <c:pt idx="1128">
                  <c:v>47.110962000000001</c:v>
                </c:pt>
                <c:pt idx="1129">
                  <c:v>47.150337</c:v>
                </c:pt>
                <c:pt idx="1130">
                  <c:v>47.132365999999998</c:v>
                </c:pt>
                <c:pt idx="1131">
                  <c:v>46.704140000000002</c:v>
                </c:pt>
                <c:pt idx="1132">
                  <c:v>46.496270000000003</c:v>
                </c:pt>
                <c:pt idx="1133">
                  <c:v>46.881523000000001</c:v>
                </c:pt>
                <c:pt idx="1134">
                  <c:v>47.080627</c:v>
                </c:pt>
                <c:pt idx="1135">
                  <c:v>47.188084000000003</c:v>
                </c:pt>
                <c:pt idx="1136">
                  <c:v>46.316727</c:v>
                </c:pt>
                <c:pt idx="1137">
                  <c:v>46.069386000000002</c:v>
                </c:pt>
                <c:pt idx="1138">
                  <c:v>46.042136999999997</c:v>
                </c:pt>
                <c:pt idx="1139">
                  <c:v>46.337359999999997</c:v>
                </c:pt>
                <c:pt idx="1140">
                  <c:v>46.067500000000003</c:v>
                </c:pt>
                <c:pt idx="1141">
                  <c:v>45.901257000000001</c:v>
                </c:pt>
                <c:pt idx="1142">
                  <c:v>45.313084000000003</c:v>
                </c:pt>
                <c:pt idx="1143">
                  <c:v>45.265568000000002</c:v>
                </c:pt>
                <c:pt idx="1144">
                  <c:v>45.335864999999998</c:v>
                </c:pt>
                <c:pt idx="1145">
                  <c:v>45.500343000000001</c:v>
                </c:pt>
                <c:pt idx="1146">
                  <c:v>45.942383</c:v>
                </c:pt>
                <c:pt idx="1147">
                  <c:v>46.220607999999999</c:v>
                </c:pt>
                <c:pt idx="1148">
                  <c:v>45.823439999999998</c:v>
                </c:pt>
                <c:pt idx="1149">
                  <c:v>45.575940000000003</c:v>
                </c:pt>
                <c:pt idx="1150">
                  <c:v>45.681519999999999</c:v>
                </c:pt>
                <c:pt idx="1151">
                  <c:v>45.743090000000002</c:v>
                </c:pt>
                <c:pt idx="1152">
                  <c:v>45.785854</c:v>
                </c:pt>
                <c:pt idx="1153">
                  <c:v>45.984929999999999</c:v>
                </c:pt>
                <c:pt idx="1154">
                  <c:v>45.939377</c:v>
                </c:pt>
                <c:pt idx="1155">
                  <c:v>46.022205</c:v>
                </c:pt>
                <c:pt idx="1156">
                  <c:v>45.072723000000003</c:v>
                </c:pt>
                <c:pt idx="1157">
                  <c:v>45.386367999999997</c:v>
                </c:pt>
                <c:pt idx="1158">
                  <c:v>45.316673000000002</c:v>
                </c:pt>
                <c:pt idx="1159">
                  <c:v>45.559130000000003</c:v>
                </c:pt>
                <c:pt idx="1160">
                  <c:v>45.56344</c:v>
                </c:pt>
                <c:pt idx="1161">
                  <c:v>45.696914999999997</c:v>
                </c:pt>
                <c:pt idx="1162">
                  <c:v>45.65531</c:v>
                </c:pt>
                <c:pt idx="1163">
                  <c:v>45.844909999999999</c:v>
                </c:pt>
                <c:pt idx="1164">
                  <c:v>45.955005999999997</c:v>
                </c:pt>
                <c:pt idx="1165">
                  <c:v>45.794167000000002</c:v>
                </c:pt>
                <c:pt idx="1166">
                  <c:v>46.063409999999998</c:v>
                </c:pt>
                <c:pt idx="1167">
                  <c:v>46.329009999999997</c:v>
                </c:pt>
                <c:pt idx="1168">
                  <c:v>45.960555999999997</c:v>
                </c:pt>
                <c:pt idx="1169">
                  <c:v>45.912734999999998</c:v>
                </c:pt>
                <c:pt idx="1170">
                  <c:v>46.278767000000002</c:v>
                </c:pt>
                <c:pt idx="1171">
                  <c:v>46.507530000000003</c:v>
                </c:pt>
                <c:pt idx="1172">
                  <c:v>46.742959999999997</c:v>
                </c:pt>
                <c:pt idx="1173">
                  <c:v>46.391734999999997</c:v>
                </c:pt>
                <c:pt idx="1174">
                  <c:v>46.568237000000003</c:v>
                </c:pt>
                <c:pt idx="1175">
                  <c:v>46.872852000000002</c:v>
                </c:pt>
                <c:pt idx="1176">
                  <c:v>47.197479999999999</c:v>
                </c:pt>
                <c:pt idx="1177">
                  <c:v>47.534244999999999</c:v>
                </c:pt>
                <c:pt idx="1178">
                  <c:v>47.792580000000001</c:v>
                </c:pt>
                <c:pt idx="1179">
                  <c:v>48.142913999999998</c:v>
                </c:pt>
                <c:pt idx="1180">
                  <c:v>47.907986000000001</c:v>
                </c:pt>
                <c:pt idx="1181">
                  <c:v>48.272841999999997</c:v>
                </c:pt>
                <c:pt idx="1182">
                  <c:v>48.371105</c:v>
                </c:pt>
                <c:pt idx="1183">
                  <c:v>48.51923</c:v>
                </c:pt>
                <c:pt idx="1184">
                  <c:v>48.445827000000001</c:v>
                </c:pt>
                <c:pt idx="1185">
                  <c:v>47.715007999999997</c:v>
                </c:pt>
                <c:pt idx="1186">
                  <c:v>47.745068000000003</c:v>
                </c:pt>
                <c:pt idx="1187">
                  <c:v>47.710586999999997</c:v>
                </c:pt>
                <c:pt idx="1188">
                  <c:v>47.771267000000002</c:v>
                </c:pt>
                <c:pt idx="1189">
                  <c:v>47.891390000000001</c:v>
                </c:pt>
                <c:pt idx="1190">
                  <c:v>48.220978000000002</c:v>
                </c:pt>
                <c:pt idx="1191">
                  <c:v>48.410988000000003</c:v>
                </c:pt>
                <c:pt idx="1192">
                  <c:v>48.601703999999998</c:v>
                </c:pt>
                <c:pt idx="1193">
                  <c:v>48.755943000000002</c:v>
                </c:pt>
                <c:pt idx="1194">
                  <c:v>48.986240000000002</c:v>
                </c:pt>
                <c:pt idx="1195">
                  <c:v>49.062989999999999</c:v>
                </c:pt>
                <c:pt idx="1196">
                  <c:v>49.227497</c:v>
                </c:pt>
                <c:pt idx="1197">
                  <c:v>49.479019999999998</c:v>
                </c:pt>
                <c:pt idx="1198">
                  <c:v>49.701298000000001</c:v>
                </c:pt>
                <c:pt idx="1199">
                  <c:v>49.463729999999998</c:v>
                </c:pt>
                <c:pt idx="1200">
                  <c:v>49.641196999999998</c:v>
                </c:pt>
                <c:pt idx="1201">
                  <c:v>49.804172999999999</c:v>
                </c:pt>
                <c:pt idx="1202">
                  <c:v>49.915154000000001</c:v>
                </c:pt>
                <c:pt idx="1203">
                  <c:v>50.244616999999998</c:v>
                </c:pt>
                <c:pt idx="1204">
                  <c:v>50.436717999999999</c:v>
                </c:pt>
                <c:pt idx="1205">
                  <c:v>50.665683999999999</c:v>
                </c:pt>
                <c:pt idx="1206">
                  <c:v>50.714210000000001</c:v>
                </c:pt>
                <c:pt idx="1207">
                  <c:v>50.958950000000002</c:v>
                </c:pt>
                <c:pt idx="1208">
                  <c:v>50.719563000000001</c:v>
                </c:pt>
                <c:pt idx="1209">
                  <c:v>50.894173000000002</c:v>
                </c:pt>
                <c:pt idx="1210">
                  <c:v>50.825249999999997</c:v>
                </c:pt>
                <c:pt idx="1211">
                  <c:v>50.588894000000003</c:v>
                </c:pt>
                <c:pt idx="1212">
                  <c:v>50.602170000000001</c:v>
                </c:pt>
                <c:pt idx="1213">
                  <c:v>50.658313999999997</c:v>
                </c:pt>
                <c:pt idx="1214">
                  <c:v>50.819569999999999</c:v>
                </c:pt>
                <c:pt idx="1215">
                  <c:v>51.152264000000002</c:v>
                </c:pt>
                <c:pt idx="1216">
                  <c:v>51.514206000000001</c:v>
                </c:pt>
                <c:pt idx="1217">
                  <c:v>51.717770000000002</c:v>
                </c:pt>
                <c:pt idx="1218">
                  <c:v>51.816947999999996</c:v>
                </c:pt>
                <c:pt idx="1219">
                  <c:v>51.682450000000003</c:v>
                </c:pt>
                <c:pt idx="1220">
                  <c:v>51.464306000000001</c:v>
                </c:pt>
                <c:pt idx="1221">
                  <c:v>51.903004000000003</c:v>
                </c:pt>
                <c:pt idx="1222">
                  <c:v>51.928795000000001</c:v>
                </c:pt>
                <c:pt idx="1223">
                  <c:v>51.786422999999999</c:v>
                </c:pt>
                <c:pt idx="1224">
                  <c:v>51.614131999999998</c:v>
                </c:pt>
                <c:pt idx="1225">
                  <c:v>51.830916999999999</c:v>
                </c:pt>
                <c:pt idx="1226">
                  <c:v>51.797314</c:v>
                </c:pt>
                <c:pt idx="1227">
                  <c:v>51.836080000000003</c:v>
                </c:pt>
                <c:pt idx="1228">
                  <c:v>52.000874000000003</c:v>
                </c:pt>
                <c:pt idx="1229">
                  <c:v>51.962153999999998</c:v>
                </c:pt>
                <c:pt idx="1230">
                  <c:v>52.109146000000003</c:v>
                </c:pt>
                <c:pt idx="1231">
                  <c:v>52.18891</c:v>
                </c:pt>
                <c:pt idx="1232">
                  <c:v>52.359276000000001</c:v>
                </c:pt>
                <c:pt idx="1233">
                  <c:v>52.609856000000001</c:v>
                </c:pt>
                <c:pt idx="1234">
                  <c:v>52.681731999999997</c:v>
                </c:pt>
                <c:pt idx="1235">
                  <c:v>52.710147999999997</c:v>
                </c:pt>
                <c:pt idx="1236">
                  <c:v>52.320390000000003</c:v>
                </c:pt>
                <c:pt idx="1237">
                  <c:v>51.930317000000002</c:v>
                </c:pt>
                <c:pt idx="1238">
                  <c:v>52.196643999999999</c:v>
                </c:pt>
                <c:pt idx="1239">
                  <c:v>52.241936000000003</c:v>
                </c:pt>
                <c:pt idx="1240">
                  <c:v>52.690918000000003</c:v>
                </c:pt>
                <c:pt idx="1241">
                  <c:v>52.885513000000003</c:v>
                </c:pt>
                <c:pt idx="1242">
                  <c:v>53.058720000000001</c:v>
                </c:pt>
                <c:pt idx="1243">
                  <c:v>53.222656000000001</c:v>
                </c:pt>
                <c:pt idx="1244">
                  <c:v>53.322094</c:v>
                </c:pt>
                <c:pt idx="1245">
                  <c:v>51.994439999999997</c:v>
                </c:pt>
                <c:pt idx="1246">
                  <c:v>51.422969999999999</c:v>
                </c:pt>
                <c:pt idx="1247">
                  <c:v>51.114407</c:v>
                </c:pt>
                <c:pt idx="1248">
                  <c:v>50.522305000000003</c:v>
                </c:pt>
                <c:pt idx="1249">
                  <c:v>49.944859999999998</c:v>
                </c:pt>
                <c:pt idx="1250">
                  <c:v>50.119965000000001</c:v>
                </c:pt>
                <c:pt idx="1251">
                  <c:v>49.849463999999998</c:v>
                </c:pt>
                <c:pt idx="1252">
                  <c:v>48.775889999999997</c:v>
                </c:pt>
                <c:pt idx="1253">
                  <c:v>47.152287000000001</c:v>
                </c:pt>
                <c:pt idx="1254">
                  <c:v>47.04842</c:v>
                </c:pt>
                <c:pt idx="1255">
                  <c:v>46.089579999999998</c:v>
                </c:pt>
                <c:pt idx="1256">
                  <c:v>44.163643</c:v>
                </c:pt>
                <c:pt idx="1257">
                  <c:v>43.209470000000003</c:v>
                </c:pt>
                <c:pt idx="1258">
                  <c:v>42.967697000000001</c:v>
                </c:pt>
                <c:pt idx="1259">
                  <c:v>43.190919999999998</c:v>
                </c:pt>
                <c:pt idx="1260">
                  <c:v>43.760463999999999</c:v>
                </c:pt>
                <c:pt idx="1261">
                  <c:v>44.772754999999997</c:v>
                </c:pt>
                <c:pt idx="1262">
                  <c:v>45.253104999999998</c:v>
                </c:pt>
                <c:pt idx="1263">
                  <c:v>45.555176000000003</c:v>
                </c:pt>
                <c:pt idx="1264">
                  <c:v>45.488857000000003</c:v>
                </c:pt>
                <c:pt idx="1265">
                  <c:v>45.696040000000004</c:v>
                </c:pt>
                <c:pt idx="1266">
                  <c:v>46.452815999999999</c:v>
                </c:pt>
                <c:pt idx="1267">
                  <c:v>47.041522999999998</c:v>
                </c:pt>
                <c:pt idx="1268">
                  <c:v>47.007347000000003</c:v>
                </c:pt>
                <c:pt idx="1269">
                  <c:v>46.699677000000001</c:v>
                </c:pt>
                <c:pt idx="1270">
                  <c:v>46.019382</c:v>
                </c:pt>
                <c:pt idx="1271">
                  <c:v>46.007328000000001</c:v>
                </c:pt>
                <c:pt idx="1272">
                  <c:v>46.607570000000003</c:v>
                </c:pt>
                <c:pt idx="1273">
                  <c:v>47.141983000000003</c:v>
                </c:pt>
                <c:pt idx="1274">
                  <c:v>47.615780000000001</c:v>
                </c:pt>
                <c:pt idx="1275">
                  <c:v>48.210728000000003</c:v>
                </c:pt>
                <c:pt idx="1276">
                  <c:v>49.418174999999998</c:v>
                </c:pt>
                <c:pt idx="1277">
                  <c:v>50.184452</c:v>
                </c:pt>
                <c:pt idx="1278">
                  <c:v>50.425224</c:v>
                </c:pt>
                <c:pt idx="1279">
                  <c:v>50.462864000000003</c:v>
                </c:pt>
                <c:pt idx="1280">
                  <c:v>50.870026000000003</c:v>
                </c:pt>
                <c:pt idx="1281">
                  <c:v>51.076079999999997</c:v>
                </c:pt>
                <c:pt idx="1282">
                  <c:v>51.111136999999999</c:v>
                </c:pt>
                <c:pt idx="1283">
                  <c:v>51.341340000000002</c:v>
                </c:pt>
                <c:pt idx="1284">
                  <c:v>51.458454000000003</c:v>
                </c:pt>
                <c:pt idx="1285">
                  <c:v>50.908707</c:v>
                </c:pt>
                <c:pt idx="1286">
                  <c:v>50.061790000000002</c:v>
                </c:pt>
                <c:pt idx="1287">
                  <c:v>50.519252999999999</c:v>
                </c:pt>
                <c:pt idx="1288">
                  <c:v>50.281936999999999</c:v>
                </c:pt>
                <c:pt idx="1289">
                  <c:v>49.881920000000001</c:v>
                </c:pt>
                <c:pt idx="1290">
                  <c:v>50.234478000000003</c:v>
                </c:pt>
                <c:pt idx="1291">
                  <c:v>49.655093999999998</c:v>
                </c:pt>
                <c:pt idx="1292">
                  <c:v>49.797542999999997</c:v>
                </c:pt>
                <c:pt idx="1293">
                  <c:v>50.101204000000003</c:v>
                </c:pt>
                <c:pt idx="1294">
                  <c:v>50.540559999999999</c:v>
                </c:pt>
                <c:pt idx="1295">
                  <c:v>50.005344000000001</c:v>
                </c:pt>
                <c:pt idx="1296">
                  <c:v>49.870624999999997</c:v>
                </c:pt>
                <c:pt idx="1297">
                  <c:v>49.579242999999998</c:v>
                </c:pt>
                <c:pt idx="1298">
                  <c:v>49.321784999999998</c:v>
                </c:pt>
                <c:pt idx="1299">
                  <c:v>49.330919999999999</c:v>
                </c:pt>
                <c:pt idx="1300">
                  <c:v>49.275486000000001</c:v>
                </c:pt>
                <c:pt idx="1301">
                  <c:v>49.423363000000002</c:v>
                </c:pt>
                <c:pt idx="1302">
                  <c:v>49.453060000000001</c:v>
                </c:pt>
                <c:pt idx="1303">
                  <c:v>49.111767</c:v>
                </c:pt>
                <c:pt idx="1304">
                  <c:v>48.814729999999997</c:v>
                </c:pt>
                <c:pt idx="1305">
                  <c:v>48.403950000000002</c:v>
                </c:pt>
                <c:pt idx="1306">
                  <c:v>48.359177000000003</c:v>
                </c:pt>
                <c:pt idx="1307">
                  <c:v>48.089137999999998</c:v>
                </c:pt>
                <c:pt idx="1308">
                  <c:v>47.707999999999998</c:v>
                </c:pt>
                <c:pt idx="1309">
                  <c:v>46.061461999999999</c:v>
                </c:pt>
                <c:pt idx="1310">
                  <c:v>45.949345000000001</c:v>
                </c:pt>
                <c:pt idx="1311">
                  <c:v>45.562412000000002</c:v>
                </c:pt>
                <c:pt idx="1312">
                  <c:v>45.425204999999998</c:v>
                </c:pt>
                <c:pt idx="1313">
                  <c:v>45.029957000000003</c:v>
                </c:pt>
                <c:pt idx="1314">
                  <c:v>45.191195999999998</c:v>
                </c:pt>
                <c:pt idx="1315">
                  <c:v>45.491343999999998</c:v>
                </c:pt>
                <c:pt idx="1316">
                  <c:v>45.558163</c:v>
                </c:pt>
                <c:pt idx="1317">
                  <c:v>45.274054999999997</c:v>
                </c:pt>
                <c:pt idx="1318">
                  <c:v>44.946457000000002</c:v>
                </c:pt>
                <c:pt idx="1319">
                  <c:v>44.730550000000001</c:v>
                </c:pt>
                <c:pt idx="1320">
                  <c:v>44.61645</c:v>
                </c:pt>
                <c:pt idx="1321">
                  <c:v>44.648539999999997</c:v>
                </c:pt>
                <c:pt idx="1322">
                  <c:v>44.136726000000003</c:v>
                </c:pt>
                <c:pt idx="1323">
                  <c:v>43.776203000000002</c:v>
                </c:pt>
                <c:pt idx="1324">
                  <c:v>43.743183000000002</c:v>
                </c:pt>
                <c:pt idx="1325">
                  <c:v>43.878304</c:v>
                </c:pt>
                <c:pt idx="1326">
                  <c:v>44.230685999999999</c:v>
                </c:pt>
                <c:pt idx="1327">
                  <c:v>44.219009999999997</c:v>
                </c:pt>
                <c:pt idx="1328">
                  <c:v>44.693480000000001</c:v>
                </c:pt>
                <c:pt idx="1329">
                  <c:v>45.012949999999996</c:v>
                </c:pt>
                <c:pt idx="1330">
                  <c:v>44.808365000000002</c:v>
                </c:pt>
                <c:pt idx="1331">
                  <c:v>44.677005999999999</c:v>
                </c:pt>
                <c:pt idx="1332">
                  <c:v>44.977432</c:v>
                </c:pt>
                <c:pt idx="1333">
                  <c:v>44.612247000000004</c:v>
                </c:pt>
                <c:pt idx="1334">
                  <c:v>44.858283999999998</c:v>
                </c:pt>
                <c:pt idx="1335">
                  <c:v>45.014214000000003</c:v>
                </c:pt>
                <c:pt idx="1336">
                  <c:v>45.169303999999997</c:v>
                </c:pt>
                <c:pt idx="1337">
                  <c:v>45.185899999999997</c:v>
                </c:pt>
                <c:pt idx="1338">
                  <c:v>45.600315000000002</c:v>
                </c:pt>
                <c:pt idx="1339">
                  <c:v>46.407642000000003</c:v>
                </c:pt>
                <c:pt idx="1340">
                  <c:v>46.377830000000003</c:v>
                </c:pt>
                <c:pt idx="1341">
                  <c:v>46.386940000000003</c:v>
                </c:pt>
                <c:pt idx="1342">
                  <c:v>46.038654000000001</c:v>
                </c:pt>
                <c:pt idx="1343">
                  <c:v>46.114502000000002</c:v>
                </c:pt>
                <c:pt idx="1344">
                  <c:v>45.477913000000001</c:v>
                </c:pt>
                <c:pt idx="1345">
                  <c:v>45.262520000000002</c:v>
                </c:pt>
                <c:pt idx="1346">
                  <c:v>44.963200000000001</c:v>
                </c:pt>
                <c:pt idx="1347">
                  <c:v>45.126800000000003</c:v>
                </c:pt>
                <c:pt idx="1348">
                  <c:v>45.276176</c:v>
                </c:pt>
                <c:pt idx="1349">
                  <c:v>44.977319999999999</c:v>
                </c:pt>
                <c:pt idx="1350">
                  <c:v>44.424441999999999</c:v>
                </c:pt>
                <c:pt idx="1351">
                  <c:v>44.069073000000003</c:v>
                </c:pt>
                <c:pt idx="1352">
                  <c:v>43.705196000000001</c:v>
                </c:pt>
                <c:pt idx="1353">
                  <c:v>43.673873999999998</c:v>
                </c:pt>
                <c:pt idx="1354">
                  <c:v>43.584774000000003</c:v>
                </c:pt>
                <c:pt idx="1355">
                  <c:v>43.821342000000001</c:v>
                </c:pt>
                <c:pt idx="1356">
                  <c:v>43.796520000000001</c:v>
                </c:pt>
                <c:pt idx="1357">
                  <c:v>44.105747000000001</c:v>
                </c:pt>
                <c:pt idx="1358">
                  <c:v>44.579839999999997</c:v>
                </c:pt>
                <c:pt idx="1359">
                  <c:v>44.981999999999999</c:v>
                </c:pt>
                <c:pt idx="1360">
                  <c:v>45.40119</c:v>
                </c:pt>
                <c:pt idx="1361">
                  <c:v>41.859074</c:v>
                </c:pt>
                <c:pt idx="1362">
                  <c:v>40.436813000000001</c:v>
                </c:pt>
                <c:pt idx="1363">
                  <c:v>39.341324</c:v>
                </c:pt>
                <c:pt idx="1364">
                  <c:v>38.959755000000001</c:v>
                </c:pt>
                <c:pt idx="1365">
                  <c:v>38.827274000000003</c:v>
                </c:pt>
                <c:pt idx="1366">
                  <c:v>38.004333000000003</c:v>
                </c:pt>
                <c:pt idx="1367">
                  <c:v>38.074223000000003</c:v>
                </c:pt>
                <c:pt idx="1368">
                  <c:v>37.752234999999999</c:v>
                </c:pt>
                <c:pt idx="1369">
                  <c:v>38.066699999999997</c:v>
                </c:pt>
                <c:pt idx="1370">
                  <c:v>38.269252999999999</c:v>
                </c:pt>
                <c:pt idx="1371">
                  <c:v>38.191479999999999</c:v>
                </c:pt>
                <c:pt idx="1372">
                  <c:v>36.905819999999999</c:v>
                </c:pt>
                <c:pt idx="1373">
                  <c:v>35.448779999999999</c:v>
                </c:pt>
                <c:pt idx="1374">
                  <c:v>34.909573000000002</c:v>
                </c:pt>
                <c:pt idx="1375">
                  <c:v>34.374287000000002</c:v>
                </c:pt>
                <c:pt idx="1376">
                  <c:v>33.820520000000002</c:v>
                </c:pt>
                <c:pt idx="1377">
                  <c:v>33.643500000000003</c:v>
                </c:pt>
                <c:pt idx="1378">
                  <c:v>33.913162</c:v>
                </c:pt>
                <c:pt idx="1379">
                  <c:v>34.942639999999997</c:v>
                </c:pt>
                <c:pt idx="1380">
                  <c:v>35.189349999999997</c:v>
                </c:pt>
                <c:pt idx="1381">
                  <c:v>35.477448000000003</c:v>
                </c:pt>
                <c:pt idx="1382">
                  <c:v>35.773426000000001</c:v>
                </c:pt>
                <c:pt idx="1383">
                  <c:v>35.493538000000001</c:v>
                </c:pt>
                <c:pt idx="1384">
                  <c:v>35.245939999999997</c:v>
                </c:pt>
                <c:pt idx="1385">
                  <c:v>35.215392999999999</c:v>
                </c:pt>
                <c:pt idx="1386">
                  <c:v>35.089979999999997</c:v>
                </c:pt>
                <c:pt idx="1387">
                  <c:v>35.163690000000003</c:v>
                </c:pt>
                <c:pt idx="1388">
                  <c:v>35.160522</c:v>
                </c:pt>
                <c:pt idx="1389">
                  <c:v>34.742485000000002</c:v>
                </c:pt>
                <c:pt idx="1390">
                  <c:v>34.569389999999999</c:v>
                </c:pt>
                <c:pt idx="1391">
                  <c:v>35.110615000000003</c:v>
                </c:pt>
                <c:pt idx="1392">
                  <c:v>37.062674999999999</c:v>
                </c:pt>
                <c:pt idx="1393">
                  <c:v>38.661118000000002</c:v>
                </c:pt>
                <c:pt idx="1394">
                  <c:v>37.773136000000001</c:v>
                </c:pt>
                <c:pt idx="1395">
                  <c:v>37.372642999999997</c:v>
                </c:pt>
                <c:pt idx="1396">
                  <c:v>38.136772000000001</c:v>
                </c:pt>
                <c:pt idx="1397">
                  <c:v>37.767105000000001</c:v>
                </c:pt>
                <c:pt idx="1398">
                  <c:v>37.626049999999999</c:v>
                </c:pt>
                <c:pt idx="1399">
                  <c:v>36.811329999999998</c:v>
                </c:pt>
                <c:pt idx="1400">
                  <c:v>35.969450000000002</c:v>
                </c:pt>
                <c:pt idx="1401">
                  <c:v>35.788020000000003</c:v>
                </c:pt>
                <c:pt idx="1402">
                  <c:v>36.994759999999999</c:v>
                </c:pt>
                <c:pt idx="1403">
                  <c:v>37.754890000000003</c:v>
                </c:pt>
                <c:pt idx="1404">
                  <c:v>37.721012000000002</c:v>
                </c:pt>
                <c:pt idx="1405">
                  <c:v>37.653114000000002</c:v>
                </c:pt>
                <c:pt idx="1406">
                  <c:v>38.1815</c:v>
                </c:pt>
                <c:pt idx="1407">
                  <c:v>38.608573999999997</c:v>
                </c:pt>
                <c:pt idx="1408">
                  <c:v>38.036360000000002</c:v>
                </c:pt>
                <c:pt idx="1409">
                  <c:v>37.388199999999998</c:v>
                </c:pt>
                <c:pt idx="1410">
                  <c:v>37.260662000000004</c:v>
                </c:pt>
                <c:pt idx="1411">
                  <c:v>36.543532999999996</c:v>
                </c:pt>
                <c:pt idx="1412">
                  <c:v>35.032677</c:v>
                </c:pt>
                <c:pt idx="1413">
                  <c:v>34.521583999999997</c:v>
                </c:pt>
                <c:pt idx="1414">
                  <c:v>33.196309999999997</c:v>
                </c:pt>
                <c:pt idx="1415">
                  <c:v>32.503788</c:v>
                </c:pt>
                <c:pt idx="1416">
                  <c:v>32.235332</c:v>
                </c:pt>
                <c:pt idx="1417">
                  <c:v>32.248779999999996</c:v>
                </c:pt>
                <c:pt idx="1418">
                  <c:v>32.196216999999997</c:v>
                </c:pt>
                <c:pt idx="1419">
                  <c:v>32.270690000000002</c:v>
                </c:pt>
                <c:pt idx="1420">
                  <c:v>32.148445000000002</c:v>
                </c:pt>
                <c:pt idx="1421">
                  <c:v>31.853596</c:v>
                </c:pt>
                <c:pt idx="1422">
                  <c:v>31.222518999999998</c:v>
                </c:pt>
                <c:pt idx="1423">
                  <c:v>30.913012999999999</c:v>
                </c:pt>
                <c:pt idx="1424">
                  <c:v>29.593067000000001</c:v>
                </c:pt>
                <c:pt idx="1425">
                  <c:v>27.762160999999999</c:v>
                </c:pt>
                <c:pt idx="1426">
                  <c:v>26.526888</c:v>
                </c:pt>
                <c:pt idx="1427">
                  <c:v>26.226896</c:v>
                </c:pt>
                <c:pt idx="1428">
                  <c:v>26.246880999999998</c:v>
                </c:pt>
                <c:pt idx="1429">
                  <c:v>26.655730999999999</c:v>
                </c:pt>
                <c:pt idx="1430">
                  <c:v>26.837278000000001</c:v>
                </c:pt>
                <c:pt idx="1431">
                  <c:v>26.995297999999998</c:v>
                </c:pt>
                <c:pt idx="1432">
                  <c:v>27.414695999999999</c:v>
                </c:pt>
                <c:pt idx="1433">
                  <c:v>28.145409000000001</c:v>
                </c:pt>
                <c:pt idx="1434">
                  <c:v>28.570736</c:v>
                </c:pt>
                <c:pt idx="1435">
                  <c:v>28.394355999999998</c:v>
                </c:pt>
                <c:pt idx="1436">
                  <c:v>28.269663000000001</c:v>
                </c:pt>
                <c:pt idx="1437">
                  <c:v>28.397539999999999</c:v>
                </c:pt>
                <c:pt idx="1438">
                  <c:v>28.802133999999999</c:v>
                </c:pt>
                <c:pt idx="1439">
                  <c:v>29.278751</c:v>
                </c:pt>
                <c:pt idx="1440">
                  <c:v>29.931329999999999</c:v>
                </c:pt>
                <c:pt idx="1441">
                  <c:v>30.755963999999999</c:v>
                </c:pt>
                <c:pt idx="1442">
                  <c:v>31.281517000000001</c:v>
                </c:pt>
                <c:pt idx="1443">
                  <c:v>31.70411</c:v>
                </c:pt>
                <c:pt idx="1444">
                  <c:v>31.99231</c:v>
                </c:pt>
                <c:pt idx="1445">
                  <c:v>32.397101999999997</c:v>
                </c:pt>
                <c:pt idx="1446">
                  <c:v>32.807265999999998</c:v>
                </c:pt>
                <c:pt idx="1447">
                  <c:v>32.974643999999998</c:v>
                </c:pt>
                <c:pt idx="1448">
                  <c:v>32.589379999999998</c:v>
                </c:pt>
                <c:pt idx="1449">
                  <c:v>32.270057999999999</c:v>
                </c:pt>
                <c:pt idx="1450">
                  <c:v>32.16592</c:v>
                </c:pt>
                <c:pt idx="1451">
                  <c:v>32.298363000000002</c:v>
                </c:pt>
                <c:pt idx="1452">
                  <c:v>32.241397999999997</c:v>
                </c:pt>
                <c:pt idx="1453">
                  <c:v>31.991959999999999</c:v>
                </c:pt>
                <c:pt idx="1454">
                  <c:v>31.831399999999999</c:v>
                </c:pt>
                <c:pt idx="1455">
                  <c:v>31.859468</c:v>
                </c:pt>
                <c:pt idx="1456">
                  <c:v>32.169280000000001</c:v>
                </c:pt>
                <c:pt idx="1457">
                  <c:v>32.598835000000001</c:v>
                </c:pt>
                <c:pt idx="1458">
                  <c:v>33.074474000000002</c:v>
                </c:pt>
                <c:pt idx="1459">
                  <c:v>33.932549999999999</c:v>
                </c:pt>
                <c:pt idx="1460">
                  <c:v>34.670883000000003</c:v>
                </c:pt>
                <c:pt idx="1461">
                  <c:v>34.906258000000001</c:v>
                </c:pt>
                <c:pt idx="1462">
                  <c:v>35.386960000000002</c:v>
                </c:pt>
                <c:pt idx="1463">
                  <c:v>34.414769999999997</c:v>
                </c:pt>
                <c:pt idx="1464">
                  <c:v>33.757109999999997</c:v>
                </c:pt>
                <c:pt idx="1465">
                  <c:v>32.422229999999999</c:v>
                </c:pt>
                <c:pt idx="1466">
                  <c:v>31.950264000000001</c:v>
                </c:pt>
                <c:pt idx="1467">
                  <c:v>31.849460000000001</c:v>
                </c:pt>
                <c:pt idx="1468">
                  <c:v>32.083526999999997</c:v>
                </c:pt>
                <c:pt idx="1469">
                  <c:v>32.172386000000003</c:v>
                </c:pt>
                <c:pt idx="1470">
                  <c:v>32.14967</c:v>
                </c:pt>
                <c:pt idx="1471">
                  <c:v>32.104298</c:v>
                </c:pt>
                <c:pt idx="1472">
                  <c:v>32.217865000000003</c:v>
                </c:pt>
                <c:pt idx="1473">
                  <c:v>32.348114000000002</c:v>
                </c:pt>
                <c:pt idx="1474">
                  <c:v>32.361195000000002</c:v>
                </c:pt>
                <c:pt idx="1475">
                  <c:v>32.114879999999999</c:v>
                </c:pt>
                <c:pt idx="1476">
                  <c:v>32.171641999999999</c:v>
                </c:pt>
                <c:pt idx="1477">
                  <c:v>33.087685</c:v>
                </c:pt>
                <c:pt idx="1478">
                  <c:v>34.091614</c:v>
                </c:pt>
                <c:pt idx="1479">
                  <c:v>35.028038000000002</c:v>
                </c:pt>
                <c:pt idx="1480">
                  <c:v>36.078735000000002</c:v>
                </c:pt>
                <c:pt idx="1481">
                  <c:v>37.000827999999998</c:v>
                </c:pt>
                <c:pt idx="1482">
                  <c:v>36.224815</c:v>
                </c:pt>
                <c:pt idx="1483">
                  <c:v>36.690519999999999</c:v>
                </c:pt>
                <c:pt idx="1484">
                  <c:v>37.156820000000003</c:v>
                </c:pt>
                <c:pt idx="1485">
                  <c:v>37.767400000000002</c:v>
                </c:pt>
                <c:pt idx="1486">
                  <c:v>38.422443000000001</c:v>
                </c:pt>
                <c:pt idx="1487">
                  <c:v>37.537376000000002</c:v>
                </c:pt>
                <c:pt idx="1488">
                  <c:v>37.685600000000001</c:v>
                </c:pt>
                <c:pt idx="1489">
                  <c:v>37.737822999999999</c:v>
                </c:pt>
                <c:pt idx="1490">
                  <c:v>37.952595000000002</c:v>
                </c:pt>
                <c:pt idx="1491">
                  <c:v>38.020077000000001</c:v>
                </c:pt>
                <c:pt idx="1492">
                  <c:v>38.575836000000002</c:v>
                </c:pt>
                <c:pt idx="1493">
                  <c:v>39.526505</c:v>
                </c:pt>
                <c:pt idx="1494">
                  <c:v>38.859110000000001</c:v>
                </c:pt>
                <c:pt idx="1495">
                  <c:v>38.155270000000002</c:v>
                </c:pt>
                <c:pt idx="1496">
                  <c:v>36.799712999999997</c:v>
                </c:pt>
                <c:pt idx="1497">
                  <c:v>35.394379999999998</c:v>
                </c:pt>
                <c:pt idx="1498">
                  <c:v>33.881656999999997</c:v>
                </c:pt>
                <c:pt idx="1499">
                  <c:v>33.389755000000001</c:v>
                </c:pt>
                <c:pt idx="1500">
                  <c:v>33.574480000000001</c:v>
                </c:pt>
                <c:pt idx="1501">
                  <c:v>33.919609999999999</c:v>
                </c:pt>
                <c:pt idx="1502">
                  <c:v>34.682395999999997</c:v>
                </c:pt>
                <c:pt idx="1503">
                  <c:v>35.060867000000002</c:v>
                </c:pt>
                <c:pt idx="1504">
                  <c:v>35.554156999999996</c:v>
                </c:pt>
                <c:pt idx="1505">
                  <c:v>35.661760000000001</c:v>
                </c:pt>
                <c:pt idx="1506">
                  <c:v>34.911602000000002</c:v>
                </c:pt>
                <c:pt idx="1507">
                  <c:v>35.162689999999998</c:v>
                </c:pt>
                <c:pt idx="1508">
                  <c:v>35.523434000000002</c:v>
                </c:pt>
                <c:pt idx="1509">
                  <c:v>35.931089999999998</c:v>
                </c:pt>
                <c:pt idx="1510">
                  <c:v>36.3735</c:v>
                </c:pt>
                <c:pt idx="1511">
                  <c:v>36.850647000000002</c:v>
                </c:pt>
                <c:pt idx="1512">
                  <c:v>36.699345000000001</c:v>
                </c:pt>
                <c:pt idx="1513">
                  <c:v>36.824629999999999</c:v>
                </c:pt>
                <c:pt idx="1514">
                  <c:v>36.766468000000003</c:v>
                </c:pt>
                <c:pt idx="1515">
                  <c:v>36.679830000000003</c:v>
                </c:pt>
                <c:pt idx="1516">
                  <c:v>36.798340000000003</c:v>
                </c:pt>
                <c:pt idx="1517">
                  <c:v>36.434690000000003</c:v>
                </c:pt>
                <c:pt idx="1518">
                  <c:v>35.989579999999997</c:v>
                </c:pt>
                <c:pt idx="1519">
                  <c:v>35.670369999999998</c:v>
                </c:pt>
                <c:pt idx="1520">
                  <c:v>35.185209999999998</c:v>
                </c:pt>
                <c:pt idx="1521">
                  <c:v>34.812347000000003</c:v>
                </c:pt>
                <c:pt idx="1522">
                  <c:v>34.484470000000002</c:v>
                </c:pt>
                <c:pt idx="1523">
                  <c:v>34.209946000000002</c:v>
                </c:pt>
                <c:pt idx="1524">
                  <c:v>34.133139999999997</c:v>
                </c:pt>
                <c:pt idx="1525">
                  <c:v>34.127907</c:v>
                </c:pt>
                <c:pt idx="1526">
                  <c:v>35.185966000000001</c:v>
                </c:pt>
                <c:pt idx="1527">
                  <c:v>36.999817</c:v>
                </c:pt>
                <c:pt idx="1528">
                  <c:v>37.484825000000001</c:v>
                </c:pt>
                <c:pt idx="1529">
                  <c:v>36.724834000000001</c:v>
                </c:pt>
                <c:pt idx="1530">
                  <c:v>36.384166999999998</c:v>
                </c:pt>
                <c:pt idx="1531">
                  <c:v>35.831189999999999</c:v>
                </c:pt>
                <c:pt idx="1532">
                  <c:v>35.415779999999998</c:v>
                </c:pt>
                <c:pt idx="1533">
                  <c:v>35.539932</c:v>
                </c:pt>
                <c:pt idx="1534">
                  <c:v>35.079636000000001</c:v>
                </c:pt>
                <c:pt idx="1535">
                  <c:v>34.949432000000002</c:v>
                </c:pt>
                <c:pt idx="1536">
                  <c:v>33.949852</c:v>
                </c:pt>
                <c:pt idx="1537">
                  <c:v>33.379950000000001</c:v>
                </c:pt>
                <c:pt idx="1538">
                  <c:v>33.425224</c:v>
                </c:pt>
                <c:pt idx="1539">
                  <c:v>33.496810000000004</c:v>
                </c:pt>
                <c:pt idx="1540">
                  <c:v>33.585762000000003</c:v>
                </c:pt>
                <c:pt idx="1541">
                  <c:v>33.685223000000001</c:v>
                </c:pt>
                <c:pt idx="1542">
                  <c:v>33.978366999999999</c:v>
                </c:pt>
                <c:pt idx="1543">
                  <c:v>33.601433</c:v>
                </c:pt>
                <c:pt idx="1544">
                  <c:v>33.109909999999999</c:v>
                </c:pt>
                <c:pt idx="1545">
                  <c:v>32.924079999999996</c:v>
                </c:pt>
                <c:pt idx="1546">
                  <c:v>32.953876000000001</c:v>
                </c:pt>
                <c:pt idx="1547">
                  <c:v>32.972023</c:v>
                </c:pt>
                <c:pt idx="1548">
                  <c:v>32.618316999999998</c:v>
                </c:pt>
                <c:pt idx="1549">
                  <c:v>32.40607</c:v>
                </c:pt>
                <c:pt idx="1550">
                  <c:v>32.201725000000003</c:v>
                </c:pt>
                <c:pt idx="1551">
                  <c:v>32.406944000000003</c:v>
                </c:pt>
                <c:pt idx="1552">
                  <c:v>32.410915000000003</c:v>
                </c:pt>
                <c:pt idx="1553">
                  <c:v>32.597769999999997</c:v>
                </c:pt>
                <c:pt idx="1554">
                  <c:v>32.826729999999998</c:v>
                </c:pt>
                <c:pt idx="1555">
                  <c:v>33.178159999999998</c:v>
                </c:pt>
                <c:pt idx="1556">
                  <c:v>33.495227999999997</c:v>
                </c:pt>
                <c:pt idx="1557">
                  <c:v>34.042484000000002</c:v>
                </c:pt>
                <c:pt idx="1558">
                  <c:v>34.487057</c:v>
                </c:pt>
                <c:pt idx="1559">
                  <c:v>34.771459999999998</c:v>
                </c:pt>
                <c:pt idx="1560">
                  <c:v>34.246389999999998</c:v>
                </c:pt>
                <c:pt idx="1561">
                  <c:v>34.406326</c:v>
                </c:pt>
                <c:pt idx="1562">
                  <c:v>34.192078000000002</c:v>
                </c:pt>
                <c:pt idx="1563">
                  <c:v>33.952247999999997</c:v>
                </c:pt>
                <c:pt idx="1564">
                  <c:v>33.537334000000001</c:v>
                </c:pt>
                <c:pt idx="1565">
                  <c:v>33.533442999999998</c:v>
                </c:pt>
                <c:pt idx="1566">
                  <c:v>33.568314000000001</c:v>
                </c:pt>
                <c:pt idx="1567">
                  <c:v>32.700195000000001</c:v>
                </c:pt>
                <c:pt idx="1568">
                  <c:v>32.418880000000001</c:v>
                </c:pt>
                <c:pt idx="1569">
                  <c:v>32.38749</c:v>
                </c:pt>
                <c:pt idx="1570">
                  <c:v>32.545197000000002</c:v>
                </c:pt>
                <c:pt idx="1571">
                  <c:v>32.156787999999999</c:v>
                </c:pt>
                <c:pt idx="1572">
                  <c:v>32.274549999999998</c:v>
                </c:pt>
                <c:pt idx="1573">
                  <c:v>32.856766</c:v>
                </c:pt>
                <c:pt idx="1574">
                  <c:v>33.877482999999998</c:v>
                </c:pt>
                <c:pt idx="1575">
                  <c:v>34.336120000000001</c:v>
                </c:pt>
                <c:pt idx="1576">
                  <c:v>34.181080000000001</c:v>
                </c:pt>
                <c:pt idx="1577">
                  <c:v>34.779502999999998</c:v>
                </c:pt>
                <c:pt idx="1578">
                  <c:v>35.016539999999999</c:v>
                </c:pt>
                <c:pt idx="1579">
                  <c:v>34.42689</c:v>
                </c:pt>
                <c:pt idx="1580">
                  <c:v>34.593597000000003</c:v>
                </c:pt>
                <c:pt idx="1581">
                  <c:v>33.696438000000001</c:v>
                </c:pt>
                <c:pt idx="1582">
                  <c:v>33.611674999999998</c:v>
                </c:pt>
                <c:pt idx="1583">
                  <c:v>33.457104000000001</c:v>
                </c:pt>
                <c:pt idx="1584">
                  <c:v>32.705410000000001</c:v>
                </c:pt>
                <c:pt idx="1585">
                  <c:v>32.334629999999997</c:v>
                </c:pt>
                <c:pt idx="1586">
                  <c:v>32.343719999999998</c:v>
                </c:pt>
                <c:pt idx="1587">
                  <c:v>32.521571999999999</c:v>
                </c:pt>
                <c:pt idx="1588">
                  <c:v>32.988934</c:v>
                </c:pt>
                <c:pt idx="1589">
                  <c:v>33.694305</c:v>
                </c:pt>
                <c:pt idx="1590">
                  <c:v>34.715310000000002</c:v>
                </c:pt>
                <c:pt idx="1591">
                  <c:v>35.550666999999997</c:v>
                </c:pt>
                <c:pt idx="1592">
                  <c:v>36.217967999999999</c:v>
                </c:pt>
                <c:pt idx="1593">
                  <c:v>35.582766999999997</c:v>
                </c:pt>
                <c:pt idx="1594">
                  <c:v>35.399279999999997</c:v>
                </c:pt>
                <c:pt idx="1595">
                  <c:v>35.776637999999998</c:v>
                </c:pt>
                <c:pt idx="1596">
                  <c:v>36.189185999999999</c:v>
                </c:pt>
                <c:pt idx="1597">
                  <c:v>36.846874</c:v>
                </c:pt>
                <c:pt idx="1598">
                  <c:v>36.193109999999997</c:v>
                </c:pt>
                <c:pt idx="1599">
                  <c:v>35.398560000000003</c:v>
                </c:pt>
                <c:pt idx="1600">
                  <c:v>34.529029999999999</c:v>
                </c:pt>
                <c:pt idx="1601">
                  <c:v>33.596755999999999</c:v>
                </c:pt>
                <c:pt idx="1602">
                  <c:v>32.90578</c:v>
                </c:pt>
                <c:pt idx="1603">
                  <c:v>32.548589999999997</c:v>
                </c:pt>
                <c:pt idx="1604">
                  <c:v>32.539805999999999</c:v>
                </c:pt>
                <c:pt idx="1605">
                  <c:v>32.285809999999998</c:v>
                </c:pt>
                <c:pt idx="1606">
                  <c:v>32.434809999999999</c:v>
                </c:pt>
                <c:pt idx="1607">
                  <c:v>32.843001999999998</c:v>
                </c:pt>
                <c:pt idx="1608">
                  <c:v>33.489837999999999</c:v>
                </c:pt>
                <c:pt idx="1609">
                  <c:v>33.951447000000002</c:v>
                </c:pt>
                <c:pt idx="1610">
                  <c:v>33.700620000000001</c:v>
                </c:pt>
                <c:pt idx="1611">
                  <c:v>33.307613000000003</c:v>
                </c:pt>
                <c:pt idx="1612">
                  <c:v>32.696255000000001</c:v>
                </c:pt>
                <c:pt idx="1613">
                  <c:v>32.323659999999997</c:v>
                </c:pt>
                <c:pt idx="1614">
                  <c:v>32.313299999999998</c:v>
                </c:pt>
                <c:pt idx="1615">
                  <c:v>31.886973999999999</c:v>
                </c:pt>
                <c:pt idx="1616">
                  <c:v>31.642665999999998</c:v>
                </c:pt>
                <c:pt idx="1617">
                  <c:v>31.799589999999998</c:v>
                </c:pt>
                <c:pt idx="1618">
                  <c:v>31.61459</c:v>
                </c:pt>
                <c:pt idx="1619">
                  <c:v>31.668365000000001</c:v>
                </c:pt>
                <c:pt idx="1620">
                  <c:v>31.866837</c:v>
                </c:pt>
                <c:pt idx="1621">
                  <c:v>31.768256999999998</c:v>
                </c:pt>
                <c:pt idx="1622">
                  <c:v>30.892256</c:v>
                </c:pt>
                <c:pt idx="1623">
                  <c:v>30.531488</c:v>
                </c:pt>
                <c:pt idx="1624">
                  <c:v>30.218921999999999</c:v>
                </c:pt>
                <c:pt idx="1625">
                  <c:v>30.11899</c:v>
                </c:pt>
                <c:pt idx="1626">
                  <c:v>29.878786000000002</c:v>
                </c:pt>
                <c:pt idx="1627">
                  <c:v>29.502351999999998</c:v>
                </c:pt>
                <c:pt idx="1628">
                  <c:v>29.287676000000001</c:v>
                </c:pt>
                <c:pt idx="1629">
                  <c:v>28.701353000000001</c:v>
                </c:pt>
                <c:pt idx="1630">
                  <c:v>28.831942000000002</c:v>
                </c:pt>
                <c:pt idx="1631">
                  <c:v>29.121562999999998</c:v>
                </c:pt>
                <c:pt idx="1632">
                  <c:v>29.905225999999999</c:v>
                </c:pt>
                <c:pt idx="1633">
                  <c:v>30.625933</c:v>
                </c:pt>
                <c:pt idx="1634">
                  <c:v>30.789957000000001</c:v>
                </c:pt>
                <c:pt idx="1635">
                  <c:v>30.598413000000001</c:v>
                </c:pt>
                <c:pt idx="1636">
                  <c:v>30.063624999999998</c:v>
                </c:pt>
                <c:pt idx="1637">
                  <c:v>29.736333999999999</c:v>
                </c:pt>
                <c:pt idx="1638">
                  <c:v>29.793230000000001</c:v>
                </c:pt>
                <c:pt idx="1639">
                  <c:v>29.953673999999999</c:v>
                </c:pt>
                <c:pt idx="1640">
                  <c:v>30.036503</c:v>
                </c:pt>
                <c:pt idx="1641">
                  <c:v>30.345524000000001</c:v>
                </c:pt>
                <c:pt idx="1642">
                  <c:v>30.669111000000001</c:v>
                </c:pt>
                <c:pt idx="1643">
                  <c:v>30.371808999999999</c:v>
                </c:pt>
                <c:pt idx="1644">
                  <c:v>30.543657</c:v>
                </c:pt>
                <c:pt idx="1645">
                  <c:v>30.620433999999999</c:v>
                </c:pt>
                <c:pt idx="1646">
                  <c:v>30.677168000000002</c:v>
                </c:pt>
                <c:pt idx="1647">
                  <c:v>31.017488</c:v>
                </c:pt>
                <c:pt idx="1648">
                  <c:v>31.442215000000001</c:v>
                </c:pt>
                <c:pt idx="1649">
                  <c:v>31.555278999999999</c:v>
                </c:pt>
                <c:pt idx="1650">
                  <c:v>31.884474000000001</c:v>
                </c:pt>
                <c:pt idx="1651">
                  <c:v>32.220289999999999</c:v>
                </c:pt>
                <c:pt idx="1652">
                  <c:v>32.368701999999999</c:v>
                </c:pt>
                <c:pt idx="1653">
                  <c:v>32.112479999999998</c:v>
                </c:pt>
                <c:pt idx="1654">
                  <c:v>31.935368</c:v>
                </c:pt>
                <c:pt idx="1655">
                  <c:v>31.396933000000001</c:v>
                </c:pt>
                <c:pt idx="1656">
                  <c:v>31.251940000000001</c:v>
                </c:pt>
                <c:pt idx="1657">
                  <c:v>30.96087</c:v>
                </c:pt>
                <c:pt idx="1658">
                  <c:v>29.900003000000002</c:v>
                </c:pt>
                <c:pt idx="1659">
                  <c:v>29.125114</c:v>
                </c:pt>
                <c:pt idx="1660">
                  <c:v>28.968292000000002</c:v>
                </c:pt>
                <c:pt idx="1661">
                  <c:v>29.046496999999999</c:v>
                </c:pt>
                <c:pt idx="1662">
                  <c:v>29.035550000000001</c:v>
                </c:pt>
                <c:pt idx="1663">
                  <c:v>29.246469999999999</c:v>
                </c:pt>
                <c:pt idx="1664">
                  <c:v>29.406324000000001</c:v>
                </c:pt>
                <c:pt idx="1665">
                  <c:v>29.661031999999999</c:v>
                </c:pt>
                <c:pt idx="1666">
                  <c:v>30.016110999999999</c:v>
                </c:pt>
                <c:pt idx="1667">
                  <c:v>30.291674</c:v>
                </c:pt>
                <c:pt idx="1668">
                  <c:v>30.664145999999999</c:v>
                </c:pt>
                <c:pt idx="1669">
                  <c:v>30.676537</c:v>
                </c:pt>
                <c:pt idx="1670">
                  <c:v>29.813879</c:v>
                </c:pt>
                <c:pt idx="1671">
                  <c:v>29.583307000000001</c:v>
                </c:pt>
                <c:pt idx="1672">
                  <c:v>29.807040000000001</c:v>
                </c:pt>
                <c:pt idx="1673">
                  <c:v>30.038525</c:v>
                </c:pt>
                <c:pt idx="1674">
                  <c:v>29.834769999999999</c:v>
                </c:pt>
                <c:pt idx="1675">
                  <c:v>29.900970000000001</c:v>
                </c:pt>
                <c:pt idx="1676">
                  <c:v>30.131616999999999</c:v>
                </c:pt>
                <c:pt idx="1677">
                  <c:v>30.444046</c:v>
                </c:pt>
                <c:pt idx="1678">
                  <c:v>31.0275</c:v>
                </c:pt>
                <c:pt idx="1679">
                  <c:v>31.377974999999999</c:v>
                </c:pt>
                <c:pt idx="1680">
                  <c:v>31.563231999999999</c:v>
                </c:pt>
                <c:pt idx="1681">
                  <c:v>31.618179999999999</c:v>
                </c:pt>
                <c:pt idx="1682">
                  <c:v>31.593384</c:v>
                </c:pt>
                <c:pt idx="1683">
                  <c:v>31.529427999999999</c:v>
                </c:pt>
                <c:pt idx="1684">
                  <c:v>31.212133000000001</c:v>
                </c:pt>
                <c:pt idx="1685">
                  <c:v>30.843841999999999</c:v>
                </c:pt>
                <c:pt idx="1686">
                  <c:v>29.673331999999998</c:v>
                </c:pt>
                <c:pt idx="1687">
                  <c:v>28.845354</c:v>
                </c:pt>
                <c:pt idx="1688">
                  <c:v>28.385100000000001</c:v>
                </c:pt>
                <c:pt idx="1689">
                  <c:v>28.276827000000001</c:v>
                </c:pt>
                <c:pt idx="1690">
                  <c:v>28.075129</c:v>
                </c:pt>
                <c:pt idx="1691">
                  <c:v>27.978898999999998</c:v>
                </c:pt>
                <c:pt idx="1692">
                  <c:v>28.099813000000001</c:v>
                </c:pt>
                <c:pt idx="1693">
                  <c:v>28.449697</c:v>
                </c:pt>
                <c:pt idx="1694">
                  <c:v>28.812231000000001</c:v>
                </c:pt>
                <c:pt idx="1695">
                  <c:v>29.274729000000001</c:v>
                </c:pt>
                <c:pt idx="1696">
                  <c:v>29.583985999999999</c:v>
                </c:pt>
                <c:pt idx="1697">
                  <c:v>29.828071999999999</c:v>
                </c:pt>
                <c:pt idx="1698">
                  <c:v>30.132328000000001</c:v>
                </c:pt>
                <c:pt idx="1699">
                  <c:v>30.002863000000001</c:v>
                </c:pt>
                <c:pt idx="1700">
                  <c:v>29.861243999999999</c:v>
                </c:pt>
                <c:pt idx="1701">
                  <c:v>29.965679999999999</c:v>
                </c:pt>
                <c:pt idx="1702">
                  <c:v>30.182451</c:v>
                </c:pt>
                <c:pt idx="1703">
                  <c:v>30.274903999999999</c:v>
                </c:pt>
                <c:pt idx="1704">
                  <c:v>30.224803999999999</c:v>
                </c:pt>
                <c:pt idx="1705">
                  <c:v>29.731213</c:v>
                </c:pt>
                <c:pt idx="1706">
                  <c:v>29.5337</c:v>
                </c:pt>
                <c:pt idx="1707">
                  <c:v>29.530552</c:v>
                </c:pt>
                <c:pt idx="1708">
                  <c:v>29.676767000000002</c:v>
                </c:pt>
                <c:pt idx="1709">
                  <c:v>29.735880000000002</c:v>
                </c:pt>
                <c:pt idx="1710">
                  <c:v>30.034109999999998</c:v>
                </c:pt>
                <c:pt idx="1711">
                  <c:v>30.265318000000001</c:v>
                </c:pt>
                <c:pt idx="1712">
                  <c:v>30.017721000000002</c:v>
                </c:pt>
                <c:pt idx="1713">
                  <c:v>29.610706</c:v>
                </c:pt>
                <c:pt idx="1714">
                  <c:v>29.612164</c:v>
                </c:pt>
                <c:pt idx="1715">
                  <c:v>29.658439999999999</c:v>
                </c:pt>
                <c:pt idx="1716">
                  <c:v>29.733609999999999</c:v>
                </c:pt>
                <c:pt idx="1717">
                  <c:v>29.828554</c:v>
                </c:pt>
                <c:pt idx="1718">
                  <c:v>29.634573</c:v>
                </c:pt>
                <c:pt idx="1719">
                  <c:v>29.642765000000001</c:v>
                </c:pt>
                <c:pt idx="1720">
                  <c:v>29.38334</c:v>
                </c:pt>
                <c:pt idx="1721">
                  <c:v>29.342393999999999</c:v>
                </c:pt>
                <c:pt idx="1722">
                  <c:v>29.296192000000001</c:v>
                </c:pt>
                <c:pt idx="1723">
                  <c:v>29.288536000000001</c:v>
                </c:pt>
                <c:pt idx="1724">
                  <c:v>29.353390000000001</c:v>
                </c:pt>
                <c:pt idx="1725">
                  <c:v>29.343419999999998</c:v>
                </c:pt>
                <c:pt idx="1726">
                  <c:v>28.862518000000001</c:v>
                </c:pt>
                <c:pt idx="1727">
                  <c:v>28.56118</c:v>
                </c:pt>
                <c:pt idx="1728">
                  <c:v>28.797059999999998</c:v>
                </c:pt>
                <c:pt idx="1729">
                  <c:v>28.940113</c:v>
                </c:pt>
                <c:pt idx="1730">
                  <c:v>28.765083000000001</c:v>
                </c:pt>
                <c:pt idx="1731">
                  <c:v>28.75356</c:v>
                </c:pt>
                <c:pt idx="1732">
                  <c:v>28.861581999999999</c:v>
                </c:pt>
                <c:pt idx="1733">
                  <c:v>28.930250000000001</c:v>
                </c:pt>
                <c:pt idx="1734">
                  <c:v>28.240127999999999</c:v>
                </c:pt>
                <c:pt idx="1735">
                  <c:v>28.193166999999999</c:v>
                </c:pt>
                <c:pt idx="1736">
                  <c:v>28.140153999999999</c:v>
                </c:pt>
                <c:pt idx="1737">
                  <c:v>27.875962999999999</c:v>
                </c:pt>
                <c:pt idx="1738">
                  <c:v>27.964417000000001</c:v>
                </c:pt>
                <c:pt idx="1739">
                  <c:v>27.888870000000001</c:v>
                </c:pt>
                <c:pt idx="1740">
                  <c:v>28.087720000000001</c:v>
                </c:pt>
                <c:pt idx="1741">
                  <c:v>27.997855999999999</c:v>
                </c:pt>
                <c:pt idx="1742">
                  <c:v>28.13852</c:v>
                </c:pt>
                <c:pt idx="1743">
                  <c:v>28.327030000000001</c:v>
                </c:pt>
                <c:pt idx="1744">
                  <c:v>28.435500999999999</c:v>
                </c:pt>
                <c:pt idx="1745">
                  <c:v>27.767866000000001</c:v>
                </c:pt>
                <c:pt idx="1746">
                  <c:v>27.568069999999999</c:v>
                </c:pt>
                <c:pt idx="1747">
                  <c:v>26.391408999999999</c:v>
                </c:pt>
                <c:pt idx="1748">
                  <c:v>25.694351000000001</c:v>
                </c:pt>
                <c:pt idx="1749">
                  <c:v>24.734954999999999</c:v>
                </c:pt>
                <c:pt idx="1750">
                  <c:v>24.611751999999999</c:v>
                </c:pt>
                <c:pt idx="1751">
                  <c:v>24.738769999999999</c:v>
                </c:pt>
                <c:pt idx="1752">
                  <c:v>24.893284000000001</c:v>
                </c:pt>
                <c:pt idx="1753">
                  <c:v>24.83597</c:v>
                </c:pt>
                <c:pt idx="1754">
                  <c:v>25.197073</c:v>
                </c:pt>
                <c:pt idx="1755">
                  <c:v>25.602968000000001</c:v>
                </c:pt>
                <c:pt idx="1756">
                  <c:v>26.20166</c:v>
                </c:pt>
                <c:pt idx="1757">
                  <c:v>26.774723000000002</c:v>
                </c:pt>
                <c:pt idx="1758">
                  <c:v>27.29335</c:v>
                </c:pt>
                <c:pt idx="1759">
                  <c:v>27.194255999999999</c:v>
                </c:pt>
                <c:pt idx="1760">
                  <c:v>27.398810000000001</c:v>
                </c:pt>
                <c:pt idx="1761">
                  <c:v>27.597390000000001</c:v>
                </c:pt>
                <c:pt idx="1762">
                  <c:v>27.679774999999999</c:v>
                </c:pt>
                <c:pt idx="1763">
                  <c:v>27.979358999999999</c:v>
                </c:pt>
                <c:pt idx="1764">
                  <c:v>27.803502999999999</c:v>
                </c:pt>
                <c:pt idx="1765">
                  <c:v>27.849620000000002</c:v>
                </c:pt>
                <c:pt idx="1766">
                  <c:v>27.677095000000001</c:v>
                </c:pt>
                <c:pt idx="1767">
                  <c:v>27.266527</c:v>
                </c:pt>
                <c:pt idx="1768">
                  <c:v>25.840375999999999</c:v>
                </c:pt>
                <c:pt idx="1769">
                  <c:v>24.386402</c:v>
                </c:pt>
                <c:pt idx="1770">
                  <c:v>23.413934999999999</c:v>
                </c:pt>
                <c:pt idx="1771">
                  <c:v>21.775601999999999</c:v>
                </c:pt>
                <c:pt idx="1772">
                  <c:v>20.308005999999999</c:v>
                </c:pt>
                <c:pt idx="1773">
                  <c:v>19.399187000000001</c:v>
                </c:pt>
                <c:pt idx="1774">
                  <c:v>18.536272</c:v>
                </c:pt>
                <c:pt idx="1775">
                  <c:v>17.934355</c:v>
                </c:pt>
                <c:pt idx="1776">
                  <c:v>17.169252</c:v>
                </c:pt>
                <c:pt idx="1777">
                  <c:v>16.38242</c:v>
                </c:pt>
                <c:pt idx="1778">
                  <c:v>15.522392</c:v>
                </c:pt>
                <c:pt idx="1779">
                  <c:v>15.027013</c:v>
                </c:pt>
                <c:pt idx="1780">
                  <c:v>14.440970999999999</c:v>
                </c:pt>
                <c:pt idx="1781">
                  <c:v>14.138590000000001</c:v>
                </c:pt>
                <c:pt idx="1782">
                  <c:v>13.633497999999999</c:v>
                </c:pt>
                <c:pt idx="1783">
                  <c:v>13.446797999999999</c:v>
                </c:pt>
                <c:pt idx="1784">
                  <c:v>12.553095000000001</c:v>
                </c:pt>
                <c:pt idx="1785">
                  <c:v>12.408851</c:v>
                </c:pt>
                <c:pt idx="1786">
                  <c:v>11.795045999999999</c:v>
                </c:pt>
                <c:pt idx="1787">
                  <c:v>11.499822999999999</c:v>
                </c:pt>
                <c:pt idx="1788">
                  <c:v>11.30911</c:v>
                </c:pt>
                <c:pt idx="1789">
                  <c:v>11.265420000000001</c:v>
                </c:pt>
                <c:pt idx="1790">
                  <c:v>11.00558</c:v>
                </c:pt>
                <c:pt idx="1791">
                  <c:v>10.918688</c:v>
                </c:pt>
                <c:pt idx="1792">
                  <c:v>10.786045</c:v>
                </c:pt>
                <c:pt idx="1793">
                  <c:v>10.835179</c:v>
                </c:pt>
                <c:pt idx="1794">
                  <c:v>10.97165</c:v>
                </c:pt>
                <c:pt idx="1795">
                  <c:v>11.039954</c:v>
                </c:pt>
                <c:pt idx="1796">
                  <c:v>10.870569</c:v>
                </c:pt>
                <c:pt idx="1797">
                  <c:v>10.745823</c:v>
                </c:pt>
                <c:pt idx="1798">
                  <c:v>10.709705</c:v>
                </c:pt>
                <c:pt idx="1799">
                  <c:v>11.813105999999999</c:v>
                </c:pt>
                <c:pt idx="1800">
                  <c:v>10.997495000000001</c:v>
                </c:pt>
                <c:pt idx="1801">
                  <c:v>12.007379999999999</c:v>
                </c:pt>
                <c:pt idx="1802">
                  <c:v>10.875259</c:v>
                </c:pt>
                <c:pt idx="1803">
                  <c:v>10.707903999999999</c:v>
                </c:pt>
                <c:pt idx="1804">
                  <c:v>11.940929000000001</c:v>
                </c:pt>
                <c:pt idx="1805">
                  <c:v>10.870813</c:v>
                </c:pt>
                <c:pt idx="1806">
                  <c:v>10.430997</c:v>
                </c:pt>
                <c:pt idx="1807">
                  <c:v>10.315301</c:v>
                </c:pt>
                <c:pt idx="1808">
                  <c:v>10.270358999999999</c:v>
                </c:pt>
                <c:pt idx="1809">
                  <c:v>10.648891000000001</c:v>
                </c:pt>
                <c:pt idx="1810">
                  <c:v>10.303844</c:v>
                </c:pt>
                <c:pt idx="1811">
                  <c:v>10.551591999999999</c:v>
                </c:pt>
                <c:pt idx="1812">
                  <c:v>10.456597</c:v>
                </c:pt>
                <c:pt idx="1813">
                  <c:v>11.488592000000001</c:v>
                </c:pt>
                <c:pt idx="1814">
                  <c:v>11.501899999999999</c:v>
                </c:pt>
                <c:pt idx="1815">
                  <c:v>11.226044</c:v>
                </c:pt>
                <c:pt idx="1816">
                  <c:v>11.398227</c:v>
                </c:pt>
                <c:pt idx="1817">
                  <c:v>12.142934</c:v>
                </c:pt>
                <c:pt idx="1818">
                  <c:v>11.134517000000001</c:v>
                </c:pt>
                <c:pt idx="1819">
                  <c:v>10.727575999999999</c:v>
                </c:pt>
                <c:pt idx="1820">
                  <c:v>10.420985</c:v>
                </c:pt>
                <c:pt idx="1821">
                  <c:v>10.332098</c:v>
                </c:pt>
                <c:pt idx="1822">
                  <c:v>10.234321</c:v>
                </c:pt>
                <c:pt idx="1823">
                  <c:v>10.457928000000001</c:v>
                </c:pt>
                <c:pt idx="1824">
                  <c:v>10.808309</c:v>
                </c:pt>
                <c:pt idx="1825">
                  <c:v>10.742034</c:v>
                </c:pt>
                <c:pt idx="1826">
                  <c:v>10.542621</c:v>
                </c:pt>
                <c:pt idx="1827">
                  <c:v>11.049666</c:v>
                </c:pt>
                <c:pt idx="1828">
                  <c:v>10.689144000000001</c:v>
                </c:pt>
                <c:pt idx="1829">
                  <c:v>10.63125</c:v>
                </c:pt>
                <c:pt idx="1830">
                  <c:v>10.877069000000001</c:v>
                </c:pt>
                <c:pt idx="1831">
                  <c:v>11.108449</c:v>
                </c:pt>
                <c:pt idx="1832">
                  <c:v>11.932416</c:v>
                </c:pt>
                <c:pt idx="1833">
                  <c:v>11.603672</c:v>
                </c:pt>
                <c:pt idx="1834">
                  <c:v>11.035023000000001</c:v>
                </c:pt>
                <c:pt idx="1835">
                  <c:v>10.824164</c:v>
                </c:pt>
                <c:pt idx="1836">
                  <c:v>10.709087999999999</c:v>
                </c:pt>
                <c:pt idx="1837">
                  <c:v>10.801746</c:v>
                </c:pt>
                <c:pt idx="1838">
                  <c:v>11.462407000000001</c:v>
                </c:pt>
                <c:pt idx="1839">
                  <c:v>16.013587999999999</c:v>
                </c:pt>
                <c:pt idx="1840">
                  <c:v>17.316276999999999</c:v>
                </c:pt>
                <c:pt idx="1841">
                  <c:v>17.427944</c:v>
                </c:pt>
                <c:pt idx="1842">
                  <c:v>16.000443000000001</c:v>
                </c:pt>
                <c:pt idx="1843">
                  <c:v>16.592086999999999</c:v>
                </c:pt>
                <c:pt idx="1844">
                  <c:v>15.388622</c:v>
                </c:pt>
                <c:pt idx="1845">
                  <c:v>16.008417000000001</c:v>
                </c:pt>
                <c:pt idx="1846">
                  <c:v>14.917121</c:v>
                </c:pt>
                <c:pt idx="1847">
                  <c:v>14.796049</c:v>
                </c:pt>
                <c:pt idx="1848">
                  <c:v>13.026607500000001</c:v>
                </c:pt>
                <c:pt idx="1849">
                  <c:v>12.501066</c:v>
                </c:pt>
                <c:pt idx="1850">
                  <c:v>12.728813000000001</c:v>
                </c:pt>
                <c:pt idx="1851">
                  <c:v>13.292424</c:v>
                </c:pt>
                <c:pt idx="1852">
                  <c:v>15.754054999999999</c:v>
                </c:pt>
                <c:pt idx="1853">
                  <c:v>14.863797</c:v>
                </c:pt>
                <c:pt idx="1854">
                  <c:v>14.281732999999999</c:v>
                </c:pt>
                <c:pt idx="1855">
                  <c:v>13.743627</c:v>
                </c:pt>
                <c:pt idx="1856">
                  <c:v>13.584561000000001</c:v>
                </c:pt>
                <c:pt idx="1857">
                  <c:v>12.118009000000001</c:v>
                </c:pt>
                <c:pt idx="1858">
                  <c:v>13.105492</c:v>
                </c:pt>
                <c:pt idx="1859">
                  <c:v>12.072677000000001</c:v>
                </c:pt>
                <c:pt idx="1860">
                  <c:v>11.784746999999999</c:v>
                </c:pt>
                <c:pt idx="1861">
                  <c:v>11.573048999999999</c:v>
                </c:pt>
                <c:pt idx="1862">
                  <c:v>11.636767000000001</c:v>
                </c:pt>
                <c:pt idx="1863">
                  <c:v>11.380523999999999</c:v>
                </c:pt>
                <c:pt idx="1864">
                  <c:v>11.671783</c:v>
                </c:pt>
                <c:pt idx="1865">
                  <c:v>11.060534499999999</c:v>
                </c:pt>
                <c:pt idx="1866">
                  <c:v>10.72836</c:v>
                </c:pt>
                <c:pt idx="1867">
                  <c:v>12.936631</c:v>
                </c:pt>
                <c:pt idx="1868">
                  <c:v>11.405258</c:v>
                </c:pt>
                <c:pt idx="1869">
                  <c:v>11.220923000000001</c:v>
                </c:pt>
                <c:pt idx="1870">
                  <c:v>11.113369</c:v>
                </c:pt>
                <c:pt idx="1871">
                  <c:v>11.140521</c:v>
                </c:pt>
                <c:pt idx="1872">
                  <c:v>10.911460999999999</c:v>
                </c:pt>
                <c:pt idx="1873">
                  <c:v>12.657218</c:v>
                </c:pt>
                <c:pt idx="1874">
                  <c:v>11.207708999999999</c:v>
                </c:pt>
                <c:pt idx="1875">
                  <c:v>11.695073000000001</c:v>
                </c:pt>
                <c:pt idx="1876">
                  <c:v>11.536503</c:v>
                </c:pt>
                <c:pt idx="1877">
                  <c:v>11.492922999999999</c:v>
                </c:pt>
                <c:pt idx="1878">
                  <c:v>11.631529</c:v>
                </c:pt>
                <c:pt idx="1879">
                  <c:v>12.042223999999999</c:v>
                </c:pt>
                <c:pt idx="1880">
                  <c:v>12.236501000000001</c:v>
                </c:pt>
                <c:pt idx="1881">
                  <c:v>12.567641</c:v>
                </c:pt>
                <c:pt idx="1882">
                  <c:v>13.859556</c:v>
                </c:pt>
                <c:pt idx="1883">
                  <c:v>14.277246</c:v>
                </c:pt>
                <c:pt idx="1884">
                  <c:v>12.758597</c:v>
                </c:pt>
                <c:pt idx="1885">
                  <c:v>14.047974999999999</c:v>
                </c:pt>
                <c:pt idx="1886">
                  <c:v>14.245022000000001</c:v>
                </c:pt>
                <c:pt idx="1887">
                  <c:v>13.029494</c:v>
                </c:pt>
                <c:pt idx="1888">
                  <c:v>12.598648000000001</c:v>
                </c:pt>
                <c:pt idx="1889">
                  <c:v>12.754941000000001</c:v>
                </c:pt>
                <c:pt idx="1890">
                  <c:v>13.056520000000001</c:v>
                </c:pt>
                <c:pt idx="1891">
                  <c:v>13.288613</c:v>
                </c:pt>
                <c:pt idx="1892">
                  <c:v>13.839048</c:v>
                </c:pt>
                <c:pt idx="1893">
                  <c:v>13.997460999999999</c:v>
                </c:pt>
                <c:pt idx="1894">
                  <c:v>14.554328999999999</c:v>
                </c:pt>
                <c:pt idx="1895">
                  <c:v>15.232481999999999</c:v>
                </c:pt>
                <c:pt idx="1896">
                  <c:v>14.756962</c:v>
                </c:pt>
                <c:pt idx="1897">
                  <c:v>14.684244</c:v>
                </c:pt>
                <c:pt idx="1898">
                  <c:v>15.378522999999999</c:v>
                </c:pt>
                <c:pt idx="1899">
                  <c:v>14.771928000000001</c:v>
                </c:pt>
                <c:pt idx="1900">
                  <c:v>15.084422</c:v>
                </c:pt>
                <c:pt idx="1901">
                  <c:v>15.390596</c:v>
                </c:pt>
                <c:pt idx="1902">
                  <c:v>15.495585999999999</c:v>
                </c:pt>
                <c:pt idx="1903">
                  <c:v>15.612928</c:v>
                </c:pt>
                <c:pt idx="1904">
                  <c:v>15.233999000000001</c:v>
                </c:pt>
                <c:pt idx="1905">
                  <c:v>15.040616999999999</c:v>
                </c:pt>
                <c:pt idx="1906">
                  <c:v>14.868567000000001</c:v>
                </c:pt>
                <c:pt idx="1907">
                  <c:v>14.434407</c:v>
                </c:pt>
                <c:pt idx="1908">
                  <c:v>14.408237</c:v>
                </c:pt>
                <c:pt idx="1909">
                  <c:v>14.624928000000001</c:v>
                </c:pt>
                <c:pt idx="1910">
                  <c:v>14.986319999999999</c:v>
                </c:pt>
                <c:pt idx="1911">
                  <c:v>15.181343</c:v>
                </c:pt>
                <c:pt idx="1912">
                  <c:v>14.898137999999999</c:v>
                </c:pt>
                <c:pt idx="1913">
                  <c:v>14.879928</c:v>
                </c:pt>
                <c:pt idx="1914">
                  <c:v>14.70003</c:v>
                </c:pt>
                <c:pt idx="1915">
                  <c:v>14.6656</c:v>
                </c:pt>
                <c:pt idx="1916">
                  <c:v>14.809072</c:v>
                </c:pt>
                <c:pt idx="1917">
                  <c:v>14.774808999999999</c:v>
                </c:pt>
                <c:pt idx="1918">
                  <c:v>14.827074</c:v>
                </c:pt>
                <c:pt idx="1919">
                  <c:v>14.950711999999999</c:v>
                </c:pt>
                <c:pt idx="1920">
                  <c:v>14.827427</c:v>
                </c:pt>
                <c:pt idx="1921">
                  <c:v>14.925604</c:v>
                </c:pt>
                <c:pt idx="1922">
                  <c:v>14.822234999999999</c:v>
                </c:pt>
                <c:pt idx="1923">
                  <c:v>15.365409</c:v>
                </c:pt>
                <c:pt idx="1924">
                  <c:v>14.461833</c:v>
                </c:pt>
                <c:pt idx="1925">
                  <c:v>14.698549</c:v>
                </c:pt>
                <c:pt idx="1926">
                  <c:v>14.256682</c:v>
                </c:pt>
                <c:pt idx="1927">
                  <c:v>14.527488999999999</c:v>
                </c:pt>
                <c:pt idx="1928">
                  <c:v>14.170669</c:v>
                </c:pt>
                <c:pt idx="1929">
                  <c:v>14.372011000000001</c:v>
                </c:pt>
                <c:pt idx="1930">
                  <c:v>14.799403999999999</c:v>
                </c:pt>
                <c:pt idx="1931">
                  <c:v>15.021447999999999</c:v>
                </c:pt>
                <c:pt idx="1932">
                  <c:v>15.662196</c:v>
                </c:pt>
                <c:pt idx="1933">
                  <c:v>16.370069999999998</c:v>
                </c:pt>
                <c:pt idx="1934">
                  <c:v>16.596433999999999</c:v>
                </c:pt>
                <c:pt idx="1935">
                  <c:v>16.714832000000001</c:v>
                </c:pt>
                <c:pt idx="1936">
                  <c:v>16.983788000000001</c:v>
                </c:pt>
                <c:pt idx="1937">
                  <c:v>16.890813999999999</c:v>
                </c:pt>
                <c:pt idx="1938">
                  <c:v>16.507149999999999</c:v>
                </c:pt>
                <c:pt idx="1939">
                  <c:v>16.072012000000001</c:v>
                </c:pt>
                <c:pt idx="1940">
                  <c:v>15.583411999999999</c:v>
                </c:pt>
                <c:pt idx="1941">
                  <c:v>15.170061</c:v>
                </c:pt>
                <c:pt idx="1942">
                  <c:v>14.830080000000001</c:v>
                </c:pt>
                <c:pt idx="1943">
                  <c:v>14.722028999999999</c:v>
                </c:pt>
                <c:pt idx="1944">
                  <c:v>14.670826</c:v>
                </c:pt>
                <c:pt idx="1945">
                  <c:v>14.88889</c:v>
                </c:pt>
                <c:pt idx="1946">
                  <c:v>15.221221999999999</c:v>
                </c:pt>
                <c:pt idx="1947">
                  <c:v>15.583734</c:v>
                </c:pt>
                <c:pt idx="1948">
                  <c:v>16.044329000000001</c:v>
                </c:pt>
                <c:pt idx="1949">
                  <c:v>17.993919999999999</c:v>
                </c:pt>
                <c:pt idx="1950">
                  <c:v>17.066269999999999</c:v>
                </c:pt>
                <c:pt idx="1951">
                  <c:v>16.35313</c:v>
                </c:pt>
                <c:pt idx="1952">
                  <c:v>16.045968999999999</c:v>
                </c:pt>
                <c:pt idx="1953">
                  <c:v>15.950108</c:v>
                </c:pt>
                <c:pt idx="1954">
                  <c:v>16.229928999999998</c:v>
                </c:pt>
                <c:pt idx="1955">
                  <c:v>15.927709999999999</c:v>
                </c:pt>
                <c:pt idx="1956">
                  <c:v>16.138258</c:v>
                </c:pt>
                <c:pt idx="1957">
                  <c:v>15.860999</c:v>
                </c:pt>
                <c:pt idx="1958">
                  <c:v>16.031939000000001</c:v>
                </c:pt>
                <c:pt idx="1959">
                  <c:v>16.216003000000001</c:v>
                </c:pt>
                <c:pt idx="1960">
                  <c:v>16.879041999999998</c:v>
                </c:pt>
                <c:pt idx="1961">
                  <c:v>16.184204000000001</c:v>
                </c:pt>
                <c:pt idx="1962">
                  <c:v>16.010404999999999</c:v>
                </c:pt>
                <c:pt idx="1963">
                  <c:v>16.199833000000002</c:v>
                </c:pt>
                <c:pt idx="1964">
                  <c:v>16.08164</c:v>
                </c:pt>
                <c:pt idx="1965">
                  <c:v>16.244876999999999</c:v>
                </c:pt>
                <c:pt idx="1966">
                  <c:v>17.175450000000001</c:v>
                </c:pt>
                <c:pt idx="1967">
                  <c:v>16.657608</c:v>
                </c:pt>
                <c:pt idx="1968">
                  <c:v>17.189543</c:v>
                </c:pt>
                <c:pt idx="1969">
                  <c:v>16.519736999999999</c:v>
                </c:pt>
                <c:pt idx="1970">
                  <c:v>16.916440000000001</c:v>
                </c:pt>
                <c:pt idx="1971">
                  <c:v>16.341515000000001</c:v>
                </c:pt>
                <c:pt idx="1972">
                  <c:v>16.467856999999999</c:v>
                </c:pt>
                <c:pt idx="1973">
                  <c:v>16.234715000000001</c:v>
                </c:pt>
                <c:pt idx="1974">
                  <c:v>16.296002999999999</c:v>
                </c:pt>
                <c:pt idx="1975">
                  <c:v>16.453113999999999</c:v>
                </c:pt>
                <c:pt idx="1976">
                  <c:v>17.09808</c:v>
                </c:pt>
                <c:pt idx="1977">
                  <c:v>17.415870000000002</c:v>
                </c:pt>
                <c:pt idx="1978">
                  <c:v>17.447948</c:v>
                </c:pt>
                <c:pt idx="1979">
                  <c:v>17.486505999999999</c:v>
                </c:pt>
                <c:pt idx="1980">
                  <c:v>17.723112</c:v>
                </c:pt>
                <c:pt idx="1981">
                  <c:v>18.657684</c:v>
                </c:pt>
                <c:pt idx="1982">
                  <c:v>19.0685</c:v>
                </c:pt>
                <c:pt idx="1983">
                  <c:v>19.526598</c:v>
                </c:pt>
                <c:pt idx="1984">
                  <c:v>20.048494000000002</c:v>
                </c:pt>
                <c:pt idx="1985">
                  <c:v>20.365376000000001</c:v>
                </c:pt>
                <c:pt idx="1986">
                  <c:v>20.181923000000001</c:v>
                </c:pt>
                <c:pt idx="1987">
                  <c:v>20.469390000000001</c:v>
                </c:pt>
                <c:pt idx="1988">
                  <c:v>20.530723999999999</c:v>
                </c:pt>
                <c:pt idx="1989">
                  <c:v>21.21142</c:v>
                </c:pt>
                <c:pt idx="1990">
                  <c:v>21.651095999999999</c:v>
                </c:pt>
                <c:pt idx="1991">
                  <c:v>22.445195999999999</c:v>
                </c:pt>
                <c:pt idx="1992">
                  <c:v>22.907706999999998</c:v>
                </c:pt>
                <c:pt idx="1993">
                  <c:v>23.452220000000001</c:v>
                </c:pt>
                <c:pt idx="1994">
                  <c:v>22.514927</c:v>
                </c:pt>
                <c:pt idx="1995">
                  <c:v>22.623505000000002</c:v>
                </c:pt>
                <c:pt idx="1996">
                  <c:v>23.326622</c:v>
                </c:pt>
                <c:pt idx="1997">
                  <c:v>23.969435000000001</c:v>
                </c:pt>
                <c:pt idx="1998">
                  <c:v>24.139966999999999</c:v>
                </c:pt>
                <c:pt idx="1999">
                  <c:v>24.778521999999999</c:v>
                </c:pt>
                <c:pt idx="2000">
                  <c:v>24.286076999999999</c:v>
                </c:pt>
                <c:pt idx="2001">
                  <c:v>24.742322999999999</c:v>
                </c:pt>
                <c:pt idx="2002">
                  <c:v>21.257643000000002</c:v>
                </c:pt>
                <c:pt idx="2003">
                  <c:v>19.225845</c:v>
                </c:pt>
                <c:pt idx="2004">
                  <c:v>20.432324999999999</c:v>
                </c:pt>
                <c:pt idx="2005">
                  <c:v>21.118580000000001</c:v>
                </c:pt>
                <c:pt idx="2006">
                  <c:v>22.087624000000002</c:v>
                </c:pt>
                <c:pt idx="2007">
                  <c:v>22.110959999999999</c:v>
                </c:pt>
                <c:pt idx="2008">
                  <c:v>23.244966999999999</c:v>
                </c:pt>
                <c:pt idx="2009">
                  <c:v>24.562304999999999</c:v>
                </c:pt>
                <c:pt idx="2010">
                  <c:v>25.120611</c:v>
                </c:pt>
                <c:pt idx="2011">
                  <c:v>26.319987999999999</c:v>
                </c:pt>
                <c:pt idx="2012">
                  <c:v>27.303412999999999</c:v>
                </c:pt>
                <c:pt idx="2013">
                  <c:v>27.494820000000001</c:v>
                </c:pt>
                <c:pt idx="2014">
                  <c:v>28.460766</c:v>
                </c:pt>
                <c:pt idx="2015">
                  <c:v>28.734635999999998</c:v>
                </c:pt>
                <c:pt idx="2016">
                  <c:v>28.838937999999999</c:v>
                </c:pt>
                <c:pt idx="2017">
                  <c:v>29.439219999999999</c:v>
                </c:pt>
                <c:pt idx="2018">
                  <c:v>28.296816</c:v>
                </c:pt>
                <c:pt idx="2019">
                  <c:v>24.936343999999998</c:v>
                </c:pt>
                <c:pt idx="2020">
                  <c:v>24.243369999999999</c:v>
                </c:pt>
                <c:pt idx="2021">
                  <c:v>23.949821</c:v>
                </c:pt>
                <c:pt idx="2022">
                  <c:v>23.714655</c:v>
                </c:pt>
                <c:pt idx="2023">
                  <c:v>24.315113</c:v>
                </c:pt>
                <c:pt idx="2024">
                  <c:v>24.885180999999999</c:v>
                </c:pt>
                <c:pt idx="2025">
                  <c:v>26.091346999999999</c:v>
                </c:pt>
                <c:pt idx="2026">
                  <c:v>25.594571999999999</c:v>
                </c:pt>
                <c:pt idx="2027">
                  <c:v>24.594999999999999</c:v>
                </c:pt>
                <c:pt idx="2028">
                  <c:v>24.140495000000001</c:v>
                </c:pt>
                <c:pt idx="2029">
                  <c:v>24.744778</c:v>
                </c:pt>
                <c:pt idx="2030">
                  <c:v>25.341604</c:v>
                </c:pt>
                <c:pt idx="2031">
                  <c:v>25.686554000000001</c:v>
                </c:pt>
                <c:pt idx="2032">
                  <c:v>26.443064</c:v>
                </c:pt>
                <c:pt idx="2033">
                  <c:v>26.159448999999999</c:v>
                </c:pt>
                <c:pt idx="2034">
                  <c:v>24.426500000000001</c:v>
                </c:pt>
                <c:pt idx="2035">
                  <c:v>25.493324000000001</c:v>
                </c:pt>
                <c:pt idx="2036">
                  <c:v>26.574400000000001</c:v>
                </c:pt>
                <c:pt idx="2037">
                  <c:v>26.247085999999999</c:v>
                </c:pt>
                <c:pt idx="2038">
                  <c:v>26.270154999999999</c:v>
                </c:pt>
                <c:pt idx="2039">
                  <c:v>26.751533999999999</c:v>
                </c:pt>
                <c:pt idx="2040">
                  <c:v>26.255331000000002</c:v>
                </c:pt>
                <c:pt idx="2041">
                  <c:v>26.424855999999998</c:v>
                </c:pt>
                <c:pt idx="2042">
                  <c:v>26.307205</c:v>
                </c:pt>
                <c:pt idx="2043">
                  <c:v>27.261284</c:v>
                </c:pt>
                <c:pt idx="2044">
                  <c:v>28.300225999999999</c:v>
                </c:pt>
                <c:pt idx="2045">
                  <c:v>28.407412000000001</c:v>
                </c:pt>
                <c:pt idx="2046">
                  <c:v>29.261585</c:v>
                </c:pt>
                <c:pt idx="2047">
                  <c:v>30.397704999999998</c:v>
                </c:pt>
                <c:pt idx="2048">
                  <c:v>31.03227</c:v>
                </c:pt>
                <c:pt idx="2049">
                  <c:v>31.796747</c:v>
                </c:pt>
                <c:pt idx="2050">
                  <c:v>32.704338</c:v>
                </c:pt>
                <c:pt idx="2051">
                  <c:v>33.446510000000004</c:v>
                </c:pt>
                <c:pt idx="2052">
                  <c:v>34.990906000000003</c:v>
                </c:pt>
                <c:pt idx="2053">
                  <c:v>35.619236000000001</c:v>
                </c:pt>
                <c:pt idx="2054">
                  <c:v>34.508159999999997</c:v>
                </c:pt>
                <c:pt idx="2055">
                  <c:v>34.876545</c:v>
                </c:pt>
                <c:pt idx="2056">
                  <c:v>35.349403000000002</c:v>
                </c:pt>
                <c:pt idx="2057">
                  <c:v>36.767757000000003</c:v>
                </c:pt>
                <c:pt idx="2058">
                  <c:v>37.464190000000002</c:v>
                </c:pt>
                <c:pt idx="2059">
                  <c:v>35.429679999999998</c:v>
                </c:pt>
                <c:pt idx="2060">
                  <c:v>34.490887000000001</c:v>
                </c:pt>
                <c:pt idx="2061">
                  <c:v>31.340170000000001</c:v>
                </c:pt>
                <c:pt idx="2062">
                  <c:v>32.078229999999998</c:v>
                </c:pt>
                <c:pt idx="2063">
                  <c:v>32.77317</c:v>
                </c:pt>
                <c:pt idx="2064">
                  <c:v>34.988453</c:v>
                </c:pt>
                <c:pt idx="2065">
                  <c:v>36.923470000000002</c:v>
                </c:pt>
                <c:pt idx="2066">
                  <c:v>37.185963000000001</c:v>
                </c:pt>
                <c:pt idx="2067">
                  <c:v>37.677937</c:v>
                </c:pt>
                <c:pt idx="2068">
                  <c:v>38.39087</c:v>
                </c:pt>
                <c:pt idx="2069">
                  <c:v>37.674114000000003</c:v>
                </c:pt>
                <c:pt idx="2070">
                  <c:v>38.144939999999998</c:v>
                </c:pt>
                <c:pt idx="2071">
                  <c:v>38.900787000000001</c:v>
                </c:pt>
                <c:pt idx="2072">
                  <c:v>38.8307</c:v>
                </c:pt>
                <c:pt idx="2073">
                  <c:v>38.501820000000002</c:v>
                </c:pt>
                <c:pt idx="2074">
                  <c:v>37.492269999999998</c:v>
                </c:pt>
                <c:pt idx="2075">
                  <c:v>36.505116000000001</c:v>
                </c:pt>
                <c:pt idx="2076">
                  <c:v>36.093746000000003</c:v>
                </c:pt>
                <c:pt idx="2077">
                  <c:v>35.918396000000001</c:v>
                </c:pt>
                <c:pt idx="2078">
                  <c:v>35.690876000000003</c:v>
                </c:pt>
                <c:pt idx="2079">
                  <c:v>35.528953999999999</c:v>
                </c:pt>
                <c:pt idx="2080">
                  <c:v>35.701366</c:v>
                </c:pt>
                <c:pt idx="2081">
                  <c:v>36.170386999999998</c:v>
                </c:pt>
                <c:pt idx="2082">
                  <c:v>37.262279999999997</c:v>
                </c:pt>
                <c:pt idx="2083">
                  <c:v>38.229149999999997</c:v>
                </c:pt>
                <c:pt idx="2084">
                  <c:v>36.103034999999998</c:v>
                </c:pt>
                <c:pt idx="2085">
                  <c:v>37.349826999999998</c:v>
                </c:pt>
                <c:pt idx="2086">
                  <c:v>37.320396000000002</c:v>
                </c:pt>
                <c:pt idx="2087">
                  <c:v>37.932236000000003</c:v>
                </c:pt>
                <c:pt idx="2088">
                  <c:v>37.664012999999997</c:v>
                </c:pt>
                <c:pt idx="2089">
                  <c:v>35.253162000000003</c:v>
                </c:pt>
                <c:pt idx="2090">
                  <c:v>36.116833</c:v>
                </c:pt>
                <c:pt idx="2091">
                  <c:v>37.604984000000002</c:v>
                </c:pt>
                <c:pt idx="2092">
                  <c:v>39.278537999999998</c:v>
                </c:pt>
                <c:pt idx="2093">
                  <c:v>39.661639999999998</c:v>
                </c:pt>
                <c:pt idx="2094">
                  <c:v>40.477629999999998</c:v>
                </c:pt>
                <c:pt idx="2095">
                  <c:v>40.081263999999997</c:v>
                </c:pt>
                <c:pt idx="2096">
                  <c:v>40.371192999999998</c:v>
                </c:pt>
                <c:pt idx="2097">
                  <c:v>40.725406999999997</c:v>
                </c:pt>
                <c:pt idx="2098">
                  <c:v>41.196765999999997</c:v>
                </c:pt>
                <c:pt idx="2099">
                  <c:v>41.124290000000002</c:v>
                </c:pt>
                <c:pt idx="2100">
                  <c:v>39.720129999999997</c:v>
                </c:pt>
                <c:pt idx="2101">
                  <c:v>39.227454999999999</c:v>
                </c:pt>
                <c:pt idx="2102">
                  <c:v>39.387099999999997</c:v>
                </c:pt>
                <c:pt idx="2103">
                  <c:v>40.060580000000002</c:v>
                </c:pt>
                <c:pt idx="2104">
                  <c:v>40.938853999999999</c:v>
                </c:pt>
                <c:pt idx="2105">
                  <c:v>40.955306999999998</c:v>
                </c:pt>
                <c:pt idx="2106">
                  <c:v>41.484690000000001</c:v>
                </c:pt>
                <c:pt idx="2107">
                  <c:v>38.673459999999999</c:v>
                </c:pt>
                <c:pt idx="2108">
                  <c:v>39.447178000000001</c:v>
                </c:pt>
                <c:pt idx="2109">
                  <c:v>148.99643</c:v>
                </c:pt>
              </c:numCache>
            </c:numRef>
          </c:val>
          <c:smooth val="0"/>
          <c:extLst>
            <c:ext xmlns:c16="http://schemas.microsoft.com/office/drawing/2014/chart" uri="{C3380CC4-5D6E-409C-BE32-E72D297353CC}">
              <c16:uniqueId val="{00000001-39F2-104F-8D1D-22D1266C2E0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6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732811210122191E-2"/>
          <c:y val="3.4909703755316636E-2"/>
          <c:w val="0.9282671887898778"/>
          <c:h val="0.9199180263261606"/>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B$2:$B$2111</c:f>
              <c:numCache>
                <c:formatCode>General</c:formatCode>
                <c:ptCount val="2110"/>
                <c:pt idx="0">
                  <c:v>45.915756000000002</c:v>
                </c:pt>
                <c:pt idx="1">
                  <c:v>45.102238</c:v>
                </c:pt>
                <c:pt idx="2">
                  <c:v>46.041663999999997</c:v>
                </c:pt>
                <c:pt idx="3">
                  <c:v>45.489623999999999</c:v>
                </c:pt>
                <c:pt idx="4">
                  <c:v>45.431519999999999</c:v>
                </c:pt>
                <c:pt idx="5">
                  <c:v>45.334679999999999</c:v>
                </c:pt>
                <c:pt idx="6">
                  <c:v>44.860109999999999</c:v>
                </c:pt>
                <c:pt idx="7">
                  <c:v>44.647039999999997</c:v>
                </c:pt>
                <c:pt idx="8">
                  <c:v>44.821370000000002</c:v>
                </c:pt>
                <c:pt idx="9">
                  <c:v>44.860109999999999</c:v>
                </c:pt>
                <c:pt idx="10">
                  <c:v>44.898845999999999</c:v>
                </c:pt>
                <c:pt idx="11">
                  <c:v>45.605846</c:v>
                </c:pt>
                <c:pt idx="12">
                  <c:v>44.279020000000003</c:v>
                </c:pt>
                <c:pt idx="13">
                  <c:v>45.344344999999997</c:v>
                </c:pt>
                <c:pt idx="14">
                  <c:v>43.881943</c:v>
                </c:pt>
                <c:pt idx="15">
                  <c:v>43.426754000000003</c:v>
                </c:pt>
                <c:pt idx="16">
                  <c:v>43.475185000000003</c:v>
                </c:pt>
                <c:pt idx="17">
                  <c:v>41.964348000000001</c:v>
                </c:pt>
                <c:pt idx="18">
                  <c:v>42.516387999999999</c:v>
                </c:pt>
                <c:pt idx="19">
                  <c:v>41.034602999999997</c:v>
                </c:pt>
                <c:pt idx="20">
                  <c:v>39.911163000000002</c:v>
                </c:pt>
                <c:pt idx="21">
                  <c:v>40.76343</c:v>
                </c:pt>
                <c:pt idx="22">
                  <c:v>40.802177</c:v>
                </c:pt>
                <c:pt idx="23">
                  <c:v>40.405098000000002</c:v>
                </c:pt>
                <c:pt idx="24">
                  <c:v>40.385719999999999</c:v>
                </c:pt>
                <c:pt idx="25">
                  <c:v>39.146070000000002</c:v>
                </c:pt>
                <c:pt idx="26">
                  <c:v>39.078270000000003</c:v>
                </c:pt>
                <c:pt idx="27">
                  <c:v>40.104866000000001</c:v>
                </c:pt>
                <c:pt idx="28">
                  <c:v>40.414783</c:v>
                </c:pt>
                <c:pt idx="29">
                  <c:v>40.424458000000001</c:v>
                </c:pt>
                <c:pt idx="30">
                  <c:v>41.257359999999998</c:v>
                </c:pt>
                <c:pt idx="31">
                  <c:v>40.637529999999998</c:v>
                </c:pt>
                <c:pt idx="32">
                  <c:v>41.199244999999998</c:v>
                </c:pt>
                <c:pt idx="33">
                  <c:v>40.966810000000002</c:v>
                </c:pt>
                <c:pt idx="34">
                  <c:v>41.112087000000002</c:v>
                </c:pt>
                <c:pt idx="35">
                  <c:v>39.610930000000003</c:v>
                </c:pt>
                <c:pt idx="36">
                  <c:v>40.008006999999999</c:v>
                </c:pt>
                <c:pt idx="37">
                  <c:v>40.405098000000002</c:v>
                </c:pt>
                <c:pt idx="38">
                  <c:v>40.492260000000002</c:v>
                </c:pt>
                <c:pt idx="39">
                  <c:v>40.986190000000001</c:v>
                </c:pt>
                <c:pt idx="40">
                  <c:v>42.545439999999999</c:v>
                </c:pt>
                <c:pt idx="41">
                  <c:v>42.574492999999997</c:v>
                </c:pt>
                <c:pt idx="42">
                  <c:v>41.983710000000002</c:v>
                </c:pt>
                <c:pt idx="43">
                  <c:v>42.835982999999999</c:v>
                </c:pt>
                <c:pt idx="44">
                  <c:v>42.429220000000001</c:v>
                </c:pt>
                <c:pt idx="45">
                  <c:v>43.000630000000001</c:v>
                </c:pt>
                <c:pt idx="46">
                  <c:v>43.794784999999997</c:v>
                </c:pt>
                <c:pt idx="47">
                  <c:v>43.726999999999997</c:v>
                </c:pt>
                <c:pt idx="48">
                  <c:v>44.976322000000003</c:v>
                </c:pt>
                <c:pt idx="49">
                  <c:v>45.140970000000003</c:v>
                </c:pt>
                <c:pt idx="50">
                  <c:v>44.937595000000002</c:v>
                </c:pt>
                <c:pt idx="51">
                  <c:v>42.593857</c:v>
                </c:pt>
                <c:pt idx="52">
                  <c:v>41.276730000000001</c:v>
                </c:pt>
                <c:pt idx="53">
                  <c:v>40.753746</c:v>
                </c:pt>
                <c:pt idx="54">
                  <c:v>42.48733</c:v>
                </c:pt>
                <c:pt idx="55">
                  <c:v>42.53575</c:v>
                </c:pt>
                <c:pt idx="56">
                  <c:v>42.526069999999997</c:v>
                </c:pt>
                <c:pt idx="57">
                  <c:v>43.107162000000002</c:v>
                </c:pt>
                <c:pt idx="58">
                  <c:v>43.523609999999998</c:v>
                </c:pt>
                <c:pt idx="59">
                  <c:v>45.596159999999998</c:v>
                </c:pt>
                <c:pt idx="60">
                  <c:v>45.809223000000003</c:v>
                </c:pt>
                <c:pt idx="61">
                  <c:v>45.073177000000001</c:v>
                </c:pt>
                <c:pt idx="62">
                  <c:v>44.481133</c:v>
                </c:pt>
                <c:pt idx="63">
                  <c:v>45.306114000000001</c:v>
                </c:pt>
                <c:pt idx="64">
                  <c:v>45.558459999999997</c:v>
                </c:pt>
                <c:pt idx="65">
                  <c:v>43.597909999999999</c:v>
                </c:pt>
                <c:pt idx="66">
                  <c:v>43.335859999999997</c:v>
                </c:pt>
                <c:pt idx="67">
                  <c:v>43.889088000000001</c:v>
                </c:pt>
                <c:pt idx="68">
                  <c:v>44.849944999999998</c:v>
                </c:pt>
                <c:pt idx="69">
                  <c:v>45.286704999999998</c:v>
                </c:pt>
                <c:pt idx="70">
                  <c:v>45.393459999999997</c:v>
                </c:pt>
                <c:pt idx="71">
                  <c:v>46.606678000000002</c:v>
                </c:pt>
                <c:pt idx="72">
                  <c:v>47.305492000000001</c:v>
                </c:pt>
                <c:pt idx="73">
                  <c:v>46.548439999999999</c:v>
                </c:pt>
                <c:pt idx="74">
                  <c:v>46.985199999999999</c:v>
                </c:pt>
                <c:pt idx="75">
                  <c:v>47.606354000000003</c:v>
                </c:pt>
                <c:pt idx="76">
                  <c:v>48.062527000000003</c:v>
                </c:pt>
                <c:pt idx="77">
                  <c:v>48.276049999999998</c:v>
                </c:pt>
                <c:pt idx="78">
                  <c:v>48.276049999999998</c:v>
                </c:pt>
                <c:pt idx="79">
                  <c:v>49.363083000000003</c:v>
                </c:pt>
                <c:pt idx="80">
                  <c:v>49.916313000000002</c:v>
                </c:pt>
                <c:pt idx="81">
                  <c:v>48.790455000000001</c:v>
                </c:pt>
                <c:pt idx="82">
                  <c:v>48.023705</c:v>
                </c:pt>
                <c:pt idx="83">
                  <c:v>47.994587000000003</c:v>
                </c:pt>
                <c:pt idx="84">
                  <c:v>47.936349999999997</c:v>
                </c:pt>
                <c:pt idx="85">
                  <c:v>47.664589999999997</c:v>
                </c:pt>
                <c:pt idx="86">
                  <c:v>47.354014999999997</c:v>
                </c:pt>
                <c:pt idx="87">
                  <c:v>48.198405999999999</c:v>
                </c:pt>
                <c:pt idx="88">
                  <c:v>46.616382999999999</c:v>
                </c:pt>
                <c:pt idx="89">
                  <c:v>47.004604</c:v>
                </c:pt>
                <c:pt idx="90">
                  <c:v>47.528717</c:v>
                </c:pt>
                <c:pt idx="91">
                  <c:v>47.198723000000001</c:v>
                </c:pt>
                <c:pt idx="92">
                  <c:v>47.344307000000001</c:v>
                </c:pt>
                <c:pt idx="93">
                  <c:v>47.072544000000001</c:v>
                </c:pt>
                <c:pt idx="94">
                  <c:v>47.800471999999999</c:v>
                </c:pt>
                <c:pt idx="95">
                  <c:v>48.159576000000001</c:v>
                </c:pt>
                <c:pt idx="96">
                  <c:v>48.838977999999997</c:v>
                </c:pt>
                <c:pt idx="97">
                  <c:v>48.906917999999997</c:v>
                </c:pt>
                <c:pt idx="98">
                  <c:v>49.751305000000002</c:v>
                </c:pt>
                <c:pt idx="99">
                  <c:v>50.518059999999998</c:v>
                </c:pt>
                <c:pt idx="100">
                  <c:v>51.46922</c:v>
                </c:pt>
                <c:pt idx="101">
                  <c:v>51.110115</c:v>
                </c:pt>
                <c:pt idx="102">
                  <c:v>50.091006999999998</c:v>
                </c:pt>
                <c:pt idx="103">
                  <c:v>52.216560000000001</c:v>
                </c:pt>
                <c:pt idx="104">
                  <c:v>52.226264999999998</c:v>
                </c:pt>
                <c:pt idx="105">
                  <c:v>52.624195</c:v>
                </c:pt>
                <c:pt idx="106">
                  <c:v>52.284495999999997</c:v>
                </c:pt>
                <c:pt idx="107">
                  <c:v>51.58569</c:v>
                </c:pt>
                <c:pt idx="108">
                  <c:v>51.061573000000003</c:v>
                </c:pt>
                <c:pt idx="109">
                  <c:v>50.799526</c:v>
                </c:pt>
                <c:pt idx="110">
                  <c:v>50.382182999999998</c:v>
                </c:pt>
                <c:pt idx="111">
                  <c:v>49.770719999999997</c:v>
                </c:pt>
                <c:pt idx="112">
                  <c:v>49.120449999999998</c:v>
                </c:pt>
                <c:pt idx="113">
                  <c:v>49.508670000000002</c:v>
                </c:pt>
                <c:pt idx="114">
                  <c:v>48.528396999999998</c:v>
                </c:pt>
                <c:pt idx="115">
                  <c:v>49.003982999999998</c:v>
                </c:pt>
                <c:pt idx="116">
                  <c:v>48.955449999999999</c:v>
                </c:pt>
                <c:pt idx="117">
                  <c:v>49.557200000000002</c:v>
                </c:pt>
                <c:pt idx="118">
                  <c:v>48.965156999999998</c:v>
                </c:pt>
                <c:pt idx="119">
                  <c:v>49.062213999999997</c:v>
                </c:pt>
                <c:pt idx="120">
                  <c:v>49.304850000000002</c:v>
                </c:pt>
                <c:pt idx="121">
                  <c:v>49.091329999999999</c:v>
                </c:pt>
                <c:pt idx="122">
                  <c:v>48.528396999999998</c:v>
                </c:pt>
                <c:pt idx="123">
                  <c:v>47.946055999999999</c:v>
                </c:pt>
                <c:pt idx="124">
                  <c:v>47.216656</c:v>
                </c:pt>
                <c:pt idx="125">
                  <c:v>47.022143999999997</c:v>
                </c:pt>
                <c:pt idx="126">
                  <c:v>47.46951</c:v>
                </c:pt>
                <c:pt idx="127">
                  <c:v>47.187477000000001</c:v>
                </c:pt>
                <c:pt idx="128">
                  <c:v>47.080505000000002</c:v>
                </c:pt>
                <c:pt idx="129">
                  <c:v>44.765860000000004</c:v>
                </c:pt>
                <c:pt idx="130">
                  <c:v>44.299045999999997</c:v>
                </c:pt>
                <c:pt idx="131">
                  <c:v>44.454650000000001</c:v>
                </c:pt>
                <c:pt idx="132">
                  <c:v>44.162889999999997</c:v>
                </c:pt>
                <c:pt idx="133">
                  <c:v>42.762439999999998</c:v>
                </c:pt>
                <c:pt idx="134">
                  <c:v>41.74127</c:v>
                </c:pt>
                <c:pt idx="135">
                  <c:v>44.007286000000001</c:v>
                </c:pt>
                <c:pt idx="136">
                  <c:v>43.715527000000002</c:v>
                </c:pt>
                <c:pt idx="137">
                  <c:v>43.33623</c:v>
                </c:pt>
                <c:pt idx="138">
                  <c:v>43.102820000000001</c:v>
                </c:pt>
                <c:pt idx="139">
                  <c:v>43.511294999999997</c:v>
                </c:pt>
                <c:pt idx="140">
                  <c:v>44.065635999999998</c:v>
                </c:pt>
                <c:pt idx="141">
                  <c:v>42.713818000000003</c:v>
                </c:pt>
                <c:pt idx="142">
                  <c:v>43.0931</c:v>
                </c:pt>
                <c:pt idx="143">
                  <c:v>42.636009999999999</c:v>
                </c:pt>
                <c:pt idx="144">
                  <c:v>42.4026</c:v>
                </c:pt>
                <c:pt idx="145">
                  <c:v>44.600532999999999</c:v>
                </c:pt>
                <c:pt idx="146">
                  <c:v>45.018723000000001</c:v>
                </c:pt>
                <c:pt idx="147">
                  <c:v>45.709225000000004</c:v>
                </c:pt>
                <c:pt idx="148">
                  <c:v>44.921474000000003</c:v>
                </c:pt>
                <c:pt idx="149">
                  <c:v>44.736687000000003</c:v>
                </c:pt>
                <c:pt idx="150">
                  <c:v>44.065635999999998</c:v>
                </c:pt>
                <c:pt idx="151">
                  <c:v>43.161186000000001</c:v>
                </c:pt>
                <c:pt idx="152">
                  <c:v>44.172606999999999</c:v>
                </c:pt>
                <c:pt idx="153">
                  <c:v>45.018723000000001</c:v>
                </c:pt>
                <c:pt idx="154">
                  <c:v>45.767580000000002</c:v>
                </c:pt>
                <c:pt idx="155">
                  <c:v>46.390006999999997</c:v>
                </c:pt>
                <c:pt idx="156">
                  <c:v>46.273296000000002</c:v>
                </c:pt>
                <c:pt idx="157">
                  <c:v>45.563339999999997</c:v>
                </c:pt>
                <c:pt idx="158">
                  <c:v>46.185775999999997</c:v>
                </c:pt>
                <c:pt idx="159">
                  <c:v>46.185775999999997</c:v>
                </c:pt>
                <c:pt idx="160">
                  <c:v>46.419173999999998</c:v>
                </c:pt>
                <c:pt idx="161">
                  <c:v>49.122819999999997</c:v>
                </c:pt>
                <c:pt idx="162">
                  <c:v>49.336784000000002</c:v>
                </c:pt>
                <c:pt idx="163">
                  <c:v>49.171460000000003</c:v>
                </c:pt>
                <c:pt idx="164">
                  <c:v>49.891129999999997</c:v>
                </c:pt>
                <c:pt idx="165">
                  <c:v>49.210354000000002</c:v>
                </c:pt>
                <c:pt idx="166">
                  <c:v>51.573624000000002</c:v>
                </c:pt>
                <c:pt idx="167">
                  <c:v>51.379105000000003</c:v>
                </c:pt>
                <c:pt idx="168">
                  <c:v>51.204059999999998</c:v>
                </c:pt>
                <c:pt idx="169">
                  <c:v>51.252679999999998</c:v>
                </c:pt>
                <c:pt idx="170">
                  <c:v>50.834484000000003</c:v>
                </c:pt>
                <c:pt idx="171">
                  <c:v>50.639995999999996</c:v>
                </c:pt>
                <c:pt idx="172">
                  <c:v>50.601080000000003</c:v>
                </c:pt>
                <c:pt idx="173">
                  <c:v>50.095363999999996</c:v>
                </c:pt>
                <c:pt idx="174">
                  <c:v>50.503825999999997</c:v>
                </c:pt>
                <c:pt idx="175">
                  <c:v>49.579914000000002</c:v>
                </c:pt>
                <c:pt idx="176">
                  <c:v>50.52328</c:v>
                </c:pt>
                <c:pt idx="177">
                  <c:v>49.618819999999999</c:v>
                </c:pt>
                <c:pt idx="178">
                  <c:v>47.274999999999999</c:v>
                </c:pt>
                <c:pt idx="179">
                  <c:v>46.253844999999998</c:v>
                </c:pt>
                <c:pt idx="180">
                  <c:v>45.952354</c:v>
                </c:pt>
                <c:pt idx="181">
                  <c:v>45.534170000000003</c:v>
                </c:pt>
                <c:pt idx="182">
                  <c:v>46.526156999999998</c:v>
                </c:pt>
                <c:pt idx="183">
                  <c:v>46.059337999999997</c:v>
                </c:pt>
                <c:pt idx="184">
                  <c:v>46.146866000000003</c:v>
                </c:pt>
                <c:pt idx="185">
                  <c:v>46.205215000000003</c:v>
                </c:pt>
                <c:pt idx="186">
                  <c:v>45.184055000000001</c:v>
                </c:pt>
                <c:pt idx="187">
                  <c:v>45.096522999999998</c:v>
                </c:pt>
                <c:pt idx="188">
                  <c:v>44.513004000000002</c:v>
                </c:pt>
                <c:pt idx="189">
                  <c:v>44.659202999999998</c:v>
                </c:pt>
                <c:pt idx="190">
                  <c:v>44.581234000000002</c:v>
                </c:pt>
                <c:pt idx="191">
                  <c:v>44.649451999999997</c:v>
                </c:pt>
                <c:pt idx="192">
                  <c:v>45.994489999999999</c:v>
                </c:pt>
                <c:pt idx="193">
                  <c:v>46.472087999999999</c:v>
                </c:pt>
                <c:pt idx="194">
                  <c:v>46.189425999999997</c:v>
                </c:pt>
                <c:pt idx="195">
                  <c:v>46.481830000000002</c:v>
                </c:pt>
                <c:pt idx="196">
                  <c:v>47.41751</c:v>
                </c:pt>
                <c:pt idx="197">
                  <c:v>47.427253999999998</c:v>
                </c:pt>
                <c:pt idx="198">
                  <c:v>47.329791999999998</c:v>
                </c:pt>
                <c:pt idx="199">
                  <c:v>47.193333000000003</c:v>
                </c:pt>
                <c:pt idx="200">
                  <c:v>47.97307</c:v>
                </c:pt>
                <c:pt idx="201">
                  <c:v>48.002307999999999</c:v>
                </c:pt>
                <c:pt idx="202">
                  <c:v>49.210889999999999</c:v>
                </c:pt>
                <c:pt idx="203">
                  <c:v>47.758643999999997</c:v>
                </c:pt>
                <c:pt idx="204">
                  <c:v>48.665089999999999</c:v>
                </c:pt>
                <c:pt idx="205">
                  <c:v>48.216732</c:v>
                </c:pt>
                <c:pt idx="206">
                  <c:v>48.353180000000002</c:v>
                </c:pt>
                <c:pt idx="207">
                  <c:v>49.591006999999998</c:v>
                </c:pt>
                <c:pt idx="208">
                  <c:v>49.727469999999997</c:v>
                </c:pt>
                <c:pt idx="209">
                  <c:v>50.000369999999997</c:v>
                </c:pt>
                <c:pt idx="210">
                  <c:v>49.191406000000001</c:v>
                </c:pt>
                <c:pt idx="211">
                  <c:v>48.82103</c:v>
                </c:pt>
                <c:pt idx="212">
                  <c:v>48.937984</c:v>
                </c:pt>
                <c:pt idx="213">
                  <c:v>49.766452999999998</c:v>
                </c:pt>
                <c:pt idx="214">
                  <c:v>50.185555000000001</c:v>
                </c:pt>
                <c:pt idx="215">
                  <c:v>50.136830000000003</c:v>
                </c:pt>
                <c:pt idx="216">
                  <c:v>50.604664</c:v>
                </c:pt>
                <c:pt idx="217">
                  <c:v>51.452624999999998</c:v>
                </c:pt>
                <c:pt idx="218">
                  <c:v>51.257686999999997</c:v>
                </c:pt>
                <c:pt idx="219">
                  <c:v>51.511105000000001</c:v>
                </c:pt>
                <c:pt idx="220">
                  <c:v>51.072510000000001</c:v>
                </c:pt>
                <c:pt idx="221">
                  <c:v>51.130980000000001</c:v>
                </c:pt>
                <c:pt idx="222">
                  <c:v>50.711872</c:v>
                </c:pt>
                <c:pt idx="223">
                  <c:v>50.711872</c:v>
                </c:pt>
                <c:pt idx="224">
                  <c:v>51.647556000000002</c:v>
                </c:pt>
                <c:pt idx="225">
                  <c:v>51.647556000000002</c:v>
                </c:pt>
                <c:pt idx="226">
                  <c:v>51.014029999999998</c:v>
                </c:pt>
                <c:pt idx="227">
                  <c:v>51.335662999999997</c:v>
                </c:pt>
                <c:pt idx="228">
                  <c:v>51.316177000000003</c:v>
                </c:pt>
                <c:pt idx="229">
                  <c:v>50.809345</c:v>
                </c:pt>
                <c:pt idx="230">
                  <c:v>50.760612000000002</c:v>
                </c:pt>
                <c:pt idx="231">
                  <c:v>52.417540000000002</c:v>
                </c:pt>
                <c:pt idx="232">
                  <c:v>54.990665</c:v>
                </c:pt>
                <c:pt idx="233">
                  <c:v>56.988728000000002</c:v>
                </c:pt>
                <c:pt idx="234">
                  <c:v>56.511139999999997</c:v>
                </c:pt>
                <c:pt idx="235">
                  <c:v>56.686579999999999</c:v>
                </c:pt>
                <c:pt idx="236">
                  <c:v>56.862022000000003</c:v>
                </c:pt>
                <c:pt idx="237">
                  <c:v>56.589123000000001</c:v>
                </c:pt>
                <c:pt idx="238">
                  <c:v>56.628098000000001</c:v>
                </c:pt>
                <c:pt idx="239">
                  <c:v>56.813285999999998</c:v>
                </c:pt>
                <c:pt idx="240">
                  <c:v>53.401960000000003</c:v>
                </c:pt>
                <c:pt idx="241">
                  <c:v>51.706035999999997</c:v>
                </c:pt>
                <c:pt idx="242">
                  <c:v>51.725532999999999</c:v>
                </c:pt>
                <c:pt idx="243">
                  <c:v>51.345410000000001</c:v>
                </c:pt>
                <c:pt idx="244">
                  <c:v>51.257686999999997</c:v>
                </c:pt>
                <c:pt idx="245">
                  <c:v>52.943860000000001</c:v>
                </c:pt>
                <c:pt idx="246">
                  <c:v>52.515014999999998</c:v>
                </c:pt>
                <c:pt idx="247">
                  <c:v>50.780106000000004</c:v>
                </c:pt>
                <c:pt idx="248">
                  <c:v>48.592649999999999</c:v>
                </c:pt>
                <c:pt idx="249">
                  <c:v>49.979343</c:v>
                </c:pt>
                <c:pt idx="250">
                  <c:v>50.194180000000003</c:v>
                </c:pt>
                <c:pt idx="251">
                  <c:v>47.459865999999998</c:v>
                </c:pt>
                <c:pt idx="252">
                  <c:v>47.225499999999997</c:v>
                </c:pt>
                <c:pt idx="253">
                  <c:v>48.914917000000003</c:v>
                </c:pt>
                <c:pt idx="254">
                  <c:v>49.676617</c:v>
                </c:pt>
                <c:pt idx="255">
                  <c:v>49.871920000000003</c:v>
                </c:pt>
                <c:pt idx="256">
                  <c:v>50.457847999999998</c:v>
                </c:pt>
                <c:pt idx="257">
                  <c:v>50.369956999999999</c:v>
                </c:pt>
                <c:pt idx="258">
                  <c:v>50.506675999999999</c:v>
                </c:pt>
                <c:pt idx="259">
                  <c:v>51.541804999999997</c:v>
                </c:pt>
                <c:pt idx="260">
                  <c:v>51.737110000000001</c:v>
                </c:pt>
                <c:pt idx="261">
                  <c:v>52.137500000000003</c:v>
                </c:pt>
                <c:pt idx="262">
                  <c:v>53.709732000000002</c:v>
                </c:pt>
                <c:pt idx="263">
                  <c:v>52.987090000000002</c:v>
                </c:pt>
                <c:pt idx="264">
                  <c:v>52.977319999999999</c:v>
                </c:pt>
                <c:pt idx="265">
                  <c:v>52.225389999999997</c:v>
                </c:pt>
                <c:pt idx="266">
                  <c:v>51.93242</c:v>
                </c:pt>
                <c:pt idx="267">
                  <c:v>51.942189999999997</c:v>
                </c:pt>
                <c:pt idx="268">
                  <c:v>52.313270000000003</c:v>
                </c:pt>
                <c:pt idx="269">
                  <c:v>52.840614000000002</c:v>
                </c:pt>
                <c:pt idx="270">
                  <c:v>53.504654000000002</c:v>
                </c:pt>
                <c:pt idx="271">
                  <c:v>54.754623000000002</c:v>
                </c:pt>
                <c:pt idx="272">
                  <c:v>55.174537999999998</c:v>
                </c:pt>
                <c:pt idx="273">
                  <c:v>54.910865999999999</c:v>
                </c:pt>
                <c:pt idx="274">
                  <c:v>53.983153999999999</c:v>
                </c:pt>
                <c:pt idx="275">
                  <c:v>53.875731999999999</c:v>
                </c:pt>
                <c:pt idx="276">
                  <c:v>54.100346000000002</c:v>
                </c:pt>
                <c:pt idx="277">
                  <c:v>53.338633999999999</c:v>
                </c:pt>
                <c:pt idx="278">
                  <c:v>54.022219999999997</c:v>
                </c:pt>
                <c:pt idx="279">
                  <c:v>52.821069999999999</c:v>
                </c:pt>
                <c:pt idx="280">
                  <c:v>51.082836</c:v>
                </c:pt>
                <c:pt idx="281">
                  <c:v>49.813327999999998</c:v>
                </c:pt>
                <c:pt idx="282">
                  <c:v>50.643389999999997</c:v>
                </c:pt>
                <c:pt idx="283">
                  <c:v>49.705914</c:v>
                </c:pt>
                <c:pt idx="284">
                  <c:v>49.657080000000001</c:v>
                </c:pt>
                <c:pt idx="285">
                  <c:v>50.741034999999997</c:v>
                </c:pt>
                <c:pt idx="286">
                  <c:v>48.612186000000001</c:v>
                </c:pt>
                <c:pt idx="287">
                  <c:v>50.262543000000001</c:v>
                </c:pt>
                <c:pt idx="288">
                  <c:v>50.819167999999998</c:v>
                </c:pt>
                <c:pt idx="289">
                  <c:v>50.916812999999998</c:v>
                </c:pt>
                <c:pt idx="290">
                  <c:v>49.110219999999998</c:v>
                </c:pt>
                <c:pt idx="291">
                  <c:v>48.651249999999997</c:v>
                </c:pt>
                <c:pt idx="292">
                  <c:v>46.346609999999998</c:v>
                </c:pt>
                <c:pt idx="293">
                  <c:v>44.334946000000002</c:v>
                </c:pt>
                <c:pt idx="294">
                  <c:v>45.477493000000003</c:v>
                </c:pt>
                <c:pt idx="295">
                  <c:v>44.793914999999998</c:v>
                </c:pt>
                <c:pt idx="296">
                  <c:v>45.311484999999998</c:v>
                </c:pt>
                <c:pt idx="297">
                  <c:v>44.676727</c:v>
                </c:pt>
                <c:pt idx="298">
                  <c:v>46.639569999999999</c:v>
                </c:pt>
                <c:pt idx="299">
                  <c:v>45.78022</c:v>
                </c:pt>
                <c:pt idx="300">
                  <c:v>45.682560000000002</c:v>
                </c:pt>
                <c:pt idx="301">
                  <c:v>45.584910000000001</c:v>
                </c:pt>
                <c:pt idx="302">
                  <c:v>44.618133999999998</c:v>
                </c:pt>
                <c:pt idx="303">
                  <c:v>44.188459999999999</c:v>
                </c:pt>
                <c:pt idx="304">
                  <c:v>41.376021999999999</c:v>
                </c:pt>
                <c:pt idx="305">
                  <c:v>42.381860000000003</c:v>
                </c:pt>
                <c:pt idx="306">
                  <c:v>41.922885999999998</c:v>
                </c:pt>
                <c:pt idx="307">
                  <c:v>42.342796</c:v>
                </c:pt>
                <c:pt idx="308">
                  <c:v>41.249073000000003</c:v>
                </c:pt>
                <c:pt idx="309">
                  <c:v>41.122123999999999</c:v>
                </c:pt>
                <c:pt idx="310">
                  <c:v>41.854526999999997</c:v>
                </c:pt>
                <c:pt idx="311">
                  <c:v>41.5413</c:v>
                </c:pt>
                <c:pt idx="312">
                  <c:v>42.089440000000003</c:v>
                </c:pt>
                <c:pt idx="313">
                  <c:v>40.621203999999999</c:v>
                </c:pt>
                <c:pt idx="314">
                  <c:v>41.149773000000003</c:v>
                </c:pt>
                <c:pt idx="315">
                  <c:v>41.697920000000003</c:v>
                </c:pt>
                <c:pt idx="316">
                  <c:v>41.560879999999997</c:v>
                </c:pt>
                <c:pt idx="317">
                  <c:v>42.275424999999998</c:v>
                </c:pt>
                <c:pt idx="318">
                  <c:v>43.127000000000002</c:v>
                </c:pt>
                <c:pt idx="319">
                  <c:v>42.706099999999999</c:v>
                </c:pt>
                <c:pt idx="320">
                  <c:v>42.461399999999998</c:v>
                </c:pt>
                <c:pt idx="321">
                  <c:v>43.34234</c:v>
                </c:pt>
                <c:pt idx="322">
                  <c:v>41.971980000000002</c:v>
                </c:pt>
                <c:pt idx="323">
                  <c:v>41.893673</c:v>
                </c:pt>
                <c:pt idx="324">
                  <c:v>42.637591999999998</c:v>
                </c:pt>
                <c:pt idx="325">
                  <c:v>43.958995999999999</c:v>
                </c:pt>
                <c:pt idx="326">
                  <c:v>42.666946000000003</c:v>
                </c:pt>
                <c:pt idx="327">
                  <c:v>42.383090000000003</c:v>
                </c:pt>
                <c:pt idx="328">
                  <c:v>42.618009999999998</c:v>
                </c:pt>
                <c:pt idx="329">
                  <c:v>43.068269999999998</c:v>
                </c:pt>
                <c:pt idx="330">
                  <c:v>43.910057000000002</c:v>
                </c:pt>
                <c:pt idx="331">
                  <c:v>43.244464999999998</c:v>
                </c:pt>
                <c:pt idx="332">
                  <c:v>43.254241999999998</c:v>
                </c:pt>
                <c:pt idx="333">
                  <c:v>42.911655000000003</c:v>
                </c:pt>
                <c:pt idx="334">
                  <c:v>42.197113000000002</c:v>
                </c:pt>
                <c:pt idx="335">
                  <c:v>43.224879999999999</c:v>
                </c:pt>
                <c:pt idx="336">
                  <c:v>42.490765000000003</c:v>
                </c:pt>
                <c:pt idx="337">
                  <c:v>42.011130000000001</c:v>
                </c:pt>
                <c:pt idx="338">
                  <c:v>42.167755</c:v>
                </c:pt>
                <c:pt idx="339">
                  <c:v>41.864314999999998</c:v>
                </c:pt>
                <c:pt idx="340">
                  <c:v>41.5413</c:v>
                </c:pt>
                <c:pt idx="341">
                  <c:v>40.631</c:v>
                </c:pt>
                <c:pt idx="342">
                  <c:v>41.139980000000001</c:v>
                </c:pt>
                <c:pt idx="343">
                  <c:v>40.611423000000002</c:v>
                </c:pt>
                <c:pt idx="344">
                  <c:v>40.474384000000001</c:v>
                </c:pt>
                <c:pt idx="345">
                  <c:v>38.839750000000002</c:v>
                </c:pt>
                <c:pt idx="346">
                  <c:v>38.262239999999998</c:v>
                </c:pt>
                <c:pt idx="347">
                  <c:v>37.449818</c:v>
                </c:pt>
                <c:pt idx="348">
                  <c:v>37.391086999999999</c:v>
                </c:pt>
                <c:pt idx="349">
                  <c:v>37.156177999999997</c:v>
                </c:pt>
                <c:pt idx="350">
                  <c:v>37.547702999999998</c:v>
                </c:pt>
                <c:pt idx="351">
                  <c:v>36.950620000000001</c:v>
                </c:pt>
                <c:pt idx="352">
                  <c:v>37.185535000000002</c:v>
                </c:pt>
                <c:pt idx="353">
                  <c:v>37.283417</c:v>
                </c:pt>
                <c:pt idx="354">
                  <c:v>38.477584999999998</c:v>
                </c:pt>
                <c:pt idx="355">
                  <c:v>38.291603000000002</c:v>
                </c:pt>
                <c:pt idx="356">
                  <c:v>35.198523999999999</c:v>
                </c:pt>
                <c:pt idx="357">
                  <c:v>35.560690000000001</c:v>
                </c:pt>
                <c:pt idx="358">
                  <c:v>36.333953999999999</c:v>
                </c:pt>
                <c:pt idx="359">
                  <c:v>36.490561999999997</c:v>
                </c:pt>
                <c:pt idx="360">
                  <c:v>36.588450000000002</c:v>
                </c:pt>
                <c:pt idx="361">
                  <c:v>37.557487000000002</c:v>
                </c:pt>
                <c:pt idx="362">
                  <c:v>37.322575000000001</c:v>
                </c:pt>
                <c:pt idx="363">
                  <c:v>37.077869999999997</c:v>
                </c:pt>
                <c:pt idx="364">
                  <c:v>37.234473999999999</c:v>
                </c:pt>
                <c:pt idx="365">
                  <c:v>36.656970000000001</c:v>
                </c:pt>
                <c:pt idx="366">
                  <c:v>37.381298000000001</c:v>
                </c:pt>
                <c:pt idx="367">
                  <c:v>39.172542999999997</c:v>
                </c:pt>
                <c:pt idx="368">
                  <c:v>38.849536999999998</c:v>
                </c:pt>
                <c:pt idx="369">
                  <c:v>38.144782999999997</c:v>
                </c:pt>
                <c:pt idx="370">
                  <c:v>38.702713000000003</c:v>
                </c:pt>
                <c:pt idx="371">
                  <c:v>37.332349999999998</c:v>
                </c:pt>
                <c:pt idx="372">
                  <c:v>37.126804</c:v>
                </c:pt>
                <c:pt idx="373">
                  <c:v>37.606434</c:v>
                </c:pt>
                <c:pt idx="374">
                  <c:v>37.694749999999999</c:v>
                </c:pt>
                <c:pt idx="375">
                  <c:v>37.547545999999997</c:v>
                </c:pt>
                <c:pt idx="376">
                  <c:v>37.665309999999998</c:v>
                </c:pt>
                <c:pt idx="377">
                  <c:v>37.213875000000002</c:v>
                </c:pt>
                <c:pt idx="378">
                  <c:v>36.566166000000003</c:v>
                </c:pt>
                <c:pt idx="379">
                  <c:v>36.10492</c:v>
                </c:pt>
                <c:pt idx="380">
                  <c:v>36.399334000000003</c:v>
                </c:pt>
                <c:pt idx="381">
                  <c:v>36.742809999999999</c:v>
                </c:pt>
                <c:pt idx="382">
                  <c:v>37.449406000000003</c:v>
                </c:pt>
                <c:pt idx="383">
                  <c:v>37.086295999999997</c:v>
                </c:pt>
                <c:pt idx="384">
                  <c:v>39.245339999999999</c:v>
                </c:pt>
                <c:pt idx="385">
                  <c:v>39.579000000000001</c:v>
                </c:pt>
                <c:pt idx="386">
                  <c:v>38.460223999999997</c:v>
                </c:pt>
                <c:pt idx="387">
                  <c:v>38.106937000000002</c:v>
                </c:pt>
                <c:pt idx="388">
                  <c:v>38.097119999999997</c:v>
                </c:pt>
                <c:pt idx="389">
                  <c:v>38.784089999999999</c:v>
                </c:pt>
                <c:pt idx="390">
                  <c:v>39.932290000000002</c:v>
                </c:pt>
                <c:pt idx="391">
                  <c:v>39.745834000000002</c:v>
                </c:pt>
                <c:pt idx="392">
                  <c:v>39.647697000000001</c:v>
                </c:pt>
                <c:pt idx="393">
                  <c:v>39.726204000000003</c:v>
                </c:pt>
                <c:pt idx="394">
                  <c:v>40.010807</c:v>
                </c:pt>
                <c:pt idx="395">
                  <c:v>38.931289999999997</c:v>
                </c:pt>
                <c:pt idx="396">
                  <c:v>37.763449999999999</c:v>
                </c:pt>
                <c:pt idx="397">
                  <c:v>37.714379999999998</c:v>
                </c:pt>
                <c:pt idx="398">
                  <c:v>38.69576</c:v>
                </c:pt>
                <c:pt idx="399">
                  <c:v>39.431789999999999</c:v>
                </c:pt>
                <c:pt idx="400">
                  <c:v>38.528919999999999</c:v>
                </c:pt>
                <c:pt idx="401">
                  <c:v>38.744822999999997</c:v>
                </c:pt>
                <c:pt idx="402">
                  <c:v>38.999991999999999</c:v>
                </c:pt>
                <c:pt idx="403">
                  <c:v>39.569183000000002</c:v>
                </c:pt>
                <c:pt idx="404">
                  <c:v>40.030434</c:v>
                </c:pt>
                <c:pt idx="405">
                  <c:v>40.825347999999998</c:v>
                </c:pt>
                <c:pt idx="406">
                  <c:v>41.109946999999998</c:v>
                </c:pt>
                <c:pt idx="407">
                  <c:v>42.788105000000002</c:v>
                </c:pt>
                <c:pt idx="408">
                  <c:v>41.198279999999997</c:v>
                </c:pt>
                <c:pt idx="409">
                  <c:v>40.050060000000002</c:v>
                </c:pt>
                <c:pt idx="410">
                  <c:v>40.275779999999997</c:v>
                </c:pt>
                <c:pt idx="411">
                  <c:v>40.727209999999999</c:v>
                </c:pt>
                <c:pt idx="412">
                  <c:v>40.560383000000002</c:v>
                </c:pt>
                <c:pt idx="413">
                  <c:v>38.872402000000001</c:v>
                </c:pt>
                <c:pt idx="414">
                  <c:v>37.783073000000002</c:v>
                </c:pt>
                <c:pt idx="415">
                  <c:v>38.077488000000002</c:v>
                </c:pt>
                <c:pt idx="416">
                  <c:v>37.213875000000002</c:v>
                </c:pt>
                <c:pt idx="417">
                  <c:v>35.761436000000003</c:v>
                </c:pt>
                <c:pt idx="418">
                  <c:v>35.231495000000002</c:v>
                </c:pt>
                <c:pt idx="419">
                  <c:v>32.925249999999998</c:v>
                </c:pt>
                <c:pt idx="420">
                  <c:v>31.021380000000001</c:v>
                </c:pt>
                <c:pt idx="421">
                  <c:v>30.687708000000001</c:v>
                </c:pt>
                <c:pt idx="422">
                  <c:v>30.334415</c:v>
                </c:pt>
                <c:pt idx="423">
                  <c:v>31.188215</c:v>
                </c:pt>
                <c:pt idx="424">
                  <c:v>32.660274999999999</c:v>
                </c:pt>
                <c:pt idx="425">
                  <c:v>32.944884999999999</c:v>
                </c:pt>
                <c:pt idx="426">
                  <c:v>31.463000999999998</c:v>
                </c:pt>
                <c:pt idx="427">
                  <c:v>31.443373000000001</c:v>
                </c:pt>
                <c:pt idx="428">
                  <c:v>31.561133999999999</c:v>
                </c:pt>
                <c:pt idx="429">
                  <c:v>31.777042000000002</c:v>
                </c:pt>
                <c:pt idx="430">
                  <c:v>29.775027999999999</c:v>
                </c:pt>
                <c:pt idx="431">
                  <c:v>31.767220999999999</c:v>
                </c:pt>
                <c:pt idx="432">
                  <c:v>31.855547000000001</c:v>
                </c:pt>
                <c:pt idx="433">
                  <c:v>31.992940000000001</c:v>
                </c:pt>
                <c:pt idx="434">
                  <c:v>34.014583999999999</c:v>
                </c:pt>
                <c:pt idx="435">
                  <c:v>34.426765000000003</c:v>
                </c:pt>
                <c:pt idx="436">
                  <c:v>35.692740000000001</c:v>
                </c:pt>
                <c:pt idx="437">
                  <c:v>35.653492</c:v>
                </c:pt>
                <c:pt idx="438">
                  <c:v>35.151603999999999</c:v>
                </c:pt>
                <c:pt idx="439">
                  <c:v>34.610354999999998</c:v>
                </c:pt>
                <c:pt idx="440">
                  <c:v>36.381709999999998</c:v>
                </c:pt>
                <c:pt idx="441">
                  <c:v>36.273463999999997</c:v>
                </c:pt>
                <c:pt idx="442">
                  <c:v>35.643645999999997</c:v>
                </c:pt>
                <c:pt idx="443">
                  <c:v>36.273463999999997</c:v>
                </c:pt>
                <c:pt idx="444">
                  <c:v>37.178820000000002</c:v>
                </c:pt>
                <c:pt idx="445">
                  <c:v>37.503566999999997</c:v>
                </c:pt>
                <c:pt idx="446">
                  <c:v>37.218184999999998</c:v>
                </c:pt>
                <c:pt idx="447">
                  <c:v>36.165215000000003</c:v>
                </c:pt>
                <c:pt idx="448">
                  <c:v>35.250008000000001</c:v>
                </c:pt>
                <c:pt idx="449">
                  <c:v>35.023674</c:v>
                </c:pt>
                <c:pt idx="450">
                  <c:v>35.732210000000002</c:v>
                </c:pt>
                <c:pt idx="451">
                  <c:v>37.346114999999998</c:v>
                </c:pt>
                <c:pt idx="452">
                  <c:v>37.493724999999998</c:v>
                </c:pt>
                <c:pt idx="453">
                  <c:v>37.680706000000001</c:v>
                </c:pt>
                <c:pt idx="454">
                  <c:v>38.320360000000001</c:v>
                </c:pt>
                <c:pt idx="455">
                  <c:v>37.808639999999997</c:v>
                </c:pt>
                <c:pt idx="456">
                  <c:v>39.520947</c:v>
                </c:pt>
                <c:pt idx="457">
                  <c:v>39.019066000000002</c:v>
                </c:pt>
                <c:pt idx="458">
                  <c:v>36.106163000000002</c:v>
                </c:pt>
                <c:pt idx="459">
                  <c:v>36.352184000000001</c:v>
                </c:pt>
                <c:pt idx="460">
                  <c:v>33.035812</c:v>
                </c:pt>
                <c:pt idx="461">
                  <c:v>33.301516999999997</c:v>
                </c:pt>
                <c:pt idx="462">
                  <c:v>33.557377000000002</c:v>
                </c:pt>
                <c:pt idx="463">
                  <c:v>33.803401999999998</c:v>
                </c:pt>
                <c:pt idx="464">
                  <c:v>31.943476</c:v>
                </c:pt>
                <c:pt idx="465">
                  <c:v>31.894269999999999</c:v>
                </c:pt>
                <c:pt idx="466">
                  <c:v>31.530159000000001</c:v>
                </c:pt>
                <c:pt idx="467">
                  <c:v>33.00629</c:v>
                </c:pt>
                <c:pt idx="468">
                  <c:v>31.904109999999999</c:v>
                </c:pt>
                <c:pt idx="469">
                  <c:v>31.382545</c:v>
                </c:pt>
                <c:pt idx="470">
                  <c:v>30.290209999999998</c:v>
                </c:pt>
                <c:pt idx="471">
                  <c:v>29.247076</c:v>
                </c:pt>
                <c:pt idx="472">
                  <c:v>31.776178000000002</c:v>
                </c:pt>
                <c:pt idx="473">
                  <c:v>31.530159000000001</c:v>
                </c:pt>
                <c:pt idx="474">
                  <c:v>31.323498000000001</c:v>
                </c:pt>
                <c:pt idx="475">
                  <c:v>31.599045</c:v>
                </c:pt>
                <c:pt idx="476">
                  <c:v>31.599045</c:v>
                </c:pt>
                <c:pt idx="477">
                  <c:v>31.963159999999998</c:v>
                </c:pt>
                <c:pt idx="478">
                  <c:v>31.963159999999998</c:v>
                </c:pt>
                <c:pt idx="479">
                  <c:v>29.581666999999999</c:v>
                </c:pt>
                <c:pt idx="480">
                  <c:v>31.530159000000001</c:v>
                </c:pt>
                <c:pt idx="481">
                  <c:v>32.42568</c:v>
                </c:pt>
                <c:pt idx="482">
                  <c:v>31.904109999999999</c:v>
                </c:pt>
                <c:pt idx="483">
                  <c:v>32.888199999999998</c:v>
                </c:pt>
                <c:pt idx="484">
                  <c:v>31.530159000000001</c:v>
                </c:pt>
                <c:pt idx="485">
                  <c:v>31.293980000000001</c:v>
                </c:pt>
                <c:pt idx="486">
                  <c:v>31.205407999999998</c:v>
                </c:pt>
                <c:pt idx="487">
                  <c:v>31.589205</c:v>
                </c:pt>
                <c:pt idx="488">
                  <c:v>32.317430000000002</c:v>
                </c:pt>
                <c:pt idx="489">
                  <c:v>33.045653999999999</c:v>
                </c:pt>
                <c:pt idx="490">
                  <c:v>33.429454999999997</c:v>
                </c:pt>
                <c:pt idx="491">
                  <c:v>32.219025000000002</c:v>
                </c:pt>
                <c:pt idx="492">
                  <c:v>31.146363999999998</c:v>
                </c:pt>
                <c:pt idx="493">
                  <c:v>33.124389999999998</c:v>
                </c:pt>
                <c:pt idx="494">
                  <c:v>34.423378</c:v>
                </c:pt>
                <c:pt idx="495">
                  <c:v>35.988075000000002</c:v>
                </c:pt>
                <c:pt idx="496">
                  <c:v>35.712536</c:v>
                </c:pt>
                <c:pt idx="497">
                  <c:v>35.761733999999997</c:v>
                </c:pt>
                <c:pt idx="498">
                  <c:v>35.200806</c:v>
                </c:pt>
                <c:pt idx="499">
                  <c:v>35.535397000000003</c:v>
                </c:pt>
                <c:pt idx="500">
                  <c:v>36.194732999999999</c:v>
                </c:pt>
                <c:pt idx="501">
                  <c:v>36.441425000000002</c:v>
                </c:pt>
                <c:pt idx="502">
                  <c:v>36.273670000000003</c:v>
                </c:pt>
                <c:pt idx="503">
                  <c:v>35.691479999999999</c:v>
                </c:pt>
                <c:pt idx="504">
                  <c:v>35.523724000000001</c:v>
                </c:pt>
                <c:pt idx="505">
                  <c:v>36.105927000000001</c:v>
                </c:pt>
                <c:pt idx="506">
                  <c:v>35.27704</c:v>
                </c:pt>
                <c:pt idx="507">
                  <c:v>35.73095</c:v>
                </c:pt>
                <c:pt idx="508">
                  <c:v>35.632280000000002</c:v>
                </c:pt>
                <c:pt idx="509">
                  <c:v>34.586300000000001</c:v>
                </c:pt>
                <c:pt idx="510">
                  <c:v>35.00074</c:v>
                </c:pt>
                <c:pt idx="511">
                  <c:v>34.596170000000001</c:v>
                </c:pt>
                <c:pt idx="512">
                  <c:v>34.517223000000001</c:v>
                </c:pt>
                <c:pt idx="513">
                  <c:v>35.020477</c:v>
                </c:pt>
                <c:pt idx="514">
                  <c:v>35.425055999999998</c:v>
                </c:pt>
                <c:pt idx="515">
                  <c:v>35.770420000000001</c:v>
                </c:pt>
                <c:pt idx="516">
                  <c:v>35.217827</c:v>
                </c:pt>
                <c:pt idx="517">
                  <c:v>35.158630000000002</c:v>
                </c:pt>
                <c:pt idx="518">
                  <c:v>34.181716999999999</c:v>
                </c:pt>
                <c:pt idx="519">
                  <c:v>33.273895000000003</c:v>
                </c:pt>
                <c:pt idx="520">
                  <c:v>32.790374999999997</c:v>
                </c:pt>
                <c:pt idx="521">
                  <c:v>32.326590000000003</c:v>
                </c:pt>
                <c:pt idx="522">
                  <c:v>31.79374</c:v>
                </c:pt>
                <c:pt idx="523">
                  <c:v>31.487839000000001</c:v>
                </c:pt>
                <c:pt idx="524">
                  <c:v>31.625988</c:v>
                </c:pt>
                <c:pt idx="525">
                  <c:v>30.510935</c:v>
                </c:pt>
                <c:pt idx="526">
                  <c:v>31.418763999999999</c:v>
                </c:pt>
                <c:pt idx="527">
                  <c:v>31.704927000000001</c:v>
                </c:pt>
                <c:pt idx="528">
                  <c:v>31.014189999999999</c:v>
                </c:pt>
                <c:pt idx="529">
                  <c:v>30.964848</c:v>
                </c:pt>
                <c:pt idx="530">
                  <c:v>31.172077000000002</c:v>
                </c:pt>
                <c:pt idx="531">
                  <c:v>30.550405999999999</c:v>
                </c:pt>
                <c:pt idx="532">
                  <c:v>31.033926000000001</c:v>
                </c:pt>
                <c:pt idx="533">
                  <c:v>30.165565000000001</c:v>
                </c:pt>
                <c:pt idx="534">
                  <c:v>29.810327999999998</c:v>
                </c:pt>
                <c:pt idx="535">
                  <c:v>29.810327999999998</c:v>
                </c:pt>
                <c:pt idx="536">
                  <c:v>30.530671999999999</c:v>
                </c:pt>
                <c:pt idx="537">
                  <c:v>30.491199999999999</c:v>
                </c:pt>
                <c:pt idx="538">
                  <c:v>31.339822999999999</c:v>
                </c:pt>
                <c:pt idx="539">
                  <c:v>31.922018000000001</c:v>
                </c:pt>
                <c:pt idx="540">
                  <c:v>32.553550000000001</c:v>
                </c:pt>
                <c:pt idx="541">
                  <c:v>33.264023000000002</c:v>
                </c:pt>
                <c:pt idx="542">
                  <c:v>33.481116999999998</c:v>
                </c:pt>
                <c:pt idx="543">
                  <c:v>33.609397999999999</c:v>
                </c:pt>
                <c:pt idx="544">
                  <c:v>33.431778000000001</c:v>
                </c:pt>
                <c:pt idx="545">
                  <c:v>32.869320000000002</c:v>
                </c:pt>
                <c:pt idx="546">
                  <c:v>33.569927</c:v>
                </c:pt>
                <c:pt idx="547">
                  <c:v>34.349471999999999</c:v>
                </c:pt>
                <c:pt idx="548">
                  <c:v>34.231064000000003</c:v>
                </c:pt>
                <c:pt idx="549">
                  <c:v>33.303497</c:v>
                </c:pt>
                <c:pt idx="550">
                  <c:v>33.579790000000003</c:v>
                </c:pt>
                <c:pt idx="551">
                  <c:v>33.925162999999998</c:v>
                </c:pt>
                <c:pt idx="552">
                  <c:v>33.915295</c:v>
                </c:pt>
                <c:pt idx="553">
                  <c:v>33.03707</c:v>
                </c:pt>
                <c:pt idx="554">
                  <c:v>33.520587999999996</c:v>
                </c:pt>
                <c:pt idx="555">
                  <c:v>33.540325000000003</c:v>
                </c:pt>
                <c:pt idx="556">
                  <c:v>32.967995000000002</c:v>
                </c:pt>
                <c:pt idx="557">
                  <c:v>32.622622999999997</c:v>
                </c:pt>
                <c:pt idx="558">
                  <c:v>33.323239999999998</c:v>
                </c:pt>
                <c:pt idx="559">
                  <c:v>33.727801999999997</c:v>
                </c:pt>
                <c:pt idx="560">
                  <c:v>33.461376000000001</c:v>
                </c:pt>
                <c:pt idx="561">
                  <c:v>33.500853999999997</c:v>
                </c:pt>
                <c:pt idx="562">
                  <c:v>34.329734999999999</c:v>
                </c:pt>
                <c:pt idx="563">
                  <c:v>34.290264000000001</c:v>
                </c:pt>
                <c:pt idx="564">
                  <c:v>33.557952999999998</c:v>
                </c:pt>
                <c:pt idx="565">
                  <c:v>33.399610000000003</c:v>
                </c:pt>
                <c:pt idx="566">
                  <c:v>33.597534000000003</c:v>
                </c:pt>
                <c:pt idx="567">
                  <c:v>33.637120000000003</c:v>
                </c:pt>
                <c:pt idx="568">
                  <c:v>31.806325999999999</c:v>
                </c:pt>
                <c:pt idx="569">
                  <c:v>32.004252999999999</c:v>
                </c:pt>
                <c:pt idx="570">
                  <c:v>31.826118000000001</c:v>
                </c:pt>
                <c:pt idx="571">
                  <c:v>31.984456999999999</c:v>
                </c:pt>
                <c:pt idx="572">
                  <c:v>31.410477</c:v>
                </c:pt>
                <c:pt idx="573">
                  <c:v>30.638574999999999</c:v>
                </c:pt>
                <c:pt idx="574">
                  <c:v>30.975045999999999</c:v>
                </c:pt>
                <c:pt idx="575">
                  <c:v>29.609375</c:v>
                </c:pt>
                <c:pt idx="576">
                  <c:v>29.193731</c:v>
                </c:pt>
                <c:pt idx="577">
                  <c:v>28.867159999999998</c:v>
                </c:pt>
                <c:pt idx="578">
                  <c:v>28.431726000000001</c:v>
                </c:pt>
                <c:pt idx="579">
                  <c:v>28.11505</c:v>
                </c:pt>
                <c:pt idx="580">
                  <c:v>27.87754</c:v>
                </c:pt>
                <c:pt idx="581">
                  <c:v>26.947298</c:v>
                </c:pt>
                <c:pt idx="582">
                  <c:v>26.917611999999998</c:v>
                </c:pt>
                <c:pt idx="583">
                  <c:v>28.817678000000001</c:v>
                </c:pt>
                <c:pt idx="584">
                  <c:v>30.044806000000001</c:v>
                </c:pt>
                <c:pt idx="585">
                  <c:v>30.064598</c:v>
                </c:pt>
                <c:pt idx="586">
                  <c:v>30.598987999999999</c:v>
                </c:pt>
                <c:pt idx="587">
                  <c:v>30.440655</c:v>
                </c:pt>
                <c:pt idx="588">
                  <c:v>30.262519999999999</c:v>
                </c:pt>
                <c:pt idx="589">
                  <c:v>30.777125999999999</c:v>
                </c:pt>
                <c:pt idx="590">
                  <c:v>32.746464000000003</c:v>
                </c:pt>
                <c:pt idx="591">
                  <c:v>32.340719999999997</c:v>
                </c:pt>
                <c:pt idx="592">
                  <c:v>32.221966000000002</c:v>
                </c:pt>
                <c:pt idx="593">
                  <c:v>32.182380000000002</c:v>
                </c:pt>
                <c:pt idx="594">
                  <c:v>32.865220000000001</c:v>
                </c:pt>
                <c:pt idx="595">
                  <c:v>31.816223000000001</c:v>
                </c:pt>
                <c:pt idx="596">
                  <c:v>31.242242999999998</c:v>
                </c:pt>
                <c:pt idx="597">
                  <c:v>31.489649</c:v>
                </c:pt>
                <c:pt idx="598">
                  <c:v>30.935459999999999</c:v>
                </c:pt>
                <c:pt idx="599">
                  <c:v>31.133385000000001</c:v>
                </c:pt>
                <c:pt idx="600">
                  <c:v>31.816223000000001</c:v>
                </c:pt>
                <c:pt idx="601">
                  <c:v>32.271445999999997</c:v>
                </c:pt>
                <c:pt idx="602">
                  <c:v>32.538643</c:v>
                </c:pt>
                <c:pt idx="603">
                  <c:v>31.855803999999999</c:v>
                </c:pt>
                <c:pt idx="604">
                  <c:v>32.380305999999997</c:v>
                </c:pt>
                <c:pt idx="605">
                  <c:v>32.123004999999999</c:v>
                </c:pt>
                <c:pt idx="606">
                  <c:v>32.449573999999998</c:v>
                </c:pt>
                <c:pt idx="607">
                  <c:v>32.024044000000004</c:v>
                </c:pt>
                <c:pt idx="608">
                  <c:v>32.598019999999998</c:v>
                </c:pt>
                <c:pt idx="609">
                  <c:v>32.687083999999999</c:v>
                </c:pt>
                <c:pt idx="610">
                  <c:v>33.429299999999998</c:v>
                </c:pt>
                <c:pt idx="611">
                  <c:v>33.261063</c:v>
                </c:pt>
                <c:pt idx="612">
                  <c:v>33.864735000000003</c:v>
                </c:pt>
                <c:pt idx="613">
                  <c:v>32.914695999999999</c:v>
                </c:pt>
                <c:pt idx="614">
                  <c:v>33.389716999999997</c:v>
                </c:pt>
                <c:pt idx="615">
                  <c:v>32.73657</c:v>
                </c:pt>
                <c:pt idx="616">
                  <c:v>32.558436999999998</c:v>
                </c:pt>
                <c:pt idx="617">
                  <c:v>33.379818</c:v>
                </c:pt>
                <c:pt idx="618">
                  <c:v>34.230891999999997</c:v>
                </c:pt>
                <c:pt idx="619">
                  <c:v>31.341206</c:v>
                </c:pt>
                <c:pt idx="620">
                  <c:v>30.915668</c:v>
                </c:pt>
                <c:pt idx="621">
                  <c:v>30.420856000000001</c:v>
                </c:pt>
                <c:pt idx="622">
                  <c:v>30.391169999999999</c:v>
                </c:pt>
                <c:pt idx="623">
                  <c:v>30.193245000000001</c:v>
                </c:pt>
                <c:pt idx="624">
                  <c:v>29.530207000000001</c:v>
                </c:pt>
                <c:pt idx="625">
                  <c:v>29.144255000000001</c:v>
                </c:pt>
                <c:pt idx="626">
                  <c:v>28.233806999999999</c:v>
                </c:pt>
                <c:pt idx="627">
                  <c:v>28.164290000000001</c:v>
                </c:pt>
                <c:pt idx="628">
                  <c:v>28.432424999999999</c:v>
                </c:pt>
                <c:pt idx="629">
                  <c:v>28.879318000000001</c:v>
                </c:pt>
                <c:pt idx="630">
                  <c:v>28.581389999999999</c:v>
                </c:pt>
                <c:pt idx="631">
                  <c:v>27.449256999999999</c:v>
                </c:pt>
                <c:pt idx="632">
                  <c:v>27.320153999999999</c:v>
                </c:pt>
                <c:pt idx="633">
                  <c:v>25.919886000000002</c:v>
                </c:pt>
                <c:pt idx="634">
                  <c:v>25.234648</c:v>
                </c:pt>
                <c:pt idx="635">
                  <c:v>25.612024000000002</c:v>
                </c:pt>
                <c:pt idx="636">
                  <c:v>25.919886000000002</c:v>
                </c:pt>
                <c:pt idx="637">
                  <c:v>25.65175</c:v>
                </c:pt>
                <c:pt idx="638">
                  <c:v>26.237673000000001</c:v>
                </c:pt>
                <c:pt idx="639">
                  <c:v>26.346920000000001</c:v>
                </c:pt>
                <c:pt idx="640">
                  <c:v>25.244575999999999</c:v>
                </c:pt>
                <c:pt idx="641">
                  <c:v>25.016165000000001</c:v>
                </c:pt>
                <c:pt idx="642">
                  <c:v>24.281272999999999</c:v>
                </c:pt>
                <c:pt idx="643">
                  <c:v>25.155200000000001</c:v>
                </c:pt>
                <c:pt idx="644">
                  <c:v>26.138369000000001</c:v>
                </c:pt>
                <c:pt idx="645">
                  <c:v>26.128437000000002</c:v>
                </c:pt>
                <c:pt idx="646">
                  <c:v>26.327052999999999</c:v>
                </c:pt>
                <c:pt idx="647">
                  <c:v>26.813675</c:v>
                </c:pt>
                <c:pt idx="648">
                  <c:v>27.498909999999999</c:v>
                </c:pt>
                <c:pt idx="649">
                  <c:v>27.598223000000001</c:v>
                </c:pt>
                <c:pt idx="650">
                  <c:v>28.243738</c:v>
                </c:pt>
                <c:pt idx="651">
                  <c:v>28.919044</c:v>
                </c:pt>
                <c:pt idx="652">
                  <c:v>29.554625999999999</c:v>
                </c:pt>
                <c:pt idx="653">
                  <c:v>29.733384999999998</c:v>
                </c:pt>
                <c:pt idx="654">
                  <c:v>29.743317000000001</c:v>
                </c:pt>
                <c:pt idx="655">
                  <c:v>27.57836</c:v>
                </c:pt>
                <c:pt idx="656">
                  <c:v>28.442354000000002</c:v>
                </c:pt>
                <c:pt idx="657">
                  <c:v>28.402632000000001</c:v>
                </c:pt>
                <c:pt idx="658">
                  <c:v>28.104704000000002</c:v>
                </c:pt>
                <c:pt idx="659">
                  <c:v>27.79684</c:v>
                </c:pt>
                <c:pt idx="660">
                  <c:v>27.310223000000001</c:v>
                </c:pt>
                <c:pt idx="661">
                  <c:v>26.813675</c:v>
                </c:pt>
                <c:pt idx="662">
                  <c:v>27.250637000000001</c:v>
                </c:pt>
                <c:pt idx="663">
                  <c:v>27.002362999999999</c:v>
                </c:pt>
                <c:pt idx="664">
                  <c:v>26.823605000000001</c:v>
                </c:pt>
                <c:pt idx="665">
                  <c:v>26.78388</c:v>
                </c:pt>
                <c:pt idx="666">
                  <c:v>26.615053</c:v>
                </c:pt>
                <c:pt idx="667">
                  <c:v>25.194925000000001</c:v>
                </c:pt>
                <c:pt idx="668">
                  <c:v>25.095613</c:v>
                </c:pt>
                <c:pt idx="669">
                  <c:v>25.65175</c:v>
                </c:pt>
                <c:pt idx="670">
                  <c:v>25.65175</c:v>
                </c:pt>
                <c:pt idx="671">
                  <c:v>26.078779999999998</c:v>
                </c:pt>
                <c:pt idx="672">
                  <c:v>26.883192000000001</c:v>
                </c:pt>
                <c:pt idx="673">
                  <c:v>26.992432000000001</c:v>
                </c:pt>
                <c:pt idx="674">
                  <c:v>27.171192000000001</c:v>
                </c:pt>
                <c:pt idx="675">
                  <c:v>27.429397999999999</c:v>
                </c:pt>
                <c:pt idx="676">
                  <c:v>28.074911</c:v>
                </c:pt>
                <c:pt idx="677">
                  <c:v>27.856425999999999</c:v>
                </c:pt>
                <c:pt idx="678">
                  <c:v>27.737255000000001</c:v>
                </c:pt>
                <c:pt idx="679">
                  <c:v>28.025251000000001</c:v>
                </c:pt>
                <c:pt idx="680">
                  <c:v>28.422495000000001</c:v>
                </c:pt>
                <c:pt idx="681">
                  <c:v>28.064978</c:v>
                </c:pt>
                <c:pt idx="682">
                  <c:v>28.094771999999999</c:v>
                </c:pt>
                <c:pt idx="683">
                  <c:v>29.207039999999999</c:v>
                </c:pt>
                <c:pt idx="684">
                  <c:v>30.647036</c:v>
                </c:pt>
                <c:pt idx="685">
                  <c:v>31.143585000000002</c:v>
                </c:pt>
                <c:pt idx="686">
                  <c:v>30.706623</c:v>
                </c:pt>
                <c:pt idx="687">
                  <c:v>30.080970000000001</c:v>
                </c:pt>
                <c:pt idx="688">
                  <c:v>29.852551999999999</c:v>
                </c:pt>
                <c:pt idx="689">
                  <c:v>30.349105999999999</c:v>
                </c:pt>
                <c:pt idx="690">
                  <c:v>30.736415999999998</c:v>
                </c:pt>
                <c:pt idx="691">
                  <c:v>31.065200000000001</c:v>
                </c:pt>
                <c:pt idx="692">
                  <c:v>30.846008000000001</c:v>
                </c:pt>
                <c:pt idx="693">
                  <c:v>30.776266</c:v>
                </c:pt>
                <c:pt idx="694">
                  <c:v>30.646746</c:v>
                </c:pt>
                <c:pt idx="695">
                  <c:v>30.477371000000002</c:v>
                </c:pt>
                <c:pt idx="696">
                  <c:v>29.411307999999998</c:v>
                </c:pt>
                <c:pt idx="697">
                  <c:v>28.554476000000001</c:v>
                </c:pt>
                <c:pt idx="698">
                  <c:v>28.664073999999999</c:v>
                </c:pt>
                <c:pt idx="699">
                  <c:v>28.753737999999998</c:v>
                </c:pt>
                <c:pt idx="700">
                  <c:v>28.494700000000002</c:v>
                </c:pt>
                <c:pt idx="701">
                  <c:v>29.182158000000001</c:v>
                </c:pt>
                <c:pt idx="702">
                  <c:v>28.126059999999999</c:v>
                </c:pt>
                <c:pt idx="703">
                  <c:v>27.827165999999998</c:v>
                </c:pt>
                <c:pt idx="704">
                  <c:v>28.574404000000001</c:v>
                </c:pt>
                <c:pt idx="705">
                  <c:v>28.883262999999999</c:v>
                </c:pt>
                <c:pt idx="706">
                  <c:v>28.943042999999999</c:v>
                </c:pt>
                <c:pt idx="707">
                  <c:v>28.843409999999999</c:v>
                </c:pt>
                <c:pt idx="708">
                  <c:v>28.634181999999999</c:v>
                </c:pt>
                <c:pt idx="709">
                  <c:v>27.976611999999999</c:v>
                </c:pt>
                <c:pt idx="710">
                  <c:v>27.189522</c:v>
                </c:pt>
                <c:pt idx="711">
                  <c:v>27.279188000000001</c:v>
                </c:pt>
                <c:pt idx="712">
                  <c:v>27.139706</c:v>
                </c:pt>
                <c:pt idx="713">
                  <c:v>27.627901000000001</c:v>
                </c:pt>
                <c:pt idx="714">
                  <c:v>27.388783</c:v>
                </c:pt>
                <c:pt idx="715">
                  <c:v>26.900587000000002</c:v>
                </c:pt>
                <c:pt idx="716">
                  <c:v>26.761105000000001</c:v>
                </c:pt>
                <c:pt idx="717">
                  <c:v>27.617937000000001</c:v>
                </c:pt>
                <c:pt idx="718">
                  <c:v>27.378820000000001</c:v>
                </c:pt>
                <c:pt idx="719">
                  <c:v>27.817204</c:v>
                </c:pt>
                <c:pt idx="720">
                  <c:v>28.175878999999998</c:v>
                </c:pt>
                <c:pt idx="721">
                  <c:v>27.896909999999998</c:v>
                </c:pt>
                <c:pt idx="722">
                  <c:v>28.444880999999999</c:v>
                </c:pt>
                <c:pt idx="723">
                  <c:v>28.933078999999999</c:v>
                </c:pt>
                <c:pt idx="724">
                  <c:v>29.192119999999999</c:v>
                </c:pt>
                <c:pt idx="725">
                  <c:v>29.072562999999999</c:v>
                </c:pt>
                <c:pt idx="726">
                  <c:v>29.560759999999998</c:v>
                </c:pt>
                <c:pt idx="727">
                  <c:v>28.335287000000001</c:v>
                </c:pt>
                <c:pt idx="728">
                  <c:v>28.195799999999998</c:v>
                </c:pt>
                <c:pt idx="729">
                  <c:v>28.195799999999998</c:v>
                </c:pt>
                <c:pt idx="730">
                  <c:v>28.574404000000001</c:v>
                </c:pt>
                <c:pt idx="731">
                  <c:v>28.574404000000001</c:v>
                </c:pt>
                <c:pt idx="732">
                  <c:v>28.982893000000001</c:v>
                </c:pt>
                <c:pt idx="733">
                  <c:v>28.982893000000001</c:v>
                </c:pt>
                <c:pt idx="734">
                  <c:v>27.548195</c:v>
                </c:pt>
                <c:pt idx="735">
                  <c:v>27.219411999999998</c:v>
                </c:pt>
                <c:pt idx="736">
                  <c:v>27.119779999999999</c:v>
                </c:pt>
                <c:pt idx="737">
                  <c:v>27.737494999999999</c:v>
                </c:pt>
                <c:pt idx="738">
                  <c:v>27.847092</c:v>
                </c:pt>
                <c:pt idx="739">
                  <c:v>27.219411999999998</c:v>
                </c:pt>
                <c:pt idx="740">
                  <c:v>27.289149999999999</c:v>
                </c:pt>
                <c:pt idx="741">
                  <c:v>27.428636999999998</c:v>
                </c:pt>
                <c:pt idx="742">
                  <c:v>27.478455</c:v>
                </c:pt>
                <c:pt idx="743">
                  <c:v>28.126059999999999</c:v>
                </c:pt>
                <c:pt idx="744">
                  <c:v>28.295432999999999</c:v>
                </c:pt>
                <c:pt idx="745">
                  <c:v>27.099854000000001</c:v>
                </c:pt>
                <c:pt idx="746">
                  <c:v>27.219411999999998</c:v>
                </c:pt>
                <c:pt idx="747">
                  <c:v>28.693957999999999</c:v>
                </c:pt>
                <c:pt idx="748">
                  <c:v>27.538229999999999</c:v>
                </c:pt>
                <c:pt idx="749">
                  <c:v>26.013866</c:v>
                </c:pt>
                <c:pt idx="750">
                  <c:v>26.800957</c:v>
                </c:pt>
                <c:pt idx="751">
                  <c:v>26.701324</c:v>
                </c:pt>
                <c:pt idx="752">
                  <c:v>27.617937000000001</c:v>
                </c:pt>
                <c:pt idx="753">
                  <c:v>26.741178999999999</c:v>
                </c:pt>
                <c:pt idx="754">
                  <c:v>27.06</c:v>
                </c:pt>
                <c:pt idx="755">
                  <c:v>28.43</c:v>
                </c:pt>
                <c:pt idx="756">
                  <c:v>29.099997999999999</c:v>
                </c:pt>
                <c:pt idx="757">
                  <c:v>28.3</c:v>
                </c:pt>
                <c:pt idx="758">
                  <c:v>28.38</c:v>
                </c:pt>
                <c:pt idx="759">
                  <c:v>28.79</c:v>
                </c:pt>
                <c:pt idx="760">
                  <c:v>29.84</c:v>
                </c:pt>
                <c:pt idx="761">
                  <c:v>30.47</c:v>
                </c:pt>
                <c:pt idx="762">
                  <c:v>30.089998000000001</c:v>
                </c:pt>
                <c:pt idx="763">
                  <c:v>29.200002999999999</c:v>
                </c:pt>
                <c:pt idx="764">
                  <c:v>28.629996999999999</c:v>
                </c:pt>
                <c:pt idx="765">
                  <c:v>28.33</c:v>
                </c:pt>
                <c:pt idx="766">
                  <c:v>28.51</c:v>
                </c:pt>
                <c:pt idx="767">
                  <c:v>27.820001999999999</c:v>
                </c:pt>
                <c:pt idx="768">
                  <c:v>25.45</c:v>
                </c:pt>
                <c:pt idx="769">
                  <c:v>23.12</c:v>
                </c:pt>
                <c:pt idx="770">
                  <c:v>22.309998</c:v>
                </c:pt>
                <c:pt idx="771">
                  <c:v>20.6</c:v>
                </c:pt>
                <c:pt idx="772">
                  <c:v>19.05</c:v>
                </c:pt>
                <c:pt idx="773">
                  <c:v>18.86</c:v>
                </c:pt>
                <c:pt idx="774">
                  <c:v>17.850000000000001</c:v>
                </c:pt>
                <c:pt idx="775">
                  <c:v>18.53</c:v>
                </c:pt>
                <c:pt idx="776">
                  <c:v>16.04</c:v>
                </c:pt>
                <c:pt idx="777">
                  <c:v>15.97</c:v>
                </c:pt>
                <c:pt idx="778">
                  <c:v>14.75</c:v>
                </c:pt>
                <c:pt idx="779">
                  <c:v>17</c:v>
                </c:pt>
                <c:pt idx="780">
                  <c:v>16.260000000000002</c:v>
                </c:pt>
                <c:pt idx="781">
                  <c:v>13.45</c:v>
                </c:pt>
                <c:pt idx="782">
                  <c:v>14.31</c:v>
                </c:pt>
                <c:pt idx="783">
                  <c:v>15.92</c:v>
                </c:pt>
                <c:pt idx="784">
                  <c:v>15.579999000000001</c:v>
                </c:pt>
                <c:pt idx="785">
                  <c:v>11.65</c:v>
                </c:pt>
                <c:pt idx="786">
                  <c:v>10.29</c:v>
                </c:pt>
                <c:pt idx="787">
                  <c:v>10.38</c:v>
                </c:pt>
                <c:pt idx="788">
                  <c:v>10.25</c:v>
                </c:pt>
                <c:pt idx="789">
                  <c:v>13.919999000000001</c:v>
                </c:pt>
                <c:pt idx="790">
                  <c:v>15.39</c:v>
                </c:pt>
                <c:pt idx="791">
                  <c:v>15.66</c:v>
                </c:pt>
                <c:pt idx="792">
                  <c:v>14.04</c:v>
                </c:pt>
                <c:pt idx="793">
                  <c:v>12.249999000000001</c:v>
                </c:pt>
                <c:pt idx="794">
                  <c:v>12.190001000000001</c:v>
                </c:pt>
                <c:pt idx="795">
                  <c:v>10.690001000000001</c:v>
                </c:pt>
                <c:pt idx="796">
                  <c:v>10.059998999999999</c:v>
                </c:pt>
                <c:pt idx="797">
                  <c:v>9.39</c:v>
                </c:pt>
                <c:pt idx="798">
                  <c:v>9.5</c:v>
                </c:pt>
                <c:pt idx="799">
                  <c:v>10.219999</c:v>
                </c:pt>
                <c:pt idx="800">
                  <c:v>11.33</c:v>
                </c:pt>
                <c:pt idx="801">
                  <c:v>12.51</c:v>
                </c:pt>
                <c:pt idx="802">
                  <c:v>11.56</c:v>
                </c:pt>
                <c:pt idx="803">
                  <c:v>11.95</c:v>
                </c:pt>
                <c:pt idx="804">
                  <c:v>12.289999</c:v>
                </c:pt>
                <c:pt idx="805">
                  <c:v>11.07</c:v>
                </c:pt>
                <c:pt idx="806">
                  <c:v>11.570001</c:v>
                </c:pt>
                <c:pt idx="807">
                  <c:v>11.059998999999999</c:v>
                </c:pt>
                <c:pt idx="808">
                  <c:v>11</c:v>
                </c:pt>
                <c:pt idx="809">
                  <c:v>10.269999500000001</c:v>
                </c:pt>
                <c:pt idx="810">
                  <c:v>10.25</c:v>
                </c:pt>
                <c:pt idx="811">
                  <c:v>10.309998999999999</c:v>
                </c:pt>
                <c:pt idx="812">
                  <c:v>10.019999500000001</c:v>
                </c:pt>
                <c:pt idx="813">
                  <c:v>11.26</c:v>
                </c:pt>
                <c:pt idx="814">
                  <c:v>12.63</c:v>
                </c:pt>
                <c:pt idx="815">
                  <c:v>12.01</c:v>
                </c:pt>
                <c:pt idx="816">
                  <c:v>10.64</c:v>
                </c:pt>
                <c:pt idx="817">
                  <c:v>9.82</c:v>
                </c:pt>
                <c:pt idx="818">
                  <c:v>9.51</c:v>
                </c:pt>
                <c:pt idx="819">
                  <c:v>9.25</c:v>
                </c:pt>
                <c:pt idx="820">
                  <c:v>9.5399999999999991</c:v>
                </c:pt>
                <c:pt idx="821">
                  <c:v>10.14</c:v>
                </c:pt>
                <c:pt idx="822">
                  <c:v>10.1</c:v>
                </c:pt>
                <c:pt idx="823">
                  <c:v>9.6500009999999996</c:v>
                </c:pt>
                <c:pt idx="824">
                  <c:v>9.1100010000000005</c:v>
                </c:pt>
                <c:pt idx="825">
                  <c:v>9.15</c:v>
                </c:pt>
                <c:pt idx="826">
                  <c:v>9.0399999999999991</c:v>
                </c:pt>
                <c:pt idx="827">
                  <c:v>9.8699999999999992</c:v>
                </c:pt>
                <c:pt idx="828">
                  <c:v>9.64</c:v>
                </c:pt>
                <c:pt idx="829">
                  <c:v>9.8699999999999992</c:v>
                </c:pt>
                <c:pt idx="830">
                  <c:v>9.89</c:v>
                </c:pt>
                <c:pt idx="831">
                  <c:v>9.6999999999999993</c:v>
                </c:pt>
                <c:pt idx="832">
                  <c:v>11.14</c:v>
                </c:pt>
                <c:pt idx="833">
                  <c:v>11.98</c:v>
                </c:pt>
                <c:pt idx="834">
                  <c:v>10.980000499999999</c:v>
                </c:pt>
                <c:pt idx="835">
                  <c:v>10.5</c:v>
                </c:pt>
                <c:pt idx="836">
                  <c:v>11.11</c:v>
                </c:pt>
                <c:pt idx="837">
                  <c:v>11.22</c:v>
                </c:pt>
                <c:pt idx="838">
                  <c:v>11.85</c:v>
                </c:pt>
                <c:pt idx="839">
                  <c:v>16.719996999999999</c:v>
                </c:pt>
                <c:pt idx="840">
                  <c:v>18.59</c:v>
                </c:pt>
                <c:pt idx="841">
                  <c:v>20.309999999999999</c:v>
                </c:pt>
                <c:pt idx="842">
                  <c:v>18.55</c:v>
                </c:pt>
                <c:pt idx="843">
                  <c:v>17.02</c:v>
                </c:pt>
                <c:pt idx="844">
                  <c:v>14.38</c:v>
                </c:pt>
                <c:pt idx="845">
                  <c:v>16.739999999999998</c:v>
                </c:pt>
                <c:pt idx="846">
                  <c:v>16.7</c:v>
                </c:pt>
                <c:pt idx="847">
                  <c:v>17.03</c:v>
                </c:pt>
                <c:pt idx="848">
                  <c:v>16.98</c:v>
                </c:pt>
                <c:pt idx="849">
                  <c:v>16.489999999999998</c:v>
                </c:pt>
                <c:pt idx="850">
                  <c:v>15.999999000000001</c:v>
                </c:pt>
                <c:pt idx="851">
                  <c:v>14.92</c:v>
                </c:pt>
                <c:pt idx="852">
                  <c:v>13.999999000000001</c:v>
                </c:pt>
                <c:pt idx="853">
                  <c:v>13.04</c:v>
                </c:pt>
                <c:pt idx="854">
                  <c:v>13.17</c:v>
                </c:pt>
                <c:pt idx="855">
                  <c:v>12.379999</c:v>
                </c:pt>
                <c:pt idx="856">
                  <c:v>13.320001</c:v>
                </c:pt>
                <c:pt idx="857">
                  <c:v>13.07</c:v>
                </c:pt>
                <c:pt idx="858">
                  <c:v>12.809998999999999</c:v>
                </c:pt>
                <c:pt idx="859">
                  <c:v>12.5</c:v>
                </c:pt>
                <c:pt idx="860">
                  <c:v>12.799999</c:v>
                </c:pt>
                <c:pt idx="861">
                  <c:v>11.91</c:v>
                </c:pt>
                <c:pt idx="862">
                  <c:v>11.99</c:v>
                </c:pt>
                <c:pt idx="863">
                  <c:v>11.18</c:v>
                </c:pt>
                <c:pt idx="864">
                  <c:v>11.94</c:v>
                </c:pt>
                <c:pt idx="865">
                  <c:v>11.63</c:v>
                </c:pt>
                <c:pt idx="866">
                  <c:v>11.570001</c:v>
                </c:pt>
                <c:pt idx="867">
                  <c:v>13.44</c:v>
                </c:pt>
                <c:pt idx="868">
                  <c:v>12.45</c:v>
                </c:pt>
                <c:pt idx="869">
                  <c:v>11.91</c:v>
                </c:pt>
                <c:pt idx="870">
                  <c:v>11.47</c:v>
                </c:pt>
                <c:pt idx="871">
                  <c:v>11.47</c:v>
                </c:pt>
                <c:pt idx="872">
                  <c:v>11.36</c:v>
                </c:pt>
                <c:pt idx="873">
                  <c:v>11.77</c:v>
                </c:pt>
                <c:pt idx="874">
                  <c:v>11.389999</c:v>
                </c:pt>
                <c:pt idx="875">
                  <c:v>11.389999</c:v>
                </c:pt>
                <c:pt idx="876">
                  <c:v>11.77</c:v>
                </c:pt>
                <c:pt idx="877">
                  <c:v>11.4</c:v>
                </c:pt>
                <c:pt idx="878">
                  <c:v>11.18</c:v>
                </c:pt>
                <c:pt idx="879">
                  <c:v>11.12</c:v>
                </c:pt>
                <c:pt idx="880">
                  <c:v>11.08</c:v>
                </c:pt>
                <c:pt idx="881">
                  <c:v>11.47</c:v>
                </c:pt>
                <c:pt idx="882">
                  <c:v>12.56</c:v>
                </c:pt>
                <c:pt idx="883">
                  <c:v>13.04</c:v>
                </c:pt>
                <c:pt idx="884">
                  <c:v>13.03</c:v>
                </c:pt>
                <c:pt idx="885">
                  <c:v>13.999999000000001</c:v>
                </c:pt>
                <c:pt idx="886">
                  <c:v>13.730000499999999</c:v>
                </c:pt>
                <c:pt idx="887">
                  <c:v>13.54</c:v>
                </c:pt>
                <c:pt idx="888">
                  <c:v>13.3</c:v>
                </c:pt>
                <c:pt idx="889">
                  <c:v>13.330000999999999</c:v>
                </c:pt>
                <c:pt idx="890">
                  <c:v>12.62</c:v>
                </c:pt>
                <c:pt idx="891">
                  <c:v>12.6</c:v>
                </c:pt>
                <c:pt idx="892">
                  <c:v>12.68</c:v>
                </c:pt>
                <c:pt idx="893">
                  <c:v>12.5</c:v>
                </c:pt>
                <c:pt idx="894">
                  <c:v>12.160000999999999</c:v>
                </c:pt>
                <c:pt idx="895">
                  <c:v>13.44</c:v>
                </c:pt>
                <c:pt idx="896">
                  <c:v>13.14</c:v>
                </c:pt>
                <c:pt idx="897">
                  <c:v>12.790001</c:v>
                </c:pt>
                <c:pt idx="898">
                  <c:v>13.280001</c:v>
                </c:pt>
                <c:pt idx="899">
                  <c:v>13.59</c:v>
                </c:pt>
                <c:pt idx="900">
                  <c:v>13.05</c:v>
                </c:pt>
                <c:pt idx="901">
                  <c:v>13.1</c:v>
                </c:pt>
                <c:pt idx="902">
                  <c:v>13.230000499999999</c:v>
                </c:pt>
                <c:pt idx="903">
                  <c:v>13.36</c:v>
                </c:pt>
                <c:pt idx="904">
                  <c:v>13.61</c:v>
                </c:pt>
                <c:pt idx="905">
                  <c:v>13.63</c:v>
                </c:pt>
                <c:pt idx="906">
                  <c:v>13.05</c:v>
                </c:pt>
                <c:pt idx="907">
                  <c:v>13.01</c:v>
                </c:pt>
                <c:pt idx="908">
                  <c:v>12.95</c:v>
                </c:pt>
                <c:pt idx="909">
                  <c:v>13.26</c:v>
                </c:pt>
                <c:pt idx="910">
                  <c:v>13.14</c:v>
                </c:pt>
                <c:pt idx="911">
                  <c:v>13.8</c:v>
                </c:pt>
                <c:pt idx="912">
                  <c:v>13.63</c:v>
                </c:pt>
                <c:pt idx="913">
                  <c:v>13.190001000000001</c:v>
                </c:pt>
                <c:pt idx="914">
                  <c:v>12.210001</c:v>
                </c:pt>
                <c:pt idx="915">
                  <c:v>12.339999000000001</c:v>
                </c:pt>
                <c:pt idx="916">
                  <c:v>11.929999</c:v>
                </c:pt>
                <c:pt idx="917">
                  <c:v>11.77</c:v>
                </c:pt>
                <c:pt idx="918">
                  <c:v>12.289999</c:v>
                </c:pt>
                <c:pt idx="919">
                  <c:v>12.76</c:v>
                </c:pt>
                <c:pt idx="920">
                  <c:v>12.249999000000001</c:v>
                </c:pt>
                <c:pt idx="921">
                  <c:v>12.289999</c:v>
                </c:pt>
                <c:pt idx="922">
                  <c:v>12.58</c:v>
                </c:pt>
                <c:pt idx="923">
                  <c:v>13</c:v>
                </c:pt>
                <c:pt idx="924">
                  <c:v>13.12</c:v>
                </c:pt>
                <c:pt idx="925">
                  <c:v>12.53</c:v>
                </c:pt>
                <c:pt idx="926">
                  <c:v>13.07</c:v>
                </c:pt>
                <c:pt idx="927">
                  <c:v>13.16</c:v>
                </c:pt>
                <c:pt idx="928">
                  <c:v>13.2</c:v>
                </c:pt>
                <c:pt idx="929">
                  <c:v>12.919999000000001</c:v>
                </c:pt>
                <c:pt idx="930">
                  <c:v>12.22</c:v>
                </c:pt>
                <c:pt idx="931">
                  <c:v>12.36</c:v>
                </c:pt>
                <c:pt idx="932">
                  <c:v>12.230000499999999</c:v>
                </c:pt>
                <c:pt idx="933">
                  <c:v>12.46</c:v>
                </c:pt>
                <c:pt idx="934">
                  <c:v>12.56</c:v>
                </c:pt>
                <c:pt idx="935">
                  <c:v>12.799999</c:v>
                </c:pt>
                <c:pt idx="936">
                  <c:v>12.750000999999999</c:v>
                </c:pt>
                <c:pt idx="937">
                  <c:v>13.150001</c:v>
                </c:pt>
                <c:pt idx="938">
                  <c:v>12.6</c:v>
                </c:pt>
                <c:pt idx="939">
                  <c:v>11.8</c:v>
                </c:pt>
                <c:pt idx="940">
                  <c:v>11.230000499999999</c:v>
                </c:pt>
                <c:pt idx="941">
                  <c:v>10.95</c:v>
                </c:pt>
                <c:pt idx="942">
                  <c:v>11.16</c:v>
                </c:pt>
                <c:pt idx="943">
                  <c:v>11.280001</c:v>
                </c:pt>
                <c:pt idx="944">
                  <c:v>11.19</c:v>
                </c:pt>
                <c:pt idx="945">
                  <c:v>11.25</c:v>
                </c:pt>
                <c:pt idx="946">
                  <c:v>11.01</c:v>
                </c:pt>
                <c:pt idx="947">
                  <c:v>11.599999</c:v>
                </c:pt>
                <c:pt idx="948">
                  <c:v>11.46</c:v>
                </c:pt>
                <c:pt idx="949">
                  <c:v>13.2</c:v>
                </c:pt>
                <c:pt idx="950">
                  <c:v>12.379999</c:v>
                </c:pt>
                <c:pt idx="951">
                  <c:v>12.04</c:v>
                </c:pt>
                <c:pt idx="952">
                  <c:v>11.74</c:v>
                </c:pt>
                <c:pt idx="953">
                  <c:v>12.240000999999999</c:v>
                </c:pt>
                <c:pt idx="954">
                  <c:v>12.790001</c:v>
                </c:pt>
                <c:pt idx="955">
                  <c:v>12.700001</c:v>
                </c:pt>
                <c:pt idx="956">
                  <c:v>12.740000999999999</c:v>
                </c:pt>
                <c:pt idx="957">
                  <c:v>12.790001</c:v>
                </c:pt>
                <c:pt idx="958">
                  <c:v>12.53</c:v>
                </c:pt>
                <c:pt idx="959">
                  <c:v>13.559998999999999</c:v>
                </c:pt>
                <c:pt idx="960">
                  <c:v>14.820001</c:v>
                </c:pt>
                <c:pt idx="961">
                  <c:v>14.940001000000001</c:v>
                </c:pt>
                <c:pt idx="962">
                  <c:v>14.98</c:v>
                </c:pt>
                <c:pt idx="963">
                  <c:v>14.13</c:v>
                </c:pt>
                <c:pt idx="964">
                  <c:v>14.27</c:v>
                </c:pt>
                <c:pt idx="965">
                  <c:v>14.860001</c:v>
                </c:pt>
                <c:pt idx="966">
                  <c:v>16.09</c:v>
                </c:pt>
                <c:pt idx="967">
                  <c:v>16.399999999999999</c:v>
                </c:pt>
                <c:pt idx="968">
                  <c:v>17.21</c:v>
                </c:pt>
                <c:pt idx="969">
                  <c:v>17.63</c:v>
                </c:pt>
                <c:pt idx="970">
                  <c:v>17.16</c:v>
                </c:pt>
                <c:pt idx="971">
                  <c:v>17.989999999999998</c:v>
                </c:pt>
                <c:pt idx="972">
                  <c:v>17.05</c:v>
                </c:pt>
                <c:pt idx="973">
                  <c:v>16.7</c:v>
                </c:pt>
                <c:pt idx="974">
                  <c:v>17.010000000000002</c:v>
                </c:pt>
                <c:pt idx="975">
                  <c:v>16.86</c:v>
                </c:pt>
                <c:pt idx="976">
                  <c:v>16.799997000000001</c:v>
                </c:pt>
                <c:pt idx="977">
                  <c:v>16.510000000000002</c:v>
                </c:pt>
                <c:pt idx="978">
                  <c:v>16.099997999999999</c:v>
                </c:pt>
                <c:pt idx="979">
                  <c:v>15.48</c:v>
                </c:pt>
                <c:pt idx="980">
                  <c:v>15.89</c:v>
                </c:pt>
                <c:pt idx="981">
                  <c:v>15.66</c:v>
                </c:pt>
                <c:pt idx="982">
                  <c:v>16.059999999999999</c:v>
                </c:pt>
                <c:pt idx="983">
                  <c:v>15.86</c:v>
                </c:pt>
                <c:pt idx="984">
                  <c:v>15.86</c:v>
                </c:pt>
                <c:pt idx="985">
                  <c:v>16.149999999999999</c:v>
                </c:pt>
                <c:pt idx="986">
                  <c:v>16.149999999999999</c:v>
                </c:pt>
                <c:pt idx="987">
                  <c:v>15.769999500000001</c:v>
                </c:pt>
                <c:pt idx="988">
                  <c:v>15.769999500000001</c:v>
                </c:pt>
                <c:pt idx="989">
                  <c:v>15.129999</c:v>
                </c:pt>
                <c:pt idx="990">
                  <c:v>15.43</c:v>
                </c:pt>
                <c:pt idx="991">
                  <c:v>15.519999500000001</c:v>
                </c:pt>
                <c:pt idx="992">
                  <c:v>15.38</c:v>
                </c:pt>
                <c:pt idx="993">
                  <c:v>15.129999</c:v>
                </c:pt>
                <c:pt idx="994">
                  <c:v>14.999999000000001</c:v>
                </c:pt>
                <c:pt idx="995">
                  <c:v>15.38</c:v>
                </c:pt>
                <c:pt idx="996">
                  <c:v>15.529999</c:v>
                </c:pt>
                <c:pt idx="997">
                  <c:v>16.440000000000001</c:v>
                </c:pt>
                <c:pt idx="998">
                  <c:v>15.76</c:v>
                </c:pt>
                <c:pt idx="999">
                  <c:v>15.97</c:v>
                </c:pt>
                <c:pt idx="1000">
                  <c:v>16.170000000000002</c:v>
                </c:pt>
                <c:pt idx="1001">
                  <c:v>15.83</c:v>
                </c:pt>
                <c:pt idx="1002">
                  <c:v>15.82</c:v>
                </c:pt>
                <c:pt idx="1003">
                  <c:v>15.43</c:v>
                </c:pt>
                <c:pt idx="1004">
                  <c:v>15.529999</c:v>
                </c:pt>
                <c:pt idx="1005">
                  <c:v>16.559999999999999</c:v>
                </c:pt>
                <c:pt idx="1006">
                  <c:v>18.100000000000001</c:v>
                </c:pt>
                <c:pt idx="1007">
                  <c:v>17.170000000000002</c:v>
                </c:pt>
                <c:pt idx="1008">
                  <c:v>16.84</c:v>
                </c:pt>
                <c:pt idx="1009">
                  <c:v>16.589998000000001</c:v>
                </c:pt>
                <c:pt idx="1010">
                  <c:v>17.600000000000001</c:v>
                </c:pt>
                <c:pt idx="1011">
                  <c:v>17.399999999999999</c:v>
                </c:pt>
                <c:pt idx="1012">
                  <c:v>17.190000000000001</c:v>
                </c:pt>
                <c:pt idx="1013">
                  <c:v>17.769998999999999</c:v>
                </c:pt>
                <c:pt idx="1014">
                  <c:v>17.440000000000001</c:v>
                </c:pt>
                <c:pt idx="1015">
                  <c:v>17.41</c:v>
                </c:pt>
                <c:pt idx="1016">
                  <c:v>16.989999999999998</c:v>
                </c:pt>
                <c:pt idx="1017">
                  <c:v>17.269998999999999</c:v>
                </c:pt>
                <c:pt idx="1018">
                  <c:v>17.82</c:v>
                </c:pt>
                <c:pt idx="1019">
                  <c:v>17.989999999999998</c:v>
                </c:pt>
                <c:pt idx="1020">
                  <c:v>17.71</c:v>
                </c:pt>
                <c:pt idx="1021">
                  <c:v>18.68</c:v>
                </c:pt>
                <c:pt idx="1022">
                  <c:v>20.440000000000001</c:v>
                </c:pt>
                <c:pt idx="1023">
                  <c:v>20.66</c:v>
                </c:pt>
                <c:pt idx="1024">
                  <c:v>21.82</c:v>
                </c:pt>
                <c:pt idx="1025">
                  <c:v>20.86</c:v>
                </c:pt>
                <c:pt idx="1026">
                  <c:v>20.94</c:v>
                </c:pt>
                <c:pt idx="1027">
                  <c:v>21.18</c:v>
                </c:pt>
                <c:pt idx="1028">
                  <c:v>21.44</c:v>
                </c:pt>
                <c:pt idx="1029">
                  <c:v>22.17</c:v>
                </c:pt>
                <c:pt idx="1030">
                  <c:v>21.24</c:v>
                </c:pt>
                <c:pt idx="1031">
                  <c:v>20.45</c:v>
                </c:pt>
                <c:pt idx="1032">
                  <c:v>21.47</c:v>
                </c:pt>
                <c:pt idx="1033">
                  <c:v>21.599997999999999</c:v>
                </c:pt>
                <c:pt idx="1034">
                  <c:v>21.75</c:v>
                </c:pt>
                <c:pt idx="1035">
                  <c:v>22.15</c:v>
                </c:pt>
                <c:pt idx="1036">
                  <c:v>23.369999</c:v>
                </c:pt>
                <c:pt idx="1037">
                  <c:v>25.17</c:v>
                </c:pt>
                <c:pt idx="1038">
                  <c:v>24.469996999999999</c:v>
                </c:pt>
                <c:pt idx="1039">
                  <c:v>25.16</c:v>
                </c:pt>
                <c:pt idx="1040">
                  <c:v>24.700002999999999</c:v>
                </c:pt>
                <c:pt idx="1041">
                  <c:v>24.97</c:v>
                </c:pt>
                <c:pt idx="1042">
                  <c:v>23.83</c:v>
                </c:pt>
                <c:pt idx="1043">
                  <c:v>22.27</c:v>
                </c:pt>
                <c:pt idx="1044">
                  <c:v>21.81</c:v>
                </c:pt>
                <c:pt idx="1045">
                  <c:v>22.77</c:v>
                </c:pt>
                <c:pt idx="1046">
                  <c:v>22.93</c:v>
                </c:pt>
                <c:pt idx="1047">
                  <c:v>22.91</c:v>
                </c:pt>
                <c:pt idx="1048">
                  <c:v>24.12</c:v>
                </c:pt>
                <c:pt idx="1049">
                  <c:v>23.9</c:v>
                </c:pt>
                <c:pt idx="1050">
                  <c:v>23.86</c:v>
                </c:pt>
                <c:pt idx="1051">
                  <c:v>24.230001000000001</c:v>
                </c:pt>
                <c:pt idx="1052">
                  <c:v>24.06</c:v>
                </c:pt>
                <c:pt idx="1053">
                  <c:v>23.93</c:v>
                </c:pt>
                <c:pt idx="1054">
                  <c:v>23.65</c:v>
                </c:pt>
                <c:pt idx="1055">
                  <c:v>23.54</c:v>
                </c:pt>
                <c:pt idx="1056">
                  <c:v>22.91</c:v>
                </c:pt>
                <c:pt idx="1057">
                  <c:v>22.56</c:v>
                </c:pt>
                <c:pt idx="1058">
                  <c:v>22.37</c:v>
                </c:pt>
                <c:pt idx="1059">
                  <c:v>22.13</c:v>
                </c:pt>
                <c:pt idx="1060">
                  <c:v>22.029999</c:v>
                </c:pt>
                <c:pt idx="1061">
                  <c:v>21.55</c:v>
                </c:pt>
                <c:pt idx="1062">
                  <c:v>20.369999</c:v>
                </c:pt>
                <c:pt idx="1063">
                  <c:v>21.01</c:v>
                </c:pt>
                <c:pt idx="1064">
                  <c:v>20.07</c:v>
                </c:pt>
                <c:pt idx="1065">
                  <c:v>21.109998999999998</c:v>
                </c:pt>
                <c:pt idx="1066">
                  <c:v>22.039999000000002</c:v>
                </c:pt>
                <c:pt idx="1067">
                  <c:v>21.76</c:v>
                </c:pt>
                <c:pt idx="1068">
                  <c:v>21.699998999999998</c:v>
                </c:pt>
                <c:pt idx="1069">
                  <c:v>21.3</c:v>
                </c:pt>
                <c:pt idx="1070">
                  <c:v>21.72</c:v>
                </c:pt>
                <c:pt idx="1071">
                  <c:v>21.949998999999998</c:v>
                </c:pt>
                <c:pt idx="1072">
                  <c:v>21.419998</c:v>
                </c:pt>
                <c:pt idx="1073">
                  <c:v>21.57</c:v>
                </c:pt>
                <c:pt idx="1074">
                  <c:v>21.49</c:v>
                </c:pt>
                <c:pt idx="1075">
                  <c:v>21.999998000000001</c:v>
                </c:pt>
                <c:pt idx="1076">
                  <c:v>21.999998000000001</c:v>
                </c:pt>
                <c:pt idx="1077">
                  <c:v>21.57</c:v>
                </c:pt>
                <c:pt idx="1078">
                  <c:v>20.76</c:v>
                </c:pt>
                <c:pt idx="1079">
                  <c:v>21.21</c:v>
                </c:pt>
                <c:pt idx="1080">
                  <c:v>22.4</c:v>
                </c:pt>
                <c:pt idx="1081">
                  <c:v>23.35</c:v>
                </c:pt>
                <c:pt idx="1082">
                  <c:v>23.56</c:v>
                </c:pt>
                <c:pt idx="1083">
                  <c:v>22.97</c:v>
                </c:pt>
                <c:pt idx="1084">
                  <c:v>22.599997999999999</c:v>
                </c:pt>
                <c:pt idx="1085">
                  <c:v>22.57</c:v>
                </c:pt>
                <c:pt idx="1086">
                  <c:v>22.989998</c:v>
                </c:pt>
                <c:pt idx="1087">
                  <c:v>23.21</c:v>
                </c:pt>
                <c:pt idx="1088">
                  <c:v>23.9</c:v>
                </c:pt>
                <c:pt idx="1089">
                  <c:v>24.43</c:v>
                </c:pt>
                <c:pt idx="1090">
                  <c:v>24.24</c:v>
                </c:pt>
                <c:pt idx="1091">
                  <c:v>24.669998</c:v>
                </c:pt>
                <c:pt idx="1092">
                  <c:v>25.82</c:v>
                </c:pt>
                <c:pt idx="1093">
                  <c:v>24.93</c:v>
                </c:pt>
                <c:pt idx="1094">
                  <c:v>24.300001000000002</c:v>
                </c:pt>
                <c:pt idx="1095">
                  <c:v>24.25</c:v>
                </c:pt>
                <c:pt idx="1096">
                  <c:v>24.220001</c:v>
                </c:pt>
                <c:pt idx="1097">
                  <c:v>23.85</c:v>
                </c:pt>
                <c:pt idx="1098">
                  <c:v>23.46</c:v>
                </c:pt>
                <c:pt idx="1099">
                  <c:v>23.529999</c:v>
                </c:pt>
                <c:pt idx="1100">
                  <c:v>22.989998</c:v>
                </c:pt>
                <c:pt idx="1101">
                  <c:v>22.789999000000002</c:v>
                </c:pt>
                <c:pt idx="1102">
                  <c:v>22.83</c:v>
                </c:pt>
                <c:pt idx="1103">
                  <c:v>22.23</c:v>
                </c:pt>
                <c:pt idx="1104">
                  <c:v>22.289999000000002</c:v>
                </c:pt>
                <c:pt idx="1105">
                  <c:v>22.449998999999998</c:v>
                </c:pt>
                <c:pt idx="1106">
                  <c:v>22.109998999999998</c:v>
                </c:pt>
                <c:pt idx="1107">
                  <c:v>22.199998999999998</c:v>
                </c:pt>
                <c:pt idx="1108">
                  <c:v>22.35</c:v>
                </c:pt>
                <c:pt idx="1109">
                  <c:v>22.22</c:v>
                </c:pt>
                <c:pt idx="1110">
                  <c:v>21.39</c:v>
                </c:pt>
                <c:pt idx="1111">
                  <c:v>21.08</c:v>
                </c:pt>
                <c:pt idx="1112">
                  <c:v>21.21</c:v>
                </c:pt>
                <c:pt idx="1113">
                  <c:v>21.509998</c:v>
                </c:pt>
              </c:numCache>
            </c:numRef>
          </c:val>
          <c:smooth val="0"/>
          <c:extLst>
            <c:ext xmlns:c16="http://schemas.microsoft.com/office/drawing/2014/chart" uri="{C3380CC4-5D6E-409C-BE32-E72D297353CC}">
              <c16:uniqueId val="{00000000-460D-6F4E-9400-DC4F135CD3A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C$2:$C$2111</c:f>
              <c:numCache>
                <c:formatCode>General</c:formatCode>
                <c:ptCount val="2110"/>
                <c:pt idx="0">
                  <c:v>43.793694000000002</c:v>
                </c:pt>
                <c:pt idx="1">
                  <c:v>44.662489999999998</c:v>
                </c:pt>
                <c:pt idx="2">
                  <c:v>44.941741999999998</c:v>
                </c:pt>
                <c:pt idx="3">
                  <c:v>45.216760000000001</c:v>
                </c:pt>
                <c:pt idx="4">
                  <c:v>45.118600000000001</c:v>
                </c:pt>
                <c:pt idx="5">
                  <c:v>45.45532</c:v>
                </c:pt>
                <c:pt idx="6">
                  <c:v>45.925438</c:v>
                </c:pt>
                <c:pt idx="7">
                  <c:v>45.859755999999997</c:v>
                </c:pt>
                <c:pt idx="8">
                  <c:v>45.692013000000003</c:v>
                </c:pt>
                <c:pt idx="9">
                  <c:v>46.270490000000002</c:v>
                </c:pt>
                <c:pt idx="10">
                  <c:v>45.920520000000003</c:v>
                </c:pt>
                <c:pt idx="11">
                  <c:v>46.313980000000001</c:v>
                </c:pt>
                <c:pt idx="12">
                  <c:v>45.781999999999996</c:v>
                </c:pt>
                <c:pt idx="13">
                  <c:v>45.770947</c:v>
                </c:pt>
                <c:pt idx="14">
                  <c:v>45.531371999999998</c:v>
                </c:pt>
                <c:pt idx="15">
                  <c:v>44.409298</c:v>
                </c:pt>
                <c:pt idx="16">
                  <c:v>44.617283</c:v>
                </c:pt>
                <c:pt idx="17">
                  <c:v>45.308869999999999</c:v>
                </c:pt>
                <c:pt idx="18">
                  <c:v>43.774819999999998</c:v>
                </c:pt>
                <c:pt idx="19">
                  <c:v>44.230910000000002</c:v>
                </c:pt>
                <c:pt idx="20">
                  <c:v>44.168365000000001</c:v>
                </c:pt>
                <c:pt idx="21">
                  <c:v>43.056980000000003</c:v>
                </c:pt>
                <c:pt idx="22">
                  <c:v>40.734493000000001</c:v>
                </c:pt>
                <c:pt idx="23">
                  <c:v>41.244039999999998</c:v>
                </c:pt>
                <c:pt idx="24">
                  <c:v>40.416634000000002</c:v>
                </c:pt>
                <c:pt idx="25">
                  <c:v>40.535663999999997</c:v>
                </c:pt>
                <c:pt idx="26">
                  <c:v>40.929043</c:v>
                </c:pt>
                <c:pt idx="27">
                  <c:v>40.617134</c:v>
                </c:pt>
                <c:pt idx="28">
                  <c:v>39.489834000000002</c:v>
                </c:pt>
                <c:pt idx="29">
                  <c:v>41.538432999999998</c:v>
                </c:pt>
                <c:pt idx="30">
                  <c:v>43.122345000000003</c:v>
                </c:pt>
                <c:pt idx="31">
                  <c:v>42.903019999999998</c:v>
                </c:pt>
                <c:pt idx="32">
                  <c:v>43.548831999999997</c:v>
                </c:pt>
                <c:pt idx="33">
                  <c:v>45.472572</c:v>
                </c:pt>
                <c:pt idx="34">
                  <c:v>46.062446999999999</c:v>
                </c:pt>
                <c:pt idx="35">
                  <c:v>45.961094000000003</c:v>
                </c:pt>
                <c:pt idx="36">
                  <c:v>46.181263000000001</c:v>
                </c:pt>
                <c:pt idx="37">
                  <c:v>45.768875000000001</c:v>
                </c:pt>
                <c:pt idx="38">
                  <c:v>46.389876999999998</c:v>
                </c:pt>
                <c:pt idx="39">
                  <c:v>46.453186000000002</c:v>
                </c:pt>
                <c:pt idx="40">
                  <c:v>45.170853000000001</c:v>
                </c:pt>
                <c:pt idx="41">
                  <c:v>45.644100000000002</c:v>
                </c:pt>
                <c:pt idx="42">
                  <c:v>44.988852999999999</c:v>
                </c:pt>
                <c:pt idx="43">
                  <c:v>43.502403000000001</c:v>
                </c:pt>
                <c:pt idx="44">
                  <c:v>43.483784</c:v>
                </c:pt>
                <c:pt idx="45">
                  <c:v>44.653579999999998</c:v>
                </c:pt>
                <c:pt idx="46">
                  <c:v>42.681213</c:v>
                </c:pt>
                <c:pt idx="47">
                  <c:v>45.65896</c:v>
                </c:pt>
                <c:pt idx="48">
                  <c:v>46.614559999999997</c:v>
                </c:pt>
                <c:pt idx="49">
                  <c:v>45.453963999999999</c:v>
                </c:pt>
                <c:pt idx="50">
                  <c:v>46.004759999999997</c:v>
                </c:pt>
                <c:pt idx="51">
                  <c:v>46.466087000000002</c:v>
                </c:pt>
                <c:pt idx="52">
                  <c:v>42.688006999999999</c:v>
                </c:pt>
                <c:pt idx="53">
                  <c:v>41.450020000000002</c:v>
                </c:pt>
                <c:pt idx="54">
                  <c:v>41.639614000000002</c:v>
                </c:pt>
                <c:pt idx="55">
                  <c:v>41.108919999999998</c:v>
                </c:pt>
                <c:pt idx="56">
                  <c:v>42.029083</c:v>
                </c:pt>
                <c:pt idx="57">
                  <c:v>43.060177000000003</c:v>
                </c:pt>
                <c:pt idx="58">
                  <c:v>43.815809999999999</c:v>
                </c:pt>
                <c:pt idx="59">
                  <c:v>45.053192000000003</c:v>
                </c:pt>
                <c:pt idx="60">
                  <c:v>42.889830000000003</c:v>
                </c:pt>
                <c:pt idx="61">
                  <c:v>43.784709999999997</c:v>
                </c:pt>
                <c:pt idx="62">
                  <c:v>44.601950000000002</c:v>
                </c:pt>
                <c:pt idx="63">
                  <c:v>45.418427000000001</c:v>
                </c:pt>
                <c:pt idx="64">
                  <c:v>45.445279999999997</c:v>
                </c:pt>
                <c:pt idx="65">
                  <c:v>46.187153000000002</c:v>
                </c:pt>
                <c:pt idx="66">
                  <c:v>46.383926000000002</c:v>
                </c:pt>
                <c:pt idx="67">
                  <c:v>44.286070000000002</c:v>
                </c:pt>
                <c:pt idx="68">
                  <c:v>46.139583999999999</c:v>
                </c:pt>
                <c:pt idx="69">
                  <c:v>45.510905999999999</c:v>
                </c:pt>
                <c:pt idx="70">
                  <c:v>46.302460000000004</c:v>
                </c:pt>
                <c:pt idx="71">
                  <c:v>46.916652999999997</c:v>
                </c:pt>
                <c:pt idx="72">
                  <c:v>47.171005000000001</c:v>
                </c:pt>
                <c:pt idx="73">
                  <c:v>47.130195999999998</c:v>
                </c:pt>
                <c:pt idx="74">
                  <c:v>46.54533</c:v>
                </c:pt>
                <c:pt idx="75">
                  <c:v>47.263812999999999</c:v>
                </c:pt>
                <c:pt idx="76">
                  <c:v>47.154809999999998</c:v>
                </c:pt>
                <c:pt idx="77">
                  <c:v>46.466014999999999</c:v>
                </c:pt>
                <c:pt idx="78">
                  <c:v>46.942492999999999</c:v>
                </c:pt>
                <c:pt idx="79">
                  <c:v>46.444583999999999</c:v>
                </c:pt>
                <c:pt idx="80">
                  <c:v>46.641643999999999</c:v>
                </c:pt>
                <c:pt idx="81">
                  <c:v>45.943477999999999</c:v>
                </c:pt>
                <c:pt idx="82">
                  <c:v>45.827033999999998</c:v>
                </c:pt>
                <c:pt idx="83">
                  <c:v>44.741416999999998</c:v>
                </c:pt>
                <c:pt idx="84">
                  <c:v>45.376460000000002</c:v>
                </c:pt>
                <c:pt idx="85">
                  <c:v>45.696964000000001</c:v>
                </c:pt>
                <c:pt idx="86">
                  <c:v>46.148000000000003</c:v>
                </c:pt>
                <c:pt idx="87">
                  <c:v>46.012672000000002</c:v>
                </c:pt>
                <c:pt idx="88">
                  <c:v>47.356456999999999</c:v>
                </c:pt>
                <c:pt idx="89">
                  <c:v>46.733006000000003</c:v>
                </c:pt>
                <c:pt idx="90">
                  <c:v>46.741630000000001</c:v>
                </c:pt>
                <c:pt idx="91">
                  <c:v>45.955303000000001</c:v>
                </c:pt>
                <c:pt idx="92">
                  <c:v>43.988514000000002</c:v>
                </c:pt>
                <c:pt idx="93">
                  <c:v>44.98104</c:v>
                </c:pt>
                <c:pt idx="94">
                  <c:v>45.64143</c:v>
                </c:pt>
                <c:pt idx="95">
                  <c:v>45.936793999999999</c:v>
                </c:pt>
                <c:pt idx="96">
                  <c:v>48.088844000000002</c:v>
                </c:pt>
                <c:pt idx="97">
                  <c:v>48.396079999999998</c:v>
                </c:pt>
                <c:pt idx="98">
                  <c:v>49.128599999999999</c:v>
                </c:pt>
                <c:pt idx="99">
                  <c:v>49.374389999999998</c:v>
                </c:pt>
                <c:pt idx="100">
                  <c:v>49.253475000000002</c:v>
                </c:pt>
                <c:pt idx="101">
                  <c:v>48.329205000000002</c:v>
                </c:pt>
                <c:pt idx="102">
                  <c:v>48.963946999999997</c:v>
                </c:pt>
                <c:pt idx="103">
                  <c:v>50.131570000000004</c:v>
                </c:pt>
                <c:pt idx="104">
                  <c:v>48.839126999999998</c:v>
                </c:pt>
                <c:pt idx="105">
                  <c:v>48.87406</c:v>
                </c:pt>
                <c:pt idx="106">
                  <c:v>48.889780000000002</c:v>
                </c:pt>
                <c:pt idx="107">
                  <c:v>49.063760000000002</c:v>
                </c:pt>
                <c:pt idx="108">
                  <c:v>49.562576</c:v>
                </c:pt>
                <c:pt idx="109">
                  <c:v>49.517825999999999</c:v>
                </c:pt>
                <c:pt idx="110">
                  <c:v>49.495646999999998</c:v>
                </c:pt>
                <c:pt idx="111">
                  <c:v>49.985916000000003</c:v>
                </c:pt>
                <c:pt idx="112">
                  <c:v>49.757027000000001</c:v>
                </c:pt>
                <c:pt idx="113">
                  <c:v>49.90775</c:v>
                </c:pt>
                <c:pt idx="114">
                  <c:v>49.233310000000003</c:v>
                </c:pt>
                <c:pt idx="115">
                  <c:v>48.543500000000002</c:v>
                </c:pt>
                <c:pt idx="116">
                  <c:v>47.604782</c:v>
                </c:pt>
                <c:pt idx="117">
                  <c:v>47.060402000000003</c:v>
                </c:pt>
                <c:pt idx="118">
                  <c:v>48.369190000000003</c:v>
                </c:pt>
                <c:pt idx="119">
                  <c:v>49.467976</c:v>
                </c:pt>
                <c:pt idx="120">
                  <c:v>50.43665</c:v>
                </c:pt>
                <c:pt idx="121">
                  <c:v>49.07452</c:v>
                </c:pt>
                <c:pt idx="122">
                  <c:v>49.384438000000003</c:v>
                </c:pt>
                <c:pt idx="123">
                  <c:v>49.423865999999997</c:v>
                </c:pt>
                <c:pt idx="124">
                  <c:v>49.667614</c:v>
                </c:pt>
                <c:pt idx="125">
                  <c:v>49.911105999999997</c:v>
                </c:pt>
                <c:pt idx="126">
                  <c:v>48.955115999999997</c:v>
                </c:pt>
                <c:pt idx="127">
                  <c:v>48.906666000000001</c:v>
                </c:pt>
                <c:pt idx="128">
                  <c:v>49.082233000000002</c:v>
                </c:pt>
                <c:pt idx="129">
                  <c:v>49.457459999999998</c:v>
                </c:pt>
                <c:pt idx="130">
                  <c:v>47.255389999999998</c:v>
                </c:pt>
                <c:pt idx="131">
                  <c:v>48.263159999999999</c:v>
                </c:pt>
                <c:pt idx="132">
                  <c:v>48.539012999999997</c:v>
                </c:pt>
                <c:pt idx="133">
                  <c:v>48.948259999999998</c:v>
                </c:pt>
                <c:pt idx="134">
                  <c:v>48.013615000000001</c:v>
                </c:pt>
                <c:pt idx="135">
                  <c:v>47.412692999999997</c:v>
                </c:pt>
                <c:pt idx="136">
                  <c:v>45.940697</c:v>
                </c:pt>
                <c:pt idx="137">
                  <c:v>46.058193000000003</c:v>
                </c:pt>
                <c:pt idx="138">
                  <c:v>45.903179999999999</c:v>
                </c:pt>
                <c:pt idx="139">
                  <c:v>46.522179999999999</c:v>
                </c:pt>
                <c:pt idx="140">
                  <c:v>47.834377000000003</c:v>
                </c:pt>
                <c:pt idx="141">
                  <c:v>47.143481999999999</c:v>
                </c:pt>
                <c:pt idx="142">
                  <c:v>46.53125</c:v>
                </c:pt>
                <c:pt idx="143">
                  <c:v>46.526885999999998</c:v>
                </c:pt>
                <c:pt idx="144">
                  <c:v>46.787880000000001</c:v>
                </c:pt>
                <c:pt idx="145">
                  <c:v>47.616979999999998</c:v>
                </c:pt>
                <c:pt idx="146">
                  <c:v>47.72757</c:v>
                </c:pt>
                <c:pt idx="147">
                  <c:v>46.940716000000002</c:v>
                </c:pt>
                <c:pt idx="148">
                  <c:v>46.885883</c:v>
                </c:pt>
                <c:pt idx="149">
                  <c:v>47.584964999999997</c:v>
                </c:pt>
                <c:pt idx="150">
                  <c:v>45.46546</c:v>
                </c:pt>
                <c:pt idx="151">
                  <c:v>45.81</c:v>
                </c:pt>
                <c:pt idx="152">
                  <c:v>46.161009999999997</c:v>
                </c:pt>
                <c:pt idx="153">
                  <c:v>46.499836000000002</c:v>
                </c:pt>
                <c:pt idx="154">
                  <c:v>46.887656999999997</c:v>
                </c:pt>
                <c:pt idx="155">
                  <c:v>47.033073000000002</c:v>
                </c:pt>
                <c:pt idx="156">
                  <c:v>47.662486999999999</c:v>
                </c:pt>
                <c:pt idx="157">
                  <c:v>46.891480000000001</c:v>
                </c:pt>
                <c:pt idx="158">
                  <c:v>47.515804000000003</c:v>
                </c:pt>
                <c:pt idx="159">
                  <c:v>47.087150000000001</c:v>
                </c:pt>
                <c:pt idx="160">
                  <c:v>47.512729999999998</c:v>
                </c:pt>
                <c:pt idx="161">
                  <c:v>48.469695999999999</c:v>
                </c:pt>
                <c:pt idx="162">
                  <c:v>47.107840000000003</c:v>
                </c:pt>
                <c:pt idx="163">
                  <c:v>47.68047</c:v>
                </c:pt>
                <c:pt idx="164">
                  <c:v>48.448402000000002</c:v>
                </c:pt>
                <c:pt idx="165">
                  <c:v>47.90269</c:v>
                </c:pt>
                <c:pt idx="166">
                  <c:v>49.168391999999997</c:v>
                </c:pt>
                <c:pt idx="167">
                  <c:v>48.346420000000002</c:v>
                </c:pt>
                <c:pt idx="168">
                  <c:v>49.017197000000003</c:v>
                </c:pt>
                <c:pt idx="169">
                  <c:v>49.168964000000003</c:v>
                </c:pt>
                <c:pt idx="170">
                  <c:v>50.397199999999998</c:v>
                </c:pt>
                <c:pt idx="171">
                  <c:v>51.2179</c:v>
                </c:pt>
                <c:pt idx="172">
                  <c:v>50.176723000000003</c:v>
                </c:pt>
                <c:pt idx="173">
                  <c:v>51.246673999999999</c:v>
                </c:pt>
                <c:pt idx="174">
                  <c:v>50.251849999999997</c:v>
                </c:pt>
                <c:pt idx="175">
                  <c:v>50.389052999999997</c:v>
                </c:pt>
                <c:pt idx="176">
                  <c:v>50.731678000000002</c:v>
                </c:pt>
                <c:pt idx="177">
                  <c:v>50.204242999999998</c:v>
                </c:pt>
                <c:pt idx="178">
                  <c:v>50.390976000000002</c:v>
                </c:pt>
                <c:pt idx="179">
                  <c:v>49.695197999999998</c:v>
                </c:pt>
                <c:pt idx="180">
                  <c:v>49.415756000000002</c:v>
                </c:pt>
                <c:pt idx="181">
                  <c:v>48.89376</c:v>
                </c:pt>
                <c:pt idx="182">
                  <c:v>48.344135000000001</c:v>
                </c:pt>
                <c:pt idx="183">
                  <c:v>48.647415000000002</c:v>
                </c:pt>
                <c:pt idx="184">
                  <c:v>50.478200000000001</c:v>
                </c:pt>
                <c:pt idx="185">
                  <c:v>51.178356000000001</c:v>
                </c:pt>
                <c:pt idx="186">
                  <c:v>50.266669999999998</c:v>
                </c:pt>
                <c:pt idx="187">
                  <c:v>51.083649999999999</c:v>
                </c:pt>
                <c:pt idx="188">
                  <c:v>50.933056000000001</c:v>
                </c:pt>
                <c:pt idx="189">
                  <c:v>51.573875000000001</c:v>
                </c:pt>
                <c:pt idx="190">
                  <c:v>51.317818000000003</c:v>
                </c:pt>
                <c:pt idx="191">
                  <c:v>51.724330000000002</c:v>
                </c:pt>
                <c:pt idx="192">
                  <c:v>51.646095000000003</c:v>
                </c:pt>
                <c:pt idx="193">
                  <c:v>50.960968000000001</c:v>
                </c:pt>
                <c:pt idx="194">
                  <c:v>50.920516999999997</c:v>
                </c:pt>
                <c:pt idx="195">
                  <c:v>51.66769</c:v>
                </c:pt>
                <c:pt idx="196">
                  <c:v>52.000698</c:v>
                </c:pt>
                <c:pt idx="197">
                  <c:v>52.703139999999998</c:v>
                </c:pt>
                <c:pt idx="198">
                  <c:v>51.628383999999997</c:v>
                </c:pt>
                <c:pt idx="199">
                  <c:v>52.511009999999999</c:v>
                </c:pt>
                <c:pt idx="200">
                  <c:v>51.793644</c:v>
                </c:pt>
                <c:pt idx="201">
                  <c:v>52.104080000000003</c:v>
                </c:pt>
                <c:pt idx="202">
                  <c:v>51.221927999999998</c:v>
                </c:pt>
                <c:pt idx="203">
                  <c:v>51.045459999999999</c:v>
                </c:pt>
                <c:pt idx="204">
                  <c:v>50.267665999999998</c:v>
                </c:pt>
                <c:pt idx="205">
                  <c:v>49.897530000000003</c:v>
                </c:pt>
                <c:pt idx="206">
                  <c:v>50.087367999999998</c:v>
                </c:pt>
                <c:pt idx="207">
                  <c:v>50.061129999999999</c:v>
                </c:pt>
                <c:pt idx="208">
                  <c:v>50.962806999999998</c:v>
                </c:pt>
                <c:pt idx="209">
                  <c:v>50.646650000000001</c:v>
                </c:pt>
                <c:pt idx="210">
                  <c:v>50.928097000000001</c:v>
                </c:pt>
                <c:pt idx="211">
                  <c:v>51.705289999999998</c:v>
                </c:pt>
                <c:pt idx="212">
                  <c:v>51.92145</c:v>
                </c:pt>
                <c:pt idx="213">
                  <c:v>52.187114999999999</c:v>
                </c:pt>
                <c:pt idx="214">
                  <c:v>51.455418000000002</c:v>
                </c:pt>
                <c:pt idx="215">
                  <c:v>51.015923000000001</c:v>
                </c:pt>
                <c:pt idx="216">
                  <c:v>51.76088</c:v>
                </c:pt>
                <c:pt idx="217">
                  <c:v>51.931007000000001</c:v>
                </c:pt>
                <c:pt idx="218">
                  <c:v>50.954501999999998</c:v>
                </c:pt>
                <c:pt idx="219">
                  <c:v>52.17736</c:v>
                </c:pt>
                <c:pt idx="220">
                  <c:v>52.311619999999998</c:v>
                </c:pt>
                <c:pt idx="221">
                  <c:v>52.674472999999999</c:v>
                </c:pt>
                <c:pt idx="222">
                  <c:v>51.836803000000003</c:v>
                </c:pt>
                <c:pt idx="223">
                  <c:v>52.355956999999997</c:v>
                </c:pt>
                <c:pt idx="224">
                  <c:v>51.326160000000002</c:v>
                </c:pt>
                <c:pt idx="225">
                  <c:v>52.521327999999997</c:v>
                </c:pt>
                <c:pt idx="226">
                  <c:v>52.550345999999998</c:v>
                </c:pt>
                <c:pt idx="227">
                  <c:v>52.025829999999999</c:v>
                </c:pt>
                <c:pt idx="228">
                  <c:v>52.066600000000001</c:v>
                </c:pt>
                <c:pt idx="229">
                  <c:v>51.487540000000003</c:v>
                </c:pt>
                <c:pt idx="230">
                  <c:v>53.459980000000002</c:v>
                </c:pt>
                <c:pt idx="231">
                  <c:v>52.867800000000003</c:v>
                </c:pt>
                <c:pt idx="232">
                  <c:v>51.6053</c:v>
                </c:pt>
                <c:pt idx="233">
                  <c:v>51.505282999999999</c:v>
                </c:pt>
                <c:pt idx="234">
                  <c:v>51.462649999999996</c:v>
                </c:pt>
                <c:pt idx="235">
                  <c:v>51.665129999999998</c:v>
                </c:pt>
                <c:pt idx="236">
                  <c:v>50.531753999999999</c:v>
                </c:pt>
                <c:pt idx="237">
                  <c:v>51.177005999999999</c:v>
                </c:pt>
                <c:pt idx="238">
                  <c:v>51.451349999999998</c:v>
                </c:pt>
                <c:pt idx="239">
                  <c:v>52.510562999999998</c:v>
                </c:pt>
                <c:pt idx="240">
                  <c:v>53.241615000000003</c:v>
                </c:pt>
                <c:pt idx="241">
                  <c:v>50.669353000000001</c:v>
                </c:pt>
                <c:pt idx="242">
                  <c:v>49.273254000000001</c:v>
                </c:pt>
                <c:pt idx="243">
                  <c:v>49.346867000000003</c:v>
                </c:pt>
                <c:pt idx="244">
                  <c:v>49.121284000000003</c:v>
                </c:pt>
                <c:pt idx="245">
                  <c:v>49.461036999999997</c:v>
                </c:pt>
                <c:pt idx="246">
                  <c:v>50.492393</c:v>
                </c:pt>
                <c:pt idx="247">
                  <c:v>49.795949999999998</c:v>
                </c:pt>
                <c:pt idx="248">
                  <c:v>49.619945999999999</c:v>
                </c:pt>
                <c:pt idx="249">
                  <c:v>49.071249999999999</c:v>
                </c:pt>
                <c:pt idx="250">
                  <c:v>48.60718</c:v>
                </c:pt>
                <c:pt idx="251">
                  <c:v>49.135770000000001</c:v>
                </c:pt>
                <c:pt idx="252">
                  <c:v>48.145972999999998</c:v>
                </c:pt>
                <c:pt idx="253">
                  <c:v>49.126347000000003</c:v>
                </c:pt>
                <c:pt idx="254">
                  <c:v>48.493040000000001</c:v>
                </c:pt>
                <c:pt idx="255">
                  <c:v>44.273746000000003</c:v>
                </c:pt>
                <c:pt idx="256">
                  <c:v>46.183630000000001</c:v>
                </c:pt>
                <c:pt idx="257">
                  <c:v>46.198630000000001</c:v>
                </c:pt>
                <c:pt idx="258">
                  <c:v>46.892997999999999</c:v>
                </c:pt>
                <c:pt idx="259">
                  <c:v>48.619045</c:v>
                </c:pt>
                <c:pt idx="260">
                  <c:v>49.105575999999999</c:v>
                </c:pt>
                <c:pt idx="261">
                  <c:v>49.230040000000002</c:v>
                </c:pt>
                <c:pt idx="262">
                  <c:v>50.795226999999997</c:v>
                </c:pt>
                <c:pt idx="263">
                  <c:v>51.252696999999998</c:v>
                </c:pt>
                <c:pt idx="264">
                  <c:v>51.382750000000001</c:v>
                </c:pt>
                <c:pt idx="265">
                  <c:v>51.932312000000003</c:v>
                </c:pt>
                <c:pt idx="266">
                  <c:v>51.977623000000001</c:v>
                </c:pt>
                <c:pt idx="267">
                  <c:v>51.186256</c:v>
                </c:pt>
                <c:pt idx="268">
                  <c:v>50.903151999999999</c:v>
                </c:pt>
                <c:pt idx="269">
                  <c:v>51.154446</c:v>
                </c:pt>
                <c:pt idx="270">
                  <c:v>51.617396999999997</c:v>
                </c:pt>
                <c:pt idx="271">
                  <c:v>51.076965000000001</c:v>
                </c:pt>
                <c:pt idx="272">
                  <c:v>51.140900000000002</c:v>
                </c:pt>
                <c:pt idx="273">
                  <c:v>51.020240000000001</c:v>
                </c:pt>
                <c:pt idx="274">
                  <c:v>51.315693000000003</c:v>
                </c:pt>
                <c:pt idx="275">
                  <c:v>52.813606</c:v>
                </c:pt>
                <c:pt idx="276">
                  <c:v>52.117730000000002</c:v>
                </c:pt>
                <c:pt idx="277">
                  <c:v>50.757904000000003</c:v>
                </c:pt>
                <c:pt idx="278">
                  <c:v>52.151671999999998</c:v>
                </c:pt>
                <c:pt idx="279">
                  <c:v>52.065224000000001</c:v>
                </c:pt>
                <c:pt idx="280">
                  <c:v>51.903370000000002</c:v>
                </c:pt>
                <c:pt idx="281">
                  <c:v>51.065434000000003</c:v>
                </c:pt>
                <c:pt idx="282">
                  <c:v>50.796653999999997</c:v>
                </c:pt>
                <c:pt idx="283">
                  <c:v>50.6038</c:v>
                </c:pt>
                <c:pt idx="284">
                  <c:v>51.018368000000002</c:v>
                </c:pt>
                <c:pt idx="285">
                  <c:v>49.532111999999998</c:v>
                </c:pt>
                <c:pt idx="286">
                  <c:v>50.843440000000001</c:v>
                </c:pt>
                <c:pt idx="287">
                  <c:v>51.678775999999999</c:v>
                </c:pt>
                <c:pt idx="288">
                  <c:v>50.32891</c:v>
                </c:pt>
                <c:pt idx="289">
                  <c:v>50.609200000000001</c:v>
                </c:pt>
                <c:pt idx="290">
                  <c:v>51.059223000000003</c:v>
                </c:pt>
                <c:pt idx="291">
                  <c:v>50.547317999999997</c:v>
                </c:pt>
                <c:pt idx="292">
                  <c:v>50.748375000000003</c:v>
                </c:pt>
                <c:pt idx="293">
                  <c:v>50.081650000000003</c:v>
                </c:pt>
                <c:pt idx="294">
                  <c:v>48.664769999999997</c:v>
                </c:pt>
                <c:pt idx="295">
                  <c:v>47.937570000000001</c:v>
                </c:pt>
                <c:pt idx="296">
                  <c:v>47.839970000000001</c:v>
                </c:pt>
                <c:pt idx="297">
                  <c:v>48.495274000000002</c:v>
                </c:pt>
                <c:pt idx="298">
                  <c:v>49.554349999999999</c:v>
                </c:pt>
                <c:pt idx="299">
                  <c:v>48.063763000000002</c:v>
                </c:pt>
                <c:pt idx="300">
                  <c:v>48.830120000000001</c:v>
                </c:pt>
                <c:pt idx="301">
                  <c:v>47.164738</c:v>
                </c:pt>
                <c:pt idx="302">
                  <c:v>47.87527</c:v>
                </c:pt>
                <c:pt idx="303">
                  <c:v>48.43083</c:v>
                </c:pt>
                <c:pt idx="304">
                  <c:v>46.892097</c:v>
                </c:pt>
                <c:pt idx="305">
                  <c:v>40.655327</c:v>
                </c:pt>
                <c:pt idx="306">
                  <c:v>42.650795000000002</c:v>
                </c:pt>
                <c:pt idx="307">
                  <c:v>45.549537999999998</c:v>
                </c:pt>
                <c:pt idx="308">
                  <c:v>45.987971999999999</c:v>
                </c:pt>
                <c:pt idx="309">
                  <c:v>45.507649999999998</c:v>
                </c:pt>
                <c:pt idx="310">
                  <c:v>46.285736</c:v>
                </c:pt>
                <c:pt idx="311">
                  <c:v>47.533591999999999</c:v>
                </c:pt>
                <c:pt idx="312">
                  <c:v>46.786205000000002</c:v>
                </c:pt>
                <c:pt idx="313">
                  <c:v>46.04945</c:v>
                </c:pt>
                <c:pt idx="314">
                  <c:v>46.289819999999999</c:v>
                </c:pt>
                <c:pt idx="315">
                  <c:v>47.198386999999997</c:v>
                </c:pt>
                <c:pt idx="316">
                  <c:v>46.876575000000003</c:v>
                </c:pt>
                <c:pt idx="317">
                  <c:v>48.201714000000003</c:v>
                </c:pt>
                <c:pt idx="318">
                  <c:v>38.383343000000004</c:v>
                </c:pt>
                <c:pt idx="319">
                  <c:v>40.603009999999998</c:v>
                </c:pt>
                <c:pt idx="320">
                  <c:v>38.982796</c:v>
                </c:pt>
                <c:pt idx="321">
                  <c:v>39.191372000000001</c:v>
                </c:pt>
                <c:pt idx="322">
                  <c:v>41.331435999999997</c:v>
                </c:pt>
                <c:pt idx="323">
                  <c:v>41.357894999999999</c:v>
                </c:pt>
                <c:pt idx="324">
                  <c:v>43.377872000000004</c:v>
                </c:pt>
                <c:pt idx="325">
                  <c:v>43.434097000000001</c:v>
                </c:pt>
                <c:pt idx="326">
                  <c:v>45.528564000000003</c:v>
                </c:pt>
                <c:pt idx="327">
                  <c:v>45.584940000000003</c:v>
                </c:pt>
                <c:pt idx="328">
                  <c:v>46.590713999999998</c:v>
                </c:pt>
                <c:pt idx="329">
                  <c:v>46.484332999999999</c:v>
                </c:pt>
                <c:pt idx="330">
                  <c:v>46.397419999999997</c:v>
                </c:pt>
                <c:pt idx="331">
                  <c:v>48.992607</c:v>
                </c:pt>
                <c:pt idx="332">
                  <c:v>49.377426</c:v>
                </c:pt>
                <c:pt idx="333">
                  <c:v>48.251297000000001</c:v>
                </c:pt>
                <c:pt idx="334">
                  <c:v>49.107570000000003</c:v>
                </c:pt>
                <c:pt idx="335">
                  <c:v>47.098896000000003</c:v>
                </c:pt>
                <c:pt idx="336">
                  <c:v>44.829419999999999</c:v>
                </c:pt>
                <c:pt idx="337">
                  <c:v>45.984794999999998</c:v>
                </c:pt>
                <c:pt idx="338">
                  <c:v>47.629300000000001</c:v>
                </c:pt>
                <c:pt idx="339">
                  <c:v>47.841970000000003</c:v>
                </c:pt>
                <c:pt idx="340">
                  <c:v>46.846214000000003</c:v>
                </c:pt>
                <c:pt idx="341">
                  <c:v>46.613999999999997</c:v>
                </c:pt>
                <c:pt idx="342">
                  <c:v>46.856425999999999</c:v>
                </c:pt>
                <c:pt idx="343">
                  <c:v>46.686202999999999</c:v>
                </c:pt>
                <c:pt idx="344">
                  <c:v>48.422203000000003</c:v>
                </c:pt>
                <c:pt idx="345">
                  <c:v>47.314019999999999</c:v>
                </c:pt>
                <c:pt idx="346">
                  <c:v>46.966589999999997</c:v>
                </c:pt>
                <c:pt idx="347">
                  <c:v>47.696345999999998</c:v>
                </c:pt>
                <c:pt idx="348">
                  <c:v>46.825626</c:v>
                </c:pt>
                <c:pt idx="349">
                  <c:v>44.335326999999999</c:v>
                </c:pt>
                <c:pt idx="350">
                  <c:v>45.116318</c:v>
                </c:pt>
                <c:pt idx="351">
                  <c:v>47.069870000000002</c:v>
                </c:pt>
                <c:pt idx="352">
                  <c:v>46.59552</c:v>
                </c:pt>
                <c:pt idx="353">
                  <c:v>42.901363000000003</c:v>
                </c:pt>
                <c:pt idx="354">
                  <c:v>43.456577000000003</c:v>
                </c:pt>
                <c:pt idx="355">
                  <c:v>43.987923000000002</c:v>
                </c:pt>
                <c:pt idx="356">
                  <c:v>44.596702999999998</c:v>
                </c:pt>
                <c:pt idx="357">
                  <c:v>39.147038000000002</c:v>
                </c:pt>
                <c:pt idx="358">
                  <c:v>38.899985999999998</c:v>
                </c:pt>
                <c:pt idx="359">
                  <c:v>37.754356000000001</c:v>
                </c:pt>
                <c:pt idx="360">
                  <c:v>37.627434000000001</c:v>
                </c:pt>
                <c:pt idx="361">
                  <c:v>38.280223999999997</c:v>
                </c:pt>
                <c:pt idx="362">
                  <c:v>37.944929999999999</c:v>
                </c:pt>
                <c:pt idx="363">
                  <c:v>37.844000000000001</c:v>
                </c:pt>
                <c:pt idx="364">
                  <c:v>36.697163000000003</c:v>
                </c:pt>
                <c:pt idx="365">
                  <c:v>37.318511999999998</c:v>
                </c:pt>
                <c:pt idx="366">
                  <c:v>37.809699999999999</c:v>
                </c:pt>
                <c:pt idx="367">
                  <c:v>37.938488</c:v>
                </c:pt>
                <c:pt idx="368">
                  <c:v>38.191752999999999</c:v>
                </c:pt>
                <c:pt idx="369">
                  <c:v>36.20796</c:v>
                </c:pt>
                <c:pt idx="370">
                  <c:v>36.022469999999998</c:v>
                </c:pt>
                <c:pt idx="371">
                  <c:v>37.911450000000002</c:v>
                </c:pt>
                <c:pt idx="372">
                  <c:v>37.101610000000001</c:v>
                </c:pt>
                <c:pt idx="373">
                  <c:v>36.482532999999997</c:v>
                </c:pt>
                <c:pt idx="374">
                  <c:v>37.635784000000001</c:v>
                </c:pt>
                <c:pt idx="375">
                  <c:v>37.593679999999999</c:v>
                </c:pt>
                <c:pt idx="376">
                  <c:v>37.673313</c:v>
                </c:pt>
                <c:pt idx="377">
                  <c:v>38.754060000000003</c:v>
                </c:pt>
                <c:pt idx="378">
                  <c:v>39.058242999999997</c:v>
                </c:pt>
                <c:pt idx="379">
                  <c:v>37.032820000000001</c:v>
                </c:pt>
                <c:pt idx="380">
                  <c:v>37.929333</c:v>
                </c:pt>
                <c:pt idx="381">
                  <c:v>37.401249999999997</c:v>
                </c:pt>
                <c:pt idx="382">
                  <c:v>37.734050000000003</c:v>
                </c:pt>
                <c:pt idx="383">
                  <c:v>40.888786000000003</c:v>
                </c:pt>
                <c:pt idx="384">
                  <c:v>36.853059999999999</c:v>
                </c:pt>
                <c:pt idx="385">
                  <c:v>39.138399999999997</c:v>
                </c:pt>
                <c:pt idx="386">
                  <c:v>38.642516999999998</c:v>
                </c:pt>
                <c:pt idx="387">
                  <c:v>40.331180000000003</c:v>
                </c:pt>
                <c:pt idx="388">
                  <c:v>40.638072999999999</c:v>
                </c:pt>
                <c:pt idx="389">
                  <c:v>40.979683000000001</c:v>
                </c:pt>
                <c:pt idx="390">
                  <c:v>40.379233999999997</c:v>
                </c:pt>
                <c:pt idx="391">
                  <c:v>41.170819999999999</c:v>
                </c:pt>
                <c:pt idx="392">
                  <c:v>39.924370000000003</c:v>
                </c:pt>
                <c:pt idx="393">
                  <c:v>40.25112</c:v>
                </c:pt>
                <c:pt idx="394">
                  <c:v>40.129443999999999</c:v>
                </c:pt>
                <c:pt idx="395">
                  <c:v>40.365659999999998</c:v>
                </c:pt>
                <c:pt idx="396">
                  <c:v>38.308598000000003</c:v>
                </c:pt>
                <c:pt idx="397">
                  <c:v>38.829407000000003</c:v>
                </c:pt>
                <c:pt idx="398">
                  <c:v>39.419074999999999</c:v>
                </c:pt>
                <c:pt idx="399">
                  <c:v>38.425162999999998</c:v>
                </c:pt>
                <c:pt idx="400">
                  <c:v>40.482574</c:v>
                </c:pt>
                <c:pt idx="401">
                  <c:v>40.709490000000002</c:v>
                </c:pt>
                <c:pt idx="402">
                  <c:v>39.427819999999997</c:v>
                </c:pt>
                <c:pt idx="403">
                  <c:v>40.335639999999998</c:v>
                </c:pt>
                <c:pt idx="404">
                  <c:v>40.780678000000002</c:v>
                </c:pt>
                <c:pt idx="405">
                  <c:v>40.472374000000002</c:v>
                </c:pt>
                <c:pt idx="406">
                  <c:v>39.29757</c:v>
                </c:pt>
                <c:pt idx="407">
                  <c:v>38.768794999999997</c:v>
                </c:pt>
                <c:pt idx="408">
                  <c:v>37.426814999999998</c:v>
                </c:pt>
                <c:pt idx="409">
                  <c:v>38.146312999999999</c:v>
                </c:pt>
                <c:pt idx="410">
                  <c:v>36.326230000000002</c:v>
                </c:pt>
                <c:pt idx="411">
                  <c:v>36.713096999999998</c:v>
                </c:pt>
                <c:pt idx="412">
                  <c:v>35.960197000000001</c:v>
                </c:pt>
                <c:pt idx="413">
                  <c:v>36.919074999999999</c:v>
                </c:pt>
                <c:pt idx="414">
                  <c:v>36.781852999999998</c:v>
                </c:pt>
                <c:pt idx="415">
                  <c:v>38.839199999999998</c:v>
                </c:pt>
                <c:pt idx="416">
                  <c:v>38.911312000000002</c:v>
                </c:pt>
                <c:pt idx="417">
                  <c:v>35.725490000000001</c:v>
                </c:pt>
                <c:pt idx="418">
                  <c:v>34.679004999999997</c:v>
                </c:pt>
                <c:pt idx="419">
                  <c:v>35.037334000000001</c:v>
                </c:pt>
                <c:pt idx="420">
                  <c:v>34.424427000000001</c:v>
                </c:pt>
                <c:pt idx="421">
                  <c:v>32.995711999999997</c:v>
                </c:pt>
                <c:pt idx="422">
                  <c:v>31.803678999999999</c:v>
                </c:pt>
                <c:pt idx="423">
                  <c:v>30.818901</c:v>
                </c:pt>
                <c:pt idx="424">
                  <c:v>30.688811999999999</c:v>
                </c:pt>
                <c:pt idx="425">
                  <c:v>31.792171</c:v>
                </c:pt>
                <c:pt idx="426">
                  <c:v>30.913118000000001</c:v>
                </c:pt>
                <c:pt idx="427">
                  <c:v>31.226939999999999</c:v>
                </c:pt>
                <c:pt idx="428">
                  <c:v>31.23996</c:v>
                </c:pt>
                <c:pt idx="429">
                  <c:v>32.188952999999998</c:v>
                </c:pt>
                <c:pt idx="430">
                  <c:v>32.254044</c:v>
                </c:pt>
                <c:pt idx="431">
                  <c:v>31.729475000000001</c:v>
                </c:pt>
                <c:pt idx="432">
                  <c:v>31.528334000000001</c:v>
                </c:pt>
                <c:pt idx="433">
                  <c:v>31.148980000000002</c:v>
                </c:pt>
                <c:pt idx="434">
                  <c:v>31.318774999999999</c:v>
                </c:pt>
                <c:pt idx="435">
                  <c:v>32.408622999999999</c:v>
                </c:pt>
                <c:pt idx="436">
                  <c:v>32.815710000000003</c:v>
                </c:pt>
                <c:pt idx="437">
                  <c:v>32.704729999999998</c:v>
                </c:pt>
                <c:pt idx="438">
                  <c:v>33.854267</c:v>
                </c:pt>
                <c:pt idx="439">
                  <c:v>33.732365000000001</c:v>
                </c:pt>
                <c:pt idx="440">
                  <c:v>35.311473999999997</c:v>
                </c:pt>
                <c:pt idx="441">
                  <c:v>35.623753000000001</c:v>
                </c:pt>
                <c:pt idx="442">
                  <c:v>36.207897000000003</c:v>
                </c:pt>
                <c:pt idx="443">
                  <c:v>36.255029999999998</c:v>
                </c:pt>
                <c:pt idx="444">
                  <c:v>36.185955</c:v>
                </c:pt>
                <c:pt idx="445">
                  <c:v>35.217182000000001</c:v>
                </c:pt>
                <c:pt idx="446">
                  <c:v>36.062317</c:v>
                </c:pt>
                <c:pt idx="447">
                  <c:v>33.899296</c:v>
                </c:pt>
                <c:pt idx="448">
                  <c:v>35.27852</c:v>
                </c:pt>
                <c:pt idx="449">
                  <c:v>34.686880000000002</c:v>
                </c:pt>
                <c:pt idx="450">
                  <c:v>35.114986000000002</c:v>
                </c:pt>
                <c:pt idx="451">
                  <c:v>34.749946999999999</c:v>
                </c:pt>
                <c:pt idx="452">
                  <c:v>33.842759999999998</c:v>
                </c:pt>
                <c:pt idx="453">
                  <c:v>35.958523</c:v>
                </c:pt>
                <c:pt idx="454">
                  <c:v>35.926960000000001</c:v>
                </c:pt>
                <c:pt idx="455">
                  <c:v>36.227325</c:v>
                </c:pt>
                <c:pt idx="456">
                  <c:v>37.188415999999997</c:v>
                </c:pt>
                <c:pt idx="457">
                  <c:v>37.373973999999997</c:v>
                </c:pt>
                <c:pt idx="458">
                  <c:v>36.57255</c:v>
                </c:pt>
                <c:pt idx="459">
                  <c:v>36.248710000000003</c:v>
                </c:pt>
                <c:pt idx="460">
                  <c:v>36.828944999999997</c:v>
                </c:pt>
                <c:pt idx="461">
                  <c:v>36.02064</c:v>
                </c:pt>
                <c:pt idx="462">
                  <c:v>36.395935000000001</c:v>
                </c:pt>
                <c:pt idx="463">
                  <c:v>34.163307000000003</c:v>
                </c:pt>
                <c:pt idx="464">
                  <c:v>35.691043999999998</c:v>
                </c:pt>
                <c:pt idx="465">
                  <c:v>34.355003000000004</c:v>
                </c:pt>
                <c:pt idx="466">
                  <c:v>33.930447000000001</c:v>
                </c:pt>
                <c:pt idx="467">
                  <c:v>35.810090000000002</c:v>
                </c:pt>
                <c:pt idx="468">
                  <c:v>35.700904999999999</c:v>
                </c:pt>
                <c:pt idx="469">
                  <c:v>36.066670000000002</c:v>
                </c:pt>
                <c:pt idx="470">
                  <c:v>34.339886</c:v>
                </c:pt>
                <c:pt idx="471">
                  <c:v>35.416550000000001</c:v>
                </c:pt>
                <c:pt idx="472">
                  <c:v>33.286873</c:v>
                </c:pt>
                <c:pt idx="473">
                  <c:v>32.334220000000002</c:v>
                </c:pt>
                <c:pt idx="474">
                  <c:v>32.502429999999997</c:v>
                </c:pt>
                <c:pt idx="475">
                  <c:v>36.338200000000001</c:v>
                </c:pt>
                <c:pt idx="476">
                  <c:v>36.995807999999997</c:v>
                </c:pt>
                <c:pt idx="477">
                  <c:v>36.549472999999999</c:v>
                </c:pt>
                <c:pt idx="478">
                  <c:v>37.648223999999999</c:v>
                </c:pt>
                <c:pt idx="479">
                  <c:v>35.329219999999999</c:v>
                </c:pt>
                <c:pt idx="480">
                  <c:v>36.821669999999997</c:v>
                </c:pt>
                <c:pt idx="481">
                  <c:v>35.98657</c:v>
                </c:pt>
                <c:pt idx="482">
                  <c:v>36.253796000000001</c:v>
                </c:pt>
                <c:pt idx="483">
                  <c:v>36.361060000000002</c:v>
                </c:pt>
                <c:pt idx="484">
                  <c:v>35.298349999999999</c:v>
                </c:pt>
                <c:pt idx="485">
                  <c:v>36.224162999999997</c:v>
                </c:pt>
                <c:pt idx="486">
                  <c:v>36.317207000000003</c:v>
                </c:pt>
                <c:pt idx="487">
                  <c:v>35.39911</c:v>
                </c:pt>
                <c:pt idx="488">
                  <c:v>37.019703</c:v>
                </c:pt>
                <c:pt idx="489">
                  <c:v>35.524270000000001</c:v>
                </c:pt>
                <c:pt idx="490">
                  <c:v>37.465434999999999</c:v>
                </c:pt>
                <c:pt idx="491">
                  <c:v>37.555003999999997</c:v>
                </c:pt>
                <c:pt idx="492">
                  <c:v>36.511589999999998</c:v>
                </c:pt>
                <c:pt idx="493">
                  <c:v>33.785415999999998</c:v>
                </c:pt>
                <c:pt idx="494">
                  <c:v>32.616978000000003</c:v>
                </c:pt>
                <c:pt idx="495">
                  <c:v>33.753211999999998</c:v>
                </c:pt>
                <c:pt idx="496">
                  <c:v>33.212400000000002</c:v>
                </c:pt>
                <c:pt idx="497">
                  <c:v>34.440094000000002</c:v>
                </c:pt>
                <c:pt idx="498">
                  <c:v>33.943350000000002</c:v>
                </c:pt>
                <c:pt idx="499">
                  <c:v>35.170659999999998</c:v>
                </c:pt>
                <c:pt idx="500">
                  <c:v>35.855747000000001</c:v>
                </c:pt>
                <c:pt idx="501">
                  <c:v>35.760693000000003</c:v>
                </c:pt>
                <c:pt idx="502">
                  <c:v>35.764130000000002</c:v>
                </c:pt>
                <c:pt idx="503">
                  <c:v>36.708668000000003</c:v>
                </c:pt>
                <c:pt idx="504">
                  <c:v>35.849293000000003</c:v>
                </c:pt>
                <c:pt idx="505">
                  <c:v>37.400173000000002</c:v>
                </c:pt>
                <c:pt idx="506">
                  <c:v>37.405529999999999</c:v>
                </c:pt>
                <c:pt idx="507">
                  <c:v>37.405450000000002</c:v>
                </c:pt>
                <c:pt idx="508">
                  <c:v>36.854934999999998</c:v>
                </c:pt>
                <c:pt idx="509">
                  <c:v>38.901263999999998</c:v>
                </c:pt>
                <c:pt idx="510">
                  <c:v>38.804848</c:v>
                </c:pt>
                <c:pt idx="511">
                  <c:v>37.726523999999998</c:v>
                </c:pt>
                <c:pt idx="512">
                  <c:v>39.468803000000001</c:v>
                </c:pt>
                <c:pt idx="513">
                  <c:v>38.680343999999998</c:v>
                </c:pt>
                <c:pt idx="514">
                  <c:v>39.109397999999999</c:v>
                </c:pt>
                <c:pt idx="515">
                  <c:v>39.993282000000001</c:v>
                </c:pt>
                <c:pt idx="516">
                  <c:v>39.745060000000002</c:v>
                </c:pt>
                <c:pt idx="517">
                  <c:v>37.867184000000002</c:v>
                </c:pt>
                <c:pt idx="518">
                  <c:v>36.867424</c:v>
                </c:pt>
                <c:pt idx="519">
                  <c:v>38.602497</c:v>
                </c:pt>
                <c:pt idx="520">
                  <c:v>37.95635</c:v>
                </c:pt>
                <c:pt idx="521">
                  <c:v>37.44276</c:v>
                </c:pt>
                <c:pt idx="522">
                  <c:v>37.945084000000001</c:v>
                </c:pt>
                <c:pt idx="523">
                  <c:v>37.163905999999997</c:v>
                </c:pt>
                <c:pt idx="524">
                  <c:v>31.907783999999999</c:v>
                </c:pt>
                <c:pt idx="525">
                  <c:v>31.879954999999999</c:v>
                </c:pt>
                <c:pt idx="526">
                  <c:v>34.956383000000002</c:v>
                </c:pt>
                <c:pt idx="527">
                  <c:v>35.279716000000001</c:v>
                </c:pt>
                <c:pt idx="528">
                  <c:v>34.046272000000002</c:v>
                </c:pt>
                <c:pt idx="529">
                  <c:v>35.206539999999997</c:v>
                </c:pt>
                <c:pt idx="530">
                  <c:v>36.350479999999997</c:v>
                </c:pt>
                <c:pt idx="531">
                  <c:v>35.610348000000002</c:v>
                </c:pt>
                <c:pt idx="532">
                  <c:v>34.972523000000002</c:v>
                </c:pt>
                <c:pt idx="533">
                  <c:v>36.114570000000001</c:v>
                </c:pt>
                <c:pt idx="534">
                  <c:v>33.687420000000003</c:v>
                </c:pt>
                <c:pt idx="535">
                  <c:v>34.550289999999997</c:v>
                </c:pt>
                <c:pt idx="536">
                  <c:v>33.854236999999998</c:v>
                </c:pt>
                <c:pt idx="537">
                  <c:v>36.203673999999999</c:v>
                </c:pt>
                <c:pt idx="538">
                  <c:v>34.517035999999997</c:v>
                </c:pt>
                <c:pt idx="539">
                  <c:v>34.407719999999998</c:v>
                </c:pt>
                <c:pt idx="540">
                  <c:v>34.435295000000004</c:v>
                </c:pt>
                <c:pt idx="541">
                  <c:v>37.013176000000001</c:v>
                </c:pt>
                <c:pt idx="542">
                  <c:v>36.262726000000001</c:v>
                </c:pt>
                <c:pt idx="543">
                  <c:v>35.805053999999998</c:v>
                </c:pt>
                <c:pt idx="544">
                  <c:v>34.549273999999997</c:v>
                </c:pt>
                <c:pt idx="545">
                  <c:v>35.467399999999998</c:v>
                </c:pt>
                <c:pt idx="546">
                  <c:v>35.679409999999997</c:v>
                </c:pt>
                <c:pt idx="547">
                  <c:v>35.01773</c:v>
                </c:pt>
                <c:pt idx="548">
                  <c:v>36.099663</c:v>
                </c:pt>
                <c:pt idx="549">
                  <c:v>34.654899999999998</c:v>
                </c:pt>
                <c:pt idx="550">
                  <c:v>35.279407999999997</c:v>
                </c:pt>
                <c:pt idx="551">
                  <c:v>34.359023999999998</c:v>
                </c:pt>
                <c:pt idx="552">
                  <c:v>36.159520000000001</c:v>
                </c:pt>
                <c:pt idx="553">
                  <c:v>35.981358</c:v>
                </c:pt>
                <c:pt idx="554">
                  <c:v>37.016970000000001</c:v>
                </c:pt>
                <c:pt idx="555">
                  <c:v>36.275024000000002</c:v>
                </c:pt>
                <c:pt idx="556">
                  <c:v>36.895256000000003</c:v>
                </c:pt>
                <c:pt idx="557">
                  <c:v>37.665300000000002</c:v>
                </c:pt>
                <c:pt idx="558">
                  <c:v>35.685809999999996</c:v>
                </c:pt>
                <c:pt idx="559">
                  <c:v>36.666240000000002</c:v>
                </c:pt>
                <c:pt idx="560">
                  <c:v>36.374763000000002</c:v>
                </c:pt>
                <c:pt idx="561">
                  <c:v>35.940556000000001</c:v>
                </c:pt>
                <c:pt idx="562">
                  <c:v>36.668340000000001</c:v>
                </c:pt>
                <c:pt idx="563">
                  <c:v>34.97316</c:v>
                </c:pt>
                <c:pt idx="564">
                  <c:v>36.939149999999998</c:v>
                </c:pt>
                <c:pt idx="565">
                  <c:v>35.289932</c:v>
                </c:pt>
                <c:pt idx="566">
                  <c:v>34.459015000000001</c:v>
                </c:pt>
                <c:pt idx="567">
                  <c:v>35.118380000000002</c:v>
                </c:pt>
                <c:pt idx="568">
                  <c:v>34.132854000000002</c:v>
                </c:pt>
                <c:pt idx="569">
                  <c:v>33.646320000000003</c:v>
                </c:pt>
                <c:pt idx="570">
                  <c:v>34.171813999999998</c:v>
                </c:pt>
                <c:pt idx="571">
                  <c:v>33.606279999999998</c:v>
                </c:pt>
                <c:pt idx="572">
                  <c:v>37.902340000000002</c:v>
                </c:pt>
                <c:pt idx="573">
                  <c:v>35.737502999999997</c:v>
                </c:pt>
                <c:pt idx="574">
                  <c:v>35.027797999999997</c:v>
                </c:pt>
                <c:pt idx="575">
                  <c:v>35.776187999999998</c:v>
                </c:pt>
                <c:pt idx="576">
                  <c:v>35.128839999999997</c:v>
                </c:pt>
                <c:pt idx="577">
                  <c:v>36.004753000000001</c:v>
                </c:pt>
                <c:pt idx="578">
                  <c:v>35.895609999999998</c:v>
                </c:pt>
                <c:pt idx="579">
                  <c:v>32.226430000000001</c:v>
                </c:pt>
                <c:pt idx="580">
                  <c:v>34.804855000000003</c:v>
                </c:pt>
                <c:pt idx="581">
                  <c:v>35.761313999999999</c:v>
                </c:pt>
                <c:pt idx="582">
                  <c:v>34.199055000000001</c:v>
                </c:pt>
                <c:pt idx="583">
                  <c:v>34.762970000000003</c:v>
                </c:pt>
                <c:pt idx="584">
                  <c:v>35.686959999999999</c:v>
                </c:pt>
                <c:pt idx="585">
                  <c:v>35.762478000000002</c:v>
                </c:pt>
                <c:pt idx="586">
                  <c:v>34.374639999999999</c:v>
                </c:pt>
                <c:pt idx="587">
                  <c:v>34.488472000000002</c:v>
                </c:pt>
                <c:pt idx="588">
                  <c:v>34.307761999999997</c:v>
                </c:pt>
                <c:pt idx="589">
                  <c:v>35.908206999999997</c:v>
                </c:pt>
                <c:pt idx="590">
                  <c:v>36.131461999999999</c:v>
                </c:pt>
                <c:pt idx="591">
                  <c:v>34.763435000000001</c:v>
                </c:pt>
                <c:pt idx="592">
                  <c:v>35.913469999999997</c:v>
                </c:pt>
                <c:pt idx="593">
                  <c:v>35.490004999999996</c:v>
                </c:pt>
                <c:pt idx="594">
                  <c:v>36.155970000000003</c:v>
                </c:pt>
                <c:pt idx="595">
                  <c:v>35.751151999999998</c:v>
                </c:pt>
                <c:pt idx="596">
                  <c:v>35.953842000000002</c:v>
                </c:pt>
                <c:pt idx="597">
                  <c:v>35.481032999999996</c:v>
                </c:pt>
                <c:pt idx="598">
                  <c:v>36.140419999999999</c:v>
                </c:pt>
                <c:pt idx="599">
                  <c:v>34.280555999999997</c:v>
                </c:pt>
                <c:pt idx="600">
                  <c:v>35.255960000000002</c:v>
                </c:pt>
                <c:pt idx="601">
                  <c:v>35.948936000000003</c:v>
                </c:pt>
                <c:pt idx="602">
                  <c:v>35.587913999999998</c:v>
                </c:pt>
                <c:pt idx="603">
                  <c:v>35.731003000000001</c:v>
                </c:pt>
                <c:pt idx="604">
                  <c:v>36.920611999999998</c:v>
                </c:pt>
                <c:pt idx="605">
                  <c:v>36.470399999999998</c:v>
                </c:pt>
                <c:pt idx="606">
                  <c:v>35.975082</c:v>
                </c:pt>
                <c:pt idx="607">
                  <c:v>37.093525</c:v>
                </c:pt>
                <c:pt idx="608">
                  <c:v>36.770809999999997</c:v>
                </c:pt>
                <c:pt idx="609">
                  <c:v>37.105823999999998</c:v>
                </c:pt>
                <c:pt idx="610">
                  <c:v>35.825287000000003</c:v>
                </c:pt>
                <c:pt idx="611">
                  <c:v>34.534140000000001</c:v>
                </c:pt>
                <c:pt idx="612">
                  <c:v>34.957030000000003</c:v>
                </c:pt>
                <c:pt idx="613">
                  <c:v>34.259549999999997</c:v>
                </c:pt>
                <c:pt idx="614">
                  <c:v>34.058450000000001</c:v>
                </c:pt>
                <c:pt idx="615">
                  <c:v>33.98695</c:v>
                </c:pt>
                <c:pt idx="616">
                  <c:v>33.649258000000003</c:v>
                </c:pt>
                <c:pt idx="617">
                  <c:v>34.213734000000002</c:v>
                </c:pt>
                <c:pt idx="618">
                  <c:v>33.399949999999997</c:v>
                </c:pt>
                <c:pt idx="619">
                  <c:v>33.523445000000002</c:v>
                </c:pt>
                <c:pt idx="620">
                  <c:v>30.645766999999999</c:v>
                </c:pt>
                <c:pt idx="621">
                  <c:v>32.422400000000003</c:v>
                </c:pt>
                <c:pt idx="622">
                  <c:v>30.612984000000001</c:v>
                </c:pt>
                <c:pt idx="623">
                  <c:v>31.026741000000001</c:v>
                </c:pt>
                <c:pt idx="624">
                  <c:v>30.495733000000001</c:v>
                </c:pt>
                <c:pt idx="625">
                  <c:v>29.253740000000001</c:v>
                </c:pt>
                <c:pt idx="626">
                  <c:v>31.052776000000001</c:v>
                </c:pt>
                <c:pt idx="627">
                  <c:v>30.619768000000001</c:v>
                </c:pt>
                <c:pt idx="628">
                  <c:v>30.533183999999999</c:v>
                </c:pt>
                <c:pt idx="629">
                  <c:v>30.266784999999999</c:v>
                </c:pt>
                <c:pt idx="630">
                  <c:v>27.910267000000001</c:v>
                </c:pt>
                <c:pt idx="631">
                  <c:v>30.428501000000001</c:v>
                </c:pt>
                <c:pt idx="632">
                  <c:v>30.817112000000002</c:v>
                </c:pt>
                <c:pt idx="633">
                  <c:v>29.253494</c:v>
                </c:pt>
                <c:pt idx="634">
                  <c:v>29.300255</c:v>
                </c:pt>
                <c:pt idx="635">
                  <c:v>29.232685</c:v>
                </c:pt>
                <c:pt idx="636">
                  <c:v>29.679451</c:v>
                </c:pt>
                <c:pt idx="637">
                  <c:v>30.143293</c:v>
                </c:pt>
                <c:pt idx="638">
                  <c:v>28.656006000000001</c:v>
                </c:pt>
                <c:pt idx="639">
                  <c:v>30.213540999999999</c:v>
                </c:pt>
                <c:pt idx="640">
                  <c:v>30.918112000000001</c:v>
                </c:pt>
                <c:pt idx="641">
                  <c:v>30.526882000000001</c:v>
                </c:pt>
                <c:pt idx="642">
                  <c:v>31.480063999999999</c:v>
                </c:pt>
                <c:pt idx="643">
                  <c:v>31.627050000000001</c:v>
                </c:pt>
                <c:pt idx="644">
                  <c:v>29.414083000000002</c:v>
                </c:pt>
                <c:pt idx="645">
                  <c:v>30.841218999999999</c:v>
                </c:pt>
                <c:pt idx="646">
                  <c:v>32.09639</c:v>
                </c:pt>
                <c:pt idx="647">
                  <c:v>33.846764</c:v>
                </c:pt>
                <c:pt idx="648">
                  <c:v>32.543464999999998</c:v>
                </c:pt>
                <c:pt idx="649">
                  <c:v>31.230999000000001</c:v>
                </c:pt>
                <c:pt idx="650">
                  <c:v>31.866755000000001</c:v>
                </c:pt>
                <c:pt idx="651">
                  <c:v>32.621707999999998</c:v>
                </c:pt>
                <c:pt idx="652">
                  <c:v>31.990604000000001</c:v>
                </c:pt>
                <c:pt idx="653">
                  <c:v>31.349905</c:v>
                </c:pt>
                <c:pt idx="654">
                  <c:v>32.3474</c:v>
                </c:pt>
                <c:pt idx="655">
                  <c:v>29.570744999999999</c:v>
                </c:pt>
                <c:pt idx="656">
                  <c:v>31.40146</c:v>
                </c:pt>
                <c:pt idx="657">
                  <c:v>29.617135999999999</c:v>
                </c:pt>
                <c:pt idx="658">
                  <c:v>28.665789</c:v>
                </c:pt>
                <c:pt idx="659">
                  <c:v>29.028566000000001</c:v>
                </c:pt>
                <c:pt idx="660">
                  <c:v>29.158258</c:v>
                </c:pt>
                <c:pt idx="661">
                  <c:v>30.331593999999999</c:v>
                </c:pt>
                <c:pt idx="662">
                  <c:v>30.674374</c:v>
                </c:pt>
                <c:pt idx="663">
                  <c:v>29.384516000000001</c:v>
                </c:pt>
                <c:pt idx="664">
                  <c:v>29.079274999999999</c:v>
                </c:pt>
                <c:pt idx="665">
                  <c:v>30.152284999999999</c:v>
                </c:pt>
                <c:pt idx="666">
                  <c:v>29.181114000000001</c:v>
                </c:pt>
                <c:pt idx="667">
                  <c:v>30.058285000000001</c:v>
                </c:pt>
                <c:pt idx="668">
                  <c:v>29.282698</c:v>
                </c:pt>
                <c:pt idx="669">
                  <c:v>28.581479999999999</c:v>
                </c:pt>
                <c:pt idx="670">
                  <c:v>29.224909</c:v>
                </c:pt>
                <c:pt idx="671">
                  <c:v>29.485147000000001</c:v>
                </c:pt>
                <c:pt idx="672">
                  <c:v>28.734476000000001</c:v>
                </c:pt>
                <c:pt idx="673">
                  <c:v>29.611260999999999</c:v>
                </c:pt>
                <c:pt idx="674">
                  <c:v>28.054869</c:v>
                </c:pt>
                <c:pt idx="675">
                  <c:v>29.422149999999998</c:v>
                </c:pt>
                <c:pt idx="676">
                  <c:v>30.498497</c:v>
                </c:pt>
                <c:pt idx="677">
                  <c:v>30.9374</c:v>
                </c:pt>
                <c:pt idx="678">
                  <c:v>30.497885</c:v>
                </c:pt>
                <c:pt idx="679">
                  <c:v>31.620850000000001</c:v>
                </c:pt>
                <c:pt idx="680">
                  <c:v>29.248428000000001</c:v>
                </c:pt>
                <c:pt idx="681">
                  <c:v>30.633082999999999</c:v>
                </c:pt>
                <c:pt idx="682">
                  <c:v>31.144485</c:v>
                </c:pt>
                <c:pt idx="683">
                  <c:v>29.262067999999999</c:v>
                </c:pt>
                <c:pt idx="684">
                  <c:v>28.777754000000002</c:v>
                </c:pt>
                <c:pt idx="685">
                  <c:v>28.972351</c:v>
                </c:pt>
                <c:pt idx="686">
                  <c:v>29.843755999999999</c:v>
                </c:pt>
                <c:pt idx="687">
                  <c:v>28.675379</c:v>
                </c:pt>
                <c:pt idx="688">
                  <c:v>28.318284999999999</c:v>
                </c:pt>
                <c:pt idx="689">
                  <c:v>28.900196000000001</c:v>
                </c:pt>
                <c:pt idx="690">
                  <c:v>29.263991999999998</c:v>
                </c:pt>
                <c:pt idx="691">
                  <c:v>30.235334000000002</c:v>
                </c:pt>
                <c:pt idx="692">
                  <c:v>30.551023000000001</c:v>
                </c:pt>
                <c:pt idx="693">
                  <c:v>29.639749999999999</c:v>
                </c:pt>
                <c:pt idx="694">
                  <c:v>28.813171000000001</c:v>
                </c:pt>
                <c:pt idx="695">
                  <c:v>28.475676</c:v>
                </c:pt>
                <c:pt idx="696">
                  <c:v>28.28791</c:v>
                </c:pt>
                <c:pt idx="697">
                  <c:v>30.242422000000001</c:v>
                </c:pt>
                <c:pt idx="698">
                  <c:v>29.492075</c:v>
                </c:pt>
                <c:pt idx="699">
                  <c:v>29.619254999999999</c:v>
                </c:pt>
                <c:pt idx="700">
                  <c:v>29.232389999999999</c:v>
                </c:pt>
                <c:pt idx="701">
                  <c:v>29.561872000000001</c:v>
                </c:pt>
                <c:pt idx="702">
                  <c:v>30.644487000000002</c:v>
                </c:pt>
                <c:pt idx="703">
                  <c:v>30.16245</c:v>
                </c:pt>
                <c:pt idx="704">
                  <c:v>27.782982000000001</c:v>
                </c:pt>
                <c:pt idx="705">
                  <c:v>29.205134999999999</c:v>
                </c:pt>
                <c:pt idx="706">
                  <c:v>29.738634000000001</c:v>
                </c:pt>
                <c:pt idx="707">
                  <c:v>30.23452</c:v>
                </c:pt>
                <c:pt idx="708">
                  <c:v>28.541309999999999</c:v>
                </c:pt>
                <c:pt idx="709">
                  <c:v>28.599440000000001</c:v>
                </c:pt>
                <c:pt idx="710">
                  <c:v>31.083884999999999</c:v>
                </c:pt>
                <c:pt idx="711">
                  <c:v>28.998104000000001</c:v>
                </c:pt>
                <c:pt idx="712">
                  <c:v>27.992754000000001</c:v>
                </c:pt>
                <c:pt idx="713">
                  <c:v>29.987266999999999</c:v>
                </c:pt>
                <c:pt idx="714">
                  <c:v>28.081544999999998</c:v>
                </c:pt>
                <c:pt idx="715">
                  <c:v>30.159424000000001</c:v>
                </c:pt>
                <c:pt idx="716">
                  <c:v>28.728952</c:v>
                </c:pt>
                <c:pt idx="717">
                  <c:v>30.352699999999999</c:v>
                </c:pt>
                <c:pt idx="718">
                  <c:v>28.42746</c:v>
                </c:pt>
                <c:pt idx="719">
                  <c:v>29.344729999999998</c:v>
                </c:pt>
                <c:pt idx="720">
                  <c:v>30.270903000000001</c:v>
                </c:pt>
                <c:pt idx="721">
                  <c:v>29.688345000000002</c:v>
                </c:pt>
                <c:pt idx="722">
                  <c:v>28.004549999999998</c:v>
                </c:pt>
                <c:pt idx="723">
                  <c:v>29.376677000000001</c:v>
                </c:pt>
                <c:pt idx="724">
                  <c:v>29.197292000000001</c:v>
                </c:pt>
                <c:pt idx="725">
                  <c:v>29.033548</c:v>
                </c:pt>
                <c:pt idx="726">
                  <c:v>29.156755</c:v>
                </c:pt>
                <c:pt idx="727">
                  <c:v>29.186883999999999</c:v>
                </c:pt>
                <c:pt idx="728">
                  <c:v>29.171596999999998</c:v>
                </c:pt>
                <c:pt idx="729">
                  <c:v>29.209747</c:v>
                </c:pt>
                <c:pt idx="730">
                  <c:v>30.478156999999999</c:v>
                </c:pt>
                <c:pt idx="731">
                  <c:v>30.489777</c:v>
                </c:pt>
                <c:pt idx="732">
                  <c:v>29.957874</c:v>
                </c:pt>
                <c:pt idx="733">
                  <c:v>30.258127000000002</c:v>
                </c:pt>
                <c:pt idx="734">
                  <c:v>29.730162</c:v>
                </c:pt>
                <c:pt idx="735">
                  <c:v>28.569351000000001</c:v>
                </c:pt>
                <c:pt idx="736">
                  <c:v>29.164375</c:v>
                </c:pt>
                <c:pt idx="737">
                  <c:v>28.941310000000001</c:v>
                </c:pt>
                <c:pt idx="738">
                  <c:v>27.160143000000001</c:v>
                </c:pt>
                <c:pt idx="739">
                  <c:v>30.484546999999999</c:v>
                </c:pt>
                <c:pt idx="740">
                  <c:v>29.045491999999999</c:v>
                </c:pt>
                <c:pt idx="741">
                  <c:v>30.198072</c:v>
                </c:pt>
                <c:pt idx="742">
                  <c:v>29.925508000000001</c:v>
                </c:pt>
                <c:pt idx="743">
                  <c:v>29.858291999999999</c:v>
                </c:pt>
                <c:pt idx="744">
                  <c:v>29.988019999999999</c:v>
                </c:pt>
                <c:pt idx="745">
                  <c:v>29.313949999999998</c:v>
                </c:pt>
                <c:pt idx="746">
                  <c:v>29.482997999999998</c:v>
                </c:pt>
                <c:pt idx="747">
                  <c:v>30.599744999999999</c:v>
                </c:pt>
                <c:pt idx="748">
                  <c:v>29.621078000000001</c:v>
                </c:pt>
                <c:pt idx="749">
                  <c:v>28.793758</c:v>
                </c:pt>
                <c:pt idx="750">
                  <c:v>29.101389000000001</c:v>
                </c:pt>
                <c:pt idx="751">
                  <c:v>28.363150000000001</c:v>
                </c:pt>
                <c:pt idx="752">
                  <c:v>28.174420999999999</c:v>
                </c:pt>
                <c:pt idx="753">
                  <c:v>26.582697</c:v>
                </c:pt>
                <c:pt idx="754">
                  <c:v>28.898872000000001</c:v>
                </c:pt>
                <c:pt idx="755">
                  <c:v>28.210148</c:v>
                </c:pt>
                <c:pt idx="756">
                  <c:v>28.851134999999999</c:v>
                </c:pt>
                <c:pt idx="757">
                  <c:v>29.184073999999999</c:v>
                </c:pt>
                <c:pt idx="758">
                  <c:v>28.108174999999999</c:v>
                </c:pt>
                <c:pt idx="759">
                  <c:v>30.212637000000001</c:v>
                </c:pt>
                <c:pt idx="760">
                  <c:v>29.382705999999999</c:v>
                </c:pt>
                <c:pt idx="761">
                  <c:v>28.540769999999998</c:v>
                </c:pt>
                <c:pt idx="762">
                  <c:v>28.166955999999999</c:v>
                </c:pt>
                <c:pt idx="763">
                  <c:v>30.103048000000001</c:v>
                </c:pt>
                <c:pt idx="764">
                  <c:v>29.821618999999998</c:v>
                </c:pt>
                <c:pt idx="765">
                  <c:v>29.577614000000001</c:v>
                </c:pt>
                <c:pt idx="766">
                  <c:v>30.129711</c:v>
                </c:pt>
                <c:pt idx="767">
                  <c:v>30.528942000000001</c:v>
                </c:pt>
                <c:pt idx="768">
                  <c:v>30.239227</c:v>
                </c:pt>
                <c:pt idx="769">
                  <c:v>28.553391999999999</c:v>
                </c:pt>
                <c:pt idx="770">
                  <c:v>26.970079999999999</c:v>
                </c:pt>
                <c:pt idx="771">
                  <c:v>25.620293</c:v>
                </c:pt>
                <c:pt idx="772">
                  <c:v>23.720932000000001</c:v>
                </c:pt>
                <c:pt idx="773">
                  <c:v>23.120225999999999</c:v>
                </c:pt>
                <c:pt idx="774">
                  <c:v>21.946449999999999</c:v>
                </c:pt>
                <c:pt idx="775">
                  <c:v>19.620092</c:v>
                </c:pt>
                <c:pt idx="776">
                  <c:v>19.012385999999999</c:v>
                </c:pt>
                <c:pt idx="777">
                  <c:v>20.341421</c:v>
                </c:pt>
                <c:pt idx="778">
                  <c:v>15.325956</c:v>
                </c:pt>
                <c:pt idx="779">
                  <c:v>18.402653000000001</c:v>
                </c:pt>
                <c:pt idx="780">
                  <c:v>16.633026000000001</c:v>
                </c:pt>
                <c:pt idx="781">
                  <c:v>16.808422</c:v>
                </c:pt>
                <c:pt idx="782">
                  <c:v>16.360810000000001</c:v>
                </c:pt>
                <c:pt idx="783">
                  <c:v>15.213975</c:v>
                </c:pt>
                <c:pt idx="784">
                  <c:v>14.477594</c:v>
                </c:pt>
                <c:pt idx="785">
                  <c:v>13.464313000000001</c:v>
                </c:pt>
                <c:pt idx="786">
                  <c:v>13.521813999999999</c:v>
                </c:pt>
                <c:pt idx="787">
                  <c:v>13.385249</c:v>
                </c:pt>
                <c:pt idx="788">
                  <c:v>14.18712</c:v>
                </c:pt>
                <c:pt idx="789">
                  <c:v>14.689259</c:v>
                </c:pt>
                <c:pt idx="790">
                  <c:v>14.337618000000001</c:v>
                </c:pt>
                <c:pt idx="791">
                  <c:v>14.313114000000001</c:v>
                </c:pt>
                <c:pt idx="792">
                  <c:v>14.316196</c:v>
                </c:pt>
                <c:pt idx="793">
                  <c:v>16.695034</c:v>
                </c:pt>
                <c:pt idx="794">
                  <c:v>10.991193000000001</c:v>
                </c:pt>
                <c:pt idx="795">
                  <c:v>11.602751</c:v>
                </c:pt>
                <c:pt idx="796">
                  <c:v>12.000856000000001</c:v>
                </c:pt>
                <c:pt idx="797">
                  <c:v>13.021269999999999</c:v>
                </c:pt>
                <c:pt idx="798">
                  <c:v>11.843971</c:v>
                </c:pt>
                <c:pt idx="799">
                  <c:v>12.085049</c:v>
                </c:pt>
                <c:pt idx="800">
                  <c:v>11.902183000000001</c:v>
                </c:pt>
                <c:pt idx="801">
                  <c:v>12.196937</c:v>
                </c:pt>
                <c:pt idx="802">
                  <c:v>14.328649499999999</c:v>
                </c:pt>
                <c:pt idx="803">
                  <c:v>12.667986000000001</c:v>
                </c:pt>
                <c:pt idx="804">
                  <c:v>12.228367</c:v>
                </c:pt>
                <c:pt idx="805">
                  <c:v>12.9154415</c:v>
                </c:pt>
                <c:pt idx="806">
                  <c:v>12.436432999999999</c:v>
                </c:pt>
                <c:pt idx="807">
                  <c:v>12.449317000000001</c:v>
                </c:pt>
                <c:pt idx="808">
                  <c:v>10.583292999999999</c:v>
                </c:pt>
                <c:pt idx="809">
                  <c:v>10.814318999999999</c:v>
                </c:pt>
                <c:pt idx="810">
                  <c:v>12.01923</c:v>
                </c:pt>
                <c:pt idx="811">
                  <c:v>12.300943999999999</c:v>
                </c:pt>
                <c:pt idx="812">
                  <c:v>9.3802950000000003</c:v>
                </c:pt>
                <c:pt idx="813">
                  <c:v>10.967396000000001</c:v>
                </c:pt>
                <c:pt idx="814">
                  <c:v>13.391166</c:v>
                </c:pt>
                <c:pt idx="815">
                  <c:v>11.575556000000001</c:v>
                </c:pt>
                <c:pt idx="816">
                  <c:v>11.016690000000001</c:v>
                </c:pt>
                <c:pt idx="817">
                  <c:v>12.896070999999999</c:v>
                </c:pt>
                <c:pt idx="818">
                  <c:v>12.212265</c:v>
                </c:pt>
                <c:pt idx="819">
                  <c:v>12.688879</c:v>
                </c:pt>
                <c:pt idx="820">
                  <c:v>12.272470999999999</c:v>
                </c:pt>
                <c:pt idx="821">
                  <c:v>12.511516</c:v>
                </c:pt>
                <c:pt idx="822">
                  <c:v>11.960428</c:v>
                </c:pt>
                <c:pt idx="823">
                  <c:v>11.482233000000001</c:v>
                </c:pt>
                <c:pt idx="824">
                  <c:v>11.610893000000001</c:v>
                </c:pt>
                <c:pt idx="825">
                  <c:v>11.865951000000001</c:v>
                </c:pt>
                <c:pt idx="826">
                  <c:v>11.662072</c:v>
                </c:pt>
                <c:pt idx="827">
                  <c:v>11.440664999999999</c:v>
                </c:pt>
                <c:pt idx="828">
                  <c:v>10.495091</c:v>
                </c:pt>
                <c:pt idx="829">
                  <c:v>9.1559609999999996</c:v>
                </c:pt>
                <c:pt idx="830">
                  <c:v>12.093472500000001</c:v>
                </c:pt>
                <c:pt idx="831">
                  <c:v>10.670696</c:v>
                </c:pt>
                <c:pt idx="832">
                  <c:v>10.729069000000001</c:v>
                </c:pt>
                <c:pt idx="833">
                  <c:v>12.999138</c:v>
                </c:pt>
                <c:pt idx="834">
                  <c:v>12.221914</c:v>
                </c:pt>
                <c:pt idx="835">
                  <c:v>10.836103</c:v>
                </c:pt>
                <c:pt idx="836">
                  <c:v>8.9147625000000001</c:v>
                </c:pt>
                <c:pt idx="837">
                  <c:v>10.599171</c:v>
                </c:pt>
                <c:pt idx="838">
                  <c:v>10.046044999999999</c:v>
                </c:pt>
                <c:pt idx="839">
                  <c:v>14.037350999999999</c:v>
                </c:pt>
                <c:pt idx="840">
                  <c:v>19.13372</c:v>
                </c:pt>
                <c:pt idx="841">
                  <c:v>20.174600000000002</c:v>
                </c:pt>
                <c:pt idx="842">
                  <c:v>18.637706999999999</c:v>
                </c:pt>
                <c:pt idx="843">
                  <c:v>18.372624999999999</c:v>
                </c:pt>
                <c:pt idx="844">
                  <c:v>17.618876</c:v>
                </c:pt>
                <c:pt idx="845">
                  <c:v>16.399940000000001</c:v>
                </c:pt>
                <c:pt idx="846">
                  <c:v>18.138746000000001</c:v>
                </c:pt>
                <c:pt idx="847">
                  <c:v>17.011196000000002</c:v>
                </c:pt>
                <c:pt idx="848">
                  <c:v>16.288588000000001</c:v>
                </c:pt>
                <c:pt idx="849">
                  <c:v>15.334549000000001</c:v>
                </c:pt>
                <c:pt idx="850">
                  <c:v>15.387912999999999</c:v>
                </c:pt>
                <c:pt idx="851">
                  <c:v>15.320008</c:v>
                </c:pt>
                <c:pt idx="852">
                  <c:v>14.773597000000001</c:v>
                </c:pt>
                <c:pt idx="853">
                  <c:v>17.493780000000001</c:v>
                </c:pt>
                <c:pt idx="854">
                  <c:v>13.666439</c:v>
                </c:pt>
                <c:pt idx="855">
                  <c:v>14.605021000000001</c:v>
                </c:pt>
                <c:pt idx="856">
                  <c:v>15.455223</c:v>
                </c:pt>
                <c:pt idx="857">
                  <c:v>13.111117</c:v>
                </c:pt>
                <c:pt idx="858">
                  <c:v>13.092533</c:v>
                </c:pt>
                <c:pt idx="859">
                  <c:v>12.820902999999999</c:v>
                </c:pt>
                <c:pt idx="860">
                  <c:v>11.798352</c:v>
                </c:pt>
                <c:pt idx="861">
                  <c:v>11.100161999999999</c:v>
                </c:pt>
                <c:pt idx="862">
                  <c:v>11.406378</c:v>
                </c:pt>
                <c:pt idx="863">
                  <c:v>12.764986</c:v>
                </c:pt>
                <c:pt idx="864">
                  <c:v>11.821716</c:v>
                </c:pt>
                <c:pt idx="865">
                  <c:v>11.174697</c:v>
                </c:pt>
                <c:pt idx="866">
                  <c:v>10.8070755</c:v>
                </c:pt>
                <c:pt idx="867">
                  <c:v>11.018247000000001</c:v>
                </c:pt>
                <c:pt idx="868">
                  <c:v>11.658675000000001</c:v>
                </c:pt>
                <c:pt idx="869">
                  <c:v>13.114534000000001</c:v>
                </c:pt>
                <c:pt idx="870">
                  <c:v>12.353092999999999</c:v>
                </c:pt>
                <c:pt idx="871">
                  <c:v>12.766887000000001</c:v>
                </c:pt>
                <c:pt idx="872">
                  <c:v>11.551871</c:v>
                </c:pt>
                <c:pt idx="873">
                  <c:v>11.956469</c:v>
                </c:pt>
                <c:pt idx="874">
                  <c:v>13.302903000000001</c:v>
                </c:pt>
                <c:pt idx="875">
                  <c:v>13.435549999999999</c:v>
                </c:pt>
                <c:pt idx="876">
                  <c:v>12.718813000000001</c:v>
                </c:pt>
                <c:pt idx="877">
                  <c:v>12.839048999999999</c:v>
                </c:pt>
                <c:pt idx="878">
                  <c:v>13.040006999999999</c:v>
                </c:pt>
                <c:pt idx="879">
                  <c:v>11.589629</c:v>
                </c:pt>
                <c:pt idx="880">
                  <c:v>12.276344999999999</c:v>
                </c:pt>
                <c:pt idx="881">
                  <c:v>11.191886</c:v>
                </c:pt>
                <c:pt idx="882">
                  <c:v>13.218275</c:v>
                </c:pt>
                <c:pt idx="883">
                  <c:v>14.118676000000001</c:v>
                </c:pt>
                <c:pt idx="884">
                  <c:v>11.122551</c:v>
                </c:pt>
                <c:pt idx="885">
                  <c:v>14.445921</c:v>
                </c:pt>
                <c:pt idx="886">
                  <c:v>13.778464</c:v>
                </c:pt>
                <c:pt idx="887">
                  <c:v>13.599228</c:v>
                </c:pt>
                <c:pt idx="888">
                  <c:v>14.453908999999999</c:v>
                </c:pt>
                <c:pt idx="889">
                  <c:v>16.852450999999999</c:v>
                </c:pt>
                <c:pt idx="890">
                  <c:v>12.998624</c:v>
                </c:pt>
                <c:pt idx="891">
                  <c:v>14.120619</c:v>
                </c:pt>
                <c:pt idx="892">
                  <c:v>12.543554</c:v>
                </c:pt>
                <c:pt idx="893">
                  <c:v>14.479331</c:v>
                </c:pt>
                <c:pt idx="894">
                  <c:v>13.481738999999999</c:v>
                </c:pt>
                <c:pt idx="895">
                  <c:v>13.88157</c:v>
                </c:pt>
                <c:pt idx="896">
                  <c:v>12.736020999999999</c:v>
                </c:pt>
                <c:pt idx="897">
                  <c:v>13.279548</c:v>
                </c:pt>
                <c:pt idx="898">
                  <c:v>13.062315</c:v>
                </c:pt>
                <c:pt idx="899">
                  <c:v>14.610163</c:v>
                </c:pt>
                <c:pt idx="900">
                  <c:v>13.74409</c:v>
                </c:pt>
                <c:pt idx="901">
                  <c:v>14.044983</c:v>
                </c:pt>
                <c:pt idx="902">
                  <c:v>15.484014500000001</c:v>
                </c:pt>
                <c:pt idx="903">
                  <c:v>15.049435000000001</c:v>
                </c:pt>
                <c:pt idx="904">
                  <c:v>14.727171999999999</c:v>
                </c:pt>
                <c:pt idx="905">
                  <c:v>14.82507</c:v>
                </c:pt>
                <c:pt idx="906">
                  <c:v>15.609453</c:v>
                </c:pt>
                <c:pt idx="907">
                  <c:v>12.651344999999999</c:v>
                </c:pt>
                <c:pt idx="908">
                  <c:v>12.950271000000001</c:v>
                </c:pt>
                <c:pt idx="909">
                  <c:v>13.337401</c:v>
                </c:pt>
                <c:pt idx="910">
                  <c:v>13.867725</c:v>
                </c:pt>
                <c:pt idx="911">
                  <c:v>14.067149000000001</c:v>
                </c:pt>
                <c:pt idx="912">
                  <c:v>14.065458</c:v>
                </c:pt>
                <c:pt idx="913">
                  <c:v>13.959084499999999</c:v>
                </c:pt>
                <c:pt idx="914">
                  <c:v>13.591362</c:v>
                </c:pt>
                <c:pt idx="915">
                  <c:v>13.284416</c:v>
                </c:pt>
                <c:pt idx="916">
                  <c:v>14.139810000000001</c:v>
                </c:pt>
                <c:pt idx="917">
                  <c:v>13.720675999999999</c:v>
                </c:pt>
                <c:pt idx="918">
                  <c:v>13.312257000000001</c:v>
                </c:pt>
                <c:pt idx="919">
                  <c:v>12.502471</c:v>
                </c:pt>
                <c:pt idx="920">
                  <c:v>13.276501</c:v>
                </c:pt>
                <c:pt idx="921">
                  <c:v>12.844454000000001</c:v>
                </c:pt>
                <c:pt idx="922">
                  <c:v>13.527521999999999</c:v>
                </c:pt>
                <c:pt idx="923">
                  <c:v>13.848183000000001</c:v>
                </c:pt>
                <c:pt idx="924">
                  <c:v>12.737507000000001</c:v>
                </c:pt>
                <c:pt idx="925">
                  <c:v>13.886051</c:v>
                </c:pt>
                <c:pt idx="926">
                  <c:v>13.475057</c:v>
                </c:pt>
                <c:pt idx="927">
                  <c:v>14.165619</c:v>
                </c:pt>
                <c:pt idx="928">
                  <c:v>13.090533000000001</c:v>
                </c:pt>
                <c:pt idx="929">
                  <c:v>13.432136</c:v>
                </c:pt>
                <c:pt idx="930">
                  <c:v>15.979104</c:v>
                </c:pt>
                <c:pt idx="931">
                  <c:v>15.085075</c:v>
                </c:pt>
                <c:pt idx="932">
                  <c:v>15.34942</c:v>
                </c:pt>
                <c:pt idx="933">
                  <c:v>15.481475</c:v>
                </c:pt>
                <c:pt idx="934">
                  <c:v>15.349909999999999</c:v>
                </c:pt>
                <c:pt idx="935">
                  <c:v>14.317163000000001</c:v>
                </c:pt>
                <c:pt idx="936">
                  <c:v>15.293291</c:v>
                </c:pt>
                <c:pt idx="937">
                  <c:v>14.457954000000001</c:v>
                </c:pt>
                <c:pt idx="938">
                  <c:v>14.09605</c:v>
                </c:pt>
                <c:pt idx="939">
                  <c:v>13.419269999999999</c:v>
                </c:pt>
                <c:pt idx="940">
                  <c:v>13.965755</c:v>
                </c:pt>
                <c:pt idx="941">
                  <c:v>14.054356</c:v>
                </c:pt>
                <c:pt idx="942">
                  <c:v>11.394368999999999</c:v>
                </c:pt>
                <c:pt idx="943">
                  <c:v>14.471629999999999</c:v>
                </c:pt>
                <c:pt idx="944">
                  <c:v>12.648381000000001</c:v>
                </c:pt>
                <c:pt idx="945">
                  <c:v>12.814099000000001</c:v>
                </c:pt>
                <c:pt idx="946">
                  <c:v>13.408219000000001</c:v>
                </c:pt>
                <c:pt idx="947">
                  <c:v>12.02936</c:v>
                </c:pt>
                <c:pt idx="948">
                  <c:v>13.354082999999999</c:v>
                </c:pt>
                <c:pt idx="949">
                  <c:v>14.11918</c:v>
                </c:pt>
                <c:pt idx="950">
                  <c:v>15.58182</c:v>
                </c:pt>
                <c:pt idx="951">
                  <c:v>15.495749999999999</c:v>
                </c:pt>
                <c:pt idx="952">
                  <c:v>12.999387</c:v>
                </c:pt>
                <c:pt idx="953">
                  <c:v>14.329306000000001</c:v>
                </c:pt>
                <c:pt idx="954">
                  <c:v>13.005119000000001</c:v>
                </c:pt>
                <c:pt idx="955">
                  <c:v>13.389744</c:v>
                </c:pt>
                <c:pt idx="956">
                  <c:v>13.649191</c:v>
                </c:pt>
                <c:pt idx="957">
                  <c:v>15.761348</c:v>
                </c:pt>
                <c:pt idx="958">
                  <c:v>16.132109</c:v>
                </c:pt>
                <c:pt idx="959">
                  <c:v>14.916145999999999</c:v>
                </c:pt>
                <c:pt idx="960">
                  <c:v>14.948245999999999</c:v>
                </c:pt>
                <c:pt idx="961">
                  <c:v>15.517296</c:v>
                </c:pt>
                <c:pt idx="962">
                  <c:v>16.162521000000002</c:v>
                </c:pt>
                <c:pt idx="963">
                  <c:v>15.410113000000001</c:v>
                </c:pt>
                <c:pt idx="964">
                  <c:v>16.189851999999998</c:v>
                </c:pt>
                <c:pt idx="965">
                  <c:v>15.730084</c:v>
                </c:pt>
                <c:pt idx="966">
                  <c:v>15.912921000000001</c:v>
                </c:pt>
                <c:pt idx="967">
                  <c:v>17.751474000000002</c:v>
                </c:pt>
                <c:pt idx="968">
                  <c:v>17.098884999999999</c:v>
                </c:pt>
                <c:pt idx="969">
                  <c:v>16.586245000000002</c:v>
                </c:pt>
                <c:pt idx="970">
                  <c:v>16.721806999999998</c:v>
                </c:pt>
                <c:pt idx="971">
                  <c:v>18.254019</c:v>
                </c:pt>
                <c:pt idx="972">
                  <c:v>16.457308000000001</c:v>
                </c:pt>
                <c:pt idx="973">
                  <c:v>16.295036</c:v>
                </c:pt>
                <c:pt idx="974">
                  <c:v>15.970109000000001</c:v>
                </c:pt>
                <c:pt idx="975">
                  <c:v>16.622807999999999</c:v>
                </c:pt>
                <c:pt idx="976">
                  <c:v>16.565930000000002</c:v>
                </c:pt>
                <c:pt idx="977">
                  <c:v>17.202421000000001</c:v>
                </c:pt>
                <c:pt idx="978">
                  <c:v>16.853527</c:v>
                </c:pt>
                <c:pt idx="979">
                  <c:v>17.089746000000002</c:v>
                </c:pt>
                <c:pt idx="980">
                  <c:v>16.836514999999999</c:v>
                </c:pt>
                <c:pt idx="981">
                  <c:v>15.459474</c:v>
                </c:pt>
                <c:pt idx="982">
                  <c:v>16.348244000000001</c:v>
                </c:pt>
                <c:pt idx="983">
                  <c:v>17.461752000000001</c:v>
                </c:pt>
                <c:pt idx="984">
                  <c:v>16.298484999999999</c:v>
                </c:pt>
                <c:pt idx="985">
                  <c:v>15.276794000000001</c:v>
                </c:pt>
                <c:pt idx="986">
                  <c:v>15.453279</c:v>
                </c:pt>
                <c:pt idx="987">
                  <c:v>18.20768</c:v>
                </c:pt>
                <c:pt idx="988">
                  <c:v>18.181797</c:v>
                </c:pt>
                <c:pt idx="989">
                  <c:v>17.402547999999999</c:v>
                </c:pt>
                <c:pt idx="990">
                  <c:v>19.31878</c:v>
                </c:pt>
                <c:pt idx="991">
                  <c:v>16.041426000000001</c:v>
                </c:pt>
                <c:pt idx="992">
                  <c:v>15.838123</c:v>
                </c:pt>
                <c:pt idx="993">
                  <c:v>15.384705</c:v>
                </c:pt>
                <c:pt idx="994">
                  <c:v>16.318857000000001</c:v>
                </c:pt>
                <c:pt idx="995">
                  <c:v>17.732970999999999</c:v>
                </c:pt>
                <c:pt idx="996">
                  <c:v>17.153880999999998</c:v>
                </c:pt>
                <c:pt idx="997">
                  <c:v>19.063213000000001</c:v>
                </c:pt>
                <c:pt idx="998">
                  <c:v>18.702738</c:v>
                </c:pt>
                <c:pt idx="999">
                  <c:v>17.481255999999998</c:v>
                </c:pt>
                <c:pt idx="1000">
                  <c:v>17.518771999999998</c:v>
                </c:pt>
                <c:pt idx="1001">
                  <c:v>19.095420000000001</c:v>
                </c:pt>
                <c:pt idx="1002">
                  <c:v>21.247599000000001</c:v>
                </c:pt>
                <c:pt idx="1003">
                  <c:v>20.103764000000002</c:v>
                </c:pt>
                <c:pt idx="1004">
                  <c:v>21.021578000000002</c:v>
                </c:pt>
                <c:pt idx="1005">
                  <c:v>19.536708999999998</c:v>
                </c:pt>
                <c:pt idx="1006">
                  <c:v>18.323602999999999</c:v>
                </c:pt>
                <c:pt idx="1007">
                  <c:v>19.385698000000001</c:v>
                </c:pt>
                <c:pt idx="1008">
                  <c:v>16.884224</c:v>
                </c:pt>
                <c:pt idx="1009">
                  <c:v>16.437480000000001</c:v>
                </c:pt>
                <c:pt idx="1010">
                  <c:v>15.787744</c:v>
                </c:pt>
                <c:pt idx="1011">
                  <c:v>17.386009999999999</c:v>
                </c:pt>
                <c:pt idx="1012">
                  <c:v>18.003741999999999</c:v>
                </c:pt>
                <c:pt idx="1013">
                  <c:v>20.33389</c:v>
                </c:pt>
                <c:pt idx="1014">
                  <c:v>19.800878999999998</c:v>
                </c:pt>
                <c:pt idx="1015">
                  <c:v>21.821394000000002</c:v>
                </c:pt>
                <c:pt idx="1016">
                  <c:v>22.025473000000002</c:v>
                </c:pt>
                <c:pt idx="1017">
                  <c:v>21.19069</c:v>
                </c:pt>
                <c:pt idx="1018">
                  <c:v>20.949383000000001</c:v>
                </c:pt>
                <c:pt idx="1019">
                  <c:v>21.894369999999999</c:v>
                </c:pt>
                <c:pt idx="1020">
                  <c:v>20.833887000000001</c:v>
                </c:pt>
                <c:pt idx="1021">
                  <c:v>23.23826</c:v>
                </c:pt>
                <c:pt idx="1022">
                  <c:v>22.031244000000001</c:v>
                </c:pt>
                <c:pt idx="1023">
                  <c:v>20.204899000000001</c:v>
                </c:pt>
                <c:pt idx="1024">
                  <c:v>18.670057</c:v>
                </c:pt>
                <c:pt idx="1025">
                  <c:v>16.071981000000001</c:v>
                </c:pt>
                <c:pt idx="1026">
                  <c:v>17.545197000000002</c:v>
                </c:pt>
                <c:pt idx="1027">
                  <c:v>17.736239999999999</c:v>
                </c:pt>
                <c:pt idx="1028">
                  <c:v>19.826142999999998</c:v>
                </c:pt>
                <c:pt idx="1029">
                  <c:v>20.284721000000001</c:v>
                </c:pt>
                <c:pt idx="1030">
                  <c:v>20.195902</c:v>
                </c:pt>
                <c:pt idx="1031">
                  <c:v>18.210781000000001</c:v>
                </c:pt>
                <c:pt idx="1032">
                  <c:v>19.032024</c:v>
                </c:pt>
                <c:pt idx="1033">
                  <c:v>19.379387000000001</c:v>
                </c:pt>
                <c:pt idx="1034">
                  <c:v>19.437909999999999</c:v>
                </c:pt>
                <c:pt idx="1035">
                  <c:v>19.578892</c:v>
                </c:pt>
                <c:pt idx="1036">
                  <c:v>21.203144000000002</c:v>
                </c:pt>
                <c:pt idx="1037">
                  <c:v>20.888075000000001</c:v>
                </c:pt>
                <c:pt idx="1038">
                  <c:v>21.144957000000002</c:v>
                </c:pt>
                <c:pt idx="1039">
                  <c:v>20.125520000000002</c:v>
                </c:pt>
                <c:pt idx="1040">
                  <c:v>19.944136</c:v>
                </c:pt>
                <c:pt idx="1041">
                  <c:v>20.473344999999998</c:v>
                </c:pt>
                <c:pt idx="1042">
                  <c:v>19.822890999999998</c:v>
                </c:pt>
                <c:pt idx="1043">
                  <c:v>19.747865999999998</c:v>
                </c:pt>
                <c:pt idx="1044">
                  <c:v>19.645771</c:v>
                </c:pt>
                <c:pt idx="1045">
                  <c:v>19.507390999999998</c:v>
                </c:pt>
                <c:pt idx="1046">
                  <c:v>21.222418000000001</c:v>
                </c:pt>
                <c:pt idx="1047">
                  <c:v>21.563020000000002</c:v>
                </c:pt>
                <c:pt idx="1048">
                  <c:v>21.390391999999999</c:v>
                </c:pt>
                <c:pt idx="1049">
                  <c:v>24.22185</c:v>
                </c:pt>
                <c:pt idx="1050">
                  <c:v>25.15851</c:v>
                </c:pt>
                <c:pt idx="1051">
                  <c:v>22.762557999999999</c:v>
                </c:pt>
                <c:pt idx="1052">
                  <c:v>25.248602000000002</c:v>
                </c:pt>
                <c:pt idx="1053">
                  <c:v>25.706130000000002</c:v>
                </c:pt>
                <c:pt idx="1054">
                  <c:v>24.346215999999998</c:v>
                </c:pt>
                <c:pt idx="1055">
                  <c:v>25.154076</c:v>
                </c:pt>
                <c:pt idx="1056">
                  <c:v>24.977150000000002</c:v>
                </c:pt>
                <c:pt idx="1057">
                  <c:v>24.833942</c:v>
                </c:pt>
                <c:pt idx="1058">
                  <c:v>26.095673000000001</c:v>
                </c:pt>
                <c:pt idx="1059">
                  <c:v>27.443183999999999</c:v>
                </c:pt>
                <c:pt idx="1060">
                  <c:v>25.204692999999999</c:v>
                </c:pt>
                <c:pt idx="1061">
                  <c:v>24.74784</c:v>
                </c:pt>
                <c:pt idx="1062">
                  <c:v>25.069797999999999</c:v>
                </c:pt>
                <c:pt idx="1063">
                  <c:v>25.192862999999999</c:v>
                </c:pt>
                <c:pt idx="1064">
                  <c:v>24.900542999999999</c:v>
                </c:pt>
                <c:pt idx="1065">
                  <c:v>24.242722000000001</c:v>
                </c:pt>
                <c:pt idx="1066">
                  <c:v>24.124504000000002</c:v>
                </c:pt>
                <c:pt idx="1067">
                  <c:v>23.028089999999999</c:v>
                </c:pt>
                <c:pt idx="1068">
                  <c:v>25.533453000000002</c:v>
                </c:pt>
                <c:pt idx="1069">
                  <c:v>26.163474999999998</c:v>
                </c:pt>
                <c:pt idx="1070">
                  <c:v>24.954637999999999</c:v>
                </c:pt>
                <c:pt idx="1071">
                  <c:v>25.904513999999999</c:v>
                </c:pt>
                <c:pt idx="1072">
                  <c:v>25.955760999999999</c:v>
                </c:pt>
                <c:pt idx="1073">
                  <c:v>25.477575000000002</c:v>
                </c:pt>
                <c:pt idx="1074">
                  <c:v>26.191763000000002</c:v>
                </c:pt>
                <c:pt idx="1075">
                  <c:v>26.279589000000001</c:v>
                </c:pt>
                <c:pt idx="1076">
                  <c:v>24.932117000000002</c:v>
                </c:pt>
                <c:pt idx="1077">
                  <c:v>25.052060999999998</c:v>
                </c:pt>
                <c:pt idx="1078">
                  <c:v>24.517613999999998</c:v>
                </c:pt>
                <c:pt idx="1079">
                  <c:v>23.748922</c:v>
                </c:pt>
                <c:pt idx="1080">
                  <c:v>23.517626</c:v>
                </c:pt>
                <c:pt idx="1081">
                  <c:v>24.885683</c:v>
                </c:pt>
                <c:pt idx="1082">
                  <c:v>24.841882999999999</c:v>
                </c:pt>
                <c:pt idx="1083">
                  <c:v>22.446297000000001</c:v>
                </c:pt>
                <c:pt idx="1084">
                  <c:v>25.353923999999999</c:v>
                </c:pt>
                <c:pt idx="1085">
                  <c:v>26.141449999999999</c:v>
                </c:pt>
                <c:pt idx="1086">
                  <c:v>25.514885</c:v>
                </c:pt>
                <c:pt idx="1087">
                  <c:v>25.068802000000002</c:v>
                </c:pt>
                <c:pt idx="1088">
                  <c:v>24.837907999999999</c:v>
                </c:pt>
                <c:pt idx="1089">
                  <c:v>25.694075000000002</c:v>
                </c:pt>
                <c:pt idx="1090">
                  <c:v>25.312519999999999</c:v>
                </c:pt>
                <c:pt idx="1091">
                  <c:v>25.872617999999999</c:v>
                </c:pt>
                <c:pt idx="1092">
                  <c:v>24.344677000000001</c:v>
                </c:pt>
                <c:pt idx="1093">
                  <c:v>25.753468000000002</c:v>
                </c:pt>
                <c:pt idx="1094">
                  <c:v>26.104005999999998</c:v>
                </c:pt>
                <c:pt idx="1095">
                  <c:v>25.30827</c:v>
                </c:pt>
                <c:pt idx="1096">
                  <c:v>24.814978</c:v>
                </c:pt>
                <c:pt idx="1097">
                  <c:v>26.294287000000001</c:v>
                </c:pt>
                <c:pt idx="1098">
                  <c:v>26.825346</c:v>
                </c:pt>
                <c:pt idx="1099">
                  <c:v>26.472162000000001</c:v>
                </c:pt>
                <c:pt idx="1100">
                  <c:v>26.218271000000001</c:v>
                </c:pt>
                <c:pt idx="1101">
                  <c:v>25.345385</c:v>
                </c:pt>
                <c:pt idx="1102">
                  <c:v>26.441544</c:v>
                </c:pt>
                <c:pt idx="1103">
                  <c:v>26.423765</c:v>
                </c:pt>
                <c:pt idx="1104">
                  <c:v>26.667449999999999</c:v>
                </c:pt>
                <c:pt idx="1105">
                  <c:v>24.917677000000001</c:v>
                </c:pt>
                <c:pt idx="1106">
                  <c:v>26.318875999999999</c:v>
                </c:pt>
                <c:pt idx="1107">
                  <c:v>26.104320000000001</c:v>
                </c:pt>
                <c:pt idx="1108">
                  <c:v>26.725045999999999</c:v>
                </c:pt>
                <c:pt idx="1109">
                  <c:v>25.508548999999999</c:v>
                </c:pt>
                <c:pt idx="1110">
                  <c:v>26.90297</c:v>
                </c:pt>
                <c:pt idx="1111">
                  <c:v>25.99511</c:v>
                </c:pt>
                <c:pt idx="1112">
                  <c:v>29.841170000000002</c:v>
                </c:pt>
                <c:pt idx="1113">
                  <c:v>29.629066000000002</c:v>
                </c:pt>
              </c:numCache>
            </c:numRef>
          </c:val>
          <c:smooth val="0"/>
          <c:extLst>
            <c:ext xmlns:c16="http://schemas.microsoft.com/office/drawing/2014/chart" uri="{C3380CC4-5D6E-409C-BE32-E72D297353CC}">
              <c16:uniqueId val="{00000001-460D-6F4E-9400-DC4F135CD3A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60"/>
          <c:min val="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26477981025568E-2"/>
          <c:y val="3.9286234984628063E-2"/>
          <c:w val="0.95403901905410082"/>
          <c:h val="0.92142753003074385"/>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13.1889515</c:v>
                </c:pt>
                <c:pt idx="1">
                  <c:v>13.669750000000001</c:v>
                </c:pt>
                <c:pt idx="2">
                  <c:v>13.443493</c:v>
                </c:pt>
                <c:pt idx="3">
                  <c:v>12.566744999999999</c:v>
                </c:pt>
                <c:pt idx="4">
                  <c:v>12.604450999999999</c:v>
                </c:pt>
                <c:pt idx="5">
                  <c:v>12.793001</c:v>
                </c:pt>
                <c:pt idx="6">
                  <c:v>12.274495999999999</c:v>
                </c:pt>
                <c:pt idx="7">
                  <c:v>12.5007515</c:v>
                </c:pt>
                <c:pt idx="8">
                  <c:v>12.642160000000001</c:v>
                </c:pt>
                <c:pt idx="9">
                  <c:v>12.661016</c:v>
                </c:pt>
                <c:pt idx="10">
                  <c:v>12.830712</c:v>
                </c:pt>
                <c:pt idx="11">
                  <c:v>13.104106</c:v>
                </c:pt>
                <c:pt idx="12">
                  <c:v>13.245518000000001</c:v>
                </c:pt>
                <c:pt idx="13">
                  <c:v>13.735741000000001</c:v>
                </c:pt>
                <c:pt idx="14">
                  <c:v>13.971429000000001</c:v>
                </c:pt>
                <c:pt idx="15">
                  <c:v>14.065701499999999</c:v>
                </c:pt>
                <c:pt idx="16">
                  <c:v>14.263679</c:v>
                </c:pt>
                <c:pt idx="17">
                  <c:v>14.612493499999999</c:v>
                </c:pt>
                <c:pt idx="18">
                  <c:v>14.999018</c:v>
                </c:pt>
                <c:pt idx="19">
                  <c:v>15.319549</c:v>
                </c:pt>
                <c:pt idx="20">
                  <c:v>15.065009</c:v>
                </c:pt>
                <c:pt idx="21">
                  <c:v>15.35726</c:v>
                </c:pt>
                <c:pt idx="22">
                  <c:v>15.819203999999999</c:v>
                </c:pt>
                <c:pt idx="23">
                  <c:v>16.243438999999999</c:v>
                </c:pt>
                <c:pt idx="24">
                  <c:v>16.026602</c:v>
                </c:pt>
                <c:pt idx="25">
                  <c:v>15.894628000000001</c:v>
                </c:pt>
                <c:pt idx="26">
                  <c:v>15.649509999999999</c:v>
                </c:pt>
                <c:pt idx="27">
                  <c:v>15.564665</c:v>
                </c:pt>
                <c:pt idx="28">
                  <c:v>15.696642000000001</c:v>
                </c:pt>
                <c:pt idx="29">
                  <c:v>15.9983225</c:v>
                </c:pt>
                <c:pt idx="30">
                  <c:v>15.715503999999999</c:v>
                </c:pt>
                <c:pt idx="31">
                  <c:v>14.838749999999999</c:v>
                </c:pt>
                <c:pt idx="32">
                  <c:v>14.640772</c:v>
                </c:pt>
                <c:pt idx="33">
                  <c:v>14.791613999999999</c:v>
                </c:pt>
                <c:pt idx="34">
                  <c:v>14.819896</c:v>
                </c:pt>
                <c:pt idx="35">
                  <c:v>14.933026999999999</c:v>
                </c:pt>
                <c:pt idx="36">
                  <c:v>14.801041</c:v>
                </c:pt>
                <c:pt idx="37">
                  <c:v>14.876459000000001</c:v>
                </c:pt>
                <c:pt idx="38">
                  <c:v>15.262985</c:v>
                </c:pt>
                <c:pt idx="39">
                  <c:v>15.215846000000001</c:v>
                </c:pt>
                <c:pt idx="40">
                  <c:v>14.697338999999999</c:v>
                </c:pt>
                <c:pt idx="41">
                  <c:v>15.43268</c:v>
                </c:pt>
                <c:pt idx="42">
                  <c:v>15.574092</c:v>
                </c:pt>
                <c:pt idx="43">
                  <c:v>15.178139</c:v>
                </c:pt>
                <c:pt idx="44">
                  <c:v>15.102719</c:v>
                </c:pt>
                <c:pt idx="45">
                  <c:v>14.631346000000001</c:v>
                </c:pt>
                <c:pt idx="46">
                  <c:v>15.366682000000001</c:v>
                </c:pt>
                <c:pt idx="47">
                  <c:v>15.508098</c:v>
                </c:pt>
                <c:pt idx="48">
                  <c:v>15.291264</c:v>
                </c:pt>
                <c:pt idx="49">
                  <c:v>15.640081</c:v>
                </c:pt>
                <c:pt idx="50">
                  <c:v>15.847481999999999</c:v>
                </c:pt>
                <c:pt idx="51">
                  <c:v>15.932332000000001</c:v>
                </c:pt>
                <c:pt idx="52">
                  <c:v>15.649509999999999</c:v>
                </c:pt>
                <c:pt idx="53">
                  <c:v>15.970036500000001</c:v>
                </c:pt>
                <c:pt idx="54">
                  <c:v>16.045456000000001</c:v>
                </c:pt>
                <c:pt idx="55">
                  <c:v>16.026602</c:v>
                </c:pt>
                <c:pt idx="56">
                  <c:v>16.007747999999999</c:v>
                </c:pt>
                <c:pt idx="57">
                  <c:v>16.347134</c:v>
                </c:pt>
                <c:pt idx="58">
                  <c:v>16.384848000000002</c:v>
                </c:pt>
                <c:pt idx="59">
                  <c:v>16.743086000000002</c:v>
                </c:pt>
                <c:pt idx="60">
                  <c:v>16.705380999999999</c:v>
                </c:pt>
                <c:pt idx="61">
                  <c:v>17.063618000000002</c:v>
                </c:pt>
                <c:pt idx="62">
                  <c:v>17.732963999999999</c:v>
                </c:pt>
                <c:pt idx="63">
                  <c:v>18.025214999999999</c:v>
                </c:pt>
                <c:pt idx="64">
                  <c:v>17.921514999999999</c:v>
                </c:pt>
                <c:pt idx="65">
                  <c:v>17.525562000000001</c:v>
                </c:pt>
                <c:pt idx="66">
                  <c:v>16.922207</c:v>
                </c:pt>
                <c:pt idx="67">
                  <c:v>16.90335</c:v>
                </c:pt>
                <c:pt idx="68">
                  <c:v>17.148465999999999</c:v>
                </c:pt>
                <c:pt idx="69">
                  <c:v>17.167324000000001</c:v>
                </c:pt>
                <c:pt idx="70">
                  <c:v>17.082476</c:v>
                </c:pt>
                <c:pt idx="71">
                  <c:v>16.809078</c:v>
                </c:pt>
                <c:pt idx="72">
                  <c:v>16.658239999999999</c:v>
                </c:pt>
                <c:pt idx="73">
                  <c:v>16.563970000000001</c:v>
                </c:pt>
                <c:pt idx="74">
                  <c:v>16.71481</c:v>
                </c:pt>
                <c:pt idx="75">
                  <c:v>16.639382999999999</c:v>
                </c:pt>
                <c:pt idx="76">
                  <c:v>15.979469999999999</c:v>
                </c:pt>
                <c:pt idx="77">
                  <c:v>15.687218</c:v>
                </c:pt>
                <c:pt idx="78">
                  <c:v>16.045456000000001</c:v>
                </c:pt>
                <c:pt idx="79">
                  <c:v>16.271715</c:v>
                </c:pt>
                <c:pt idx="80">
                  <c:v>15.951185000000001</c:v>
                </c:pt>
                <c:pt idx="81">
                  <c:v>15.913472000000001</c:v>
                </c:pt>
                <c:pt idx="82">
                  <c:v>16.036034000000001</c:v>
                </c:pt>
                <c:pt idx="83">
                  <c:v>15.960618</c:v>
                </c:pt>
                <c:pt idx="84">
                  <c:v>15.979469999999999</c:v>
                </c:pt>
                <c:pt idx="85">
                  <c:v>16.234009</c:v>
                </c:pt>
                <c:pt idx="86">
                  <c:v>16.083165999999999</c:v>
                </c:pt>
                <c:pt idx="87">
                  <c:v>15.772062999999999</c:v>
                </c:pt>
                <c:pt idx="88">
                  <c:v>15.404394</c:v>
                </c:pt>
                <c:pt idx="89">
                  <c:v>15.20642</c:v>
                </c:pt>
                <c:pt idx="90">
                  <c:v>15.517526</c:v>
                </c:pt>
                <c:pt idx="91">
                  <c:v>15.244128</c:v>
                </c:pt>
                <c:pt idx="92">
                  <c:v>15.376113999999999</c:v>
                </c:pt>
                <c:pt idx="93">
                  <c:v>15.479815</c:v>
                </c:pt>
                <c:pt idx="94">
                  <c:v>15.838056</c:v>
                </c:pt>
                <c:pt idx="95">
                  <c:v>15.489243999999999</c:v>
                </c:pt>
                <c:pt idx="96">
                  <c:v>15.790917</c:v>
                </c:pt>
                <c:pt idx="97">
                  <c:v>15.875762999999999</c:v>
                </c:pt>
                <c:pt idx="98">
                  <c:v>15.970036500000001</c:v>
                </c:pt>
                <c:pt idx="99">
                  <c:v>16.365993</c:v>
                </c:pt>
                <c:pt idx="100">
                  <c:v>16.186869000000002</c:v>
                </c:pt>
                <c:pt idx="101">
                  <c:v>16.375418</c:v>
                </c:pt>
                <c:pt idx="102">
                  <c:v>16.554542999999999</c:v>
                </c:pt>
                <c:pt idx="103">
                  <c:v>16.743086000000002</c:v>
                </c:pt>
                <c:pt idx="104">
                  <c:v>16.922207</c:v>
                </c:pt>
                <c:pt idx="105">
                  <c:v>17.393578000000002</c:v>
                </c:pt>
                <c:pt idx="106">
                  <c:v>17.365300000000001</c:v>
                </c:pt>
                <c:pt idx="107">
                  <c:v>17.186178000000002</c:v>
                </c:pt>
                <c:pt idx="108">
                  <c:v>17.110759999999999</c:v>
                </c:pt>
                <c:pt idx="109">
                  <c:v>17.016480000000001</c:v>
                </c:pt>
                <c:pt idx="110">
                  <c:v>17.440719999999999</c:v>
                </c:pt>
                <c:pt idx="111">
                  <c:v>17.751822000000001</c:v>
                </c:pt>
                <c:pt idx="112">
                  <c:v>17.996932999999999</c:v>
                </c:pt>
                <c:pt idx="113">
                  <c:v>18.128921999999999</c:v>
                </c:pt>
                <c:pt idx="114">
                  <c:v>18.100633999999999</c:v>
                </c:pt>
                <c:pt idx="115">
                  <c:v>18.242045999999998</c:v>
                </c:pt>
                <c:pt idx="116">
                  <c:v>18.270325</c:v>
                </c:pt>
                <c:pt idx="117">
                  <c:v>17.836666000000001</c:v>
                </c:pt>
                <c:pt idx="118">
                  <c:v>18.072351000000001</c:v>
                </c:pt>
                <c:pt idx="119">
                  <c:v>17.836666000000001</c:v>
                </c:pt>
                <c:pt idx="120">
                  <c:v>17.789529999999999</c:v>
                </c:pt>
                <c:pt idx="121">
                  <c:v>17.893232000000001</c:v>
                </c:pt>
                <c:pt idx="122">
                  <c:v>17.534991999999999</c:v>
                </c:pt>
                <c:pt idx="123">
                  <c:v>17.742393</c:v>
                </c:pt>
                <c:pt idx="124">
                  <c:v>15.423249999999999</c:v>
                </c:pt>
                <c:pt idx="125">
                  <c:v>15.244128</c:v>
                </c:pt>
                <c:pt idx="126">
                  <c:v>14.819896</c:v>
                </c:pt>
                <c:pt idx="127">
                  <c:v>15.09329</c:v>
                </c:pt>
                <c:pt idx="128">
                  <c:v>14.744475</c:v>
                </c:pt>
                <c:pt idx="129">
                  <c:v>14.895313</c:v>
                </c:pt>
                <c:pt idx="130">
                  <c:v>14.90474</c:v>
                </c:pt>
                <c:pt idx="131">
                  <c:v>15.338404000000001</c:v>
                </c:pt>
                <c:pt idx="132">
                  <c:v>15.234700999999999</c:v>
                </c:pt>
                <c:pt idx="133">
                  <c:v>15.281836500000001</c:v>
                </c:pt>
                <c:pt idx="134">
                  <c:v>14.584212000000001</c:v>
                </c:pt>
                <c:pt idx="135">
                  <c:v>14.4616585</c:v>
                </c:pt>
                <c:pt idx="136">
                  <c:v>15.046151999999999</c:v>
                </c:pt>
                <c:pt idx="137">
                  <c:v>15.234700999999999</c:v>
                </c:pt>
                <c:pt idx="138">
                  <c:v>15.451532</c:v>
                </c:pt>
                <c:pt idx="139">
                  <c:v>15.847481999999999</c:v>
                </c:pt>
                <c:pt idx="140">
                  <c:v>16.017181000000001</c:v>
                </c:pt>
                <c:pt idx="141">
                  <c:v>15.838056</c:v>
                </c:pt>
                <c:pt idx="142">
                  <c:v>16.469695999999999</c:v>
                </c:pt>
                <c:pt idx="143">
                  <c:v>17.082476</c:v>
                </c:pt>
                <c:pt idx="144">
                  <c:v>16.705380999999999</c:v>
                </c:pt>
                <c:pt idx="145">
                  <c:v>16.620531</c:v>
                </c:pt>
                <c:pt idx="146">
                  <c:v>16.846788</c:v>
                </c:pt>
                <c:pt idx="147">
                  <c:v>17.035336000000001</c:v>
                </c:pt>
                <c:pt idx="148">
                  <c:v>17.648119999999999</c:v>
                </c:pt>
                <c:pt idx="149">
                  <c:v>17.610415</c:v>
                </c:pt>
                <c:pt idx="150">
                  <c:v>17.883801999999999</c:v>
                </c:pt>
                <c:pt idx="151">
                  <c:v>17.808384</c:v>
                </c:pt>
                <c:pt idx="152">
                  <c:v>17.780104000000001</c:v>
                </c:pt>
                <c:pt idx="153">
                  <c:v>17.902657000000001</c:v>
                </c:pt>
                <c:pt idx="154">
                  <c:v>18.081779999999998</c:v>
                </c:pt>
                <c:pt idx="155">
                  <c:v>18.355174999999999</c:v>
                </c:pt>
                <c:pt idx="156">
                  <c:v>17.987504999999999</c:v>
                </c:pt>
                <c:pt idx="157">
                  <c:v>17.874374</c:v>
                </c:pt>
                <c:pt idx="158">
                  <c:v>18.562577999999998</c:v>
                </c:pt>
                <c:pt idx="159">
                  <c:v>18.703987000000001</c:v>
                </c:pt>
                <c:pt idx="160">
                  <c:v>19.307348000000001</c:v>
                </c:pt>
                <c:pt idx="161">
                  <c:v>19.354485</c:v>
                </c:pt>
                <c:pt idx="162">
                  <c:v>19.222498000000002</c:v>
                </c:pt>
                <c:pt idx="163">
                  <c:v>18.873685999999999</c:v>
                </c:pt>
                <c:pt idx="164">
                  <c:v>18.911397999999998</c:v>
                </c:pt>
                <c:pt idx="165">
                  <c:v>19.326198999999999</c:v>
                </c:pt>
                <c:pt idx="166">
                  <c:v>19.533605999999999</c:v>
                </c:pt>
                <c:pt idx="167">
                  <c:v>19.401623000000001</c:v>
                </c:pt>
                <c:pt idx="168">
                  <c:v>19.326198999999999</c:v>
                </c:pt>
                <c:pt idx="169">
                  <c:v>19.439333000000001</c:v>
                </c:pt>
                <c:pt idx="170">
                  <c:v>19.797571000000001</c:v>
                </c:pt>
                <c:pt idx="171">
                  <c:v>19.929552000000001</c:v>
                </c:pt>
                <c:pt idx="172">
                  <c:v>20.004974000000001</c:v>
                </c:pt>
                <c:pt idx="173">
                  <c:v>20.693173999999999</c:v>
                </c:pt>
                <c:pt idx="174">
                  <c:v>20.174664</c:v>
                </c:pt>
                <c:pt idx="175">
                  <c:v>21.371949999999998</c:v>
                </c:pt>
                <c:pt idx="176">
                  <c:v>20.881724999999999</c:v>
                </c:pt>
                <c:pt idx="177">
                  <c:v>20.749737</c:v>
                </c:pt>
                <c:pt idx="178">
                  <c:v>21.089127000000001</c:v>
                </c:pt>
                <c:pt idx="179">
                  <c:v>21.287099999999999</c:v>
                </c:pt>
                <c:pt idx="180">
                  <c:v>20.712025000000001</c:v>
                </c:pt>
                <c:pt idx="181">
                  <c:v>21.155118999999999</c:v>
                </c:pt>
                <c:pt idx="182">
                  <c:v>21.409656999999999</c:v>
                </c:pt>
                <c:pt idx="183">
                  <c:v>21.38138</c:v>
                </c:pt>
                <c:pt idx="184">
                  <c:v>21.117407</c:v>
                </c:pt>
                <c:pt idx="185">
                  <c:v>20.815725</c:v>
                </c:pt>
                <c:pt idx="186">
                  <c:v>21.881031</c:v>
                </c:pt>
                <c:pt idx="187">
                  <c:v>21.937591999999999</c:v>
                </c:pt>
                <c:pt idx="188">
                  <c:v>22.173279999999998</c:v>
                </c:pt>
                <c:pt idx="189">
                  <c:v>21.975297999999999</c:v>
                </c:pt>
                <c:pt idx="190">
                  <c:v>22.305261999999999</c:v>
                </c:pt>
                <c:pt idx="191">
                  <c:v>22.522093000000002</c:v>
                </c:pt>
                <c:pt idx="192">
                  <c:v>23.002897000000001</c:v>
                </c:pt>
                <c:pt idx="193">
                  <c:v>22.842623</c:v>
                </c:pt>
                <c:pt idx="194">
                  <c:v>22.682355999999999</c:v>
                </c:pt>
                <c:pt idx="195">
                  <c:v>22.616364000000001</c:v>
                </c:pt>
                <c:pt idx="196">
                  <c:v>22.880338999999999</c:v>
                </c:pt>
                <c:pt idx="197">
                  <c:v>22.852049999999998</c:v>
                </c:pt>
                <c:pt idx="198">
                  <c:v>22.446674000000002</c:v>
                </c:pt>
                <c:pt idx="199">
                  <c:v>22.606936999999999</c:v>
                </c:pt>
                <c:pt idx="200">
                  <c:v>22.135570000000001</c:v>
                </c:pt>
                <c:pt idx="201">
                  <c:v>21.720759999999999</c:v>
                </c:pt>
                <c:pt idx="202">
                  <c:v>21.107983000000001</c:v>
                </c:pt>
                <c:pt idx="203">
                  <c:v>20.617756</c:v>
                </c:pt>
                <c:pt idx="204">
                  <c:v>21.070270000000001</c:v>
                </c:pt>
                <c:pt idx="205">
                  <c:v>21.258823</c:v>
                </c:pt>
                <c:pt idx="206">
                  <c:v>23.191437000000001</c:v>
                </c:pt>
                <c:pt idx="207">
                  <c:v>23.455407999999998</c:v>
                </c:pt>
                <c:pt idx="208">
                  <c:v>24.501850000000001</c:v>
                </c:pt>
                <c:pt idx="209">
                  <c:v>23.992773</c:v>
                </c:pt>
                <c:pt idx="210">
                  <c:v>24.728110000000001</c:v>
                </c:pt>
                <c:pt idx="211">
                  <c:v>25.086352999999999</c:v>
                </c:pt>
                <c:pt idx="212">
                  <c:v>24.605554999999999</c:v>
                </c:pt>
                <c:pt idx="213">
                  <c:v>24.728110000000001</c:v>
                </c:pt>
                <c:pt idx="214">
                  <c:v>24.624404999999999</c:v>
                </c:pt>
                <c:pt idx="215">
                  <c:v>24.822382000000001</c:v>
                </c:pt>
                <c:pt idx="216">
                  <c:v>24.680971</c:v>
                </c:pt>
                <c:pt idx="217">
                  <c:v>24.746963999999998</c:v>
                </c:pt>
                <c:pt idx="218">
                  <c:v>24.633831000000001</c:v>
                </c:pt>
                <c:pt idx="219">
                  <c:v>23.511970000000002</c:v>
                </c:pt>
                <c:pt idx="220">
                  <c:v>23.361134</c:v>
                </c:pt>
                <c:pt idx="221">
                  <c:v>23.804217999999999</c:v>
                </c:pt>
                <c:pt idx="222">
                  <c:v>23.907927000000001</c:v>
                </c:pt>
                <c:pt idx="223">
                  <c:v>25.020357000000001</c:v>
                </c:pt>
                <c:pt idx="224">
                  <c:v>25.482303999999999</c:v>
                </c:pt>
                <c:pt idx="225">
                  <c:v>25.369177000000001</c:v>
                </c:pt>
                <c:pt idx="226">
                  <c:v>26.04795</c:v>
                </c:pt>
                <c:pt idx="227">
                  <c:v>27.735455000000002</c:v>
                </c:pt>
                <c:pt idx="228">
                  <c:v>27.669464000000001</c:v>
                </c:pt>
                <c:pt idx="229">
                  <c:v>27.009542</c:v>
                </c:pt>
                <c:pt idx="230">
                  <c:v>27.216947999999999</c:v>
                </c:pt>
                <c:pt idx="231">
                  <c:v>27.188665</c:v>
                </c:pt>
                <c:pt idx="232">
                  <c:v>27.660032000000001</c:v>
                </c:pt>
                <c:pt idx="233">
                  <c:v>28.301098</c:v>
                </c:pt>
                <c:pt idx="234">
                  <c:v>28.904451000000002</c:v>
                </c:pt>
                <c:pt idx="235">
                  <c:v>29.413536000000001</c:v>
                </c:pt>
                <c:pt idx="236">
                  <c:v>29.554945</c:v>
                </c:pt>
                <c:pt idx="237">
                  <c:v>28.659334000000001</c:v>
                </c:pt>
                <c:pt idx="238">
                  <c:v>28.451938999999999</c:v>
                </c:pt>
                <c:pt idx="239">
                  <c:v>30.130018</c:v>
                </c:pt>
                <c:pt idx="240">
                  <c:v>31.091614</c:v>
                </c:pt>
                <c:pt idx="241">
                  <c:v>31.864664000000001</c:v>
                </c:pt>
                <c:pt idx="242">
                  <c:v>31.628976999999999</c:v>
                </c:pt>
                <c:pt idx="243">
                  <c:v>32.015495000000001</c:v>
                </c:pt>
                <c:pt idx="244">
                  <c:v>32.100349999999999</c:v>
                </c:pt>
                <c:pt idx="245">
                  <c:v>31.864664000000001</c:v>
                </c:pt>
                <c:pt idx="246">
                  <c:v>32.675423000000002</c:v>
                </c:pt>
                <c:pt idx="247">
                  <c:v>33.627580000000002</c:v>
                </c:pt>
                <c:pt idx="248">
                  <c:v>33.542735999999998</c:v>
                </c:pt>
                <c:pt idx="249">
                  <c:v>33.118496</c:v>
                </c:pt>
                <c:pt idx="250">
                  <c:v>32.703693000000001</c:v>
                </c:pt>
                <c:pt idx="251">
                  <c:v>33.024234999999997</c:v>
                </c:pt>
                <c:pt idx="252">
                  <c:v>32.439728000000002</c:v>
                </c:pt>
                <c:pt idx="253">
                  <c:v>32.345466999999999</c:v>
                </c:pt>
                <c:pt idx="254">
                  <c:v>32.609425000000002</c:v>
                </c:pt>
                <c:pt idx="255">
                  <c:v>33.618155999999999</c:v>
                </c:pt>
                <c:pt idx="256">
                  <c:v>34.098959999999998</c:v>
                </c:pt>
                <c:pt idx="257">
                  <c:v>34.551487000000002</c:v>
                </c:pt>
                <c:pt idx="258">
                  <c:v>34.881439999999998</c:v>
                </c:pt>
                <c:pt idx="259">
                  <c:v>34.64575</c:v>
                </c:pt>
                <c:pt idx="260">
                  <c:v>34.466625000000001</c:v>
                </c:pt>
                <c:pt idx="261">
                  <c:v>34.815437000000003</c:v>
                </c:pt>
                <c:pt idx="262">
                  <c:v>34.032960000000003</c:v>
                </c:pt>
                <c:pt idx="263">
                  <c:v>35.201970000000003</c:v>
                </c:pt>
                <c:pt idx="264">
                  <c:v>35.692196000000003</c:v>
                </c:pt>
                <c:pt idx="265">
                  <c:v>36.587800000000001</c:v>
                </c:pt>
                <c:pt idx="266">
                  <c:v>36.785769999999999</c:v>
                </c:pt>
                <c:pt idx="267">
                  <c:v>36.729205999999998</c:v>
                </c:pt>
                <c:pt idx="268">
                  <c:v>35.899597</c:v>
                </c:pt>
                <c:pt idx="269">
                  <c:v>35.409377999999997</c:v>
                </c:pt>
                <c:pt idx="270">
                  <c:v>34.636325999999997</c:v>
                </c:pt>
                <c:pt idx="271">
                  <c:v>34.259216000000002</c:v>
                </c:pt>
                <c:pt idx="272">
                  <c:v>35.541359999999997</c:v>
                </c:pt>
                <c:pt idx="273">
                  <c:v>35.211390000000002</c:v>
                </c:pt>
                <c:pt idx="274">
                  <c:v>34.956856000000002</c:v>
                </c:pt>
                <c:pt idx="275">
                  <c:v>34.466625000000001</c:v>
                </c:pt>
                <c:pt idx="276">
                  <c:v>34.042397000000001</c:v>
                </c:pt>
                <c:pt idx="277">
                  <c:v>34.692880000000002</c:v>
                </c:pt>
                <c:pt idx="278">
                  <c:v>35.729908000000002</c:v>
                </c:pt>
                <c:pt idx="279">
                  <c:v>34.598610000000001</c:v>
                </c:pt>
                <c:pt idx="280">
                  <c:v>33.721862999999999</c:v>
                </c:pt>
                <c:pt idx="281">
                  <c:v>33.363619999999997</c:v>
                </c:pt>
                <c:pt idx="282">
                  <c:v>34.504337</c:v>
                </c:pt>
                <c:pt idx="283">
                  <c:v>35.767609999999998</c:v>
                </c:pt>
                <c:pt idx="284">
                  <c:v>35.550780000000003</c:v>
                </c:pt>
                <c:pt idx="285">
                  <c:v>35.201970000000003</c:v>
                </c:pt>
                <c:pt idx="286">
                  <c:v>34.466625000000001</c:v>
                </c:pt>
                <c:pt idx="287">
                  <c:v>33.731293000000001</c:v>
                </c:pt>
                <c:pt idx="288">
                  <c:v>33.919840000000001</c:v>
                </c:pt>
                <c:pt idx="289">
                  <c:v>34.787154999999998</c:v>
                </c:pt>
                <c:pt idx="290">
                  <c:v>33.269351999999998</c:v>
                </c:pt>
                <c:pt idx="291">
                  <c:v>31.751529999999999</c:v>
                </c:pt>
                <c:pt idx="292">
                  <c:v>31.459282000000002</c:v>
                </c:pt>
                <c:pt idx="293">
                  <c:v>31.789255000000001</c:v>
                </c:pt>
                <c:pt idx="294">
                  <c:v>33.476753000000002</c:v>
                </c:pt>
                <c:pt idx="295">
                  <c:v>33.373060000000002</c:v>
                </c:pt>
                <c:pt idx="296">
                  <c:v>33.627580000000002</c:v>
                </c:pt>
                <c:pt idx="297">
                  <c:v>34.089530000000003</c:v>
                </c:pt>
                <c:pt idx="298">
                  <c:v>34.966279999999998</c:v>
                </c:pt>
                <c:pt idx="299">
                  <c:v>35.126553000000001</c:v>
                </c:pt>
                <c:pt idx="300">
                  <c:v>33.938690000000001</c:v>
                </c:pt>
                <c:pt idx="301">
                  <c:v>33.146782000000002</c:v>
                </c:pt>
                <c:pt idx="302">
                  <c:v>33.476753000000002</c:v>
                </c:pt>
                <c:pt idx="303">
                  <c:v>33.061942999999999</c:v>
                </c:pt>
                <c:pt idx="304">
                  <c:v>34.306350000000002</c:v>
                </c:pt>
                <c:pt idx="305">
                  <c:v>34.400635000000001</c:v>
                </c:pt>
                <c:pt idx="306">
                  <c:v>34.504337</c:v>
                </c:pt>
                <c:pt idx="307">
                  <c:v>34.570335</c:v>
                </c:pt>
                <c:pt idx="308">
                  <c:v>35.088844000000002</c:v>
                </c:pt>
                <c:pt idx="309">
                  <c:v>36.059856000000003</c:v>
                </c:pt>
                <c:pt idx="310">
                  <c:v>36.069285999999998</c:v>
                </c:pt>
                <c:pt idx="311">
                  <c:v>37.134582999999999</c:v>
                </c:pt>
                <c:pt idx="312">
                  <c:v>37.059170000000002</c:v>
                </c:pt>
                <c:pt idx="313">
                  <c:v>36.616073999999998</c:v>
                </c:pt>
                <c:pt idx="314">
                  <c:v>36.003300000000003</c:v>
                </c:pt>
                <c:pt idx="315">
                  <c:v>36.323830000000001</c:v>
                </c:pt>
                <c:pt idx="316">
                  <c:v>36.361545999999997</c:v>
                </c:pt>
                <c:pt idx="317">
                  <c:v>36.050429999999999</c:v>
                </c:pt>
                <c:pt idx="318">
                  <c:v>36.125847</c:v>
                </c:pt>
                <c:pt idx="319">
                  <c:v>36.502955999999998</c:v>
                </c:pt>
                <c:pt idx="320">
                  <c:v>36.870624999999997</c:v>
                </c:pt>
                <c:pt idx="321">
                  <c:v>37.096890000000002</c:v>
                </c:pt>
                <c:pt idx="322">
                  <c:v>37.521113999999997</c:v>
                </c:pt>
                <c:pt idx="323">
                  <c:v>37.539963</c:v>
                </c:pt>
                <c:pt idx="324">
                  <c:v>37.860492999999998</c:v>
                </c:pt>
                <c:pt idx="325">
                  <c:v>38.859802000000002</c:v>
                </c:pt>
                <c:pt idx="326">
                  <c:v>39.067210000000003</c:v>
                </c:pt>
                <c:pt idx="327">
                  <c:v>40.368186999999999</c:v>
                </c:pt>
                <c:pt idx="328">
                  <c:v>39.981667000000002</c:v>
                </c:pt>
                <c:pt idx="329">
                  <c:v>41.3675</c:v>
                </c:pt>
                <c:pt idx="330">
                  <c:v>41.094104999999999</c:v>
                </c:pt>
                <c:pt idx="331">
                  <c:v>41.160094999999998</c:v>
                </c:pt>
                <c:pt idx="332">
                  <c:v>39.868538000000001</c:v>
                </c:pt>
                <c:pt idx="333">
                  <c:v>37.898209999999999</c:v>
                </c:pt>
                <c:pt idx="334">
                  <c:v>38.067900000000002</c:v>
                </c:pt>
                <c:pt idx="335">
                  <c:v>38.708970000000001</c:v>
                </c:pt>
                <c:pt idx="336">
                  <c:v>39.472580000000001</c:v>
                </c:pt>
                <c:pt idx="337">
                  <c:v>40.217342000000002</c:v>
                </c:pt>
                <c:pt idx="338">
                  <c:v>40.594448</c:v>
                </c:pt>
                <c:pt idx="339">
                  <c:v>41.999133999999998</c:v>
                </c:pt>
                <c:pt idx="340">
                  <c:v>41.820010000000003</c:v>
                </c:pt>
                <c:pt idx="341">
                  <c:v>40.707572999999996</c:v>
                </c:pt>
                <c:pt idx="342">
                  <c:v>41.395780000000002</c:v>
                </c:pt>
                <c:pt idx="343">
                  <c:v>41.999133999999998</c:v>
                </c:pt>
                <c:pt idx="344">
                  <c:v>41.480620000000002</c:v>
                </c:pt>
                <c:pt idx="345">
                  <c:v>40.500168000000002</c:v>
                </c:pt>
                <c:pt idx="346">
                  <c:v>41.348640000000003</c:v>
                </c:pt>
                <c:pt idx="347">
                  <c:v>39.548008000000003</c:v>
                </c:pt>
                <c:pt idx="348">
                  <c:v>39.236908</c:v>
                </c:pt>
                <c:pt idx="349">
                  <c:v>37.803936</c:v>
                </c:pt>
                <c:pt idx="350">
                  <c:v>37.954777</c:v>
                </c:pt>
                <c:pt idx="351">
                  <c:v>39.585723999999999</c:v>
                </c:pt>
                <c:pt idx="352">
                  <c:v>40.368186999999999</c:v>
                </c:pt>
                <c:pt idx="353">
                  <c:v>40.424762999999999</c:v>
                </c:pt>
                <c:pt idx="354">
                  <c:v>40.519024000000002</c:v>
                </c:pt>
                <c:pt idx="355">
                  <c:v>41.197806999999997</c:v>
                </c:pt>
                <c:pt idx="356">
                  <c:v>40.990400000000001</c:v>
                </c:pt>
                <c:pt idx="357">
                  <c:v>39.312325000000001</c:v>
                </c:pt>
                <c:pt idx="358">
                  <c:v>40.462463</c:v>
                </c:pt>
                <c:pt idx="359">
                  <c:v>40.047657000000001</c:v>
                </c:pt>
                <c:pt idx="360">
                  <c:v>39.953377000000003</c:v>
                </c:pt>
                <c:pt idx="361">
                  <c:v>40.848984000000002</c:v>
                </c:pt>
                <c:pt idx="362">
                  <c:v>39.745980000000003</c:v>
                </c:pt>
                <c:pt idx="363">
                  <c:v>39.293460000000003</c:v>
                </c:pt>
                <c:pt idx="364">
                  <c:v>37.983046999999999</c:v>
                </c:pt>
                <c:pt idx="365">
                  <c:v>37.266579999999998</c:v>
                </c:pt>
                <c:pt idx="366">
                  <c:v>37.285429999999998</c:v>
                </c:pt>
                <c:pt idx="367">
                  <c:v>36.718350000000001</c:v>
                </c:pt>
                <c:pt idx="368">
                  <c:v>37.266530000000003</c:v>
                </c:pt>
                <c:pt idx="369">
                  <c:v>36.047302000000002</c:v>
                </c:pt>
                <c:pt idx="370">
                  <c:v>35.139980000000001</c:v>
                </c:pt>
                <c:pt idx="371">
                  <c:v>35.404606000000001</c:v>
                </c:pt>
                <c:pt idx="372">
                  <c:v>34.837542999999997</c:v>
                </c:pt>
                <c:pt idx="373">
                  <c:v>35.139980000000001</c:v>
                </c:pt>
                <c:pt idx="374">
                  <c:v>35.886634999999998</c:v>
                </c:pt>
                <c:pt idx="375">
                  <c:v>35.461326999999997</c:v>
                </c:pt>
                <c:pt idx="376">
                  <c:v>36.028399999999998</c:v>
                </c:pt>
                <c:pt idx="377">
                  <c:v>37.398837999999998</c:v>
                </c:pt>
                <c:pt idx="378">
                  <c:v>37.039684000000001</c:v>
                </c:pt>
                <c:pt idx="379">
                  <c:v>38.429034999999999</c:v>
                </c:pt>
                <c:pt idx="380">
                  <c:v>38.211649999999999</c:v>
                </c:pt>
                <c:pt idx="381">
                  <c:v>38.372321999999997</c:v>
                </c:pt>
                <c:pt idx="382">
                  <c:v>37.342129999999997</c:v>
                </c:pt>
                <c:pt idx="383">
                  <c:v>37.663474999999998</c:v>
                </c:pt>
                <c:pt idx="384">
                  <c:v>37.257064999999997</c:v>
                </c:pt>
                <c:pt idx="385">
                  <c:v>36.945169999999997</c:v>
                </c:pt>
                <c:pt idx="386">
                  <c:v>36.850662</c:v>
                </c:pt>
                <c:pt idx="387">
                  <c:v>37.020786000000001</c:v>
                </c:pt>
                <c:pt idx="388">
                  <c:v>36.746696</c:v>
                </c:pt>
                <c:pt idx="389">
                  <c:v>38.277813000000002</c:v>
                </c:pt>
                <c:pt idx="390">
                  <c:v>36.992435</c:v>
                </c:pt>
                <c:pt idx="391">
                  <c:v>36.359200000000001</c:v>
                </c:pt>
                <c:pt idx="392">
                  <c:v>35.773212000000001</c:v>
                </c:pt>
                <c:pt idx="393">
                  <c:v>36.132365999999998</c:v>
                </c:pt>
                <c:pt idx="394">
                  <c:v>35.877181999999998</c:v>
                </c:pt>
                <c:pt idx="395">
                  <c:v>36.463164999999996</c:v>
                </c:pt>
                <c:pt idx="396">
                  <c:v>36.000050000000002</c:v>
                </c:pt>
                <c:pt idx="397">
                  <c:v>35.58419</c:v>
                </c:pt>
                <c:pt idx="398">
                  <c:v>35.036020000000001</c:v>
                </c:pt>
                <c:pt idx="399">
                  <c:v>35.896079999999998</c:v>
                </c:pt>
                <c:pt idx="400">
                  <c:v>35.404606000000001</c:v>
                </c:pt>
                <c:pt idx="401">
                  <c:v>35.962240000000001</c:v>
                </c:pt>
                <c:pt idx="402">
                  <c:v>34.620159999999998</c:v>
                </c:pt>
                <c:pt idx="403">
                  <c:v>33.627766000000001</c:v>
                </c:pt>
                <c:pt idx="404">
                  <c:v>33.391486999999998</c:v>
                </c:pt>
                <c:pt idx="405">
                  <c:v>34.138137999999998</c:v>
                </c:pt>
                <c:pt idx="406">
                  <c:v>33.278064999999998</c:v>
                </c:pt>
                <c:pt idx="407">
                  <c:v>33.958556999999999</c:v>
                </c:pt>
                <c:pt idx="408">
                  <c:v>33.107950000000002</c:v>
                </c:pt>
                <c:pt idx="409">
                  <c:v>33.533256999999999</c:v>
                </c:pt>
                <c:pt idx="410">
                  <c:v>32.503067000000001</c:v>
                </c:pt>
                <c:pt idx="411">
                  <c:v>32.068294999999999</c:v>
                </c:pt>
                <c:pt idx="412">
                  <c:v>34.242100000000001</c:v>
                </c:pt>
                <c:pt idx="413">
                  <c:v>33.01343</c:v>
                </c:pt>
                <c:pt idx="414">
                  <c:v>32.219529999999999</c:v>
                </c:pt>
                <c:pt idx="415">
                  <c:v>31.189326999999999</c:v>
                </c:pt>
                <c:pt idx="416">
                  <c:v>30.225294000000002</c:v>
                </c:pt>
                <c:pt idx="417">
                  <c:v>29.091137</c:v>
                </c:pt>
                <c:pt idx="418">
                  <c:v>27.011849999999999</c:v>
                </c:pt>
                <c:pt idx="419">
                  <c:v>29.781079999999999</c:v>
                </c:pt>
                <c:pt idx="420">
                  <c:v>29.951208000000001</c:v>
                </c:pt>
                <c:pt idx="421">
                  <c:v>31.160978</c:v>
                </c:pt>
                <c:pt idx="422">
                  <c:v>31.548476999999998</c:v>
                </c:pt>
                <c:pt idx="423">
                  <c:v>33.287529999999997</c:v>
                </c:pt>
                <c:pt idx="424">
                  <c:v>35.773212000000001</c:v>
                </c:pt>
                <c:pt idx="425">
                  <c:v>35.007655999999997</c:v>
                </c:pt>
                <c:pt idx="426">
                  <c:v>36.368645000000001</c:v>
                </c:pt>
                <c:pt idx="427">
                  <c:v>37.635128000000002</c:v>
                </c:pt>
                <c:pt idx="428">
                  <c:v>37.720179999999999</c:v>
                </c:pt>
                <c:pt idx="429">
                  <c:v>38.032089999999997</c:v>
                </c:pt>
                <c:pt idx="430">
                  <c:v>37.748530000000002</c:v>
                </c:pt>
                <c:pt idx="431">
                  <c:v>38.18439</c:v>
                </c:pt>
                <c:pt idx="432">
                  <c:v>39.179256000000002</c:v>
                </c:pt>
                <c:pt idx="433">
                  <c:v>39.795147</c:v>
                </c:pt>
                <c:pt idx="434">
                  <c:v>40.458404999999999</c:v>
                </c:pt>
                <c:pt idx="435">
                  <c:v>40.032024</c:v>
                </c:pt>
                <c:pt idx="436">
                  <c:v>40.875293999999997</c:v>
                </c:pt>
                <c:pt idx="437">
                  <c:v>40.932147999999998</c:v>
                </c:pt>
                <c:pt idx="438">
                  <c:v>41.529076000000003</c:v>
                </c:pt>
                <c:pt idx="439">
                  <c:v>41.159542000000002</c:v>
                </c:pt>
                <c:pt idx="440">
                  <c:v>41.150078000000001</c:v>
                </c:pt>
                <c:pt idx="441">
                  <c:v>41.803856000000003</c:v>
                </c:pt>
                <c:pt idx="442">
                  <c:v>41.699629999999999</c:v>
                </c:pt>
                <c:pt idx="443">
                  <c:v>41.396422999999999</c:v>
                </c:pt>
                <c:pt idx="444">
                  <c:v>42.685028000000003</c:v>
                </c:pt>
                <c:pt idx="445">
                  <c:v>41.7849</c:v>
                </c:pt>
                <c:pt idx="446">
                  <c:v>41.841749999999998</c:v>
                </c:pt>
                <c:pt idx="447">
                  <c:v>41.036372999999998</c:v>
                </c:pt>
                <c:pt idx="448">
                  <c:v>40.941628000000001</c:v>
                </c:pt>
                <c:pt idx="449">
                  <c:v>41.832275000000003</c:v>
                </c:pt>
                <c:pt idx="450">
                  <c:v>42.609229999999997</c:v>
                </c:pt>
                <c:pt idx="451">
                  <c:v>45.982346</c:v>
                </c:pt>
                <c:pt idx="452">
                  <c:v>45.366463000000003</c:v>
                </c:pt>
                <c:pt idx="453">
                  <c:v>45.347515000000001</c:v>
                </c:pt>
                <c:pt idx="454">
                  <c:v>45.707572999999996</c:v>
                </c:pt>
                <c:pt idx="455">
                  <c:v>47.043550000000003</c:v>
                </c:pt>
                <c:pt idx="456">
                  <c:v>48.332146000000002</c:v>
                </c:pt>
                <c:pt idx="457">
                  <c:v>48.152121999999999</c:v>
                </c:pt>
                <c:pt idx="458">
                  <c:v>45.773895000000003</c:v>
                </c:pt>
                <c:pt idx="459">
                  <c:v>46.370820000000002</c:v>
                </c:pt>
                <c:pt idx="460">
                  <c:v>47.877346000000003</c:v>
                </c:pt>
                <c:pt idx="461">
                  <c:v>47.346760000000003</c:v>
                </c:pt>
                <c:pt idx="462">
                  <c:v>48.171078000000001</c:v>
                </c:pt>
                <c:pt idx="463">
                  <c:v>45.442264999999999</c:v>
                </c:pt>
                <c:pt idx="464">
                  <c:v>46.238174000000001</c:v>
                </c:pt>
                <c:pt idx="465">
                  <c:v>47.507823999999999</c:v>
                </c:pt>
                <c:pt idx="466">
                  <c:v>48.047893999999999</c:v>
                </c:pt>
                <c:pt idx="467">
                  <c:v>48.171078000000001</c:v>
                </c:pt>
                <c:pt idx="468">
                  <c:v>47.574145999999999</c:v>
                </c:pt>
                <c:pt idx="469">
                  <c:v>48.730117999999997</c:v>
                </c:pt>
                <c:pt idx="470">
                  <c:v>49.232280000000003</c:v>
                </c:pt>
                <c:pt idx="471">
                  <c:v>50.075564999999997</c:v>
                </c:pt>
                <c:pt idx="472">
                  <c:v>50.615639999999999</c:v>
                </c:pt>
                <c:pt idx="473">
                  <c:v>50.814616999999998</c:v>
                </c:pt>
                <c:pt idx="474">
                  <c:v>51.079917999999999</c:v>
                </c:pt>
                <c:pt idx="475">
                  <c:v>51.051479999999998</c:v>
                </c:pt>
                <c:pt idx="476">
                  <c:v>50.255580000000002</c:v>
                </c:pt>
                <c:pt idx="477">
                  <c:v>50.227158000000003</c:v>
                </c:pt>
                <c:pt idx="478">
                  <c:v>50.843037000000002</c:v>
                </c:pt>
                <c:pt idx="479">
                  <c:v>49.289127000000001</c:v>
                </c:pt>
                <c:pt idx="480">
                  <c:v>46.977221999999998</c:v>
                </c:pt>
                <c:pt idx="481">
                  <c:v>47.754173000000002</c:v>
                </c:pt>
                <c:pt idx="482">
                  <c:v>46.816153999999997</c:v>
                </c:pt>
                <c:pt idx="483">
                  <c:v>46.816153999999997</c:v>
                </c:pt>
                <c:pt idx="484">
                  <c:v>47.195149999999998</c:v>
                </c:pt>
                <c:pt idx="485">
                  <c:v>49.980815999999997</c:v>
                </c:pt>
                <c:pt idx="486">
                  <c:v>50.852511999999997</c:v>
                </c:pt>
                <c:pt idx="487">
                  <c:v>52.671709999999997</c:v>
                </c:pt>
                <c:pt idx="488">
                  <c:v>52.766475999999997</c:v>
                </c:pt>
                <c:pt idx="489">
                  <c:v>52.539073999999999</c:v>
                </c:pt>
                <c:pt idx="490">
                  <c:v>49.933436999999998</c:v>
                </c:pt>
                <c:pt idx="491">
                  <c:v>47.962615999999997</c:v>
                </c:pt>
                <c:pt idx="492">
                  <c:v>49.497579999999999</c:v>
                </c:pt>
                <c:pt idx="493">
                  <c:v>46.503459999999997</c:v>
                </c:pt>
                <c:pt idx="494">
                  <c:v>46.162370000000003</c:v>
                </c:pt>
                <c:pt idx="495">
                  <c:v>45.006413000000002</c:v>
                </c:pt>
                <c:pt idx="496">
                  <c:v>46.863525000000003</c:v>
                </c:pt>
                <c:pt idx="497">
                  <c:v>46.341346999999999</c:v>
                </c:pt>
                <c:pt idx="498">
                  <c:v>45.714725000000001</c:v>
                </c:pt>
                <c:pt idx="499">
                  <c:v>44.176654999999997</c:v>
                </c:pt>
                <c:pt idx="500">
                  <c:v>45.619774</c:v>
                </c:pt>
                <c:pt idx="501">
                  <c:v>45.183050000000001</c:v>
                </c:pt>
                <c:pt idx="502">
                  <c:v>45.458370000000002</c:v>
                </c:pt>
                <c:pt idx="503">
                  <c:v>45.942585000000001</c:v>
                </c:pt>
                <c:pt idx="504">
                  <c:v>45.581806</c:v>
                </c:pt>
                <c:pt idx="505">
                  <c:v>46.816049999999997</c:v>
                </c:pt>
                <c:pt idx="506">
                  <c:v>47.262287000000001</c:v>
                </c:pt>
                <c:pt idx="507">
                  <c:v>48.43956</c:v>
                </c:pt>
                <c:pt idx="508">
                  <c:v>48.714893000000004</c:v>
                </c:pt>
                <c:pt idx="509">
                  <c:v>48.914279999999998</c:v>
                </c:pt>
                <c:pt idx="510">
                  <c:v>47.21481</c:v>
                </c:pt>
                <c:pt idx="511">
                  <c:v>46.854022999999998</c:v>
                </c:pt>
                <c:pt idx="512">
                  <c:v>45.477367000000001</c:v>
                </c:pt>
                <c:pt idx="513">
                  <c:v>45.866630000000001</c:v>
                </c:pt>
                <c:pt idx="514">
                  <c:v>46.303370000000001</c:v>
                </c:pt>
                <c:pt idx="515">
                  <c:v>46.474262000000003</c:v>
                </c:pt>
                <c:pt idx="516">
                  <c:v>45.952080000000002</c:v>
                </c:pt>
                <c:pt idx="517">
                  <c:v>45.572308</c:v>
                </c:pt>
                <c:pt idx="518">
                  <c:v>45.496346000000003</c:v>
                </c:pt>
                <c:pt idx="519">
                  <c:v>44.376038000000001</c:v>
                </c:pt>
                <c:pt idx="520">
                  <c:v>44.993169999999999</c:v>
                </c:pt>
                <c:pt idx="521">
                  <c:v>46.217919999999999</c:v>
                </c:pt>
                <c:pt idx="522">
                  <c:v>46.730609999999999</c:v>
                </c:pt>
                <c:pt idx="523">
                  <c:v>47.680027000000003</c:v>
                </c:pt>
                <c:pt idx="524">
                  <c:v>50.974519999999998</c:v>
                </c:pt>
                <c:pt idx="525">
                  <c:v>51.392277</c:v>
                </c:pt>
                <c:pt idx="526">
                  <c:v>52.398662999999999</c:v>
                </c:pt>
                <c:pt idx="527">
                  <c:v>52.939830000000001</c:v>
                </c:pt>
                <c:pt idx="528">
                  <c:v>51.648605000000003</c:v>
                </c:pt>
                <c:pt idx="529">
                  <c:v>51.202385</c:v>
                </c:pt>
                <c:pt idx="530">
                  <c:v>49.379489999999997</c:v>
                </c:pt>
                <c:pt idx="531">
                  <c:v>48.676926000000002</c:v>
                </c:pt>
                <c:pt idx="532">
                  <c:v>49.99662</c:v>
                </c:pt>
                <c:pt idx="533">
                  <c:v>50.927047999999999</c:v>
                </c:pt>
                <c:pt idx="534">
                  <c:v>50.110557999999997</c:v>
                </c:pt>
                <c:pt idx="535">
                  <c:v>47.8889</c:v>
                </c:pt>
                <c:pt idx="536">
                  <c:v>46.692622999999998</c:v>
                </c:pt>
                <c:pt idx="537">
                  <c:v>45.648262000000003</c:v>
                </c:pt>
                <c:pt idx="538">
                  <c:v>45.097588000000002</c:v>
                </c:pt>
                <c:pt idx="539">
                  <c:v>46.274883000000003</c:v>
                </c:pt>
                <c:pt idx="540">
                  <c:v>45.420394999999999</c:v>
                </c:pt>
                <c:pt idx="541">
                  <c:v>45.315967999999998</c:v>
                </c:pt>
                <c:pt idx="542">
                  <c:v>45.372920000000001</c:v>
                </c:pt>
                <c:pt idx="543">
                  <c:v>45.021639999999998</c:v>
                </c:pt>
                <c:pt idx="544">
                  <c:v>45.334946000000002</c:v>
                </c:pt>
                <c:pt idx="545">
                  <c:v>45.800170000000001</c:v>
                </c:pt>
                <c:pt idx="546">
                  <c:v>45.752699999999997</c:v>
                </c:pt>
                <c:pt idx="547">
                  <c:v>47.243285999999998</c:v>
                </c:pt>
                <c:pt idx="548">
                  <c:v>48.76238</c:v>
                </c:pt>
                <c:pt idx="549">
                  <c:v>48.800350000000002</c:v>
                </c:pt>
                <c:pt idx="550">
                  <c:v>48.847816000000002</c:v>
                </c:pt>
                <c:pt idx="551">
                  <c:v>50.044089999999997</c:v>
                </c:pt>
                <c:pt idx="552">
                  <c:v>49.246569999999998</c:v>
                </c:pt>
                <c:pt idx="553">
                  <c:v>48.600966999999997</c:v>
                </c:pt>
                <c:pt idx="554">
                  <c:v>46.407803000000001</c:v>
                </c:pt>
                <c:pt idx="555">
                  <c:v>45.941630000000004</c:v>
                </c:pt>
                <c:pt idx="556">
                  <c:v>46.988135999999997</c:v>
                </c:pt>
                <c:pt idx="557">
                  <c:v>46.569541999999998</c:v>
                </c:pt>
                <c:pt idx="558">
                  <c:v>44.723877000000002</c:v>
                </c:pt>
                <c:pt idx="559">
                  <c:v>44.761916999999997</c:v>
                </c:pt>
                <c:pt idx="560">
                  <c:v>46.67418</c:v>
                </c:pt>
                <c:pt idx="561">
                  <c:v>46.655149999999999</c:v>
                </c:pt>
                <c:pt idx="562">
                  <c:v>47.235492999999998</c:v>
                </c:pt>
                <c:pt idx="563">
                  <c:v>46.47439</c:v>
                </c:pt>
                <c:pt idx="564">
                  <c:v>46.131912</c:v>
                </c:pt>
                <c:pt idx="565">
                  <c:v>46.445853999999997</c:v>
                </c:pt>
                <c:pt idx="566">
                  <c:v>46.303153999999999</c:v>
                </c:pt>
                <c:pt idx="567">
                  <c:v>46.617103999999998</c:v>
                </c:pt>
                <c:pt idx="568">
                  <c:v>45.523014000000003</c:v>
                </c:pt>
                <c:pt idx="569">
                  <c:v>40.965960000000003</c:v>
                </c:pt>
                <c:pt idx="570">
                  <c:v>40.404662999999999</c:v>
                </c:pt>
                <c:pt idx="571">
                  <c:v>40.537846000000002</c:v>
                </c:pt>
                <c:pt idx="572">
                  <c:v>39.538919999999997</c:v>
                </c:pt>
                <c:pt idx="573">
                  <c:v>40.185850000000002</c:v>
                </c:pt>
                <c:pt idx="574">
                  <c:v>39.928986000000002</c:v>
                </c:pt>
                <c:pt idx="575">
                  <c:v>40.309525000000001</c:v>
                </c:pt>
                <c:pt idx="576">
                  <c:v>42.031497999999999</c:v>
                </c:pt>
                <c:pt idx="577">
                  <c:v>41.650950000000002</c:v>
                </c:pt>
                <c:pt idx="578">
                  <c:v>41.03257</c:v>
                </c:pt>
                <c:pt idx="579">
                  <c:v>40.119244000000002</c:v>
                </c:pt>
                <c:pt idx="580">
                  <c:v>39.691135000000003</c:v>
                </c:pt>
                <c:pt idx="581">
                  <c:v>37.921593000000001</c:v>
                </c:pt>
                <c:pt idx="582">
                  <c:v>38.368724999999998</c:v>
                </c:pt>
                <c:pt idx="583">
                  <c:v>38.463875000000002</c:v>
                </c:pt>
                <c:pt idx="584">
                  <c:v>38.073807000000002</c:v>
                </c:pt>
                <c:pt idx="585">
                  <c:v>38.730246999999999</c:v>
                </c:pt>
                <c:pt idx="586">
                  <c:v>38.121369999999999</c:v>
                </c:pt>
                <c:pt idx="587">
                  <c:v>37.560062000000002</c:v>
                </c:pt>
                <c:pt idx="588">
                  <c:v>37.940617000000003</c:v>
                </c:pt>
                <c:pt idx="589">
                  <c:v>38.03575</c:v>
                </c:pt>
                <c:pt idx="590">
                  <c:v>39.538919999999997</c:v>
                </c:pt>
                <c:pt idx="591">
                  <c:v>40.937415999999999</c:v>
                </c:pt>
                <c:pt idx="592">
                  <c:v>40.652016000000003</c:v>
                </c:pt>
                <c:pt idx="593">
                  <c:v>40.185850000000002</c:v>
                </c:pt>
                <c:pt idx="594">
                  <c:v>40.185850000000002</c:v>
                </c:pt>
                <c:pt idx="595">
                  <c:v>39.424747000000004</c:v>
                </c:pt>
                <c:pt idx="596">
                  <c:v>37.816929999999999</c:v>
                </c:pt>
                <c:pt idx="597">
                  <c:v>37.997695999999998</c:v>
                </c:pt>
                <c:pt idx="598">
                  <c:v>36.913139999999999</c:v>
                </c:pt>
                <c:pt idx="599">
                  <c:v>37.131943</c:v>
                </c:pt>
                <c:pt idx="600">
                  <c:v>37.797910000000002</c:v>
                </c:pt>
                <c:pt idx="601">
                  <c:v>38.692183999999997</c:v>
                </c:pt>
                <c:pt idx="602">
                  <c:v>37.398330000000001</c:v>
                </c:pt>
                <c:pt idx="603">
                  <c:v>37.740819999999999</c:v>
                </c:pt>
                <c:pt idx="604">
                  <c:v>39.205930000000002</c:v>
                </c:pt>
                <c:pt idx="605">
                  <c:v>40.357086000000002</c:v>
                </c:pt>
                <c:pt idx="606">
                  <c:v>40.014600000000002</c:v>
                </c:pt>
                <c:pt idx="607">
                  <c:v>39.519897</c:v>
                </c:pt>
                <c:pt idx="608">
                  <c:v>39.377173999999997</c:v>
                </c:pt>
                <c:pt idx="609">
                  <c:v>39.386691999999996</c:v>
                </c:pt>
                <c:pt idx="610">
                  <c:v>38.578026000000001</c:v>
                </c:pt>
                <c:pt idx="611">
                  <c:v>38.911006999999998</c:v>
                </c:pt>
                <c:pt idx="612">
                  <c:v>39.415230000000001</c:v>
                </c:pt>
                <c:pt idx="613">
                  <c:v>40.537846000000002</c:v>
                </c:pt>
                <c:pt idx="614">
                  <c:v>37.702765999999997</c:v>
                </c:pt>
                <c:pt idx="615">
                  <c:v>38.187964999999998</c:v>
                </c:pt>
                <c:pt idx="616">
                  <c:v>39.167876999999997</c:v>
                </c:pt>
                <c:pt idx="617">
                  <c:v>38.749274999999997</c:v>
                </c:pt>
                <c:pt idx="618">
                  <c:v>38.31165</c:v>
                </c:pt>
                <c:pt idx="619">
                  <c:v>38.149914000000003</c:v>
                </c:pt>
                <c:pt idx="620">
                  <c:v>39.681614000000003</c:v>
                </c:pt>
                <c:pt idx="621">
                  <c:v>40.661526000000002</c:v>
                </c:pt>
                <c:pt idx="622">
                  <c:v>40.870834000000002</c:v>
                </c:pt>
                <c:pt idx="623">
                  <c:v>40.222380000000001</c:v>
                </c:pt>
                <c:pt idx="624">
                  <c:v>39.564419999999998</c:v>
                </c:pt>
                <c:pt idx="625">
                  <c:v>39.745604999999998</c:v>
                </c:pt>
                <c:pt idx="626">
                  <c:v>40.718254000000002</c:v>
                </c:pt>
                <c:pt idx="627">
                  <c:v>40.546607999999999</c:v>
                </c:pt>
                <c:pt idx="628">
                  <c:v>40.689647999999998</c:v>
                </c:pt>
                <c:pt idx="629">
                  <c:v>40.889896</c:v>
                </c:pt>
                <c:pt idx="630">
                  <c:v>41.910240000000002</c:v>
                </c:pt>
                <c:pt idx="631">
                  <c:v>41.605083</c:v>
                </c:pt>
                <c:pt idx="632">
                  <c:v>41.509740000000001</c:v>
                </c:pt>
                <c:pt idx="633">
                  <c:v>40.031669999999998</c:v>
                </c:pt>
                <c:pt idx="634">
                  <c:v>37.905155000000001</c:v>
                </c:pt>
                <c:pt idx="635">
                  <c:v>35.874023000000001</c:v>
                </c:pt>
                <c:pt idx="636">
                  <c:v>35.759585999999999</c:v>
                </c:pt>
                <c:pt idx="637">
                  <c:v>37.046944000000003</c:v>
                </c:pt>
                <c:pt idx="638">
                  <c:v>37.218581999999998</c:v>
                </c:pt>
                <c:pt idx="639">
                  <c:v>36.82761</c:v>
                </c:pt>
                <c:pt idx="640">
                  <c:v>37.170900000000003</c:v>
                </c:pt>
                <c:pt idx="641">
                  <c:v>37.380684000000002</c:v>
                </c:pt>
                <c:pt idx="642">
                  <c:v>39.583485000000003</c:v>
                </c:pt>
                <c:pt idx="643">
                  <c:v>38.992263999999999</c:v>
                </c:pt>
                <c:pt idx="644">
                  <c:v>38.715710000000001</c:v>
                </c:pt>
                <c:pt idx="645">
                  <c:v>38.906436999999997</c:v>
                </c:pt>
                <c:pt idx="646">
                  <c:v>39.097152999999999</c:v>
                </c:pt>
                <c:pt idx="647">
                  <c:v>39.297398000000001</c:v>
                </c:pt>
                <c:pt idx="648">
                  <c:v>40.193779999999997</c:v>
                </c:pt>
                <c:pt idx="649">
                  <c:v>40.327292999999997</c:v>
                </c:pt>
                <c:pt idx="650">
                  <c:v>40.66104</c:v>
                </c:pt>
                <c:pt idx="651">
                  <c:v>41.061546</c:v>
                </c:pt>
                <c:pt idx="652">
                  <c:v>41.94838</c:v>
                </c:pt>
                <c:pt idx="653">
                  <c:v>41.471589999999999</c:v>
                </c:pt>
                <c:pt idx="654">
                  <c:v>41.223655999999998</c:v>
                </c:pt>
                <c:pt idx="655">
                  <c:v>39.27834</c:v>
                </c:pt>
                <c:pt idx="656">
                  <c:v>39.326014999999998</c:v>
                </c:pt>
                <c:pt idx="657">
                  <c:v>38.381954</c:v>
                </c:pt>
                <c:pt idx="658">
                  <c:v>38.372433000000001</c:v>
                </c:pt>
                <c:pt idx="659">
                  <c:v>37.266269999999999</c:v>
                </c:pt>
                <c:pt idx="660">
                  <c:v>37.361626000000001</c:v>
                </c:pt>
                <c:pt idx="661">
                  <c:v>37.027866000000003</c:v>
                </c:pt>
                <c:pt idx="662">
                  <c:v>37.380684000000002</c:v>
                </c:pt>
                <c:pt idx="663">
                  <c:v>36.837153999999998</c:v>
                </c:pt>
                <c:pt idx="664">
                  <c:v>38.324745</c:v>
                </c:pt>
                <c:pt idx="665">
                  <c:v>36.360349999999997</c:v>
                </c:pt>
                <c:pt idx="666">
                  <c:v>37.485596000000001</c:v>
                </c:pt>
                <c:pt idx="667">
                  <c:v>37.895626</c:v>
                </c:pt>
                <c:pt idx="668">
                  <c:v>40.451251999999997</c:v>
                </c:pt>
                <c:pt idx="669">
                  <c:v>41.805346999999998</c:v>
                </c:pt>
                <c:pt idx="670">
                  <c:v>41.395297999999997</c:v>
                </c:pt>
                <c:pt idx="671">
                  <c:v>41.767197000000003</c:v>
                </c:pt>
                <c:pt idx="672">
                  <c:v>42.396569999999997</c:v>
                </c:pt>
                <c:pt idx="673">
                  <c:v>41.681379999999997</c:v>
                </c:pt>
                <c:pt idx="674">
                  <c:v>42.387030000000003</c:v>
                </c:pt>
                <c:pt idx="675">
                  <c:v>42.711253999999997</c:v>
                </c:pt>
                <c:pt idx="676">
                  <c:v>42.253535999999997</c:v>
                </c:pt>
                <c:pt idx="677">
                  <c:v>43.855559999999997</c:v>
                </c:pt>
                <c:pt idx="678">
                  <c:v>43.550407</c:v>
                </c:pt>
                <c:pt idx="679">
                  <c:v>44.313290000000002</c:v>
                </c:pt>
                <c:pt idx="680">
                  <c:v>44.303750000000001</c:v>
                </c:pt>
                <c:pt idx="681">
                  <c:v>43.7316</c:v>
                </c:pt>
                <c:pt idx="682">
                  <c:v>43.7316</c:v>
                </c:pt>
                <c:pt idx="683">
                  <c:v>44.074883</c:v>
                </c:pt>
                <c:pt idx="684">
                  <c:v>44.313290000000002</c:v>
                </c:pt>
                <c:pt idx="685">
                  <c:v>44.437522999999999</c:v>
                </c:pt>
                <c:pt idx="686">
                  <c:v>43.606110000000001</c:v>
                </c:pt>
                <c:pt idx="687">
                  <c:v>43.577440000000003</c:v>
                </c:pt>
                <c:pt idx="688">
                  <c:v>43.328968000000003</c:v>
                </c:pt>
                <c:pt idx="689">
                  <c:v>42.669581999999998</c:v>
                </c:pt>
                <c:pt idx="690">
                  <c:v>42.516669999999998</c:v>
                </c:pt>
                <c:pt idx="691">
                  <c:v>42.421104</c:v>
                </c:pt>
                <c:pt idx="692">
                  <c:v>41.952846999999998</c:v>
                </c:pt>
                <c:pt idx="693">
                  <c:v>41.522804000000001</c:v>
                </c:pt>
                <c:pt idx="694">
                  <c:v>40.930298000000001</c:v>
                </c:pt>
                <c:pt idx="695">
                  <c:v>40.423805000000002</c:v>
                </c:pt>
                <c:pt idx="696">
                  <c:v>39.898209999999999</c:v>
                </c:pt>
                <c:pt idx="697">
                  <c:v>40.423805000000002</c:v>
                </c:pt>
                <c:pt idx="698">
                  <c:v>40.328246999999998</c:v>
                </c:pt>
                <c:pt idx="699">
                  <c:v>40.423805000000002</c:v>
                </c:pt>
                <c:pt idx="700">
                  <c:v>39.401257000000001</c:v>
                </c:pt>
                <c:pt idx="701">
                  <c:v>39.477722</c:v>
                </c:pt>
                <c:pt idx="702">
                  <c:v>39.840862000000001</c:v>
                </c:pt>
                <c:pt idx="703">
                  <c:v>39.429929999999999</c:v>
                </c:pt>
                <c:pt idx="704">
                  <c:v>41.341225000000001</c:v>
                </c:pt>
                <c:pt idx="705">
                  <c:v>41.876392000000003</c:v>
                </c:pt>
                <c:pt idx="706">
                  <c:v>41.350783999999997</c:v>
                </c:pt>
                <c:pt idx="707">
                  <c:v>42.975383999999998</c:v>
                </c:pt>
                <c:pt idx="708">
                  <c:v>43.749447000000004</c:v>
                </c:pt>
                <c:pt idx="709">
                  <c:v>42.573999999999998</c:v>
                </c:pt>
                <c:pt idx="710">
                  <c:v>41.713935999999997</c:v>
                </c:pt>
                <c:pt idx="711">
                  <c:v>42.134410000000003</c:v>
                </c:pt>
                <c:pt idx="712">
                  <c:v>40.223132999999997</c:v>
                </c:pt>
                <c:pt idx="713">
                  <c:v>39.917316</c:v>
                </c:pt>
                <c:pt idx="714">
                  <c:v>40.710503000000003</c:v>
                </c:pt>
                <c:pt idx="715">
                  <c:v>41.283893999999997</c:v>
                </c:pt>
                <c:pt idx="716">
                  <c:v>40.576714000000003</c:v>
                </c:pt>
                <c:pt idx="717">
                  <c:v>39.267487000000003</c:v>
                </c:pt>
                <c:pt idx="718">
                  <c:v>40.519370000000002</c:v>
                </c:pt>
                <c:pt idx="719">
                  <c:v>40.997191999999998</c:v>
                </c:pt>
                <c:pt idx="720">
                  <c:v>41.369900000000001</c:v>
                </c:pt>
                <c:pt idx="721">
                  <c:v>41.866833</c:v>
                </c:pt>
                <c:pt idx="722">
                  <c:v>41.312556999999998</c:v>
                </c:pt>
                <c:pt idx="723">
                  <c:v>41.57058</c:v>
                </c:pt>
                <c:pt idx="724">
                  <c:v>40.901626999999998</c:v>
                </c:pt>
                <c:pt idx="725">
                  <c:v>40.471589999999999</c:v>
                </c:pt>
                <c:pt idx="726">
                  <c:v>39.095455000000001</c:v>
                </c:pt>
                <c:pt idx="727">
                  <c:v>38.722766999999997</c:v>
                </c:pt>
                <c:pt idx="728">
                  <c:v>39.401257000000001</c:v>
                </c:pt>
                <c:pt idx="729">
                  <c:v>38.655853</c:v>
                </c:pt>
                <c:pt idx="730">
                  <c:v>38.579407000000003</c:v>
                </c:pt>
                <c:pt idx="731">
                  <c:v>39.257914999999997</c:v>
                </c:pt>
                <c:pt idx="732">
                  <c:v>40.137115000000001</c:v>
                </c:pt>
                <c:pt idx="733">
                  <c:v>38.321399999999997</c:v>
                </c:pt>
                <c:pt idx="734">
                  <c:v>38.751427</c:v>
                </c:pt>
                <c:pt idx="735">
                  <c:v>37.040824999999998</c:v>
                </c:pt>
                <c:pt idx="736">
                  <c:v>37.136383000000002</c:v>
                </c:pt>
                <c:pt idx="737">
                  <c:v>37.32752</c:v>
                </c:pt>
                <c:pt idx="738">
                  <c:v>38.025143</c:v>
                </c:pt>
                <c:pt idx="739">
                  <c:v>38.378729999999997</c:v>
                </c:pt>
                <c:pt idx="740">
                  <c:v>37.155501999999998</c:v>
                </c:pt>
                <c:pt idx="741">
                  <c:v>37.881785999999998</c:v>
                </c:pt>
                <c:pt idx="742">
                  <c:v>37.929569999999998</c:v>
                </c:pt>
                <c:pt idx="743">
                  <c:v>36.448321999999997</c:v>
                </c:pt>
                <c:pt idx="744">
                  <c:v>37.260629999999999</c:v>
                </c:pt>
                <c:pt idx="745">
                  <c:v>37.633319999999998</c:v>
                </c:pt>
                <c:pt idx="746">
                  <c:v>35.387557999999999</c:v>
                </c:pt>
                <c:pt idx="747">
                  <c:v>35.846269999999997</c:v>
                </c:pt>
                <c:pt idx="748">
                  <c:v>36.515217</c:v>
                </c:pt>
                <c:pt idx="749">
                  <c:v>35.119987000000002</c:v>
                </c:pt>
                <c:pt idx="750">
                  <c:v>34.065890000000003</c:v>
                </c:pt>
                <c:pt idx="751">
                  <c:v>34.679175999999998</c:v>
                </c:pt>
                <c:pt idx="752">
                  <c:v>35.570346999999998</c:v>
                </c:pt>
                <c:pt idx="753">
                  <c:v>34.966639999999998</c:v>
                </c:pt>
                <c:pt idx="754">
                  <c:v>36.241120000000002</c:v>
                </c:pt>
                <c:pt idx="755">
                  <c:v>36.998150000000003</c:v>
                </c:pt>
                <c:pt idx="756">
                  <c:v>37.697679999999998</c:v>
                </c:pt>
                <c:pt idx="757">
                  <c:v>37.889324000000002</c:v>
                </c:pt>
                <c:pt idx="758">
                  <c:v>38.100147</c:v>
                </c:pt>
                <c:pt idx="759">
                  <c:v>39.135060000000003</c:v>
                </c:pt>
                <c:pt idx="760">
                  <c:v>38.694262999999999</c:v>
                </c:pt>
                <c:pt idx="761">
                  <c:v>38.962560000000003</c:v>
                </c:pt>
                <c:pt idx="762">
                  <c:v>39.633347000000001</c:v>
                </c:pt>
                <c:pt idx="763">
                  <c:v>39.163800000000002</c:v>
                </c:pt>
                <c:pt idx="764">
                  <c:v>39.288372000000003</c:v>
                </c:pt>
                <c:pt idx="765">
                  <c:v>40.083725000000001</c:v>
                </c:pt>
                <c:pt idx="766">
                  <c:v>39.853752</c:v>
                </c:pt>
                <c:pt idx="767">
                  <c:v>40.131639999999997</c:v>
                </c:pt>
                <c:pt idx="768">
                  <c:v>39.89208</c:v>
                </c:pt>
                <c:pt idx="769">
                  <c:v>40.371197000000002</c:v>
                </c:pt>
                <c:pt idx="770">
                  <c:v>39.067979999999999</c:v>
                </c:pt>
                <c:pt idx="771">
                  <c:v>39.911242999999999</c:v>
                </c:pt>
                <c:pt idx="772">
                  <c:v>39.89208</c:v>
                </c:pt>
                <c:pt idx="773">
                  <c:v>40.697014000000003</c:v>
                </c:pt>
                <c:pt idx="774">
                  <c:v>40.811993000000001</c:v>
                </c:pt>
                <c:pt idx="775">
                  <c:v>40.352040000000002</c:v>
                </c:pt>
                <c:pt idx="776">
                  <c:v>40.543681999999997</c:v>
                </c:pt>
                <c:pt idx="777">
                  <c:v>40.342449999999999</c:v>
                </c:pt>
                <c:pt idx="778">
                  <c:v>41.626506999999997</c:v>
                </c:pt>
                <c:pt idx="779">
                  <c:v>41.655259999999998</c:v>
                </c:pt>
                <c:pt idx="780">
                  <c:v>40.974890000000002</c:v>
                </c:pt>
                <c:pt idx="781">
                  <c:v>40.169969999999999</c:v>
                </c:pt>
                <c:pt idx="782">
                  <c:v>38.809246000000002</c:v>
                </c:pt>
                <c:pt idx="783">
                  <c:v>39.202126</c:v>
                </c:pt>
                <c:pt idx="784">
                  <c:v>39.623764000000001</c:v>
                </c:pt>
                <c:pt idx="785">
                  <c:v>39.652509999999999</c:v>
                </c:pt>
                <c:pt idx="786">
                  <c:v>39.297960000000003</c:v>
                </c:pt>
                <c:pt idx="787">
                  <c:v>37.870159999999998</c:v>
                </c:pt>
                <c:pt idx="788">
                  <c:v>37.726419999999997</c:v>
                </c:pt>
                <c:pt idx="789">
                  <c:v>37.304789999999997</c:v>
                </c:pt>
                <c:pt idx="790">
                  <c:v>37.276046999999998</c:v>
                </c:pt>
                <c:pt idx="791">
                  <c:v>36.758586999999999</c:v>
                </c:pt>
                <c:pt idx="792">
                  <c:v>36.892741999999998</c:v>
                </c:pt>
                <c:pt idx="793">
                  <c:v>37.113148000000002</c:v>
                </c:pt>
                <c:pt idx="794">
                  <c:v>37.553939999999997</c:v>
                </c:pt>
                <c:pt idx="795">
                  <c:v>38.272629999999999</c:v>
                </c:pt>
                <c:pt idx="796">
                  <c:v>39.451282999999997</c:v>
                </c:pt>
                <c:pt idx="797">
                  <c:v>39.202126</c:v>
                </c:pt>
                <c:pt idx="798">
                  <c:v>39.211716000000003</c:v>
                </c:pt>
                <c:pt idx="799">
                  <c:v>39.614184999999999</c:v>
                </c:pt>
                <c:pt idx="800">
                  <c:v>39.537509999999997</c:v>
                </c:pt>
                <c:pt idx="801">
                  <c:v>38.339709999999997</c:v>
                </c:pt>
                <c:pt idx="802">
                  <c:v>36.614849999999997</c:v>
                </c:pt>
                <c:pt idx="803">
                  <c:v>35.455364000000003</c:v>
                </c:pt>
                <c:pt idx="804">
                  <c:v>35.378708000000003</c:v>
                </c:pt>
                <c:pt idx="805">
                  <c:v>35.177480000000003</c:v>
                </c:pt>
                <c:pt idx="806">
                  <c:v>34.46837</c:v>
                </c:pt>
                <c:pt idx="807">
                  <c:v>33.241790000000002</c:v>
                </c:pt>
                <c:pt idx="808">
                  <c:v>33.088030000000003</c:v>
                </c:pt>
                <c:pt idx="809">
                  <c:v>33.232190000000003</c:v>
                </c:pt>
                <c:pt idx="810">
                  <c:v>31.915585</c:v>
                </c:pt>
                <c:pt idx="811">
                  <c:v>31.531174</c:v>
                </c:pt>
                <c:pt idx="812">
                  <c:v>31.742601000000001</c:v>
                </c:pt>
                <c:pt idx="813">
                  <c:v>31.656110000000002</c:v>
                </c:pt>
                <c:pt idx="814">
                  <c:v>32.453760000000003</c:v>
                </c:pt>
                <c:pt idx="815">
                  <c:v>31.579232999999999</c:v>
                </c:pt>
                <c:pt idx="816">
                  <c:v>30.108864000000001</c:v>
                </c:pt>
                <c:pt idx="817">
                  <c:v>30.281849000000001</c:v>
                </c:pt>
                <c:pt idx="818">
                  <c:v>30.868067</c:v>
                </c:pt>
                <c:pt idx="819">
                  <c:v>31.367804</c:v>
                </c:pt>
                <c:pt idx="820">
                  <c:v>31.338974</c:v>
                </c:pt>
                <c:pt idx="821">
                  <c:v>30.896896000000002</c:v>
                </c:pt>
                <c:pt idx="822">
                  <c:v>30.762356</c:v>
                </c:pt>
                <c:pt idx="823">
                  <c:v>30.493272999999999</c:v>
                </c:pt>
                <c:pt idx="824">
                  <c:v>30.896896000000002</c:v>
                </c:pt>
                <c:pt idx="825">
                  <c:v>30.916122000000001</c:v>
                </c:pt>
                <c:pt idx="826">
                  <c:v>30.281849000000001</c:v>
                </c:pt>
                <c:pt idx="827">
                  <c:v>30.416388000000001</c:v>
                </c:pt>
                <c:pt idx="828">
                  <c:v>30.666256000000001</c:v>
                </c:pt>
                <c:pt idx="829">
                  <c:v>30.704692999999999</c:v>
                </c:pt>
                <c:pt idx="830">
                  <c:v>30.435607999999998</c:v>
                </c:pt>
                <c:pt idx="831">
                  <c:v>29.609124999999999</c:v>
                </c:pt>
                <c:pt idx="832">
                  <c:v>30.041589999999999</c:v>
                </c:pt>
                <c:pt idx="833">
                  <c:v>31.098718999999999</c:v>
                </c:pt>
                <c:pt idx="834">
                  <c:v>31.242868000000001</c:v>
                </c:pt>
                <c:pt idx="835">
                  <c:v>32.098185999999998</c:v>
                </c:pt>
                <c:pt idx="836">
                  <c:v>31.848306999999998</c:v>
                </c:pt>
                <c:pt idx="837">
                  <c:v>30.56054</c:v>
                </c:pt>
                <c:pt idx="838">
                  <c:v>29.176666000000001</c:v>
                </c:pt>
                <c:pt idx="839">
                  <c:v>29.301603</c:v>
                </c:pt>
                <c:pt idx="840">
                  <c:v>28.004217000000001</c:v>
                </c:pt>
                <c:pt idx="841">
                  <c:v>28.196425999999999</c:v>
                </c:pt>
                <c:pt idx="842">
                  <c:v>28.552002000000002</c:v>
                </c:pt>
                <c:pt idx="843">
                  <c:v>28.849914999999999</c:v>
                </c:pt>
                <c:pt idx="844">
                  <c:v>28.724989999999998</c:v>
                </c:pt>
                <c:pt idx="845">
                  <c:v>29.147839000000001</c:v>
                </c:pt>
                <c:pt idx="846">
                  <c:v>25.995687</c:v>
                </c:pt>
                <c:pt idx="847">
                  <c:v>24.285063000000001</c:v>
                </c:pt>
                <c:pt idx="848">
                  <c:v>25.726599</c:v>
                </c:pt>
                <c:pt idx="849">
                  <c:v>26.620346000000001</c:v>
                </c:pt>
                <c:pt idx="850">
                  <c:v>27.206568000000001</c:v>
                </c:pt>
                <c:pt idx="851">
                  <c:v>28.186813000000001</c:v>
                </c:pt>
                <c:pt idx="852">
                  <c:v>27.802403999999999</c:v>
                </c:pt>
                <c:pt idx="853">
                  <c:v>27.245011999999999</c:v>
                </c:pt>
                <c:pt idx="854">
                  <c:v>28.254086999999998</c:v>
                </c:pt>
                <c:pt idx="855">
                  <c:v>28.869146000000001</c:v>
                </c:pt>
                <c:pt idx="856">
                  <c:v>29.945485999999999</c:v>
                </c:pt>
                <c:pt idx="857">
                  <c:v>33.309063000000002</c:v>
                </c:pt>
                <c:pt idx="858">
                  <c:v>33.107259999999997</c:v>
                </c:pt>
                <c:pt idx="859">
                  <c:v>34.481513999999997</c:v>
                </c:pt>
                <c:pt idx="860">
                  <c:v>34.491123000000002</c:v>
                </c:pt>
                <c:pt idx="861">
                  <c:v>34.625667999999997</c:v>
                </c:pt>
                <c:pt idx="862">
                  <c:v>34.606450000000002</c:v>
                </c:pt>
                <c:pt idx="863">
                  <c:v>34.519955000000003</c:v>
                </c:pt>
                <c:pt idx="864">
                  <c:v>33.597369999999998</c:v>
                </c:pt>
                <c:pt idx="865">
                  <c:v>34.942805999999997</c:v>
                </c:pt>
                <c:pt idx="866">
                  <c:v>34.404636000000004</c:v>
                </c:pt>
                <c:pt idx="867">
                  <c:v>35.125410000000002</c:v>
                </c:pt>
                <c:pt idx="868">
                  <c:v>34.789042999999999</c:v>
                </c:pt>
                <c:pt idx="869">
                  <c:v>34.923580000000001</c:v>
                </c:pt>
                <c:pt idx="870">
                  <c:v>34.116332999999997</c:v>
                </c:pt>
                <c:pt idx="871">
                  <c:v>34.212429999999998</c:v>
                </c:pt>
                <c:pt idx="872">
                  <c:v>32.203899999999997</c:v>
                </c:pt>
                <c:pt idx="873">
                  <c:v>32.271362000000003</c:v>
                </c:pt>
                <c:pt idx="874">
                  <c:v>32.367750000000001</c:v>
                </c:pt>
                <c:pt idx="875">
                  <c:v>33.196705000000001</c:v>
                </c:pt>
                <c:pt idx="876">
                  <c:v>33.109949999999998</c:v>
                </c:pt>
                <c:pt idx="877">
                  <c:v>33.341293</c:v>
                </c:pt>
                <c:pt idx="878">
                  <c:v>32.946095</c:v>
                </c:pt>
                <c:pt idx="879">
                  <c:v>33.697940000000003</c:v>
                </c:pt>
                <c:pt idx="880">
                  <c:v>33.659374</c:v>
                </c:pt>
                <c:pt idx="881">
                  <c:v>34.57508</c:v>
                </c:pt>
                <c:pt idx="882">
                  <c:v>35.423319999999997</c:v>
                </c:pt>
                <c:pt idx="883">
                  <c:v>35.278731999999998</c:v>
                </c:pt>
                <c:pt idx="884">
                  <c:v>35.346209999999999</c:v>
                </c:pt>
                <c:pt idx="885">
                  <c:v>35.172699999999999</c:v>
                </c:pt>
                <c:pt idx="886">
                  <c:v>34.700397000000002</c:v>
                </c:pt>
                <c:pt idx="887">
                  <c:v>35.085953000000003</c:v>
                </c:pt>
                <c:pt idx="888">
                  <c:v>35.326926999999998</c:v>
                </c:pt>
                <c:pt idx="889">
                  <c:v>35.394398000000002</c:v>
                </c:pt>
                <c:pt idx="890">
                  <c:v>34.922091999999999</c:v>
                </c:pt>
                <c:pt idx="891">
                  <c:v>34.864254000000003</c:v>
                </c:pt>
                <c:pt idx="892">
                  <c:v>35.712485999999998</c:v>
                </c:pt>
                <c:pt idx="893">
                  <c:v>34.989567000000001</c:v>
                </c:pt>
                <c:pt idx="894">
                  <c:v>34.931731999999997</c:v>
                </c:pt>
                <c:pt idx="895">
                  <c:v>35.211253999999997</c:v>
                </c:pt>
                <c:pt idx="896">
                  <c:v>35.625729999999997</c:v>
                </c:pt>
                <c:pt idx="897">
                  <c:v>37.351112000000001</c:v>
                </c:pt>
                <c:pt idx="898">
                  <c:v>37.929454999999997</c:v>
                </c:pt>
                <c:pt idx="899">
                  <c:v>37.100506000000003</c:v>
                </c:pt>
                <c:pt idx="900">
                  <c:v>36.955930000000002</c:v>
                </c:pt>
                <c:pt idx="901">
                  <c:v>36.020940000000003</c:v>
                </c:pt>
                <c:pt idx="902">
                  <c:v>35.076304999999998</c:v>
                </c:pt>
                <c:pt idx="903">
                  <c:v>35.095592000000003</c:v>
                </c:pt>
                <c:pt idx="904">
                  <c:v>34.208804999999998</c:v>
                </c:pt>
                <c:pt idx="905">
                  <c:v>34.160606000000001</c:v>
                </c:pt>
                <c:pt idx="906">
                  <c:v>33.881076999999998</c:v>
                </c:pt>
                <c:pt idx="907">
                  <c:v>33.418404000000002</c:v>
                </c:pt>
                <c:pt idx="908">
                  <c:v>33.977466999999997</c:v>
                </c:pt>
                <c:pt idx="909">
                  <c:v>34.266632000000001</c:v>
                </c:pt>
                <c:pt idx="910">
                  <c:v>33.669020000000003</c:v>
                </c:pt>
                <c:pt idx="911">
                  <c:v>34.700397000000002</c:v>
                </c:pt>
                <c:pt idx="912">
                  <c:v>34.546165000000002</c:v>
                </c:pt>
                <c:pt idx="913">
                  <c:v>34.526890000000002</c:v>
                </c:pt>
                <c:pt idx="914">
                  <c:v>35.28837</c:v>
                </c:pt>
                <c:pt idx="915">
                  <c:v>36.339024000000002</c:v>
                </c:pt>
                <c:pt idx="916">
                  <c:v>36.271552999999997</c:v>
                </c:pt>
                <c:pt idx="917">
                  <c:v>36.502884000000002</c:v>
                </c:pt>
                <c:pt idx="918">
                  <c:v>36.792053000000003</c:v>
                </c:pt>
                <c:pt idx="919">
                  <c:v>36.367935000000003</c:v>
                </c:pt>
                <c:pt idx="920">
                  <c:v>37.486057000000002</c:v>
                </c:pt>
                <c:pt idx="921">
                  <c:v>36.820971999999998</c:v>
                </c:pt>
                <c:pt idx="922">
                  <c:v>36.030574999999999</c:v>
                </c:pt>
                <c:pt idx="923">
                  <c:v>37.823430000000002</c:v>
                </c:pt>
                <c:pt idx="924">
                  <c:v>37.254730000000002</c:v>
                </c:pt>
                <c:pt idx="925">
                  <c:v>37.187252000000001</c:v>
                </c:pt>
                <c:pt idx="926">
                  <c:v>37.929454999999997</c:v>
                </c:pt>
                <c:pt idx="927">
                  <c:v>39.163241999999997</c:v>
                </c:pt>
                <c:pt idx="928">
                  <c:v>39.124695000000003</c:v>
                </c:pt>
                <c:pt idx="929">
                  <c:v>38.459601999999997</c:v>
                </c:pt>
                <c:pt idx="930">
                  <c:v>38.392128</c:v>
                </c:pt>
                <c:pt idx="931">
                  <c:v>38.257187000000002</c:v>
                </c:pt>
                <c:pt idx="932">
                  <c:v>37.900542999999999</c:v>
                </c:pt>
                <c:pt idx="933">
                  <c:v>38.469239999999999</c:v>
                </c:pt>
                <c:pt idx="934">
                  <c:v>38.613827000000001</c:v>
                </c:pt>
                <c:pt idx="935">
                  <c:v>39.134323000000002</c:v>
                </c:pt>
                <c:pt idx="936">
                  <c:v>38.363210000000002</c:v>
                </c:pt>
                <c:pt idx="937">
                  <c:v>38.27646</c:v>
                </c:pt>
                <c:pt idx="938">
                  <c:v>38.054206999999998</c:v>
                </c:pt>
                <c:pt idx="939">
                  <c:v>38.402084000000002</c:v>
                </c:pt>
                <c:pt idx="940">
                  <c:v>40.093162999999997</c:v>
                </c:pt>
                <c:pt idx="941">
                  <c:v>40.296097000000003</c:v>
                </c:pt>
                <c:pt idx="942">
                  <c:v>40.982193000000002</c:v>
                </c:pt>
                <c:pt idx="943">
                  <c:v>40.875895999999997</c:v>
                </c:pt>
                <c:pt idx="944">
                  <c:v>41.484690000000001</c:v>
                </c:pt>
                <c:pt idx="945">
                  <c:v>41.938859999999998</c:v>
                </c:pt>
                <c:pt idx="946">
                  <c:v>43.253067000000001</c:v>
                </c:pt>
                <c:pt idx="947">
                  <c:v>42.953518000000003</c:v>
                </c:pt>
                <c:pt idx="948">
                  <c:v>44.287059999999997</c:v>
                </c:pt>
                <c:pt idx="949">
                  <c:v>44.702567999999999</c:v>
                </c:pt>
                <c:pt idx="950">
                  <c:v>44.528632999999999</c:v>
                </c:pt>
                <c:pt idx="951">
                  <c:v>44.528632999999999</c:v>
                </c:pt>
                <c:pt idx="952">
                  <c:v>44.779876999999999</c:v>
                </c:pt>
                <c:pt idx="953">
                  <c:v>45.243720000000003</c:v>
                </c:pt>
                <c:pt idx="954">
                  <c:v>44.934497999999998</c:v>
                </c:pt>
                <c:pt idx="955">
                  <c:v>45.311366999999997</c:v>
                </c:pt>
                <c:pt idx="956">
                  <c:v>44.876510000000003</c:v>
                </c:pt>
                <c:pt idx="957">
                  <c:v>44.209743000000003</c:v>
                </c:pt>
                <c:pt idx="958">
                  <c:v>44.547966000000002</c:v>
                </c:pt>
                <c:pt idx="959">
                  <c:v>44.180756000000002</c:v>
                </c:pt>
                <c:pt idx="960">
                  <c:v>44.866860000000003</c:v>
                </c:pt>
                <c:pt idx="961">
                  <c:v>47.012107999999998</c:v>
                </c:pt>
                <c:pt idx="962">
                  <c:v>46.432304000000002</c:v>
                </c:pt>
                <c:pt idx="963">
                  <c:v>47.968772999999999</c:v>
                </c:pt>
                <c:pt idx="964">
                  <c:v>45.987803999999997</c:v>
                </c:pt>
                <c:pt idx="965">
                  <c:v>46.229377999999997</c:v>
                </c:pt>
                <c:pt idx="966">
                  <c:v>46.306683</c:v>
                </c:pt>
                <c:pt idx="967">
                  <c:v>46.67389</c:v>
                </c:pt>
                <c:pt idx="968">
                  <c:v>46.026449999999997</c:v>
                </c:pt>
                <c:pt idx="969">
                  <c:v>46.944473000000002</c:v>
                </c:pt>
                <c:pt idx="970">
                  <c:v>47.562927000000002</c:v>
                </c:pt>
                <c:pt idx="971">
                  <c:v>47.804504000000001</c:v>
                </c:pt>
                <c:pt idx="972">
                  <c:v>47.050773999999997</c:v>
                </c:pt>
                <c:pt idx="973">
                  <c:v>46.847830000000002</c:v>
                </c:pt>
                <c:pt idx="974">
                  <c:v>46.973460000000003</c:v>
                </c:pt>
                <c:pt idx="975">
                  <c:v>46.065097999999999</c:v>
                </c:pt>
                <c:pt idx="976">
                  <c:v>45.659244999999999</c:v>
                </c:pt>
                <c:pt idx="977">
                  <c:v>45.118090000000002</c:v>
                </c:pt>
                <c:pt idx="978">
                  <c:v>44.741225999999997</c:v>
                </c:pt>
                <c:pt idx="979">
                  <c:v>45.127758</c:v>
                </c:pt>
                <c:pt idx="980">
                  <c:v>44.345030000000001</c:v>
                </c:pt>
                <c:pt idx="981">
                  <c:v>44.654254999999999</c:v>
                </c:pt>
                <c:pt idx="982">
                  <c:v>45.494971999999997</c:v>
                </c:pt>
                <c:pt idx="983">
                  <c:v>46.847830000000002</c:v>
                </c:pt>
                <c:pt idx="984">
                  <c:v>47.002450000000003</c:v>
                </c:pt>
                <c:pt idx="985">
                  <c:v>46.480625000000003</c:v>
                </c:pt>
                <c:pt idx="986">
                  <c:v>46.045775999999996</c:v>
                </c:pt>
                <c:pt idx="987">
                  <c:v>45.176079999999999</c:v>
                </c:pt>
                <c:pt idx="988">
                  <c:v>46.036124999999998</c:v>
                </c:pt>
                <c:pt idx="989">
                  <c:v>45.668903</c:v>
                </c:pt>
                <c:pt idx="990">
                  <c:v>46.383994999999999</c:v>
                </c:pt>
                <c:pt idx="991">
                  <c:v>45.359676</c:v>
                </c:pt>
                <c:pt idx="992">
                  <c:v>45.939487</c:v>
                </c:pt>
                <c:pt idx="993">
                  <c:v>46.297027999999997</c:v>
                </c:pt>
                <c:pt idx="994">
                  <c:v>47.920459999999999</c:v>
                </c:pt>
                <c:pt idx="995">
                  <c:v>45.369349999999997</c:v>
                </c:pt>
                <c:pt idx="996">
                  <c:v>43.388362999999998</c:v>
                </c:pt>
                <c:pt idx="997">
                  <c:v>42.760241999999998</c:v>
                </c:pt>
                <c:pt idx="998">
                  <c:v>42.566969999999998</c:v>
                </c:pt>
                <c:pt idx="999">
                  <c:v>42.528328000000002</c:v>
                </c:pt>
                <c:pt idx="1000">
                  <c:v>42.711936999999999</c:v>
                </c:pt>
                <c:pt idx="1001">
                  <c:v>43.774887</c:v>
                </c:pt>
                <c:pt idx="1002">
                  <c:v>43.649273000000001</c:v>
                </c:pt>
                <c:pt idx="1003">
                  <c:v>43.542976000000003</c:v>
                </c:pt>
                <c:pt idx="1004">
                  <c:v>44.840739999999997</c:v>
                </c:pt>
                <c:pt idx="1005">
                  <c:v>44.986015000000002</c:v>
                </c:pt>
                <c:pt idx="1006">
                  <c:v>45.915756000000002</c:v>
                </c:pt>
                <c:pt idx="1007">
                  <c:v>45.102238</c:v>
                </c:pt>
                <c:pt idx="1008">
                  <c:v>46.041663999999997</c:v>
                </c:pt>
                <c:pt idx="1009">
                  <c:v>45.489623999999999</c:v>
                </c:pt>
                <c:pt idx="1010">
                  <c:v>45.431519999999999</c:v>
                </c:pt>
                <c:pt idx="1011">
                  <c:v>45.334679999999999</c:v>
                </c:pt>
                <c:pt idx="1012">
                  <c:v>44.860109999999999</c:v>
                </c:pt>
                <c:pt idx="1013">
                  <c:v>44.647039999999997</c:v>
                </c:pt>
                <c:pt idx="1014">
                  <c:v>44.821370000000002</c:v>
                </c:pt>
                <c:pt idx="1015">
                  <c:v>44.860109999999999</c:v>
                </c:pt>
                <c:pt idx="1016">
                  <c:v>44.898845999999999</c:v>
                </c:pt>
                <c:pt idx="1017">
                  <c:v>45.605846</c:v>
                </c:pt>
                <c:pt idx="1018">
                  <c:v>44.279020000000003</c:v>
                </c:pt>
                <c:pt idx="1019">
                  <c:v>45.344344999999997</c:v>
                </c:pt>
                <c:pt idx="1020">
                  <c:v>43.881943</c:v>
                </c:pt>
                <c:pt idx="1021">
                  <c:v>43.426754000000003</c:v>
                </c:pt>
                <c:pt idx="1022">
                  <c:v>43.475185000000003</c:v>
                </c:pt>
                <c:pt idx="1023">
                  <c:v>41.964348000000001</c:v>
                </c:pt>
                <c:pt idx="1024">
                  <c:v>42.516387999999999</c:v>
                </c:pt>
                <c:pt idx="1025">
                  <c:v>41.034602999999997</c:v>
                </c:pt>
                <c:pt idx="1026">
                  <c:v>39.911163000000002</c:v>
                </c:pt>
                <c:pt idx="1027">
                  <c:v>40.76343</c:v>
                </c:pt>
                <c:pt idx="1028">
                  <c:v>40.802177</c:v>
                </c:pt>
                <c:pt idx="1029">
                  <c:v>40.405098000000002</c:v>
                </c:pt>
                <c:pt idx="1030">
                  <c:v>40.385719999999999</c:v>
                </c:pt>
                <c:pt idx="1031">
                  <c:v>39.146070000000002</c:v>
                </c:pt>
                <c:pt idx="1032">
                  <c:v>39.078270000000003</c:v>
                </c:pt>
                <c:pt idx="1033">
                  <c:v>40.104866000000001</c:v>
                </c:pt>
                <c:pt idx="1034">
                  <c:v>40.414783</c:v>
                </c:pt>
                <c:pt idx="1035">
                  <c:v>40.424458000000001</c:v>
                </c:pt>
                <c:pt idx="1036">
                  <c:v>41.257359999999998</c:v>
                </c:pt>
                <c:pt idx="1037">
                  <c:v>40.637529999999998</c:v>
                </c:pt>
                <c:pt idx="1038">
                  <c:v>41.199244999999998</c:v>
                </c:pt>
                <c:pt idx="1039">
                  <c:v>40.966810000000002</c:v>
                </c:pt>
                <c:pt idx="1040">
                  <c:v>41.112087000000002</c:v>
                </c:pt>
                <c:pt idx="1041">
                  <c:v>39.610930000000003</c:v>
                </c:pt>
                <c:pt idx="1042">
                  <c:v>40.008006999999999</c:v>
                </c:pt>
                <c:pt idx="1043">
                  <c:v>40.405098000000002</c:v>
                </c:pt>
                <c:pt idx="1044">
                  <c:v>40.492260000000002</c:v>
                </c:pt>
                <c:pt idx="1045">
                  <c:v>40.986190000000001</c:v>
                </c:pt>
                <c:pt idx="1046">
                  <c:v>42.545439999999999</c:v>
                </c:pt>
                <c:pt idx="1047">
                  <c:v>42.574492999999997</c:v>
                </c:pt>
                <c:pt idx="1048">
                  <c:v>41.983710000000002</c:v>
                </c:pt>
                <c:pt idx="1049">
                  <c:v>42.835982999999999</c:v>
                </c:pt>
                <c:pt idx="1050">
                  <c:v>42.429220000000001</c:v>
                </c:pt>
                <c:pt idx="1051">
                  <c:v>43.000630000000001</c:v>
                </c:pt>
                <c:pt idx="1052">
                  <c:v>43.794784999999997</c:v>
                </c:pt>
                <c:pt idx="1053">
                  <c:v>43.726999999999997</c:v>
                </c:pt>
                <c:pt idx="1054">
                  <c:v>44.976322000000003</c:v>
                </c:pt>
                <c:pt idx="1055">
                  <c:v>45.140970000000003</c:v>
                </c:pt>
                <c:pt idx="1056">
                  <c:v>44.937595000000002</c:v>
                </c:pt>
                <c:pt idx="1057">
                  <c:v>42.593857</c:v>
                </c:pt>
                <c:pt idx="1058">
                  <c:v>41.276730000000001</c:v>
                </c:pt>
                <c:pt idx="1059">
                  <c:v>40.753746</c:v>
                </c:pt>
                <c:pt idx="1060">
                  <c:v>42.48733</c:v>
                </c:pt>
                <c:pt idx="1061">
                  <c:v>42.53575</c:v>
                </c:pt>
                <c:pt idx="1062">
                  <c:v>42.526069999999997</c:v>
                </c:pt>
                <c:pt idx="1063">
                  <c:v>43.107162000000002</c:v>
                </c:pt>
                <c:pt idx="1064">
                  <c:v>43.523609999999998</c:v>
                </c:pt>
                <c:pt idx="1065">
                  <c:v>45.596159999999998</c:v>
                </c:pt>
                <c:pt idx="1066">
                  <c:v>45.809223000000003</c:v>
                </c:pt>
                <c:pt idx="1067">
                  <c:v>45.073177000000001</c:v>
                </c:pt>
                <c:pt idx="1068">
                  <c:v>44.481133</c:v>
                </c:pt>
                <c:pt idx="1069">
                  <c:v>45.306114000000001</c:v>
                </c:pt>
                <c:pt idx="1070">
                  <c:v>45.558459999999997</c:v>
                </c:pt>
                <c:pt idx="1071">
                  <c:v>43.597909999999999</c:v>
                </c:pt>
                <c:pt idx="1072">
                  <c:v>43.335859999999997</c:v>
                </c:pt>
                <c:pt idx="1073">
                  <c:v>43.889088000000001</c:v>
                </c:pt>
                <c:pt idx="1074">
                  <c:v>44.849944999999998</c:v>
                </c:pt>
                <c:pt idx="1075">
                  <c:v>45.286704999999998</c:v>
                </c:pt>
                <c:pt idx="1076">
                  <c:v>45.393459999999997</c:v>
                </c:pt>
                <c:pt idx="1077">
                  <c:v>46.606678000000002</c:v>
                </c:pt>
                <c:pt idx="1078">
                  <c:v>47.305492000000001</c:v>
                </c:pt>
                <c:pt idx="1079">
                  <c:v>46.548439999999999</c:v>
                </c:pt>
                <c:pt idx="1080">
                  <c:v>46.985199999999999</c:v>
                </c:pt>
                <c:pt idx="1081">
                  <c:v>47.606354000000003</c:v>
                </c:pt>
                <c:pt idx="1082">
                  <c:v>48.062527000000003</c:v>
                </c:pt>
                <c:pt idx="1083">
                  <c:v>48.276049999999998</c:v>
                </c:pt>
                <c:pt idx="1084">
                  <c:v>48.276049999999998</c:v>
                </c:pt>
                <c:pt idx="1085">
                  <c:v>49.363083000000003</c:v>
                </c:pt>
                <c:pt idx="1086">
                  <c:v>49.916313000000002</c:v>
                </c:pt>
                <c:pt idx="1087">
                  <c:v>48.790455000000001</c:v>
                </c:pt>
                <c:pt idx="1088">
                  <c:v>48.023705</c:v>
                </c:pt>
                <c:pt idx="1089">
                  <c:v>47.994587000000003</c:v>
                </c:pt>
                <c:pt idx="1090">
                  <c:v>47.936349999999997</c:v>
                </c:pt>
                <c:pt idx="1091">
                  <c:v>47.664589999999997</c:v>
                </c:pt>
                <c:pt idx="1092">
                  <c:v>47.354014999999997</c:v>
                </c:pt>
                <c:pt idx="1093">
                  <c:v>48.198405999999999</c:v>
                </c:pt>
                <c:pt idx="1094">
                  <c:v>46.616382999999999</c:v>
                </c:pt>
                <c:pt idx="1095">
                  <c:v>47.004604</c:v>
                </c:pt>
                <c:pt idx="1096">
                  <c:v>47.528717</c:v>
                </c:pt>
                <c:pt idx="1097">
                  <c:v>47.198723000000001</c:v>
                </c:pt>
                <c:pt idx="1098">
                  <c:v>47.344307000000001</c:v>
                </c:pt>
                <c:pt idx="1099">
                  <c:v>47.072544000000001</c:v>
                </c:pt>
                <c:pt idx="1100">
                  <c:v>47.800471999999999</c:v>
                </c:pt>
                <c:pt idx="1101">
                  <c:v>48.159576000000001</c:v>
                </c:pt>
                <c:pt idx="1102">
                  <c:v>48.838977999999997</c:v>
                </c:pt>
                <c:pt idx="1103">
                  <c:v>48.906917999999997</c:v>
                </c:pt>
                <c:pt idx="1104">
                  <c:v>49.751305000000002</c:v>
                </c:pt>
                <c:pt idx="1105">
                  <c:v>50.518059999999998</c:v>
                </c:pt>
                <c:pt idx="1106">
                  <c:v>51.46922</c:v>
                </c:pt>
                <c:pt idx="1107">
                  <c:v>51.110115</c:v>
                </c:pt>
                <c:pt idx="1108">
                  <c:v>50.091006999999998</c:v>
                </c:pt>
                <c:pt idx="1109">
                  <c:v>52.216560000000001</c:v>
                </c:pt>
                <c:pt idx="1110">
                  <c:v>52.226264999999998</c:v>
                </c:pt>
                <c:pt idx="1111">
                  <c:v>52.624195</c:v>
                </c:pt>
                <c:pt idx="1112">
                  <c:v>52.284495999999997</c:v>
                </c:pt>
                <c:pt idx="1113">
                  <c:v>51.58569</c:v>
                </c:pt>
                <c:pt idx="1114">
                  <c:v>51.061573000000003</c:v>
                </c:pt>
                <c:pt idx="1115">
                  <c:v>50.799526</c:v>
                </c:pt>
                <c:pt idx="1116">
                  <c:v>50.382182999999998</c:v>
                </c:pt>
                <c:pt idx="1117">
                  <c:v>49.770719999999997</c:v>
                </c:pt>
                <c:pt idx="1118">
                  <c:v>49.120449999999998</c:v>
                </c:pt>
                <c:pt idx="1119">
                  <c:v>49.508670000000002</c:v>
                </c:pt>
                <c:pt idx="1120">
                  <c:v>48.528396999999998</c:v>
                </c:pt>
                <c:pt idx="1121">
                  <c:v>49.003982999999998</c:v>
                </c:pt>
                <c:pt idx="1122">
                  <c:v>48.955449999999999</c:v>
                </c:pt>
                <c:pt idx="1123">
                  <c:v>49.557200000000002</c:v>
                </c:pt>
                <c:pt idx="1124">
                  <c:v>48.965156999999998</c:v>
                </c:pt>
                <c:pt idx="1125">
                  <c:v>49.062213999999997</c:v>
                </c:pt>
                <c:pt idx="1126">
                  <c:v>49.304850000000002</c:v>
                </c:pt>
                <c:pt idx="1127">
                  <c:v>49.091329999999999</c:v>
                </c:pt>
                <c:pt idx="1128">
                  <c:v>48.528396999999998</c:v>
                </c:pt>
                <c:pt idx="1129">
                  <c:v>47.946055999999999</c:v>
                </c:pt>
                <c:pt idx="1130">
                  <c:v>47.216656</c:v>
                </c:pt>
                <c:pt idx="1131">
                  <c:v>47.022143999999997</c:v>
                </c:pt>
                <c:pt idx="1132">
                  <c:v>47.46951</c:v>
                </c:pt>
                <c:pt idx="1133">
                  <c:v>47.187477000000001</c:v>
                </c:pt>
                <c:pt idx="1134">
                  <c:v>47.080505000000002</c:v>
                </c:pt>
                <c:pt idx="1135">
                  <c:v>44.765860000000004</c:v>
                </c:pt>
                <c:pt idx="1136">
                  <c:v>44.299045999999997</c:v>
                </c:pt>
                <c:pt idx="1137">
                  <c:v>44.454650000000001</c:v>
                </c:pt>
                <c:pt idx="1138">
                  <c:v>44.162889999999997</c:v>
                </c:pt>
                <c:pt idx="1139">
                  <c:v>42.762439999999998</c:v>
                </c:pt>
                <c:pt idx="1140">
                  <c:v>41.74127</c:v>
                </c:pt>
                <c:pt idx="1141">
                  <c:v>44.007286000000001</c:v>
                </c:pt>
                <c:pt idx="1142">
                  <c:v>43.715527000000002</c:v>
                </c:pt>
                <c:pt idx="1143">
                  <c:v>43.33623</c:v>
                </c:pt>
                <c:pt idx="1144">
                  <c:v>43.102820000000001</c:v>
                </c:pt>
                <c:pt idx="1145">
                  <c:v>43.511294999999997</c:v>
                </c:pt>
                <c:pt idx="1146">
                  <c:v>44.065635999999998</c:v>
                </c:pt>
                <c:pt idx="1147">
                  <c:v>42.713818000000003</c:v>
                </c:pt>
                <c:pt idx="1148">
                  <c:v>43.0931</c:v>
                </c:pt>
                <c:pt idx="1149">
                  <c:v>42.636009999999999</c:v>
                </c:pt>
                <c:pt idx="1150">
                  <c:v>42.4026</c:v>
                </c:pt>
                <c:pt idx="1151">
                  <c:v>44.600532999999999</c:v>
                </c:pt>
                <c:pt idx="1152">
                  <c:v>45.018723000000001</c:v>
                </c:pt>
                <c:pt idx="1153">
                  <c:v>45.709225000000004</c:v>
                </c:pt>
                <c:pt idx="1154">
                  <c:v>44.921474000000003</c:v>
                </c:pt>
                <c:pt idx="1155">
                  <c:v>44.736687000000003</c:v>
                </c:pt>
                <c:pt idx="1156">
                  <c:v>44.065635999999998</c:v>
                </c:pt>
                <c:pt idx="1157">
                  <c:v>43.161186000000001</c:v>
                </c:pt>
                <c:pt idx="1158">
                  <c:v>44.172606999999999</c:v>
                </c:pt>
                <c:pt idx="1159">
                  <c:v>45.018723000000001</c:v>
                </c:pt>
                <c:pt idx="1160">
                  <c:v>45.767580000000002</c:v>
                </c:pt>
                <c:pt idx="1161">
                  <c:v>46.390006999999997</c:v>
                </c:pt>
                <c:pt idx="1162">
                  <c:v>46.273296000000002</c:v>
                </c:pt>
                <c:pt idx="1163">
                  <c:v>45.563339999999997</c:v>
                </c:pt>
                <c:pt idx="1164">
                  <c:v>46.185775999999997</c:v>
                </c:pt>
                <c:pt idx="1165">
                  <c:v>46.185775999999997</c:v>
                </c:pt>
                <c:pt idx="1166">
                  <c:v>46.419173999999998</c:v>
                </c:pt>
                <c:pt idx="1167">
                  <c:v>49.122819999999997</c:v>
                </c:pt>
                <c:pt idx="1168">
                  <c:v>49.336784000000002</c:v>
                </c:pt>
                <c:pt idx="1169">
                  <c:v>49.171460000000003</c:v>
                </c:pt>
                <c:pt idx="1170">
                  <c:v>49.891129999999997</c:v>
                </c:pt>
                <c:pt idx="1171">
                  <c:v>49.210354000000002</c:v>
                </c:pt>
                <c:pt idx="1172">
                  <c:v>51.573624000000002</c:v>
                </c:pt>
                <c:pt idx="1173">
                  <c:v>51.379105000000003</c:v>
                </c:pt>
                <c:pt idx="1174">
                  <c:v>51.204059999999998</c:v>
                </c:pt>
                <c:pt idx="1175">
                  <c:v>51.252679999999998</c:v>
                </c:pt>
                <c:pt idx="1176">
                  <c:v>50.834484000000003</c:v>
                </c:pt>
                <c:pt idx="1177">
                  <c:v>50.639995999999996</c:v>
                </c:pt>
                <c:pt idx="1178">
                  <c:v>50.601080000000003</c:v>
                </c:pt>
                <c:pt idx="1179">
                  <c:v>50.095363999999996</c:v>
                </c:pt>
                <c:pt idx="1180">
                  <c:v>50.503825999999997</c:v>
                </c:pt>
                <c:pt idx="1181">
                  <c:v>49.579914000000002</c:v>
                </c:pt>
                <c:pt idx="1182">
                  <c:v>50.52328</c:v>
                </c:pt>
                <c:pt idx="1183">
                  <c:v>49.618819999999999</c:v>
                </c:pt>
                <c:pt idx="1184">
                  <c:v>47.274999999999999</c:v>
                </c:pt>
                <c:pt idx="1185">
                  <c:v>46.253844999999998</c:v>
                </c:pt>
                <c:pt idx="1186">
                  <c:v>45.952354</c:v>
                </c:pt>
                <c:pt idx="1187">
                  <c:v>45.534170000000003</c:v>
                </c:pt>
                <c:pt idx="1188">
                  <c:v>46.526156999999998</c:v>
                </c:pt>
                <c:pt idx="1189">
                  <c:v>46.059337999999997</c:v>
                </c:pt>
                <c:pt idx="1190">
                  <c:v>46.146866000000003</c:v>
                </c:pt>
                <c:pt idx="1191">
                  <c:v>46.205215000000003</c:v>
                </c:pt>
                <c:pt idx="1192">
                  <c:v>45.184055000000001</c:v>
                </c:pt>
                <c:pt idx="1193">
                  <c:v>45.096522999999998</c:v>
                </c:pt>
                <c:pt idx="1194">
                  <c:v>44.513004000000002</c:v>
                </c:pt>
                <c:pt idx="1195">
                  <c:v>44.659202999999998</c:v>
                </c:pt>
                <c:pt idx="1196">
                  <c:v>44.581234000000002</c:v>
                </c:pt>
                <c:pt idx="1197">
                  <c:v>44.649451999999997</c:v>
                </c:pt>
                <c:pt idx="1198">
                  <c:v>45.994489999999999</c:v>
                </c:pt>
                <c:pt idx="1199">
                  <c:v>46.472087999999999</c:v>
                </c:pt>
                <c:pt idx="1200">
                  <c:v>46.189425999999997</c:v>
                </c:pt>
                <c:pt idx="1201">
                  <c:v>46.481830000000002</c:v>
                </c:pt>
                <c:pt idx="1202">
                  <c:v>47.41751</c:v>
                </c:pt>
                <c:pt idx="1203">
                  <c:v>47.427253999999998</c:v>
                </c:pt>
                <c:pt idx="1204">
                  <c:v>47.329791999999998</c:v>
                </c:pt>
                <c:pt idx="1205">
                  <c:v>47.193333000000003</c:v>
                </c:pt>
                <c:pt idx="1206">
                  <c:v>47.97307</c:v>
                </c:pt>
                <c:pt idx="1207">
                  <c:v>48.002307999999999</c:v>
                </c:pt>
                <c:pt idx="1208">
                  <c:v>49.210889999999999</c:v>
                </c:pt>
                <c:pt idx="1209">
                  <c:v>47.758643999999997</c:v>
                </c:pt>
                <c:pt idx="1210">
                  <c:v>48.665089999999999</c:v>
                </c:pt>
                <c:pt idx="1211">
                  <c:v>48.216732</c:v>
                </c:pt>
                <c:pt idx="1212">
                  <c:v>48.353180000000002</c:v>
                </c:pt>
                <c:pt idx="1213">
                  <c:v>49.591006999999998</c:v>
                </c:pt>
                <c:pt idx="1214">
                  <c:v>49.727469999999997</c:v>
                </c:pt>
                <c:pt idx="1215">
                  <c:v>50.000369999999997</c:v>
                </c:pt>
                <c:pt idx="1216">
                  <c:v>49.191406000000001</c:v>
                </c:pt>
                <c:pt idx="1217">
                  <c:v>48.82103</c:v>
                </c:pt>
                <c:pt idx="1218">
                  <c:v>48.937984</c:v>
                </c:pt>
                <c:pt idx="1219">
                  <c:v>49.766452999999998</c:v>
                </c:pt>
                <c:pt idx="1220">
                  <c:v>50.185555000000001</c:v>
                </c:pt>
                <c:pt idx="1221">
                  <c:v>50.136830000000003</c:v>
                </c:pt>
                <c:pt idx="1222">
                  <c:v>50.604664</c:v>
                </c:pt>
                <c:pt idx="1223">
                  <c:v>51.452624999999998</c:v>
                </c:pt>
                <c:pt idx="1224">
                  <c:v>51.257686999999997</c:v>
                </c:pt>
                <c:pt idx="1225">
                  <c:v>51.511105000000001</c:v>
                </c:pt>
                <c:pt idx="1226">
                  <c:v>51.072510000000001</c:v>
                </c:pt>
                <c:pt idx="1227">
                  <c:v>51.130980000000001</c:v>
                </c:pt>
                <c:pt idx="1228">
                  <c:v>50.711872</c:v>
                </c:pt>
                <c:pt idx="1229">
                  <c:v>51.647556000000002</c:v>
                </c:pt>
                <c:pt idx="1230">
                  <c:v>51.014029999999998</c:v>
                </c:pt>
                <c:pt idx="1231">
                  <c:v>51.335662999999997</c:v>
                </c:pt>
                <c:pt idx="1232">
                  <c:v>51.316177000000003</c:v>
                </c:pt>
                <c:pt idx="1233">
                  <c:v>50.809345</c:v>
                </c:pt>
                <c:pt idx="1234">
                  <c:v>50.760612000000002</c:v>
                </c:pt>
                <c:pt idx="1235">
                  <c:v>52.417540000000002</c:v>
                </c:pt>
                <c:pt idx="1236">
                  <c:v>54.990665</c:v>
                </c:pt>
                <c:pt idx="1237">
                  <c:v>56.988728000000002</c:v>
                </c:pt>
                <c:pt idx="1238">
                  <c:v>56.511139999999997</c:v>
                </c:pt>
                <c:pt idx="1239">
                  <c:v>56.686579999999999</c:v>
                </c:pt>
                <c:pt idx="1240">
                  <c:v>56.862022000000003</c:v>
                </c:pt>
                <c:pt idx="1241">
                  <c:v>56.589123000000001</c:v>
                </c:pt>
                <c:pt idx="1242">
                  <c:v>56.628098000000001</c:v>
                </c:pt>
                <c:pt idx="1243">
                  <c:v>56.813285999999998</c:v>
                </c:pt>
                <c:pt idx="1244">
                  <c:v>53.401960000000003</c:v>
                </c:pt>
                <c:pt idx="1245">
                  <c:v>51.706035999999997</c:v>
                </c:pt>
                <c:pt idx="1246">
                  <c:v>51.725532999999999</c:v>
                </c:pt>
                <c:pt idx="1247">
                  <c:v>51.345410000000001</c:v>
                </c:pt>
                <c:pt idx="1248">
                  <c:v>51.257686999999997</c:v>
                </c:pt>
                <c:pt idx="1249">
                  <c:v>52.943860000000001</c:v>
                </c:pt>
                <c:pt idx="1250">
                  <c:v>52.515014999999998</c:v>
                </c:pt>
                <c:pt idx="1251">
                  <c:v>50.780106000000004</c:v>
                </c:pt>
                <c:pt idx="1252">
                  <c:v>48.592649999999999</c:v>
                </c:pt>
                <c:pt idx="1253">
                  <c:v>49.979343</c:v>
                </c:pt>
                <c:pt idx="1254">
                  <c:v>50.194180000000003</c:v>
                </c:pt>
                <c:pt idx="1255">
                  <c:v>47.459865999999998</c:v>
                </c:pt>
                <c:pt idx="1256">
                  <c:v>47.225499999999997</c:v>
                </c:pt>
                <c:pt idx="1257">
                  <c:v>48.914917000000003</c:v>
                </c:pt>
                <c:pt idx="1258">
                  <c:v>49.676617</c:v>
                </c:pt>
                <c:pt idx="1259">
                  <c:v>49.871920000000003</c:v>
                </c:pt>
                <c:pt idx="1260">
                  <c:v>50.457847999999998</c:v>
                </c:pt>
                <c:pt idx="1261">
                  <c:v>50.369956999999999</c:v>
                </c:pt>
                <c:pt idx="1262">
                  <c:v>50.506675999999999</c:v>
                </c:pt>
                <c:pt idx="1263">
                  <c:v>51.541804999999997</c:v>
                </c:pt>
                <c:pt idx="1264">
                  <c:v>51.737110000000001</c:v>
                </c:pt>
                <c:pt idx="1265">
                  <c:v>52.137500000000003</c:v>
                </c:pt>
                <c:pt idx="1266">
                  <c:v>53.709732000000002</c:v>
                </c:pt>
                <c:pt idx="1267">
                  <c:v>52.987090000000002</c:v>
                </c:pt>
                <c:pt idx="1268">
                  <c:v>52.977319999999999</c:v>
                </c:pt>
                <c:pt idx="1269">
                  <c:v>52.225389999999997</c:v>
                </c:pt>
                <c:pt idx="1270">
                  <c:v>51.93242</c:v>
                </c:pt>
                <c:pt idx="1271">
                  <c:v>51.942189999999997</c:v>
                </c:pt>
                <c:pt idx="1272">
                  <c:v>52.313270000000003</c:v>
                </c:pt>
                <c:pt idx="1273">
                  <c:v>52.840614000000002</c:v>
                </c:pt>
                <c:pt idx="1274">
                  <c:v>53.504654000000002</c:v>
                </c:pt>
                <c:pt idx="1275">
                  <c:v>54.754623000000002</c:v>
                </c:pt>
                <c:pt idx="1276">
                  <c:v>55.174537999999998</c:v>
                </c:pt>
                <c:pt idx="1277">
                  <c:v>54.910865999999999</c:v>
                </c:pt>
                <c:pt idx="1278">
                  <c:v>53.983153999999999</c:v>
                </c:pt>
                <c:pt idx="1279">
                  <c:v>53.875731999999999</c:v>
                </c:pt>
                <c:pt idx="1280">
                  <c:v>54.100346000000002</c:v>
                </c:pt>
                <c:pt idx="1281">
                  <c:v>53.338633999999999</c:v>
                </c:pt>
                <c:pt idx="1282">
                  <c:v>54.022219999999997</c:v>
                </c:pt>
                <c:pt idx="1283">
                  <c:v>52.821069999999999</c:v>
                </c:pt>
                <c:pt idx="1284">
                  <c:v>51.082836</c:v>
                </c:pt>
                <c:pt idx="1285">
                  <c:v>49.813327999999998</c:v>
                </c:pt>
                <c:pt idx="1286">
                  <c:v>50.643389999999997</c:v>
                </c:pt>
                <c:pt idx="1287">
                  <c:v>49.705914</c:v>
                </c:pt>
                <c:pt idx="1288">
                  <c:v>49.657080000000001</c:v>
                </c:pt>
                <c:pt idx="1289">
                  <c:v>50.741034999999997</c:v>
                </c:pt>
                <c:pt idx="1290">
                  <c:v>48.612186000000001</c:v>
                </c:pt>
                <c:pt idx="1291">
                  <c:v>50.262543000000001</c:v>
                </c:pt>
                <c:pt idx="1292">
                  <c:v>50.819167999999998</c:v>
                </c:pt>
                <c:pt idx="1293">
                  <c:v>50.916812999999998</c:v>
                </c:pt>
                <c:pt idx="1294">
                  <c:v>49.110219999999998</c:v>
                </c:pt>
                <c:pt idx="1295">
                  <c:v>48.651249999999997</c:v>
                </c:pt>
                <c:pt idx="1296">
                  <c:v>46.346609999999998</c:v>
                </c:pt>
                <c:pt idx="1297">
                  <c:v>44.334946000000002</c:v>
                </c:pt>
                <c:pt idx="1298">
                  <c:v>45.477493000000003</c:v>
                </c:pt>
                <c:pt idx="1299">
                  <c:v>44.793914999999998</c:v>
                </c:pt>
                <c:pt idx="1300">
                  <c:v>45.311484999999998</c:v>
                </c:pt>
                <c:pt idx="1301">
                  <c:v>44.676727</c:v>
                </c:pt>
                <c:pt idx="1302">
                  <c:v>46.639569999999999</c:v>
                </c:pt>
                <c:pt idx="1303">
                  <c:v>45.78022</c:v>
                </c:pt>
                <c:pt idx="1304">
                  <c:v>45.682560000000002</c:v>
                </c:pt>
                <c:pt idx="1305">
                  <c:v>45.584910000000001</c:v>
                </c:pt>
                <c:pt idx="1306">
                  <c:v>44.618133999999998</c:v>
                </c:pt>
                <c:pt idx="1307">
                  <c:v>44.188459999999999</c:v>
                </c:pt>
                <c:pt idx="1308">
                  <c:v>41.376021999999999</c:v>
                </c:pt>
                <c:pt idx="1309">
                  <c:v>42.381860000000003</c:v>
                </c:pt>
                <c:pt idx="1310">
                  <c:v>41.922885999999998</c:v>
                </c:pt>
                <c:pt idx="1311">
                  <c:v>42.342796</c:v>
                </c:pt>
                <c:pt idx="1312">
                  <c:v>41.249073000000003</c:v>
                </c:pt>
                <c:pt idx="1313">
                  <c:v>41.122123999999999</c:v>
                </c:pt>
                <c:pt idx="1314">
                  <c:v>41.854526999999997</c:v>
                </c:pt>
                <c:pt idx="1315">
                  <c:v>41.5413</c:v>
                </c:pt>
                <c:pt idx="1316">
                  <c:v>42.089440000000003</c:v>
                </c:pt>
                <c:pt idx="1317">
                  <c:v>40.621203999999999</c:v>
                </c:pt>
                <c:pt idx="1318">
                  <c:v>41.149773000000003</c:v>
                </c:pt>
                <c:pt idx="1319">
                  <c:v>41.697920000000003</c:v>
                </c:pt>
                <c:pt idx="1320">
                  <c:v>41.560879999999997</c:v>
                </c:pt>
                <c:pt idx="1321">
                  <c:v>42.275424999999998</c:v>
                </c:pt>
                <c:pt idx="1322">
                  <c:v>43.127000000000002</c:v>
                </c:pt>
                <c:pt idx="1323">
                  <c:v>42.706099999999999</c:v>
                </c:pt>
                <c:pt idx="1324">
                  <c:v>42.461399999999998</c:v>
                </c:pt>
                <c:pt idx="1325">
                  <c:v>43.34234</c:v>
                </c:pt>
                <c:pt idx="1326">
                  <c:v>41.971980000000002</c:v>
                </c:pt>
                <c:pt idx="1327">
                  <c:v>41.893673</c:v>
                </c:pt>
                <c:pt idx="1328">
                  <c:v>42.637591999999998</c:v>
                </c:pt>
                <c:pt idx="1329">
                  <c:v>43.958995999999999</c:v>
                </c:pt>
                <c:pt idx="1330">
                  <c:v>42.666946000000003</c:v>
                </c:pt>
                <c:pt idx="1331">
                  <c:v>42.383090000000003</c:v>
                </c:pt>
                <c:pt idx="1332">
                  <c:v>42.618009999999998</c:v>
                </c:pt>
                <c:pt idx="1333">
                  <c:v>43.068269999999998</c:v>
                </c:pt>
                <c:pt idx="1334">
                  <c:v>43.910057000000002</c:v>
                </c:pt>
                <c:pt idx="1335">
                  <c:v>43.244464999999998</c:v>
                </c:pt>
                <c:pt idx="1336">
                  <c:v>43.254241999999998</c:v>
                </c:pt>
                <c:pt idx="1337">
                  <c:v>42.911655000000003</c:v>
                </c:pt>
                <c:pt idx="1338">
                  <c:v>42.197113000000002</c:v>
                </c:pt>
                <c:pt idx="1339">
                  <c:v>43.224879999999999</c:v>
                </c:pt>
                <c:pt idx="1340">
                  <c:v>42.490765000000003</c:v>
                </c:pt>
                <c:pt idx="1341">
                  <c:v>42.011130000000001</c:v>
                </c:pt>
                <c:pt idx="1342">
                  <c:v>42.167755</c:v>
                </c:pt>
                <c:pt idx="1343">
                  <c:v>41.864314999999998</c:v>
                </c:pt>
                <c:pt idx="1344">
                  <c:v>41.5413</c:v>
                </c:pt>
                <c:pt idx="1345">
                  <c:v>40.631</c:v>
                </c:pt>
                <c:pt idx="1346">
                  <c:v>41.139980000000001</c:v>
                </c:pt>
                <c:pt idx="1347">
                  <c:v>40.611423000000002</c:v>
                </c:pt>
                <c:pt idx="1348">
                  <c:v>40.474384000000001</c:v>
                </c:pt>
                <c:pt idx="1349">
                  <c:v>38.839750000000002</c:v>
                </c:pt>
                <c:pt idx="1350">
                  <c:v>38.262239999999998</c:v>
                </c:pt>
                <c:pt idx="1351">
                  <c:v>37.449818</c:v>
                </c:pt>
                <c:pt idx="1352">
                  <c:v>37.391086999999999</c:v>
                </c:pt>
                <c:pt idx="1353">
                  <c:v>37.156177999999997</c:v>
                </c:pt>
                <c:pt idx="1354">
                  <c:v>37.547702999999998</c:v>
                </c:pt>
                <c:pt idx="1355">
                  <c:v>36.950620000000001</c:v>
                </c:pt>
                <c:pt idx="1356">
                  <c:v>37.185535000000002</c:v>
                </c:pt>
                <c:pt idx="1357">
                  <c:v>37.283417</c:v>
                </c:pt>
                <c:pt idx="1358">
                  <c:v>38.477584999999998</c:v>
                </c:pt>
                <c:pt idx="1359">
                  <c:v>38.291603000000002</c:v>
                </c:pt>
                <c:pt idx="1360">
                  <c:v>35.198523999999999</c:v>
                </c:pt>
                <c:pt idx="1361">
                  <c:v>35.560690000000001</c:v>
                </c:pt>
                <c:pt idx="1362">
                  <c:v>36.333953999999999</c:v>
                </c:pt>
                <c:pt idx="1363">
                  <c:v>36.490561999999997</c:v>
                </c:pt>
                <c:pt idx="1364">
                  <c:v>36.588450000000002</c:v>
                </c:pt>
                <c:pt idx="1365">
                  <c:v>37.557487000000002</c:v>
                </c:pt>
                <c:pt idx="1366">
                  <c:v>37.322575000000001</c:v>
                </c:pt>
                <c:pt idx="1367">
                  <c:v>37.077869999999997</c:v>
                </c:pt>
                <c:pt idx="1368">
                  <c:v>37.234473999999999</c:v>
                </c:pt>
                <c:pt idx="1369">
                  <c:v>36.656970000000001</c:v>
                </c:pt>
                <c:pt idx="1370">
                  <c:v>37.381298000000001</c:v>
                </c:pt>
                <c:pt idx="1371">
                  <c:v>39.172542999999997</c:v>
                </c:pt>
                <c:pt idx="1372">
                  <c:v>38.849536999999998</c:v>
                </c:pt>
                <c:pt idx="1373">
                  <c:v>38.144782999999997</c:v>
                </c:pt>
                <c:pt idx="1374">
                  <c:v>38.702713000000003</c:v>
                </c:pt>
                <c:pt idx="1375">
                  <c:v>37.332349999999998</c:v>
                </c:pt>
                <c:pt idx="1376">
                  <c:v>37.126804</c:v>
                </c:pt>
                <c:pt idx="1377">
                  <c:v>37.606434</c:v>
                </c:pt>
                <c:pt idx="1378">
                  <c:v>37.694749999999999</c:v>
                </c:pt>
                <c:pt idx="1379">
                  <c:v>37.547545999999997</c:v>
                </c:pt>
                <c:pt idx="1380">
                  <c:v>37.665309999999998</c:v>
                </c:pt>
                <c:pt idx="1381">
                  <c:v>37.213875000000002</c:v>
                </c:pt>
                <c:pt idx="1382">
                  <c:v>36.566166000000003</c:v>
                </c:pt>
                <c:pt idx="1383">
                  <c:v>36.10492</c:v>
                </c:pt>
                <c:pt idx="1384">
                  <c:v>36.399334000000003</c:v>
                </c:pt>
                <c:pt idx="1385">
                  <c:v>36.742809999999999</c:v>
                </c:pt>
                <c:pt idx="1386">
                  <c:v>37.449406000000003</c:v>
                </c:pt>
                <c:pt idx="1387">
                  <c:v>37.086295999999997</c:v>
                </c:pt>
                <c:pt idx="1388">
                  <c:v>39.245339999999999</c:v>
                </c:pt>
                <c:pt idx="1389">
                  <c:v>39.579000000000001</c:v>
                </c:pt>
                <c:pt idx="1390">
                  <c:v>38.460223999999997</c:v>
                </c:pt>
                <c:pt idx="1391">
                  <c:v>38.106937000000002</c:v>
                </c:pt>
                <c:pt idx="1392">
                  <c:v>38.097119999999997</c:v>
                </c:pt>
                <c:pt idx="1393">
                  <c:v>38.784089999999999</c:v>
                </c:pt>
                <c:pt idx="1394">
                  <c:v>39.932290000000002</c:v>
                </c:pt>
                <c:pt idx="1395">
                  <c:v>39.745834000000002</c:v>
                </c:pt>
                <c:pt idx="1396">
                  <c:v>39.647697000000001</c:v>
                </c:pt>
                <c:pt idx="1397">
                  <c:v>39.726204000000003</c:v>
                </c:pt>
                <c:pt idx="1398">
                  <c:v>40.010807</c:v>
                </c:pt>
                <c:pt idx="1399">
                  <c:v>38.931289999999997</c:v>
                </c:pt>
                <c:pt idx="1400">
                  <c:v>37.763449999999999</c:v>
                </c:pt>
                <c:pt idx="1401">
                  <c:v>37.714379999999998</c:v>
                </c:pt>
                <c:pt idx="1402">
                  <c:v>38.69576</c:v>
                </c:pt>
                <c:pt idx="1403">
                  <c:v>39.431789999999999</c:v>
                </c:pt>
                <c:pt idx="1404">
                  <c:v>38.528919999999999</c:v>
                </c:pt>
                <c:pt idx="1405">
                  <c:v>38.744822999999997</c:v>
                </c:pt>
                <c:pt idx="1406">
                  <c:v>38.999991999999999</c:v>
                </c:pt>
                <c:pt idx="1407">
                  <c:v>39.569183000000002</c:v>
                </c:pt>
                <c:pt idx="1408">
                  <c:v>40.030434</c:v>
                </c:pt>
                <c:pt idx="1409">
                  <c:v>40.825347999999998</c:v>
                </c:pt>
                <c:pt idx="1410">
                  <c:v>41.109946999999998</c:v>
                </c:pt>
                <c:pt idx="1411">
                  <c:v>42.788105000000002</c:v>
                </c:pt>
                <c:pt idx="1412">
                  <c:v>41.198279999999997</c:v>
                </c:pt>
                <c:pt idx="1413">
                  <c:v>40.050060000000002</c:v>
                </c:pt>
                <c:pt idx="1414">
                  <c:v>40.275779999999997</c:v>
                </c:pt>
                <c:pt idx="1415">
                  <c:v>40.727209999999999</c:v>
                </c:pt>
                <c:pt idx="1416">
                  <c:v>40.560383000000002</c:v>
                </c:pt>
                <c:pt idx="1417">
                  <c:v>38.872402000000001</c:v>
                </c:pt>
                <c:pt idx="1418">
                  <c:v>37.783073000000002</c:v>
                </c:pt>
                <c:pt idx="1419">
                  <c:v>38.077488000000002</c:v>
                </c:pt>
                <c:pt idx="1420">
                  <c:v>37.213875000000002</c:v>
                </c:pt>
                <c:pt idx="1421">
                  <c:v>35.761436000000003</c:v>
                </c:pt>
                <c:pt idx="1422">
                  <c:v>35.231495000000002</c:v>
                </c:pt>
                <c:pt idx="1423">
                  <c:v>32.925249999999998</c:v>
                </c:pt>
                <c:pt idx="1424">
                  <c:v>31.021380000000001</c:v>
                </c:pt>
                <c:pt idx="1425">
                  <c:v>30.687708000000001</c:v>
                </c:pt>
                <c:pt idx="1426">
                  <c:v>30.334415</c:v>
                </c:pt>
                <c:pt idx="1427">
                  <c:v>31.188215</c:v>
                </c:pt>
                <c:pt idx="1428">
                  <c:v>32.660274999999999</c:v>
                </c:pt>
                <c:pt idx="1429">
                  <c:v>32.944884999999999</c:v>
                </c:pt>
                <c:pt idx="1430">
                  <c:v>31.463000999999998</c:v>
                </c:pt>
                <c:pt idx="1431">
                  <c:v>31.443373000000001</c:v>
                </c:pt>
                <c:pt idx="1432">
                  <c:v>31.561133999999999</c:v>
                </c:pt>
                <c:pt idx="1433">
                  <c:v>31.777042000000002</c:v>
                </c:pt>
                <c:pt idx="1434">
                  <c:v>29.775027999999999</c:v>
                </c:pt>
                <c:pt idx="1435">
                  <c:v>31.767220999999999</c:v>
                </c:pt>
                <c:pt idx="1436">
                  <c:v>31.855547000000001</c:v>
                </c:pt>
                <c:pt idx="1437">
                  <c:v>31.992940000000001</c:v>
                </c:pt>
                <c:pt idx="1438">
                  <c:v>34.014583999999999</c:v>
                </c:pt>
                <c:pt idx="1439">
                  <c:v>34.426765000000003</c:v>
                </c:pt>
                <c:pt idx="1440">
                  <c:v>35.692740000000001</c:v>
                </c:pt>
                <c:pt idx="1441">
                  <c:v>35.653492</c:v>
                </c:pt>
                <c:pt idx="1442">
                  <c:v>35.151603999999999</c:v>
                </c:pt>
                <c:pt idx="1443">
                  <c:v>34.610354999999998</c:v>
                </c:pt>
                <c:pt idx="1444">
                  <c:v>36.381709999999998</c:v>
                </c:pt>
                <c:pt idx="1445">
                  <c:v>36.273463999999997</c:v>
                </c:pt>
                <c:pt idx="1446">
                  <c:v>35.643645999999997</c:v>
                </c:pt>
                <c:pt idx="1447">
                  <c:v>36.273463999999997</c:v>
                </c:pt>
                <c:pt idx="1448">
                  <c:v>37.178820000000002</c:v>
                </c:pt>
                <c:pt idx="1449">
                  <c:v>37.503566999999997</c:v>
                </c:pt>
                <c:pt idx="1450">
                  <c:v>37.218184999999998</c:v>
                </c:pt>
                <c:pt idx="1451">
                  <c:v>36.165215000000003</c:v>
                </c:pt>
                <c:pt idx="1452">
                  <c:v>35.250008000000001</c:v>
                </c:pt>
                <c:pt idx="1453">
                  <c:v>35.023674</c:v>
                </c:pt>
                <c:pt idx="1454">
                  <c:v>35.732210000000002</c:v>
                </c:pt>
                <c:pt idx="1455">
                  <c:v>37.346114999999998</c:v>
                </c:pt>
                <c:pt idx="1456">
                  <c:v>37.493724999999998</c:v>
                </c:pt>
                <c:pt idx="1457">
                  <c:v>37.680706000000001</c:v>
                </c:pt>
                <c:pt idx="1458">
                  <c:v>38.320360000000001</c:v>
                </c:pt>
                <c:pt idx="1459">
                  <c:v>37.808639999999997</c:v>
                </c:pt>
                <c:pt idx="1460">
                  <c:v>39.520947</c:v>
                </c:pt>
                <c:pt idx="1461">
                  <c:v>39.019066000000002</c:v>
                </c:pt>
                <c:pt idx="1462">
                  <c:v>36.106163000000002</c:v>
                </c:pt>
                <c:pt idx="1463">
                  <c:v>36.352184000000001</c:v>
                </c:pt>
                <c:pt idx="1464">
                  <c:v>33.035812</c:v>
                </c:pt>
                <c:pt idx="1465">
                  <c:v>33.301516999999997</c:v>
                </c:pt>
                <c:pt idx="1466">
                  <c:v>33.557377000000002</c:v>
                </c:pt>
                <c:pt idx="1467">
                  <c:v>33.803401999999998</c:v>
                </c:pt>
                <c:pt idx="1468">
                  <c:v>31.943476</c:v>
                </c:pt>
                <c:pt idx="1469">
                  <c:v>31.894269999999999</c:v>
                </c:pt>
                <c:pt idx="1470">
                  <c:v>31.530159000000001</c:v>
                </c:pt>
                <c:pt idx="1471">
                  <c:v>33.00629</c:v>
                </c:pt>
                <c:pt idx="1472">
                  <c:v>31.904109999999999</c:v>
                </c:pt>
                <c:pt idx="1473">
                  <c:v>31.382545</c:v>
                </c:pt>
                <c:pt idx="1474">
                  <c:v>30.290209999999998</c:v>
                </c:pt>
                <c:pt idx="1475">
                  <c:v>29.247076</c:v>
                </c:pt>
                <c:pt idx="1476">
                  <c:v>31.776178000000002</c:v>
                </c:pt>
                <c:pt idx="1477">
                  <c:v>31.530159000000001</c:v>
                </c:pt>
                <c:pt idx="1478">
                  <c:v>31.323498000000001</c:v>
                </c:pt>
                <c:pt idx="1479">
                  <c:v>31.599045</c:v>
                </c:pt>
                <c:pt idx="1480">
                  <c:v>31.963159999999998</c:v>
                </c:pt>
                <c:pt idx="1481">
                  <c:v>29.581666999999999</c:v>
                </c:pt>
                <c:pt idx="1482">
                  <c:v>31.530159000000001</c:v>
                </c:pt>
                <c:pt idx="1483">
                  <c:v>32.42568</c:v>
                </c:pt>
                <c:pt idx="1484">
                  <c:v>31.904109999999999</c:v>
                </c:pt>
                <c:pt idx="1485">
                  <c:v>32.888199999999998</c:v>
                </c:pt>
                <c:pt idx="1486">
                  <c:v>31.530159000000001</c:v>
                </c:pt>
                <c:pt idx="1487">
                  <c:v>31.293980000000001</c:v>
                </c:pt>
                <c:pt idx="1488">
                  <c:v>31.205407999999998</c:v>
                </c:pt>
                <c:pt idx="1489">
                  <c:v>31.589205</c:v>
                </c:pt>
                <c:pt idx="1490">
                  <c:v>32.317430000000002</c:v>
                </c:pt>
                <c:pt idx="1491">
                  <c:v>33.045653999999999</c:v>
                </c:pt>
                <c:pt idx="1492">
                  <c:v>33.429454999999997</c:v>
                </c:pt>
                <c:pt idx="1493">
                  <c:v>32.219025000000002</c:v>
                </c:pt>
                <c:pt idx="1494">
                  <c:v>31.146363999999998</c:v>
                </c:pt>
                <c:pt idx="1495">
                  <c:v>33.124389999999998</c:v>
                </c:pt>
                <c:pt idx="1496">
                  <c:v>34.423378</c:v>
                </c:pt>
                <c:pt idx="1497">
                  <c:v>35.988075000000002</c:v>
                </c:pt>
                <c:pt idx="1498">
                  <c:v>35.712536</c:v>
                </c:pt>
                <c:pt idx="1499">
                  <c:v>35.761733999999997</c:v>
                </c:pt>
                <c:pt idx="1500">
                  <c:v>35.200806</c:v>
                </c:pt>
                <c:pt idx="1501">
                  <c:v>35.535397000000003</c:v>
                </c:pt>
                <c:pt idx="1502">
                  <c:v>36.194732999999999</c:v>
                </c:pt>
                <c:pt idx="1503">
                  <c:v>36.441425000000002</c:v>
                </c:pt>
                <c:pt idx="1504">
                  <c:v>36.273670000000003</c:v>
                </c:pt>
                <c:pt idx="1505">
                  <c:v>35.691479999999999</c:v>
                </c:pt>
                <c:pt idx="1506">
                  <c:v>35.523724000000001</c:v>
                </c:pt>
                <c:pt idx="1507">
                  <c:v>36.105927000000001</c:v>
                </c:pt>
                <c:pt idx="1508">
                  <c:v>35.27704</c:v>
                </c:pt>
                <c:pt idx="1509">
                  <c:v>35.73095</c:v>
                </c:pt>
                <c:pt idx="1510">
                  <c:v>35.632280000000002</c:v>
                </c:pt>
                <c:pt idx="1511">
                  <c:v>34.586300000000001</c:v>
                </c:pt>
                <c:pt idx="1512">
                  <c:v>35.00074</c:v>
                </c:pt>
                <c:pt idx="1513">
                  <c:v>34.596170000000001</c:v>
                </c:pt>
                <c:pt idx="1514">
                  <c:v>34.517223000000001</c:v>
                </c:pt>
                <c:pt idx="1515">
                  <c:v>35.020477</c:v>
                </c:pt>
                <c:pt idx="1516">
                  <c:v>35.425055999999998</c:v>
                </c:pt>
                <c:pt idx="1517">
                  <c:v>35.770420000000001</c:v>
                </c:pt>
                <c:pt idx="1518">
                  <c:v>35.217827</c:v>
                </c:pt>
                <c:pt idx="1519">
                  <c:v>35.158630000000002</c:v>
                </c:pt>
                <c:pt idx="1520">
                  <c:v>34.181716999999999</c:v>
                </c:pt>
                <c:pt idx="1521">
                  <c:v>33.273895000000003</c:v>
                </c:pt>
                <c:pt idx="1522">
                  <c:v>32.790374999999997</c:v>
                </c:pt>
                <c:pt idx="1523">
                  <c:v>32.326590000000003</c:v>
                </c:pt>
                <c:pt idx="1524">
                  <c:v>31.79374</c:v>
                </c:pt>
                <c:pt idx="1525">
                  <c:v>31.487839000000001</c:v>
                </c:pt>
                <c:pt idx="1526">
                  <c:v>31.625988</c:v>
                </c:pt>
                <c:pt idx="1527">
                  <c:v>30.510935</c:v>
                </c:pt>
                <c:pt idx="1528">
                  <c:v>31.418763999999999</c:v>
                </c:pt>
                <c:pt idx="1529">
                  <c:v>31.704927000000001</c:v>
                </c:pt>
                <c:pt idx="1530">
                  <c:v>31.014189999999999</c:v>
                </c:pt>
                <c:pt idx="1531">
                  <c:v>30.964848</c:v>
                </c:pt>
                <c:pt idx="1532">
                  <c:v>31.172077000000002</c:v>
                </c:pt>
                <c:pt idx="1533">
                  <c:v>30.550405999999999</c:v>
                </c:pt>
                <c:pt idx="1534">
                  <c:v>31.033926000000001</c:v>
                </c:pt>
                <c:pt idx="1535">
                  <c:v>30.165565000000001</c:v>
                </c:pt>
                <c:pt idx="1536">
                  <c:v>29.810327999999998</c:v>
                </c:pt>
                <c:pt idx="1537">
                  <c:v>29.810327999999998</c:v>
                </c:pt>
                <c:pt idx="1538">
                  <c:v>30.530671999999999</c:v>
                </c:pt>
                <c:pt idx="1539">
                  <c:v>30.491199999999999</c:v>
                </c:pt>
                <c:pt idx="1540">
                  <c:v>31.339822999999999</c:v>
                </c:pt>
                <c:pt idx="1541">
                  <c:v>31.922018000000001</c:v>
                </c:pt>
                <c:pt idx="1542">
                  <c:v>32.553550000000001</c:v>
                </c:pt>
                <c:pt idx="1543">
                  <c:v>33.264023000000002</c:v>
                </c:pt>
                <c:pt idx="1544">
                  <c:v>33.481116999999998</c:v>
                </c:pt>
                <c:pt idx="1545">
                  <c:v>33.609397999999999</c:v>
                </c:pt>
                <c:pt idx="1546">
                  <c:v>33.431778000000001</c:v>
                </c:pt>
                <c:pt idx="1547">
                  <c:v>32.869320000000002</c:v>
                </c:pt>
                <c:pt idx="1548">
                  <c:v>33.569927</c:v>
                </c:pt>
                <c:pt idx="1549">
                  <c:v>34.349471999999999</c:v>
                </c:pt>
                <c:pt idx="1550">
                  <c:v>34.231064000000003</c:v>
                </c:pt>
                <c:pt idx="1551">
                  <c:v>33.303497</c:v>
                </c:pt>
                <c:pt idx="1552">
                  <c:v>33.579790000000003</c:v>
                </c:pt>
                <c:pt idx="1553">
                  <c:v>33.925162999999998</c:v>
                </c:pt>
                <c:pt idx="1554">
                  <c:v>33.915295</c:v>
                </c:pt>
                <c:pt idx="1555">
                  <c:v>33.03707</c:v>
                </c:pt>
                <c:pt idx="1556">
                  <c:v>33.520587999999996</c:v>
                </c:pt>
                <c:pt idx="1557">
                  <c:v>33.540325000000003</c:v>
                </c:pt>
                <c:pt idx="1558">
                  <c:v>32.967995000000002</c:v>
                </c:pt>
                <c:pt idx="1559">
                  <c:v>32.622622999999997</c:v>
                </c:pt>
                <c:pt idx="1560">
                  <c:v>33.323239999999998</c:v>
                </c:pt>
                <c:pt idx="1561">
                  <c:v>33.727801999999997</c:v>
                </c:pt>
                <c:pt idx="1562">
                  <c:v>33.461376000000001</c:v>
                </c:pt>
                <c:pt idx="1563">
                  <c:v>33.500853999999997</c:v>
                </c:pt>
                <c:pt idx="1564">
                  <c:v>34.329734999999999</c:v>
                </c:pt>
                <c:pt idx="1565">
                  <c:v>34.290264000000001</c:v>
                </c:pt>
                <c:pt idx="1566">
                  <c:v>33.557952999999998</c:v>
                </c:pt>
                <c:pt idx="1567">
                  <c:v>33.399610000000003</c:v>
                </c:pt>
                <c:pt idx="1568">
                  <c:v>33.597534000000003</c:v>
                </c:pt>
                <c:pt idx="1569">
                  <c:v>33.637120000000003</c:v>
                </c:pt>
                <c:pt idx="1570">
                  <c:v>31.806325999999999</c:v>
                </c:pt>
                <c:pt idx="1571">
                  <c:v>32.004252999999999</c:v>
                </c:pt>
                <c:pt idx="1572">
                  <c:v>31.826118000000001</c:v>
                </c:pt>
                <c:pt idx="1573">
                  <c:v>31.984456999999999</c:v>
                </c:pt>
                <c:pt idx="1574">
                  <c:v>31.410477</c:v>
                </c:pt>
                <c:pt idx="1575">
                  <c:v>30.638574999999999</c:v>
                </c:pt>
                <c:pt idx="1576">
                  <c:v>30.975045999999999</c:v>
                </c:pt>
                <c:pt idx="1577">
                  <c:v>29.609375</c:v>
                </c:pt>
                <c:pt idx="1578">
                  <c:v>29.193731</c:v>
                </c:pt>
                <c:pt idx="1579">
                  <c:v>28.867159999999998</c:v>
                </c:pt>
                <c:pt idx="1580">
                  <c:v>28.431726000000001</c:v>
                </c:pt>
                <c:pt idx="1581">
                  <c:v>28.11505</c:v>
                </c:pt>
                <c:pt idx="1582">
                  <c:v>27.87754</c:v>
                </c:pt>
                <c:pt idx="1583">
                  <c:v>26.947298</c:v>
                </c:pt>
                <c:pt idx="1584">
                  <c:v>26.917611999999998</c:v>
                </c:pt>
                <c:pt idx="1585">
                  <c:v>28.817678000000001</c:v>
                </c:pt>
                <c:pt idx="1586">
                  <c:v>30.044806000000001</c:v>
                </c:pt>
                <c:pt idx="1587">
                  <c:v>30.064598</c:v>
                </c:pt>
                <c:pt idx="1588">
                  <c:v>30.598987999999999</c:v>
                </c:pt>
                <c:pt idx="1589">
                  <c:v>30.440655</c:v>
                </c:pt>
                <c:pt idx="1590">
                  <c:v>30.262519999999999</c:v>
                </c:pt>
                <c:pt idx="1591">
                  <c:v>30.777125999999999</c:v>
                </c:pt>
                <c:pt idx="1592">
                  <c:v>32.746464000000003</c:v>
                </c:pt>
                <c:pt idx="1593">
                  <c:v>32.340719999999997</c:v>
                </c:pt>
                <c:pt idx="1594">
                  <c:v>32.221966000000002</c:v>
                </c:pt>
                <c:pt idx="1595">
                  <c:v>32.182380000000002</c:v>
                </c:pt>
                <c:pt idx="1596">
                  <c:v>32.865220000000001</c:v>
                </c:pt>
                <c:pt idx="1597">
                  <c:v>31.816223000000001</c:v>
                </c:pt>
                <c:pt idx="1598">
                  <c:v>31.242242999999998</c:v>
                </c:pt>
                <c:pt idx="1599">
                  <c:v>31.489649</c:v>
                </c:pt>
                <c:pt idx="1600">
                  <c:v>30.935459999999999</c:v>
                </c:pt>
                <c:pt idx="1601">
                  <c:v>31.133385000000001</c:v>
                </c:pt>
                <c:pt idx="1602">
                  <c:v>31.816223000000001</c:v>
                </c:pt>
                <c:pt idx="1603">
                  <c:v>32.271445999999997</c:v>
                </c:pt>
                <c:pt idx="1604">
                  <c:v>32.538643</c:v>
                </c:pt>
                <c:pt idx="1605">
                  <c:v>31.855803999999999</c:v>
                </c:pt>
                <c:pt idx="1606">
                  <c:v>32.380305999999997</c:v>
                </c:pt>
                <c:pt idx="1607">
                  <c:v>32.123004999999999</c:v>
                </c:pt>
                <c:pt idx="1608">
                  <c:v>32.449573999999998</c:v>
                </c:pt>
                <c:pt idx="1609">
                  <c:v>32.024044000000004</c:v>
                </c:pt>
                <c:pt idx="1610">
                  <c:v>32.598019999999998</c:v>
                </c:pt>
                <c:pt idx="1611">
                  <c:v>32.687083999999999</c:v>
                </c:pt>
                <c:pt idx="1612">
                  <c:v>33.429299999999998</c:v>
                </c:pt>
                <c:pt idx="1613">
                  <c:v>33.261063</c:v>
                </c:pt>
                <c:pt idx="1614">
                  <c:v>33.864735000000003</c:v>
                </c:pt>
                <c:pt idx="1615">
                  <c:v>32.914695999999999</c:v>
                </c:pt>
                <c:pt idx="1616">
                  <c:v>33.389716999999997</c:v>
                </c:pt>
                <c:pt idx="1617">
                  <c:v>32.73657</c:v>
                </c:pt>
                <c:pt idx="1618">
                  <c:v>32.558436999999998</c:v>
                </c:pt>
                <c:pt idx="1619">
                  <c:v>33.379818</c:v>
                </c:pt>
                <c:pt idx="1620">
                  <c:v>34.230891999999997</c:v>
                </c:pt>
                <c:pt idx="1621">
                  <c:v>31.341206</c:v>
                </c:pt>
                <c:pt idx="1622">
                  <c:v>30.915668</c:v>
                </c:pt>
                <c:pt idx="1623">
                  <c:v>30.420856000000001</c:v>
                </c:pt>
                <c:pt idx="1624">
                  <c:v>30.391169999999999</c:v>
                </c:pt>
                <c:pt idx="1625">
                  <c:v>30.193245000000001</c:v>
                </c:pt>
                <c:pt idx="1626">
                  <c:v>29.530207000000001</c:v>
                </c:pt>
                <c:pt idx="1627">
                  <c:v>29.144255000000001</c:v>
                </c:pt>
                <c:pt idx="1628">
                  <c:v>28.233806999999999</c:v>
                </c:pt>
                <c:pt idx="1629">
                  <c:v>28.164290000000001</c:v>
                </c:pt>
                <c:pt idx="1630">
                  <c:v>28.432424999999999</c:v>
                </c:pt>
                <c:pt idx="1631">
                  <c:v>28.879318000000001</c:v>
                </c:pt>
                <c:pt idx="1632">
                  <c:v>28.581389999999999</c:v>
                </c:pt>
                <c:pt idx="1633">
                  <c:v>27.449256999999999</c:v>
                </c:pt>
                <c:pt idx="1634">
                  <c:v>27.320153999999999</c:v>
                </c:pt>
                <c:pt idx="1635">
                  <c:v>25.919886000000002</c:v>
                </c:pt>
                <c:pt idx="1636">
                  <c:v>25.234648</c:v>
                </c:pt>
                <c:pt idx="1637">
                  <c:v>25.612024000000002</c:v>
                </c:pt>
                <c:pt idx="1638">
                  <c:v>25.919886000000002</c:v>
                </c:pt>
                <c:pt idx="1639">
                  <c:v>25.65175</c:v>
                </c:pt>
                <c:pt idx="1640">
                  <c:v>26.237673000000001</c:v>
                </c:pt>
                <c:pt idx="1641">
                  <c:v>26.346920000000001</c:v>
                </c:pt>
                <c:pt idx="1642">
                  <c:v>25.244575999999999</c:v>
                </c:pt>
                <c:pt idx="1643">
                  <c:v>25.016165000000001</c:v>
                </c:pt>
                <c:pt idx="1644">
                  <c:v>24.281272999999999</c:v>
                </c:pt>
                <c:pt idx="1645">
                  <c:v>25.155200000000001</c:v>
                </c:pt>
                <c:pt idx="1646">
                  <c:v>26.138369000000001</c:v>
                </c:pt>
                <c:pt idx="1647">
                  <c:v>26.128437000000002</c:v>
                </c:pt>
                <c:pt idx="1648">
                  <c:v>26.327052999999999</c:v>
                </c:pt>
                <c:pt idx="1649">
                  <c:v>26.813675</c:v>
                </c:pt>
                <c:pt idx="1650">
                  <c:v>27.498909999999999</c:v>
                </c:pt>
                <c:pt idx="1651">
                  <c:v>27.598223000000001</c:v>
                </c:pt>
                <c:pt idx="1652">
                  <c:v>28.243738</c:v>
                </c:pt>
                <c:pt idx="1653">
                  <c:v>28.919044</c:v>
                </c:pt>
                <c:pt idx="1654">
                  <c:v>29.554625999999999</c:v>
                </c:pt>
                <c:pt idx="1655">
                  <c:v>29.733384999999998</c:v>
                </c:pt>
                <c:pt idx="1656">
                  <c:v>29.743317000000001</c:v>
                </c:pt>
                <c:pt idx="1657">
                  <c:v>27.57836</c:v>
                </c:pt>
                <c:pt idx="1658">
                  <c:v>28.442354000000002</c:v>
                </c:pt>
                <c:pt idx="1659">
                  <c:v>28.402632000000001</c:v>
                </c:pt>
                <c:pt idx="1660">
                  <c:v>28.104704000000002</c:v>
                </c:pt>
                <c:pt idx="1661">
                  <c:v>27.79684</c:v>
                </c:pt>
                <c:pt idx="1662">
                  <c:v>27.310223000000001</c:v>
                </c:pt>
                <c:pt idx="1663">
                  <c:v>26.813675</c:v>
                </c:pt>
                <c:pt idx="1664">
                  <c:v>27.250637000000001</c:v>
                </c:pt>
                <c:pt idx="1665">
                  <c:v>27.002362999999999</c:v>
                </c:pt>
                <c:pt idx="1666">
                  <c:v>26.823605000000001</c:v>
                </c:pt>
                <c:pt idx="1667">
                  <c:v>26.78388</c:v>
                </c:pt>
                <c:pt idx="1668">
                  <c:v>26.615053</c:v>
                </c:pt>
                <c:pt idx="1669">
                  <c:v>25.194925000000001</c:v>
                </c:pt>
                <c:pt idx="1670">
                  <c:v>25.095613</c:v>
                </c:pt>
                <c:pt idx="1671">
                  <c:v>25.65175</c:v>
                </c:pt>
                <c:pt idx="1672">
                  <c:v>25.65175</c:v>
                </c:pt>
                <c:pt idx="1673">
                  <c:v>26.078779999999998</c:v>
                </c:pt>
                <c:pt idx="1674">
                  <c:v>26.883192000000001</c:v>
                </c:pt>
                <c:pt idx="1675">
                  <c:v>26.992432000000001</c:v>
                </c:pt>
                <c:pt idx="1676">
                  <c:v>27.171192000000001</c:v>
                </c:pt>
                <c:pt idx="1677">
                  <c:v>27.429397999999999</c:v>
                </c:pt>
                <c:pt idx="1678">
                  <c:v>28.074911</c:v>
                </c:pt>
                <c:pt idx="1679">
                  <c:v>27.856425999999999</c:v>
                </c:pt>
                <c:pt idx="1680">
                  <c:v>27.737255000000001</c:v>
                </c:pt>
                <c:pt idx="1681">
                  <c:v>28.025251000000001</c:v>
                </c:pt>
                <c:pt idx="1682">
                  <c:v>28.422495000000001</c:v>
                </c:pt>
                <c:pt idx="1683">
                  <c:v>28.064978</c:v>
                </c:pt>
                <c:pt idx="1684">
                  <c:v>28.094771999999999</c:v>
                </c:pt>
                <c:pt idx="1685">
                  <c:v>29.207039999999999</c:v>
                </c:pt>
                <c:pt idx="1686">
                  <c:v>30.647036</c:v>
                </c:pt>
                <c:pt idx="1687">
                  <c:v>31.143585000000002</c:v>
                </c:pt>
                <c:pt idx="1688">
                  <c:v>30.706623</c:v>
                </c:pt>
                <c:pt idx="1689">
                  <c:v>30.080970000000001</c:v>
                </c:pt>
                <c:pt idx="1690">
                  <c:v>29.852551999999999</c:v>
                </c:pt>
                <c:pt idx="1691">
                  <c:v>30.349105999999999</c:v>
                </c:pt>
                <c:pt idx="1692">
                  <c:v>30.736415999999998</c:v>
                </c:pt>
                <c:pt idx="1693">
                  <c:v>31.065200000000001</c:v>
                </c:pt>
                <c:pt idx="1694">
                  <c:v>30.846008000000001</c:v>
                </c:pt>
                <c:pt idx="1695">
                  <c:v>30.776266</c:v>
                </c:pt>
                <c:pt idx="1696">
                  <c:v>30.646746</c:v>
                </c:pt>
                <c:pt idx="1697">
                  <c:v>30.477371000000002</c:v>
                </c:pt>
                <c:pt idx="1698">
                  <c:v>29.411307999999998</c:v>
                </c:pt>
                <c:pt idx="1699">
                  <c:v>28.554476000000001</c:v>
                </c:pt>
                <c:pt idx="1700">
                  <c:v>28.664073999999999</c:v>
                </c:pt>
                <c:pt idx="1701">
                  <c:v>28.753737999999998</c:v>
                </c:pt>
                <c:pt idx="1702">
                  <c:v>28.494700000000002</c:v>
                </c:pt>
                <c:pt idx="1703">
                  <c:v>29.182158000000001</c:v>
                </c:pt>
                <c:pt idx="1704">
                  <c:v>28.126059999999999</c:v>
                </c:pt>
                <c:pt idx="1705">
                  <c:v>27.827165999999998</c:v>
                </c:pt>
                <c:pt idx="1706">
                  <c:v>28.574404000000001</c:v>
                </c:pt>
                <c:pt idx="1707">
                  <c:v>28.883262999999999</c:v>
                </c:pt>
                <c:pt idx="1708">
                  <c:v>28.943042999999999</c:v>
                </c:pt>
                <c:pt idx="1709">
                  <c:v>28.843409999999999</c:v>
                </c:pt>
                <c:pt idx="1710">
                  <c:v>28.634181999999999</c:v>
                </c:pt>
                <c:pt idx="1711">
                  <c:v>27.976611999999999</c:v>
                </c:pt>
                <c:pt idx="1712">
                  <c:v>27.189522</c:v>
                </c:pt>
                <c:pt idx="1713">
                  <c:v>27.279188000000001</c:v>
                </c:pt>
                <c:pt idx="1714">
                  <c:v>27.139706</c:v>
                </c:pt>
                <c:pt idx="1715">
                  <c:v>27.627901000000001</c:v>
                </c:pt>
                <c:pt idx="1716">
                  <c:v>27.388783</c:v>
                </c:pt>
                <c:pt idx="1717">
                  <c:v>26.900587000000002</c:v>
                </c:pt>
                <c:pt idx="1718">
                  <c:v>26.761105000000001</c:v>
                </c:pt>
                <c:pt idx="1719">
                  <c:v>27.617937000000001</c:v>
                </c:pt>
                <c:pt idx="1720">
                  <c:v>27.378820000000001</c:v>
                </c:pt>
                <c:pt idx="1721">
                  <c:v>27.817204</c:v>
                </c:pt>
                <c:pt idx="1722">
                  <c:v>28.175878999999998</c:v>
                </c:pt>
                <c:pt idx="1723">
                  <c:v>27.896909999999998</c:v>
                </c:pt>
                <c:pt idx="1724">
                  <c:v>28.444880999999999</c:v>
                </c:pt>
                <c:pt idx="1725">
                  <c:v>28.933078999999999</c:v>
                </c:pt>
                <c:pt idx="1726">
                  <c:v>29.192119999999999</c:v>
                </c:pt>
                <c:pt idx="1727">
                  <c:v>29.072562999999999</c:v>
                </c:pt>
                <c:pt idx="1728">
                  <c:v>29.560759999999998</c:v>
                </c:pt>
                <c:pt idx="1729">
                  <c:v>28.335287000000001</c:v>
                </c:pt>
                <c:pt idx="1730">
                  <c:v>28.195799999999998</c:v>
                </c:pt>
                <c:pt idx="1731">
                  <c:v>28.574404000000001</c:v>
                </c:pt>
                <c:pt idx="1732">
                  <c:v>28.982893000000001</c:v>
                </c:pt>
                <c:pt idx="1733">
                  <c:v>27.548195</c:v>
                </c:pt>
                <c:pt idx="1734">
                  <c:v>27.219411999999998</c:v>
                </c:pt>
                <c:pt idx="1735">
                  <c:v>27.119779999999999</c:v>
                </c:pt>
                <c:pt idx="1736">
                  <c:v>27.737494999999999</c:v>
                </c:pt>
                <c:pt idx="1737">
                  <c:v>27.847092</c:v>
                </c:pt>
                <c:pt idx="1738">
                  <c:v>27.219411999999998</c:v>
                </c:pt>
                <c:pt idx="1739">
                  <c:v>27.289149999999999</c:v>
                </c:pt>
                <c:pt idx="1740">
                  <c:v>27.428636999999998</c:v>
                </c:pt>
                <c:pt idx="1741">
                  <c:v>27.478455</c:v>
                </c:pt>
                <c:pt idx="1742">
                  <c:v>28.126059999999999</c:v>
                </c:pt>
                <c:pt idx="1743">
                  <c:v>28.295432999999999</c:v>
                </c:pt>
                <c:pt idx="1744">
                  <c:v>27.099854000000001</c:v>
                </c:pt>
                <c:pt idx="1745">
                  <c:v>27.219411999999998</c:v>
                </c:pt>
                <c:pt idx="1746">
                  <c:v>28.693957999999999</c:v>
                </c:pt>
                <c:pt idx="1747">
                  <c:v>27.538229999999999</c:v>
                </c:pt>
                <c:pt idx="1748">
                  <c:v>26.013866</c:v>
                </c:pt>
                <c:pt idx="1749">
                  <c:v>26.800957</c:v>
                </c:pt>
                <c:pt idx="1750">
                  <c:v>26.701324</c:v>
                </c:pt>
                <c:pt idx="1751">
                  <c:v>27.617937000000001</c:v>
                </c:pt>
                <c:pt idx="1752">
                  <c:v>26.741178999999999</c:v>
                </c:pt>
                <c:pt idx="1753">
                  <c:v>27.06</c:v>
                </c:pt>
                <c:pt idx="1754">
                  <c:v>28.43</c:v>
                </c:pt>
                <c:pt idx="1755">
                  <c:v>29.099997999999999</c:v>
                </c:pt>
                <c:pt idx="1756">
                  <c:v>28.3</c:v>
                </c:pt>
                <c:pt idx="1757">
                  <c:v>28.38</c:v>
                </c:pt>
                <c:pt idx="1758">
                  <c:v>28.79</c:v>
                </c:pt>
                <c:pt idx="1759">
                  <c:v>29.84</c:v>
                </c:pt>
                <c:pt idx="1760">
                  <c:v>30.47</c:v>
                </c:pt>
                <c:pt idx="1761">
                  <c:v>30.089998000000001</c:v>
                </c:pt>
                <c:pt idx="1762">
                  <c:v>29.200002999999999</c:v>
                </c:pt>
                <c:pt idx="1763">
                  <c:v>28.629996999999999</c:v>
                </c:pt>
                <c:pt idx="1764">
                  <c:v>28.33</c:v>
                </c:pt>
                <c:pt idx="1765">
                  <c:v>28.51</c:v>
                </c:pt>
                <c:pt idx="1766">
                  <c:v>27.820001999999999</c:v>
                </c:pt>
                <c:pt idx="1767">
                  <c:v>25.45</c:v>
                </c:pt>
                <c:pt idx="1768">
                  <c:v>23.12</c:v>
                </c:pt>
                <c:pt idx="1769">
                  <c:v>22.309998</c:v>
                </c:pt>
                <c:pt idx="1770">
                  <c:v>20.6</c:v>
                </c:pt>
                <c:pt idx="1771">
                  <c:v>19.05</c:v>
                </c:pt>
                <c:pt idx="1772">
                  <c:v>18.86</c:v>
                </c:pt>
                <c:pt idx="1773">
                  <c:v>17.850000000000001</c:v>
                </c:pt>
                <c:pt idx="1774">
                  <c:v>18.53</c:v>
                </c:pt>
                <c:pt idx="1775">
                  <c:v>16.04</c:v>
                </c:pt>
                <c:pt idx="1776">
                  <c:v>15.97</c:v>
                </c:pt>
                <c:pt idx="1777">
                  <c:v>14.75</c:v>
                </c:pt>
                <c:pt idx="1778">
                  <c:v>17</c:v>
                </c:pt>
                <c:pt idx="1779">
                  <c:v>16.260000000000002</c:v>
                </c:pt>
                <c:pt idx="1780">
                  <c:v>13.45</c:v>
                </c:pt>
                <c:pt idx="1781">
                  <c:v>14.31</c:v>
                </c:pt>
                <c:pt idx="1782">
                  <c:v>15.92</c:v>
                </c:pt>
                <c:pt idx="1783">
                  <c:v>15.579999000000001</c:v>
                </c:pt>
                <c:pt idx="1784">
                  <c:v>11.65</c:v>
                </c:pt>
                <c:pt idx="1785">
                  <c:v>10.29</c:v>
                </c:pt>
                <c:pt idx="1786">
                  <c:v>10.38</c:v>
                </c:pt>
                <c:pt idx="1787">
                  <c:v>10.25</c:v>
                </c:pt>
                <c:pt idx="1788">
                  <c:v>13.919999000000001</c:v>
                </c:pt>
                <c:pt idx="1789">
                  <c:v>15.39</c:v>
                </c:pt>
                <c:pt idx="1790">
                  <c:v>15.66</c:v>
                </c:pt>
                <c:pt idx="1791">
                  <c:v>14.04</c:v>
                </c:pt>
                <c:pt idx="1792">
                  <c:v>12.249999000000001</c:v>
                </c:pt>
                <c:pt idx="1793">
                  <c:v>12.190001000000001</c:v>
                </c:pt>
                <c:pt idx="1794">
                  <c:v>10.690001000000001</c:v>
                </c:pt>
                <c:pt idx="1795">
                  <c:v>10.059998999999999</c:v>
                </c:pt>
                <c:pt idx="1796">
                  <c:v>9.39</c:v>
                </c:pt>
                <c:pt idx="1797">
                  <c:v>9.5</c:v>
                </c:pt>
                <c:pt idx="1798">
                  <c:v>10.219999</c:v>
                </c:pt>
                <c:pt idx="1799">
                  <c:v>11.33</c:v>
                </c:pt>
                <c:pt idx="1800">
                  <c:v>12.51</c:v>
                </c:pt>
                <c:pt idx="1801">
                  <c:v>11.56</c:v>
                </c:pt>
                <c:pt idx="1802">
                  <c:v>11.95</c:v>
                </c:pt>
                <c:pt idx="1803">
                  <c:v>12.289999</c:v>
                </c:pt>
                <c:pt idx="1804">
                  <c:v>11.07</c:v>
                </c:pt>
                <c:pt idx="1805">
                  <c:v>11.570001</c:v>
                </c:pt>
                <c:pt idx="1806">
                  <c:v>11.059998999999999</c:v>
                </c:pt>
                <c:pt idx="1807">
                  <c:v>11</c:v>
                </c:pt>
                <c:pt idx="1808">
                  <c:v>10.269999500000001</c:v>
                </c:pt>
                <c:pt idx="1809">
                  <c:v>10.25</c:v>
                </c:pt>
                <c:pt idx="1810">
                  <c:v>10.309998999999999</c:v>
                </c:pt>
                <c:pt idx="1811">
                  <c:v>10.019999500000001</c:v>
                </c:pt>
                <c:pt idx="1812">
                  <c:v>11.26</c:v>
                </c:pt>
                <c:pt idx="1813">
                  <c:v>12.63</c:v>
                </c:pt>
                <c:pt idx="1814">
                  <c:v>12.01</c:v>
                </c:pt>
                <c:pt idx="1815">
                  <c:v>10.64</c:v>
                </c:pt>
                <c:pt idx="1816">
                  <c:v>9.82</c:v>
                </c:pt>
                <c:pt idx="1817">
                  <c:v>9.51</c:v>
                </c:pt>
                <c:pt idx="1818">
                  <c:v>9.25</c:v>
                </c:pt>
                <c:pt idx="1819">
                  <c:v>9.5399999999999991</c:v>
                </c:pt>
                <c:pt idx="1820">
                  <c:v>10.14</c:v>
                </c:pt>
                <c:pt idx="1821">
                  <c:v>10.1</c:v>
                </c:pt>
                <c:pt idx="1822">
                  <c:v>9.6500009999999996</c:v>
                </c:pt>
                <c:pt idx="1823">
                  <c:v>9.1100010000000005</c:v>
                </c:pt>
                <c:pt idx="1824">
                  <c:v>9.15</c:v>
                </c:pt>
                <c:pt idx="1825">
                  <c:v>9.0399999999999991</c:v>
                </c:pt>
                <c:pt idx="1826">
                  <c:v>9.8699999999999992</c:v>
                </c:pt>
                <c:pt idx="1827">
                  <c:v>9.64</c:v>
                </c:pt>
                <c:pt idx="1828">
                  <c:v>9.8699999999999992</c:v>
                </c:pt>
                <c:pt idx="1829">
                  <c:v>9.89</c:v>
                </c:pt>
                <c:pt idx="1830">
                  <c:v>9.6999999999999993</c:v>
                </c:pt>
                <c:pt idx="1831">
                  <c:v>11.14</c:v>
                </c:pt>
                <c:pt idx="1832">
                  <c:v>11.98</c:v>
                </c:pt>
                <c:pt idx="1833">
                  <c:v>10.980000499999999</c:v>
                </c:pt>
                <c:pt idx="1834">
                  <c:v>10.5</c:v>
                </c:pt>
                <c:pt idx="1835">
                  <c:v>11.11</c:v>
                </c:pt>
                <c:pt idx="1836">
                  <c:v>11.22</c:v>
                </c:pt>
                <c:pt idx="1837">
                  <c:v>11.85</c:v>
                </c:pt>
                <c:pt idx="1838">
                  <c:v>16.719996999999999</c:v>
                </c:pt>
                <c:pt idx="1839">
                  <c:v>18.59</c:v>
                </c:pt>
                <c:pt idx="1840">
                  <c:v>20.309999999999999</c:v>
                </c:pt>
                <c:pt idx="1841">
                  <c:v>18.55</c:v>
                </c:pt>
                <c:pt idx="1842">
                  <c:v>17.02</c:v>
                </c:pt>
                <c:pt idx="1843">
                  <c:v>14.38</c:v>
                </c:pt>
                <c:pt idx="1844">
                  <c:v>16.739999999999998</c:v>
                </c:pt>
                <c:pt idx="1845">
                  <c:v>16.7</c:v>
                </c:pt>
                <c:pt idx="1846">
                  <c:v>17.03</c:v>
                </c:pt>
                <c:pt idx="1847">
                  <c:v>16.98</c:v>
                </c:pt>
                <c:pt idx="1848">
                  <c:v>16.489999999999998</c:v>
                </c:pt>
                <c:pt idx="1849">
                  <c:v>15.999999000000001</c:v>
                </c:pt>
                <c:pt idx="1850">
                  <c:v>14.92</c:v>
                </c:pt>
                <c:pt idx="1851">
                  <c:v>13.999999000000001</c:v>
                </c:pt>
                <c:pt idx="1852">
                  <c:v>13.04</c:v>
                </c:pt>
                <c:pt idx="1853">
                  <c:v>13.17</c:v>
                </c:pt>
                <c:pt idx="1854">
                  <c:v>12.379999</c:v>
                </c:pt>
                <c:pt idx="1855">
                  <c:v>13.320001</c:v>
                </c:pt>
                <c:pt idx="1856">
                  <c:v>13.07</c:v>
                </c:pt>
                <c:pt idx="1857">
                  <c:v>12.809998999999999</c:v>
                </c:pt>
                <c:pt idx="1858">
                  <c:v>12.5</c:v>
                </c:pt>
                <c:pt idx="1859">
                  <c:v>12.799999</c:v>
                </c:pt>
                <c:pt idx="1860">
                  <c:v>11.91</c:v>
                </c:pt>
                <c:pt idx="1861">
                  <c:v>11.99</c:v>
                </c:pt>
                <c:pt idx="1862">
                  <c:v>11.18</c:v>
                </c:pt>
                <c:pt idx="1863">
                  <c:v>11.94</c:v>
                </c:pt>
                <c:pt idx="1864">
                  <c:v>11.63</c:v>
                </c:pt>
                <c:pt idx="1865">
                  <c:v>11.570001</c:v>
                </c:pt>
                <c:pt idx="1866">
                  <c:v>13.44</c:v>
                </c:pt>
                <c:pt idx="1867">
                  <c:v>12.45</c:v>
                </c:pt>
                <c:pt idx="1868">
                  <c:v>11.91</c:v>
                </c:pt>
                <c:pt idx="1869">
                  <c:v>11.47</c:v>
                </c:pt>
                <c:pt idx="1870">
                  <c:v>11.47</c:v>
                </c:pt>
                <c:pt idx="1871">
                  <c:v>11.36</c:v>
                </c:pt>
                <c:pt idx="1872">
                  <c:v>11.77</c:v>
                </c:pt>
                <c:pt idx="1873">
                  <c:v>11.389999</c:v>
                </c:pt>
                <c:pt idx="1874">
                  <c:v>11.389999</c:v>
                </c:pt>
                <c:pt idx="1875">
                  <c:v>11.77</c:v>
                </c:pt>
                <c:pt idx="1876">
                  <c:v>11.4</c:v>
                </c:pt>
                <c:pt idx="1877">
                  <c:v>11.18</c:v>
                </c:pt>
                <c:pt idx="1878">
                  <c:v>11.12</c:v>
                </c:pt>
                <c:pt idx="1879">
                  <c:v>11.08</c:v>
                </c:pt>
                <c:pt idx="1880">
                  <c:v>11.47</c:v>
                </c:pt>
                <c:pt idx="1881">
                  <c:v>12.56</c:v>
                </c:pt>
                <c:pt idx="1882">
                  <c:v>13.04</c:v>
                </c:pt>
                <c:pt idx="1883">
                  <c:v>13.03</c:v>
                </c:pt>
                <c:pt idx="1884">
                  <c:v>13.999999000000001</c:v>
                </c:pt>
                <c:pt idx="1885">
                  <c:v>13.730000499999999</c:v>
                </c:pt>
                <c:pt idx="1886">
                  <c:v>13.54</c:v>
                </c:pt>
                <c:pt idx="1887">
                  <c:v>13.3</c:v>
                </c:pt>
                <c:pt idx="1888">
                  <c:v>13.330000999999999</c:v>
                </c:pt>
                <c:pt idx="1889">
                  <c:v>12.62</c:v>
                </c:pt>
                <c:pt idx="1890">
                  <c:v>12.6</c:v>
                </c:pt>
                <c:pt idx="1891">
                  <c:v>12.68</c:v>
                </c:pt>
                <c:pt idx="1892">
                  <c:v>12.5</c:v>
                </c:pt>
                <c:pt idx="1893">
                  <c:v>12.160000999999999</c:v>
                </c:pt>
                <c:pt idx="1894">
                  <c:v>13.44</c:v>
                </c:pt>
                <c:pt idx="1895">
                  <c:v>13.14</c:v>
                </c:pt>
                <c:pt idx="1896">
                  <c:v>12.790001</c:v>
                </c:pt>
                <c:pt idx="1897">
                  <c:v>13.280001</c:v>
                </c:pt>
                <c:pt idx="1898">
                  <c:v>13.59</c:v>
                </c:pt>
                <c:pt idx="1899">
                  <c:v>13.05</c:v>
                </c:pt>
                <c:pt idx="1900">
                  <c:v>13.1</c:v>
                </c:pt>
                <c:pt idx="1901">
                  <c:v>13.230000499999999</c:v>
                </c:pt>
                <c:pt idx="1902">
                  <c:v>13.36</c:v>
                </c:pt>
                <c:pt idx="1903">
                  <c:v>13.61</c:v>
                </c:pt>
                <c:pt idx="1904">
                  <c:v>13.63</c:v>
                </c:pt>
                <c:pt idx="1905">
                  <c:v>13.05</c:v>
                </c:pt>
                <c:pt idx="1906">
                  <c:v>13.01</c:v>
                </c:pt>
                <c:pt idx="1907">
                  <c:v>12.95</c:v>
                </c:pt>
                <c:pt idx="1908">
                  <c:v>13.26</c:v>
                </c:pt>
                <c:pt idx="1909">
                  <c:v>13.14</c:v>
                </c:pt>
                <c:pt idx="1910">
                  <c:v>13.8</c:v>
                </c:pt>
                <c:pt idx="1911">
                  <c:v>13.63</c:v>
                </c:pt>
                <c:pt idx="1912">
                  <c:v>13.190001000000001</c:v>
                </c:pt>
                <c:pt idx="1913">
                  <c:v>12.210001</c:v>
                </c:pt>
                <c:pt idx="1914">
                  <c:v>12.339999000000001</c:v>
                </c:pt>
                <c:pt idx="1915">
                  <c:v>11.929999</c:v>
                </c:pt>
                <c:pt idx="1916">
                  <c:v>11.77</c:v>
                </c:pt>
                <c:pt idx="1917">
                  <c:v>12.289999</c:v>
                </c:pt>
                <c:pt idx="1918">
                  <c:v>12.76</c:v>
                </c:pt>
                <c:pt idx="1919">
                  <c:v>12.249999000000001</c:v>
                </c:pt>
                <c:pt idx="1920">
                  <c:v>12.289999</c:v>
                </c:pt>
                <c:pt idx="1921">
                  <c:v>12.58</c:v>
                </c:pt>
                <c:pt idx="1922">
                  <c:v>13</c:v>
                </c:pt>
                <c:pt idx="1923">
                  <c:v>13.12</c:v>
                </c:pt>
                <c:pt idx="1924">
                  <c:v>12.53</c:v>
                </c:pt>
                <c:pt idx="1925">
                  <c:v>13.07</c:v>
                </c:pt>
                <c:pt idx="1926">
                  <c:v>13.16</c:v>
                </c:pt>
                <c:pt idx="1927">
                  <c:v>13.2</c:v>
                </c:pt>
                <c:pt idx="1928">
                  <c:v>12.919999000000001</c:v>
                </c:pt>
                <c:pt idx="1929">
                  <c:v>12.22</c:v>
                </c:pt>
                <c:pt idx="1930">
                  <c:v>12.36</c:v>
                </c:pt>
                <c:pt idx="1931">
                  <c:v>12.230000499999999</c:v>
                </c:pt>
                <c:pt idx="1932">
                  <c:v>12.46</c:v>
                </c:pt>
                <c:pt idx="1933">
                  <c:v>12.56</c:v>
                </c:pt>
                <c:pt idx="1934">
                  <c:v>12.799999</c:v>
                </c:pt>
                <c:pt idx="1935">
                  <c:v>12.750000999999999</c:v>
                </c:pt>
                <c:pt idx="1936">
                  <c:v>13.150001</c:v>
                </c:pt>
                <c:pt idx="1937">
                  <c:v>12.6</c:v>
                </c:pt>
                <c:pt idx="1938">
                  <c:v>11.8</c:v>
                </c:pt>
                <c:pt idx="1939">
                  <c:v>11.230000499999999</c:v>
                </c:pt>
                <c:pt idx="1940">
                  <c:v>10.95</c:v>
                </c:pt>
                <c:pt idx="1941">
                  <c:v>11.16</c:v>
                </c:pt>
                <c:pt idx="1942">
                  <c:v>11.280001</c:v>
                </c:pt>
                <c:pt idx="1943">
                  <c:v>11.19</c:v>
                </c:pt>
                <c:pt idx="1944">
                  <c:v>11.25</c:v>
                </c:pt>
                <c:pt idx="1945">
                  <c:v>11.01</c:v>
                </c:pt>
                <c:pt idx="1946">
                  <c:v>11.599999</c:v>
                </c:pt>
                <c:pt idx="1947">
                  <c:v>11.46</c:v>
                </c:pt>
                <c:pt idx="1948">
                  <c:v>13.2</c:v>
                </c:pt>
                <c:pt idx="1949">
                  <c:v>12.379999</c:v>
                </c:pt>
                <c:pt idx="1950">
                  <c:v>12.04</c:v>
                </c:pt>
                <c:pt idx="1951">
                  <c:v>11.74</c:v>
                </c:pt>
                <c:pt idx="1952">
                  <c:v>12.240000999999999</c:v>
                </c:pt>
                <c:pt idx="1953">
                  <c:v>12.790001</c:v>
                </c:pt>
                <c:pt idx="1954">
                  <c:v>12.700001</c:v>
                </c:pt>
                <c:pt idx="1955">
                  <c:v>12.740000999999999</c:v>
                </c:pt>
                <c:pt idx="1956">
                  <c:v>12.790001</c:v>
                </c:pt>
                <c:pt idx="1957">
                  <c:v>12.53</c:v>
                </c:pt>
                <c:pt idx="1958">
                  <c:v>13.559998999999999</c:v>
                </c:pt>
                <c:pt idx="1959">
                  <c:v>14.820001</c:v>
                </c:pt>
                <c:pt idx="1960">
                  <c:v>14.940001000000001</c:v>
                </c:pt>
                <c:pt idx="1961">
                  <c:v>14.98</c:v>
                </c:pt>
                <c:pt idx="1962">
                  <c:v>14.13</c:v>
                </c:pt>
                <c:pt idx="1963">
                  <c:v>14.27</c:v>
                </c:pt>
                <c:pt idx="1964">
                  <c:v>14.860001</c:v>
                </c:pt>
                <c:pt idx="1965">
                  <c:v>16.09</c:v>
                </c:pt>
                <c:pt idx="1966">
                  <c:v>16.399999999999999</c:v>
                </c:pt>
                <c:pt idx="1967">
                  <c:v>17.21</c:v>
                </c:pt>
                <c:pt idx="1968">
                  <c:v>17.63</c:v>
                </c:pt>
                <c:pt idx="1969">
                  <c:v>17.16</c:v>
                </c:pt>
                <c:pt idx="1970">
                  <c:v>17.989999999999998</c:v>
                </c:pt>
                <c:pt idx="1971">
                  <c:v>17.05</c:v>
                </c:pt>
                <c:pt idx="1972">
                  <c:v>16.7</c:v>
                </c:pt>
                <c:pt idx="1973">
                  <c:v>17.010000000000002</c:v>
                </c:pt>
                <c:pt idx="1974">
                  <c:v>16.86</c:v>
                </c:pt>
                <c:pt idx="1975">
                  <c:v>16.799997000000001</c:v>
                </c:pt>
                <c:pt idx="1976">
                  <c:v>16.510000000000002</c:v>
                </c:pt>
                <c:pt idx="1977">
                  <c:v>16.099997999999999</c:v>
                </c:pt>
                <c:pt idx="1978">
                  <c:v>15.48</c:v>
                </c:pt>
                <c:pt idx="1979">
                  <c:v>15.89</c:v>
                </c:pt>
                <c:pt idx="1980">
                  <c:v>15.66</c:v>
                </c:pt>
                <c:pt idx="1981">
                  <c:v>16.059999999999999</c:v>
                </c:pt>
                <c:pt idx="1982">
                  <c:v>15.86</c:v>
                </c:pt>
                <c:pt idx="1983">
                  <c:v>16.149999999999999</c:v>
                </c:pt>
                <c:pt idx="1984">
                  <c:v>15.769999500000001</c:v>
                </c:pt>
                <c:pt idx="1985">
                  <c:v>15.129999</c:v>
                </c:pt>
                <c:pt idx="1986">
                  <c:v>15.43</c:v>
                </c:pt>
                <c:pt idx="1987">
                  <c:v>15.519999500000001</c:v>
                </c:pt>
                <c:pt idx="1988">
                  <c:v>15.38</c:v>
                </c:pt>
                <c:pt idx="1989">
                  <c:v>15.129999</c:v>
                </c:pt>
                <c:pt idx="1990">
                  <c:v>14.999999000000001</c:v>
                </c:pt>
                <c:pt idx="1991">
                  <c:v>15.38</c:v>
                </c:pt>
                <c:pt idx="1992">
                  <c:v>15.529999</c:v>
                </c:pt>
                <c:pt idx="1993">
                  <c:v>16.440000000000001</c:v>
                </c:pt>
                <c:pt idx="1994">
                  <c:v>15.76</c:v>
                </c:pt>
                <c:pt idx="1995">
                  <c:v>15.97</c:v>
                </c:pt>
                <c:pt idx="1996">
                  <c:v>16.170000000000002</c:v>
                </c:pt>
                <c:pt idx="1997">
                  <c:v>15.83</c:v>
                </c:pt>
                <c:pt idx="1998">
                  <c:v>15.82</c:v>
                </c:pt>
                <c:pt idx="1999">
                  <c:v>15.43</c:v>
                </c:pt>
                <c:pt idx="2000">
                  <c:v>15.529999</c:v>
                </c:pt>
                <c:pt idx="2001">
                  <c:v>16.559999999999999</c:v>
                </c:pt>
                <c:pt idx="2002">
                  <c:v>18.100000000000001</c:v>
                </c:pt>
                <c:pt idx="2003">
                  <c:v>17.170000000000002</c:v>
                </c:pt>
                <c:pt idx="2004">
                  <c:v>16.84</c:v>
                </c:pt>
                <c:pt idx="2005">
                  <c:v>16.589998000000001</c:v>
                </c:pt>
                <c:pt idx="2006">
                  <c:v>17.600000000000001</c:v>
                </c:pt>
                <c:pt idx="2007">
                  <c:v>17.399999999999999</c:v>
                </c:pt>
                <c:pt idx="2008">
                  <c:v>17.190000000000001</c:v>
                </c:pt>
                <c:pt idx="2009">
                  <c:v>17.769998999999999</c:v>
                </c:pt>
                <c:pt idx="2010">
                  <c:v>17.440000000000001</c:v>
                </c:pt>
                <c:pt idx="2011">
                  <c:v>17.41</c:v>
                </c:pt>
                <c:pt idx="2012">
                  <c:v>16.989999999999998</c:v>
                </c:pt>
                <c:pt idx="2013">
                  <c:v>17.269998999999999</c:v>
                </c:pt>
                <c:pt idx="2014">
                  <c:v>17.82</c:v>
                </c:pt>
                <c:pt idx="2015">
                  <c:v>17.989999999999998</c:v>
                </c:pt>
                <c:pt idx="2016">
                  <c:v>17.71</c:v>
                </c:pt>
                <c:pt idx="2017">
                  <c:v>18.68</c:v>
                </c:pt>
                <c:pt idx="2018">
                  <c:v>20.440000000000001</c:v>
                </c:pt>
                <c:pt idx="2019">
                  <c:v>20.66</c:v>
                </c:pt>
                <c:pt idx="2020">
                  <c:v>21.82</c:v>
                </c:pt>
                <c:pt idx="2021">
                  <c:v>20.86</c:v>
                </c:pt>
                <c:pt idx="2022">
                  <c:v>20.94</c:v>
                </c:pt>
                <c:pt idx="2023">
                  <c:v>21.18</c:v>
                </c:pt>
                <c:pt idx="2024">
                  <c:v>21.44</c:v>
                </c:pt>
                <c:pt idx="2025">
                  <c:v>22.17</c:v>
                </c:pt>
                <c:pt idx="2026">
                  <c:v>21.24</c:v>
                </c:pt>
                <c:pt idx="2027">
                  <c:v>20.45</c:v>
                </c:pt>
                <c:pt idx="2028">
                  <c:v>21.47</c:v>
                </c:pt>
                <c:pt idx="2029">
                  <c:v>21.599997999999999</c:v>
                </c:pt>
                <c:pt idx="2030">
                  <c:v>21.75</c:v>
                </c:pt>
                <c:pt idx="2031">
                  <c:v>22.15</c:v>
                </c:pt>
                <c:pt idx="2032">
                  <c:v>23.369999</c:v>
                </c:pt>
                <c:pt idx="2033">
                  <c:v>25.17</c:v>
                </c:pt>
                <c:pt idx="2034">
                  <c:v>24.469996999999999</c:v>
                </c:pt>
                <c:pt idx="2035">
                  <c:v>25.16</c:v>
                </c:pt>
                <c:pt idx="2036">
                  <c:v>24.700002999999999</c:v>
                </c:pt>
                <c:pt idx="2037">
                  <c:v>24.97</c:v>
                </c:pt>
                <c:pt idx="2038">
                  <c:v>23.83</c:v>
                </c:pt>
                <c:pt idx="2039">
                  <c:v>22.27</c:v>
                </c:pt>
                <c:pt idx="2040">
                  <c:v>21.81</c:v>
                </c:pt>
                <c:pt idx="2041">
                  <c:v>22.77</c:v>
                </c:pt>
                <c:pt idx="2042">
                  <c:v>22.93</c:v>
                </c:pt>
                <c:pt idx="2043">
                  <c:v>22.91</c:v>
                </c:pt>
                <c:pt idx="2044">
                  <c:v>24.12</c:v>
                </c:pt>
                <c:pt idx="2045">
                  <c:v>23.9</c:v>
                </c:pt>
                <c:pt idx="2046">
                  <c:v>23.86</c:v>
                </c:pt>
                <c:pt idx="2047">
                  <c:v>24.230001000000001</c:v>
                </c:pt>
                <c:pt idx="2048">
                  <c:v>24.06</c:v>
                </c:pt>
                <c:pt idx="2049">
                  <c:v>23.93</c:v>
                </c:pt>
                <c:pt idx="2050">
                  <c:v>23.65</c:v>
                </c:pt>
                <c:pt idx="2051">
                  <c:v>23.54</c:v>
                </c:pt>
                <c:pt idx="2052">
                  <c:v>22.91</c:v>
                </c:pt>
                <c:pt idx="2053">
                  <c:v>22.56</c:v>
                </c:pt>
                <c:pt idx="2054">
                  <c:v>22.37</c:v>
                </c:pt>
                <c:pt idx="2055">
                  <c:v>22.13</c:v>
                </c:pt>
                <c:pt idx="2056">
                  <c:v>22.029999</c:v>
                </c:pt>
                <c:pt idx="2057">
                  <c:v>21.55</c:v>
                </c:pt>
                <c:pt idx="2058">
                  <c:v>20.369999</c:v>
                </c:pt>
                <c:pt idx="2059">
                  <c:v>21.01</c:v>
                </c:pt>
                <c:pt idx="2060">
                  <c:v>20.07</c:v>
                </c:pt>
                <c:pt idx="2061">
                  <c:v>21.109998999999998</c:v>
                </c:pt>
                <c:pt idx="2062">
                  <c:v>22.039999000000002</c:v>
                </c:pt>
                <c:pt idx="2063">
                  <c:v>21.76</c:v>
                </c:pt>
                <c:pt idx="2064">
                  <c:v>21.699998999999998</c:v>
                </c:pt>
                <c:pt idx="2065">
                  <c:v>21.3</c:v>
                </c:pt>
                <c:pt idx="2066">
                  <c:v>21.72</c:v>
                </c:pt>
                <c:pt idx="2067">
                  <c:v>21.949998999999998</c:v>
                </c:pt>
                <c:pt idx="2068">
                  <c:v>21.419998</c:v>
                </c:pt>
                <c:pt idx="2069">
                  <c:v>21.57</c:v>
                </c:pt>
                <c:pt idx="2070">
                  <c:v>21.49</c:v>
                </c:pt>
                <c:pt idx="2071">
                  <c:v>21.999998000000001</c:v>
                </c:pt>
                <c:pt idx="2072">
                  <c:v>21.999998000000001</c:v>
                </c:pt>
                <c:pt idx="2073">
                  <c:v>21.57</c:v>
                </c:pt>
                <c:pt idx="2074">
                  <c:v>20.76</c:v>
                </c:pt>
                <c:pt idx="2075">
                  <c:v>21.21</c:v>
                </c:pt>
                <c:pt idx="2076">
                  <c:v>22.4</c:v>
                </c:pt>
                <c:pt idx="2077">
                  <c:v>23.35</c:v>
                </c:pt>
                <c:pt idx="2078">
                  <c:v>23.56</c:v>
                </c:pt>
                <c:pt idx="2079">
                  <c:v>22.97</c:v>
                </c:pt>
                <c:pt idx="2080">
                  <c:v>22.599997999999999</c:v>
                </c:pt>
                <c:pt idx="2081">
                  <c:v>22.57</c:v>
                </c:pt>
                <c:pt idx="2082">
                  <c:v>22.989998</c:v>
                </c:pt>
                <c:pt idx="2083">
                  <c:v>23.21</c:v>
                </c:pt>
                <c:pt idx="2084">
                  <c:v>23.9</c:v>
                </c:pt>
                <c:pt idx="2085">
                  <c:v>24.43</c:v>
                </c:pt>
                <c:pt idx="2086">
                  <c:v>24.24</c:v>
                </c:pt>
                <c:pt idx="2087">
                  <c:v>24.669998</c:v>
                </c:pt>
                <c:pt idx="2088">
                  <c:v>25.82</c:v>
                </c:pt>
                <c:pt idx="2089">
                  <c:v>24.93</c:v>
                </c:pt>
                <c:pt idx="2090">
                  <c:v>24.300001000000002</c:v>
                </c:pt>
                <c:pt idx="2091">
                  <c:v>24.25</c:v>
                </c:pt>
                <c:pt idx="2092">
                  <c:v>24.220001</c:v>
                </c:pt>
                <c:pt idx="2093">
                  <c:v>23.85</c:v>
                </c:pt>
                <c:pt idx="2094">
                  <c:v>23.46</c:v>
                </c:pt>
                <c:pt idx="2095">
                  <c:v>23.529999</c:v>
                </c:pt>
                <c:pt idx="2096">
                  <c:v>22.989998</c:v>
                </c:pt>
                <c:pt idx="2097">
                  <c:v>22.789999000000002</c:v>
                </c:pt>
                <c:pt idx="2098">
                  <c:v>22.83</c:v>
                </c:pt>
                <c:pt idx="2099">
                  <c:v>22.23</c:v>
                </c:pt>
                <c:pt idx="2100">
                  <c:v>22.289999000000002</c:v>
                </c:pt>
                <c:pt idx="2101">
                  <c:v>22.449998999999998</c:v>
                </c:pt>
                <c:pt idx="2102">
                  <c:v>22.109998999999998</c:v>
                </c:pt>
                <c:pt idx="2103">
                  <c:v>22.199998999999998</c:v>
                </c:pt>
                <c:pt idx="2104">
                  <c:v>22.35</c:v>
                </c:pt>
                <c:pt idx="2105">
                  <c:v>22.22</c:v>
                </c:pt>
                <c:pt idx="2106">
                  <c:v>21.39</c:v>
                </c:pt>
                <c:pt idx="2107">
                  <c:v>21.08</c:v>
                </c:pt>
                <c:pt idx="2108">
                  <c:v>21.21</c:v>
                </c:pt>
                <c:pt idx="2109">
                  <c:v>21.509998</c:v>
                </c:pt>
              </c:numCache>
            </c:numRef>
          </c:val>
          <c:smooth val="0"/>
          <c:extLst>
            <c:ext xmlns:c16="http://schemas.microsoft.com/office/drawing/2014/chart" uri="{C3380CC4-5D6E-409C-BE32-E72D297353CC}">
              <c16:uniqueId val="{00000000-2D94-3E47-9F2A-6F98A173A096}"/>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14.10778</c:v>
                </c:pt>
                <c:pt idx="1">
                  <c:v>13.935943999999999</c:v>
                </c:pt>
                <c:pt idx="2">
                  <c:v>13.848672000000001</c:v>
                </c:pt>
                <c:pt idx="3">
                  <c:v>13.871071000000001</c:v>
                </c:pt>
                <c:pt idx="4">
                  <c:v>13.840875</c:v>
                </c:pt>
                <c:pt idx="5">
                  <c:v>13.834630000000001</c:v>
                </c:pt>
                <c:pt idx="6">
                  <c:v>13.929466</c:v>
                </c:pt>
                <c:pt idx="7">
                  <c:v>13.945841</c:v>
                </c:pt>
                <c:pt idx="8">
                  <c:v>13.969204</c:v>
                </c:pt>
                <c:pt idx="9">
                  <c:v>14.032318999999999</c:v>
                </c:pt>
                <c:pt idx="10">
                  <c:v>14.090787000000001</c:v>
                </c:pt>
                <c:pt idx="11">
                  <c:v>14.144465</c:v>
                </c:pt>
                <c:pt idx="12">
                  <c:v>14.184436</c:v>
                </c:pt>
                <c:pt idx="13">
                  <c:v>14.244681</c:v>
                </c:pt>
                <c:pt idx="14">
                  <c:v>14.236814000000001</c:v>
                </c:pt>
                <c:pt idx="15">
                  <c:v>14.262560000000001</c:v>
                </c:pt>
                <c:pt idx="16">
                  <c:v>14.291325000000001</c:v>
                </c:pt>
                <c:pt idx="17">
                  <c:v>14.358506</c:v>
                </c:pt>
                <c:pt idx="18">
                  <c:v>14.389317999999999</c:v>
                </c:pt>
                <c:pt idx="19">
                  <c:v>14.393587</c:v>
                </c:pt>
                <c:pt idx="20">
                  <c:v>14.438813</c:v>
                </c:pt>
                <c:pt idx="21">
                  <c:v>14.379457</c:v>
                </c:pt>
                <c:pt idx="22">
                  <c:v>14.412482000000001</c:v>
                </c:pt>
                <c:pt idx="23">
                  <c:v>14.391643999999999</c:v>
                </c:pt>
                <c:pt idx="24">
                  <c:v>14.404344</c:v>
                </c:pt>
                <c:pt idx="25">
                  <c:v>14.384897</c:v>
                </c:pt>
                <c:pt idx="26">
                  <c:v>14.425108</c:v>
                </c:pt>
                <c:pt idx="27">
                  <c:v>14.44638</c:v>
                </c:pt>
                <c:pt idx="28">
                  <c:v>14.511419999999999</c:v>
                </c:pt>
                <c:pt idx="29">
                  <c:v>14.576336</c:v>
                </c:pt>
                <c:pt idx="30">
                  <c:v>14.965108000000001</c:v>
                </c:pt>
                <c:pt idx="31">
                  <c:v>15.019316999999999</c:v>
                </c:pt>
                <c:pt idx="32">
                  <c:v>14.990970000000001</c:v>
                </c:pt>
                <c:pt idx="33">
                  <c:v>14.904106000000001</c:v>
                </c:pt>
                <c:pt idx="34">
                  <c:v>14.953499000000001</c:v>
                </c:pt>
                <c:pt idx="35">
                  <c:v>15.016102999999999</c:v>
                </c:pt>
                <c:pt idx="36">
                  <c:v>15.102494</c:v>
                </c:pt>
                <c:pt idx="37">
                  <c:v>15.178774000000001</c:v>
                </c:pt>
                <c:pt idx="38">
                  <c:v>15.294644</c:v>
                </c:pt>
                <c:pt idx="39">
                  <c:v>15.38115</c:v>
                </c:pt>
                <c:pt idx="40">
                  <c:v>15.471095</c:v>
                </c:pt>
                <c:pt idx="41">
                  <c:v>15.421288000000001</c:v>
                </c:pt>
                <c:pt idx="42">
                  <c:v>15.398773</c:v>
                </c:pt>
                <c:pt idx="43">
                  <c:v>15.343271</c:v>
                </c:pt>
                <c:pt idx="44">
                  <c:v>15.286261</c:v>
                </c:pt>
                <c:pt idx="45">
                  <c:v>15.308883</c:v>
                </c:pt>
                <c:pt idx="46">
                  <c:v>15.2910185</c:v>
                </c:pt>
                <c:pt idx="47">
                  <c:v>15.271159000000001</c:v>
                </c:pt>
                <c:pt idx="48">
                  <c:v>15.312182</c:v>
                </c:pt>
                <c:pt idx="49">
                  <c:v>15.382453999999999</c:v>
                </c:pt>
                <c:pt idx="50">
                  <c:v>15.430982</c:v>
                </c:pt>
                <c:pt idx="51">
                  <c:v>15.507457</c:v>
                </c:pt>
                <c:pt idx="52">
                  <c:v>15.600444</c:v>
                </c:pt>
                <c:pt idx="53">
                  <c:v>15.631164999999999</c:v>
                </c:pt>
                <c:pt idx="54">
                  <c:v>15.698968000000001</c:v>
                </c:pt>
                <c:pt idx="55">
                  <c:v>15.781439000000001</c:v>
                </c:pt>
                <c:pt idx="56">
                  <c:v>15.869299</c:v>
                </c:pt>
                <c:pt idx="57">
                  <c:v>15.981035</c:v>
                </c:pt>
                <c:pt idx="58">
                  <c:v>16.048121999999999</c:v>
                </c:pt>
                <c:pt idx="59">
                  <c:v>16.081448000000002</c:v>
                </c:pt>
                <c:pt idx="60">
                  <c:v>16.17023</c:v>
                </c:pt>
                <c:pt idx="61">
                  <c:v>16.237587000000001</c:v>
                </c:pt>
                <c:pt idx="62">
                  <c:v>16.320387</c:v>
                </c:pt>
                <c:pt idx="63">
                  <c:v>16.364532000000001</c:v>
                </c:pt>
                <c:pt idx="64">
                  <c:v>16.401104</c:v>
                </c:pt>
                <c:pt idx="65">
                  <c:v>16.487469000000001</c:v>
                </c:pt>
                <c:pt idx="66">
                  <c:v>16.562994</c:v>
                </c:pt>
                <c:pt idx="67">
                  <c:v>16.586597000000001</c:v>
                </c:pt>
                <c:pt idx="68">
                  <c:v>16.577974000000001</c:v>
                </c:pt>
                <c:pt idx="69">
                  <c:v>16.58156</c:v>
                </c:pt>
                <c:pt idx="70">
                  <c:v>16.641829999999999</c:v>
                </c:pt>
                <c:pt idx="71">
                  <c:v>16.716021999999999</c:v>
                </c:pt>
                <c:pt idx="72">
                  <c:v>16.74447</c:v>
                </c:pt>
                <c:pt idx="73">
                  <c:v>16.795258</c:v>
                </c:pt>
                <c:pt idx="74">
                  <c:v>16.77262</c:v>
                </c:pt>
                <c:pt idx="75">
                  <c:v>16.763048000000001</c:v>
                </c:pt>
                <c:pt idx="76">
                  <c:v>16.733284000000001</c:v>
                </c:pt>
                <c:pt idx="77">
                  <c:v>16.559405999999999</c:v>
                </c:pt>
                <c:pt idx="78">
                  <c:v>16.431688000000001</c:v>
                </c:pt>
                <c:pt idx="79">
                  <c:v>16.494236000000001</c:v>
                </c:pt>
                <c:pt idx="80">
                  <c:v>16.548658</c:v>
                </c:pt>
                <c:pt idx="81">
                  <c:v>16.559564999999999</c:v>
                </c:pt>
                <c:pt idx="82">
                  <c:v>16.539542999999998</c:v>
                </c:pt>
                <c:pt idx="83">
                  <c:v>16.572620000000001</c:v>
                </c:pt>
                <c:pt idx="84">
                  <c:v>16.595220000000001</c:v>
                </c:pt>
                <c:pt idx="85">
                  <c:v>16.656075000000001</c:v>
                </c:pt>
                <c:pt idx="86">
                  <c:v>16.717410999999998</c:v>
                </c:pt>
                <c:pt idx="87">
                  <c:v>16.718508</c:v>
                </c:pt>
                <c:pt idx="88">
                  <c:v>16.583492</c:v>
                </c:pt>
                <c:pt idx="89">
                  <c:v>16.481379</c:v>
                </c:pt>
                <c:pt idx="90">
                  <c:v>16.329135999999998</c:v>
                </c:pt>
                <c:pt idx="91">
                  <c:v>16.292921</c:v>
                </c:pt>
                <c:pt idx="92">
                  <c:v>16.296731999999999</c:v>
                </c:pt>
                <c:pt idx="93">
                  <c:v>16.322533</c:v>
                </c:pt>
                <c:pt idx="94">
                  <c:v>16.448376</c:v>
                </c:pt>
                <c:pt idx="95">
                  <c:v>16.470822999999999</c:v>
                </c:pt>
                <c:pt idx="96">
                  <c:v>16.495992999999999</c:v>
                </c:pt>
                <c:pt idx="97">
                  <c:v>16.554174</c:v>
                </c:pt>
                <c:pt idx="98">
                  <c:v>16.665865</c:v>
                </c:pt>
                <c:pt idx="99">
                  <c:v>16.757563000000001</c:v>
                </c:pt>
                <c:pt idx="100">
                  <c:v>16.848901999999999</c:v>
                </c:pt>
                <c:pt idx="101">
                  <c:v>16.916363</c:v>
                </c:pt>
                <c:pt idx="102">
                  <c:v>17.058236999999998</c:v>
                </c:pt>
                <c:pt idx="103">
                  <c:v>17.195281999999999</c:v>
                </c:pt>
                <c:pt idx="104">
                  <c:v>17.316977000000001</c:v>
                </c:pt>
                <c:pt idx="105">
                  <c:v>17.395818999999999</c:v>
                </c:pt>
                <c:pt idx="106">
                  <c:v>17.448183</c:v>
                </c:pt>
                <c:pt idx="107">
                  <c:v>17.484642000000001</c:v>
                </c:pt>
                <c:pt idx="108">
                  <c:v>17.599257000000001</c:v>
                </c:pt>
                <c:pt idx="109">
                  <c:v>17.694136</c:v>
                </c:pt>
                <c:pt idx="110">
                  <c:v>17.763217999999998</c:v>
                </c:pt>
                <c:pt idx="111">
                  <c:v>17.717648000000001</c:v>
                </c:pt>
                <c:pt idx="112">
                  <c:v>17.699684000000001</c:v>
                </c:pt>
                <c:pt idx="113">
                  <c:v>17.735744</c:v>
                </c:pt>
                <c:pt idx="114">
                  <c:v>17.760929999999998</c:v>
                </c:pt>
                <c:pt idx="115">
                  <c:v>17.794623999999999</c:v>
                </c:pt>
                <c:pt idx="116">
                  <c:v>17.767904000000001</c:v>
                </c:pt>
                <c:pt idx="117">
                  <c:v>17.838034</c:v>
                </c:pt>
                <c:pt idx="118">
                  <c:v>17.932538999999998</c:v>
                </c:pt>
                <c:pt idx="119">
                  <c:v>18.052523000000001</c:v>
                </c:pt>
                <c:pt idx="120">
                  <c:v>18.147026</c:v>
                </c:pt>
                <c:pt idx="121">
                  <c:v>18.19331</c:v>
                </c:pt>
                <c:pt idx="122">
                  <c:v>18.256405000000001</c:v>
                </c:pt>
                <c:pt idx="123">
                  <c:v>18.28941</c:v>
                </c:pt>
                <c:pt idx="124">
                  <c:v>18.309498000000001</c:v>
                </c:pt>
                <c:pt idx="125">
                  <c:v>17.951239999999999</c:v>
                </c:pt>
                <c:pt idx="126">
                  <c:v>17.295217999999998</c:v>
                </c:pt>
                <c:pt idx="127">
                  <c:v>17.271353000000001</c:v>
                </c:pt>
                <c:pt idx="128">
                  <c:v>17.289428999999998</c:v>
                </c:pt>
                <c:pt idx="129">
                  <c:v>17.316438999999999</c:v>
                </c:pt>
                <c:pt idx="130">
                  <c:v>17.354445999999999</c:v>
                </c:pt>
                <c:pt idx="131">
                  <c:v>17.393129999999999</c:v>
                </c:pt>
                <c:pt idx="132">
                  <c:v>17.459023999999999</c:v>
                </c:pt>
                <c:pt idx="133">
                  <c:v>17.574290000000001</c:v>
                </c:pt>
                <c:pt idx="134">
                  <c:v>17.633555999999999</c:v>
                </c:pt>
                <c:pt idx="135">
                  <c:v>17.553567999999999</c:v>
                </c:pt>
                <c:pt idx="136">
                  <c:v>17.54147</c:v>
                </c:pt>
                <c:pt idx="137">
                  <c:v>17.481335000000001</c:v>
                </c:pt>
                <c:pt idx="138">
                  <c:v>17.413267000000001</c:v>
                </c:pt>
                <c:pt idx="139">
                  <c:v>17.417444</c:v>
                </c:pt>
                <c:pt idx="140">
                  <c:v>17.45363</c:v>
                </c:pt>
                <c:pt idx="141">
                  <c:v>17.507041999999998</c:v>
                </c:pt>
                <c:pt idx="142">
                  <c:v>17.543402</c:v>
                </c:pt>
                <c:pt idx="143">
                  <c:v>17.607841000000001</c:v>
                </c:pt>
                <c:pt idx="144">
                  <c:v>17.683949999999999</c:v>
                </c:pt>
                <c:pt idx="145">
                  <c:v>17.753283</c:v>
                </c:pt>
                <c:pt idx="146">
                  <c:v>17.838526000000002</c:v>
                </c:pt>
                <c:pt idx="147">
                  <c:v>17.945778000000001</c:v>
                </c:pt>
                <c:pt idx="148">
                  <c:v>18.018405999999999</c:v>
                </c:pt>
                <c:pt idx="149">
                  <c:v>18.095683999999999</c:v>
                </c:pt>
                <c:pt idx="150">
                  <c:v>18.253095999999999</c:v>
                </c:pt>
                <c:pt idx="151">
                  <c:v>18.365473000000001</c:v>
                </c:pt>
                <c:pt idx="152">
                  <c:v>18.427786000000001</c:v>
                </c:pt>
                <c:pt idx="153">
                  <c:v>18.485379999999999</c:v>
                </c:pt>
                <c:pt idx="154">
                  <c:v>18.487117999999999</c:v>
                </c:pt>
                <c:pt idx="155">
                  <c:v>18.510988000000001</c:v>
                </c:pt>
                <c:pt idx="156">
                  <c:v>18.554933999999999</c:v>
                </c:pt>
                <c:pt idx="157">
                  <c:v>18.301962</c:v>
                </c:pt>
                <c:pt idx="158">
                  <c:v>18.270479999999999</c:v>
                </c:pt>
                <c:pt idx="159">
                  <c:v>18.246341999999999</c:v>
                </c:pt>
                <c:pt idx="160">
                  <c:v>18.243573999999999</c:v>
                </c:pt>
                <c:pt idx="161">
                  <c:v>18.161422999999999</c:v>
                </c:pt>
                <c:pt idx="162">
                  <c:v>18.178090000000001</c:v>
                </c:pt>
                <c:pt idx="163">
                  <c:v>18.163740000000001</c:v>
                </c:pt>
                <c:pt idx="164">
                  <c:v>18.088272</c:v>
                </c:pt>
                <c:pt idx="165">
                  <c:v>18.053709000000001</c:v>
                </c:pt>
                <c:pt idx="166">
                  <c:v>18.145412</c:v>
                </c:pt>
                <c:pt idx="167">
                  <c:v>18.267271000000001</c:v>
                </c:pt>
                <c:pt idx="168">
                  <c:v>18.396039999999999</c:v>
                </c:pt>
                <c:pt idx="169">
                  <c:v>18.465565000000002</c:v>
                </c:pt>
                <c:pt idx="170">
                  <c:v>18.615003999999999</c:v>
                </c:pt>
                <c:pt idx="171">
                  <c:v>18.763855</c:v>
                </c:pt>
                <c:pt idx="172">
                  <c:v>18.974668999999999</c:v>
                </c:pt>
                <c:pt idx="173">
                  <c:v>19.174454000000001</c:v>
                </c:pt>
                <c:pt idx="174">
                  <c:v>19.344329999999999</c:v>
                </c:pt>
                <c:pt idx="175">
                  <c:v>19.450604999999999</c:v>
                </c:pt>
                <c:pt idx="176">
                  <c:v>19.506447000000001</c:v>
                </c:pt>
                <c:pt idx="177">
                  <c:v>19.597028999999999</c:v>
                </c:pt>
                <c:pt idx="178">
                  <c:v>19.783169999999998</c:v>
                </c:pt>
                <c:pt idx="179">
                  <c:v>19.975178</c:v>
                </c:pt>
                <c:pt idx="180">
                  <c:v>19.956271999999998</c:v>
                </c:pt>
                <c:pt idx="181">
                  <c:v>20.061684</c:v>
                </c:pt>
                <c:pt idx="182">
                  <c:v>20.183333999999999</c:v>
                </c:pt>
                <c:pt idx="183">
                  <c:v>20.067236000000001</c:v>
                </c:pt>
                <c:pt idx="184">
                  <c:v>20.210629999999998</c:v>
                </c:pt>
                <c:pt idx="185">
                  <c:v>20.348452000000002</c:v>
                </c:pt>
                <c:pt idx="186">
                  <c:v>20.415125</c:v>
                </c:pt>
                <c:pt idx="187">
                  <c:v>20.563597000000001</c:v>
                </c:pt>
                <c:pt idx="188">
                  <c:v>20.814457000000001</c:v>
                </c:pt>
                <c:pt idx="189">
                  <c:v>20.386241999999999</c:v>
                </c:pt>
                <c:pt idx="190">
                  <c:v>20.368068999999998</c:v>
                </c:pt>
                <c:pt idx="191">
                  <c:v>20.658579</c:v>
                </c:pt>
                <c:pt idx="192">
                  <c:v>20.953001</c:v>
                </c:pt>
                <c:pt idx="193">
                  <c:v>21.332004999999999</c:v>
                </c:pt>
                <c:pt idx="194">
                  <c:v>21.653659999999999</c:v>
                </c:pt>
                <c:pt idx="195">
                  <c:v>22.075780000000002</c:v>
                </c:pt>
                <c:pt idx="196">
                  <c:v>22.550913000000001</c:v>
                </c:pt>
                <c:pt idx="197">
                  <c:v>23.011690000000002</c:v>
                </c:pt>
                <c:pt idx="198">
                  <c:v>23.554763999999999</c:v>
                </c:pt>
                <c:pt idx="199">
                  <c:v>24.130040999999999</c:v>
                </c:pt>
                <c:pt idx="200">
                  <c:v>24.543842000000001</c:v>
                </c:pt>
                <c:pt idx="201">
                  <c:v>25.210273999999998</c:v>
                </c:pt>
                <c:pt idx="202">
                  <c:v>25.56588</c:v>
                </c:pt>
                <c:pt idx="203">
                  <c:v>25.611001999999999</c:v>
                </c:pt>
                <c:pt idx="204">
                  <c:v>25.734165000000001</c:v>
                </c:pt>
                <c:pt idx="205">
                  <c:v>25.513636000000002</c:v>
                </c:pt>
                <c:pt idx="206">
                  <c:v>25.632261</c:v>
                </c:pt>
                <c:pt idx="207">
                  <c:v>25.358595000000001</c:v>
                </c:pt>
                <c:pt idx="208">
                  <c:v>25.626042999999999</c:v>
                </c:pt>
                <c:pt idx="209">
                  <c:v>24.936575000000001</c:v>
                </c:pt>
                <c:pt idx="210">
                  <c:v>25.060231999999999</c:v>
                </c:pt>
                <c:pt idx="211">
                  <c:v>25.123037</c:v>
                </c:pt>
                <c:pt idx="212">
                  <c:v>25.081548999999999</c:v>
                </c:pt>
                <c:pt idx="213">
                  <c:v>25.282689999999999</c:v>
                </c:pt>
                <c:pt idx="214">
                  <c:v>25.474497</c:v>
                </c:pt>
                <c:pt idx="215">
                  <c:v>25.775383000000001</c:v>
                </c:pt>
                <c:pt idx="216">
                  <c:v>26.108805</c:v>
                </c:pt>
                <c:pt idx="217">
                  <c:v>26.577525999999999</c:v>
                </c:pt>
                <c:pt idx="218">
                  <c:v>27.009578999999999</c:v>
                </c:pt>
                <c:pt idx="219">
                  <c:v>28.223483999999999</c:v>
                </c:pt>
                <c:pt idx="220">
                  <c:v>28.729310000000002</c:v>
                </c:pt>
                <c:pt idx="221">
                  <c:v>27.292680000000001</c:v>
                </c:pt>
                <c:pt idx="222">
                  <c:v>27.993213999999998</c:v>
                </c:pt>
                <c:pt idx="223">
                  <c:v>28.39771</c:v>
                </c:pt>
                <c:pt idx="224">
                  <c:v>28.811592000000001</c:v>
                </c:pt>
                <c:pt idx="225">
                  <c:v>29.225110000000001</c:v>
                </c:pt>
                <c:pt idx="226">
                  <c:v>29.614553000000001</c:v>
                </c:pt>
                <c:pt idx="227">
                  <c:v>29.902908</c:v>
                </c:pt>
                <c:pt idx="228">
                  <c:v>29.857914000000001</c:v>
                </c:pt>
                <c:pt idx="229">
                  <c:v>30.425158</c:v>
                </c:pt>
                <c:pt idx="230">
                  <c:v>30.780626000000002</c:v>
                </c:pt>
                <c:pt idx="231">
                  <c:v>30.824843999999999</c:v>
                </c:pt>
                <c:pt idx="232">
                  <c:v>31.177187</c:v>
                </c:pt>
                <c:pt idx="233">
                  <c:v>32.064563999999997</c:v>
                </c:pt>
                <c:pt idx="234">
                  <c:v>32.4283</c:v>
                </c:pt>
                <c:pt idx="235">
                  <c:v>33.258980000000001</c:v>
                </c:pt>
                <c:pt idx="236">
                  <c:v>33.611217000000003</c:v>
                </c:pt>
                <c:pt idx="237">
                  <c:v>33.400089999999999</c:v>
                </c:pt>
                <c:pt idx="238">
                  <c:v>32.865555000000001</c:v>
                </c:pt>
                <c:pt idx="239">
                  <c:v>32.260685000000002</c:v>
                </c:pt>
                <c:pt idx="240">
                  <c:v>31.725151</c:v>
                </c:pt>
                <c:pt idx="241">
                  <c:v>31.217613</c:v>
                </c:pt>
                <c:pt idx="242">
                  <c:v>31.099305999999999</c:v>
                </c:pt>
                <c:pt idx="243">
                  <c:v>30.749737</c:v>
                </c:pt>
                <c:pt idx="244">
                  <c:v>29.767498</c:v>
                </c:pt>
                <c:pt idx="245">
                  <c:v>29.37716</c:v>
                </c:pt>
                <c:pt idx="246">
                  <c:v>28.691544</c:v>
                </c:pt>
                <c:pt idx="247">
                  <c:v>28.293306000000001</c:v>
                </c:pt>
                <c:pt idx="248">
                  <c:v>28.059581999999999</c:v>
                </c:pt>
                <c:pt idx="249">
                  <c:v>28.030396</c:v>
                </c:pt>
                <c:pt idx="250">
                  <c:v>28.132614</c:v>
                </c:pt>
                <c:pt idx="251">
                  <c:v>28.322613</c:v>
                </c:pt>
                <c:pt idx="252">
                  <c:v>28.610476999999999</c:v>
                </c:pt>
                <c:pt idx="253">
                  <c:v>29.022241999999999</c:v>
                </c:pt>
                <c:pt idx="254">
                  <c:v>29.488026000000001</c:v>
                </c:pt>
                <c:pt idx="255">
                  <c:v>29.812377999999999</c:v>
                </c:pt>
                <c:pt idx="256">
                  <c:v>30.176344</c:v>
                </c:pt>
                <c:pt idx="257">
                  <c:v>30.656248000000001</c:v>
                </c:pt>
                <c:pt idx="258">
                  <c:v>31.382992000000002</c:v>
                </c:pt>
                <c:pt idx="259">
                  <c:v>31.775310000000001</c:v>
                </c:pt>
                <c:pt idx="260">
                  <c:v>32.08907</c:v>
                </c:pt>
                <c:pt idx="261">
                  <c:v>32.594481999999999</c:v>
                </c:pt>
                <c:pt idx="262">
                  <c:v>32.971622000000004</c:v>
                </c:pt>
                <c:pt idx="263">
                  <c:v>33.046374999999998</c:v>
                </c:pt>
                <c:pt idx="264">
                  <c:v>33.626910000000002</c:v>
                </c:pt>
                <c:pt idx="265">
                  <c:v>34.078712000000003</c:v>
                </c:pt>
                <c:pt idx="266">
                  <c:v>34.292217000000001</c:v>
                </c:pt>
                <c:pt idx="267">
                  <c:v>34.771099999999997</c:v>
                </c:pt>
                <c:pt idx="268">
                  <c:v>35.137127</c:v>
                </c:pt>
                <c:pt idx="269">
                  <c:v>35.164402000000003</c:v>
                </c:pt>
                <c:pt idx="270">
                  <c:v>34.932876999999998</c:v>
                </c:pt>
                <c:pt idx="271">
                  <c:v>34.26473</c:v>
                </c:pt>
                <c:pt idx="272">
                  <c:v>33.820099999999996</c:v>
                </c:pt>
                <c:pt idx="273">
                  <c:v>33.465980000000002</c:v>
                </c:pt>
                <c:pt idx="274">
                  <c:v>33.353349999999999</c:v>
                </c:pt>
                <c:pt idx="275">
                  <c:v>33.283557999999999</c:v>
                </c:pt>
                <c:pt idx="276">
                  <c:v>33.26623</c:v>
                </c:pt>
                <c:pt idx="277">
                  <c:v>33.168605999999997</c:v>
                </c:pt>
                <c:pt idx="278">
                  <c:v>33.303530000000002</c:v>
                </c:pt>
                <c:pt idx="279">
                  <c:v>33.315024999999999</c:v>
                </c:pt>
                <c:pt idx="280">
                  <c:v>33.307316</c:v>
                </c:pt>
                <c:pt idx="281">
                  <c:v>33.189922000000003</c:v>
                </c:pt>
                <c:pt idx="282">
                  <c:v>35.520805000000003</c:v>
                </c:pt>
                <c:pt idx="283">
                  <c:v>35.643030000000003</c:v>
                </c:pt>
                <c:pt idx="284">
                  <c:v>35.825270000000003</c:v>
                </c:pt>
                <c:pt idx="285">
                  <c:v>36.038240000000002</c:v>
                </c:pt>
                <c:pt idx="286">
                  <c:v>36.287350000000004</c:v>
                </c:pt>
                <c:pt idx="287">
                  <c:v>36.190036999999997</c:v>
                </c:pt>
                <c:pt idx="288">
                  <c:v>35.857089999999999</c:v>
                </c:pt>
                <c:pt idx="289">
                  <c:v>35.570320000000002</c:v>
                </c:pt>
                <c:pt idx="290">
                  <c:v>35.74418</c:v>
                </c:pt>
                <c:pt idx="291">
                  <c:v>35.411610000000003</c:v>
                </c:pt>
                <c:pt idx="292">
                  <c:v>35.116534999999999</c:v>
                </c:pt>
                <c:pt idx="293">
                  <c:v>35.038482999999999</c:v>
                </c:pt>
                <c:pt idx="294">
                  <c:v>34.994475999999999</c:v>
                </c:pt>
                <c:pt idx="295">
                  <c:v>35.167735999999998</c:v>
                </c:pt>
                <c:pt idx="296">
                  <c:v>35.538499999999999</c:v>
                </c:pt>
                <c:pt idx="297">
                  <c:v>35.854840000000003</c:v>
                </c:pt>
                <c:pt idx="298">
                  <c:v>36.119239999999998</c:v>
                </c:pt>
                <c:pt idx="299">
                  <c:v>36.218649999999997</c:v>
                </c:pt>
                <c:pt idx="300">
                  <c:v>36.293550000000003</c:v>
                </c:pt>
                <c:pt idx="301">
                  <c:v>36.61262</c:v>
                </c:pt>
                <c:pt idx="302">
                  <c:v>36.623629999999999</c:v>
                </c:pt>
                <c:pt idx="303">
                  <c:v>36.796962999999998</c:v>
                </c:pt>
                <c:pt idx="304">
                  <c:v>36.960630000000002</c:v>
                </c:pt>
                <c:pt idx="305">
                  <c:v>36.938690000000001</c:v>
                </c:pt>
                <c:pt idx="306">
                  <c:v>37.073864</c:v>
                </c:pt>
                <c:pt idx="307">
                  <c:v>37.138675999999997</c:v>
                </c:pt>
                <c:pt idx="308">
                  <c:v>36.931429999999999</c:v>
                </c:pt>
                <c:pt idx="309">
                  <c:v>36.908478000000002</c:v>
                </c:pt>
                <c:pt idx="310">
                  <c:v>36.716644000000002</c:v>
                </c:pt>
                <c:pt idx="311">
                  <c:v>36.772494999999999</c:v>
                </c:pt>
                <c:pt idx="312">
                  <c:v>36.821227999999998</c:v>
                </c:pt>
                <c:pt idx="313">
                  <c:v>36.935595999999997</c:v>
                </c:pt>
                <c:pt idx="314">
                  <c:v>36.869399999999999</c:v>
                </c:pt>
                <c:pt idx="315">
                  <c:v>36.568714</c:v>
                </c:pt>
                <c:pt idx="316">
                  <c:v>36.502808000000002</c:v>
                </c:pt>
                <c:pt idx="317">
                  <c:v>36.442459999999997</c:v>
                </c:pt>
                <c:pt idx="318">
                  <c:v>36.307155999999999</c:v>
                </c:pt>
                <c:pt idx="319">
                  <c:v>36.310789999999997</c:v>
                </c:pt>
                <c:pt idx="320">
                  <c:v>36.356464000000003</c:v>
                </c:pt>
                <c:pt idx="321">
                  <c:v>36.428049999999999</c:v>
                </c:pt>
                <c:pt idx="322">
                  <c:v>36.627487000000002</c:v>
                </c:pt>
                <c:pt idx="323">
                  <c:v>36.713478000000002</c:v>
                </c:pt>
                <c:pt idx="324">
                  <c:v>36.869759999999999</c:v>
                </c:pt>
                <c:pt idx="325">
                  <c:v>36.883118000000003</c:v>
                </c:pt>
                <c:pt idx="326">
                  <c:v>36.975830000000002</c:v>
                </c:pt>
                <c:pt idx="327">
                  <c:v>36.929512000000003</c:v>
                </c:pt>
                <c:pt idx="328">
                  <c:v>36.798855000000003</c:v>
                </c:pt>
                <c:pt idx="329">
                  <c:v>36.838234</c:v>
                </c:pt>
                <c:pt idx="330">
                  <c:v>36.751167000000002</c:v>
                </c:pt>
                <c:pt idx="331">
                  <c:v>36.755220000000001</c:v>
                </c:pt>
                <c:pt idx="332">
                  <c:v>36.732413999999999</c:v>
                </c:pt>
                <c:pt idx="333">
                  <c:v>36.491030000000002</c:v>
                </c:pt>
                <c:pt idx="334">
                  <c:v>36.200127000000002</c:v>
                </c:pt>
                <c:pt idx="335">
                  <c:v>36.765563999999998</c:v>
                </c:pt>
                <c:pt idx="336">
                  <c:v>36.878033000000002</c:v>
                </c:pt>
                <c:pt idx="337">
                  <c:v>36.955129999999997</c:v>
                </c:pt>
                <c:pt idx="338">
                  <c:v>37.126316000000003</c:v>
                </c:pt>
                <c:pt idx="339">
                  <c:v>37.254147000000003</c:v>
                </c:pt>
                <c:pt idx="340">
                  <c:v>37.247562000000002</c:v>
                </c:pt>
                <c:pt idx="341">
                  <c:v>38.053207</c:v>
                </c:pt>
                <c:pt idx="342">
                  <c:v>38.316794999999999</c:v>
                </c:pt>
                <c:pt idx="343">
                  <c:v>38.526200000000003</c:v>
                </c:pt>
                <c:pt idx="344">
                  <c:v>38.657989999999998</c:v>
                </c:pt>
                <c:pt idx="345">
                  <c:v>38.794339999999998</c:v>
                </c:pt>
                <c:pt idx="346">
                  <c:v>39.813515000000002</c:v>
                </c:pt>
                <c:pt idx="347">
                  <c:v>40.256965999999998</c:v>
                </c:pt>
                <c:pt idx="348">
                  <c:v>40.343746000000003</c:v>
                </c:pt>
                <c:pt idx="349">
                  <c:v>40.952007000000002</c:v>
                </c:pt>
                <c:pt idx="350">
                  <c:v>41.112414999999999</c:v>
                </c:pt>
                <c:pt idx="351">
                  <c:v>41.098550000000003</c:v>
                </c:pt>
                <c:pt idx="352">
                  <c:v>41.581904999999999</c:v>
                </c:pt>
                <c:pt idx="353">
                  <c:v>41.988308000000004</c:v>
                </c:pt>
                <c:pt idx="354">
                  <c:v>42.158484999999999</c:v>
                </c:pt>
                <c:pt idx="355">
                  <c:v>42.153680000000001</c:v>
                </c:pt>
                <c:pt idx="356">
                  <c:v>42.083812999999999</c:v>
                </c:pt>
                <c:pt idx="357">
                  <c:v>42.186565000000002</c:v>
                </c:pt>
                <c:pt idx="358">
                  <c:v>41.968983000000001</c:v>
                </c:pt>
                <c:pt idx="359">
                  <c:v>42.246169999999999</c:v>
                </c:pt>
                <c:pt idx="360">
                  <c:v>42.314526000000001</c:v>
                </c:pt>
                <c:pt idx="361">
                  <c:v>42.283943000000001</c:v>
                </c:pt>
                <c:pt idx="362">
                  <c:v>42.205590000000001</c:v>
                </c:pt>
                <c:pt idx="363">
                  <c:v>42.149265</c:v>
                </c:pt>
                <c:pt idx="364">
                  <c:v>42.063540000000003</c:v>
                </c:pt>
                <c:pt idx="365">
                  <c:v>41.976883000000001</c:v>
                </c:pt>
                <c:pt idx="366">
                  <c:v>41.910254999999999</c:v>
                </c:pt>
                <c:pt idx="367">
                  <c:v>41.699593</c:v>
                </c:pt>
                <c:pt idx="368">
                  <c:v>41.152520000000003</c:v>
                </c:pt>
                <c:pt idx="369">
                  <c:v>40.644343999999997</c:v>
                </c:pt>
                <c:pt idx="370">
                  <c:v>39.629019999999997</c:v>
                </c:pt>
                <c:pt idx="371">
                  <c:v>39.002457</c:v>
                </c:pt>
                <c:pt idx="372">
                  <c:v>38.668689999999998</c:v>
                </c:pt>
                <c:pt idx="373">
                  <c:v>38.381140000000002</c:v>
                </c:pt>
                <c:pt idx="374">
                  <c:v>38.249637999999997</c:v>
                </c:pt>
                <c:pt idx="375">
                  <c:v>38.173664000000002</c:v>
                </c:pt>
                <c:pt idx="376">
                  <c:v>38.45458</c:v>
                </c:pt>
                <c:pt idx="377">
                  <c:v>38.715730000000001</c:v>
                </c:pt>
                <c:pt idx="378">
                  <c:v>38.719549999999998</c:v>
                </c:pt>
                <c:pt idx="379">
                  <c:v>38.950245000000002</c:v>
                </c:pt>
                <c:pt idx="380">
                  <c:v>39.051228000000002</c:v>
                </c:pt>
                <c:pt idx="381">
                  <c:v>38.913910000000001</c:v>
                </c:pt>
                <c:pt idx="382">
                  <c:v>38.603499999999997</c:v>
                </c:pt>
                <c:pt idx="383">
                  <c:v>38.335790000000003</c:v>
                </c:pt>
                <c:pt idx="384">
                  <c:v>38.089979999999997</c:v>
                </c:pt>
                <c:pt idx="385">
                  <c:v>37.798569999999998</c:v>
                </c:pt>
                <c:pt idx="386">
                  <c:v>37.486789999999999</c:v>
                </c:pt>
                <c:pt idx="387">
                  <c:v>37.175815999999998</c:v>
                </c:pt>
                <c:pt idx="388">
                  <c:v>36.815685000000002</c:v>
                </c:pt>
                <c:pt idx="389">
                  <c:v>36.607425999999997</c:v>
                </c:pt>
                <c:pt idx="390">
                  <c:v>36.424030000000002</c:v>
                </c:pt>
                <c:pt idx="391">
                  <c:v>36.396343000000002</c:v>
                </c:pt>
                <c:pt idx="392">
                  <c:v>36.362720000000003</c:v>
                </c:pt>
                <c:pt idx="393">
                  <c:v>36.518610000000002</c:v>
                </c:pt>
                <c:pt idx="394">
                  <c:v>36.705196000000001</c:v>
                </c:pt>
                <c:pt idx="395">
                  <c:v>36.684306999999997</c:v>
                </c:pt>
                <c:pt idx="396">
                  <c:v>36.75432</c:v>
                </c:pt>
                <c:pt idx="397">
                  <c:v>36.794002999999996</c:v>
                </c:pt>
                <c:pt idx="398">
                  <c:v>36.807409999999997</c:v>
                </c:pt>
                <c:pt idx="399">
                  <c:v>36.790545999999999</c:v>
                </c:pt>
                <c:pt idx="400">
                  <c:v>36.963608000000001</c:v>
                </c:pt>
                <c:pt idx="401">
                  <c:v>37.122787000000002</c:v>
                </c:pt>
                <c:pt idx="402">
                  <c:v>37.391582</c:v>
                </c:pt>
                <c:pt idx="403">
                  <c:v>37.287857000000002</c:v>
                </c:pt>
                <c:pt idx="404">
                  <c:v>37.428288000000002</c:v>
                </c:pt>
                <c:pt idx="405">
                  <c:v>37.217906999999997</c:v>
                </c:pt>
                <c:pt idx="406">
                  <c:v>37.195056999999998</c:v>
                </c:pt>
                <c:pt idx="407">
                  <c:v>36.795414000000001</c:v>
                </c:pt>
                <c:pt idx="408">
                  <c:v>36.760246000000002</c:v>
                </c:pt>
                <c:pt idx="409">
                  <c:v>36.097206</c:v>
                </c:pt>
                <c:pt idx="410">
                  <c:v>36.003326000000001</c:v>
                </c:pt>
                <c:pt idx="411">
                  <c:v>35.572895000000003</c:v>
                </c:pt>
                <c:pt idx="412">
                  <c:v>35.480316000000002</c:v>
                </c:pt>
                <c:pt idx="413">
                  <c:v>35.905845999999997</c:v>
                </c:pt>
                <c:pt idx="414">
                  <c:v>36.213462999999997</c:v>
                </c:pt>
                <c:pt idx="415">
                  <c:v>36.249946999999999</c:v>
                </c:pt>
                <c:pt idx="416">
                  <c:v>36.424602999999998</c:v>
                </c:pt>
                <c:pt idx="417">
                  <c:v>36.608367999999999</c:v>
                </c:pt>
                <c:pt idx="418">
                  <c:v>36.828583000000002</c:v>
                </c:pt>
                <c:pt idx="419">
                  <c:v>36.940519999999999</c:v>
                </c:pt>
                <c:pt idx="420">
                  <c:v>37.011456000000003</c:v>
                </c:pt>
                <c:pt idx="421">
                  <c:v>36.514457999999998</c:v>
                </c:pt>
                <c:pt idx="422">
                  <c:v>36.216197999999999</c:v>
                </c:pt>
                <c:pt idx="423">
                  <c:v>35.917470000000002</c:v>
                </c:pt>
                <c:pt idx="424">
                  <c:v>35.520477</c:v>
                </c:pt>
                <c:pt idx="425">
                  <c:v>35.036990000000003</c:v>
                </c:pt>
                <c:pt idx="426">
                  <c:v>34.943874000000001</c:v>
                </c:pt>
                <c:pt idx="427">
                  <c:v>34.669249999999998</c:v>
                </c:pt>
                <c:pt idx="428">
                  <c:v>35.159412000000003</c:v>
                </c:pt>
                <c:pt idx="429">
                  <c:v>35.618389999999998</c:v>
                </c:pt>
                <c:pt idx="430">
                  <c:v>36.240920000000003</c:v>
                </c:pt>
                <c:pt idx="431">
                  <c:v>36.79213</c:v>
                </c:pt>
                <c:pt idx="432">
                  <c:v>37.724494999999997</c:v>
                </c:pt>
                <c:pt idx="433">
                  <c:v>38.905273000000001</c:v>
                </c:pt>
                <c:pt idx="434">
                  <c:v>39.989516999999999</c:v>
                </c:pt>
                <c:pt idx="435">
                  <c:v>40.579889999999999</c:v>
                </c:pt>
                <c:pt idx="436">
                  <c:v>41.34207</c:v>
                </c:pt>
                <c:pt idx="437">
                  <c:v>41.93074</c:v>
                </c:pt>
                <c:pt idx="438">
                  <c:v>42.569049999999997</c:v>
                </c:pt>
                <c:pt idx="439">
                  <c:v>43.059989999999999</c:v>
                </c:pt>
                <c:pt idx="440">
                  <c:v>43.694262999999999</c:v>
                </c:pt>
                <c:pt idx="441">
                  <c:v>44.349926000000004</c:v>
                </c:pt>
                <c:pt idx="442">
                  <c:v>44.810993000000003</c:v>
                </c:pt>
                <c:pt idx="443">
                  <c:v>45.050068000000003</c:v>
                </c:pt>
                <c:pt idx="444">
                  <c:v>44.968853000000003</c:v>
                </c:pt>
                <c:pt idx="445">
                  <c:v>44.796204000000003</c:v>
                </c:pt>
                <c:pt idx="446">
                  <c:v>44.990265000000001</c:v>
                </c:pt>
                <c:pt idx="447">
                  <c:v>45.142204</c:v>
                </c:pt>
                <c:pt idx="448">
                  <c:v>45.360534999999999</c:v>
                </c:pt>
                <c:pt idx="449">
                  <c:v>45.61204</c:v>
                </c:pt>
                <c:pt idx="450">
                  <c:v>45.693004999999999</c:v>
                </c:pt>
                <c:pt idx="451">
                  <c:v>45.767463999999997</c:v>
                </c:pt>
                <c:pt idx="452">
                  <c:v>45.78828</c:v>
                </c:pt>
                <c:pt idx="453">
                  <c:v>45.973970000000001</c:v>
                </c:pt>
                <c:pt idx="454">
                  <c:v>46.052883000000001</c:v>
                </c:pt>
                <c:pt idx="455">
                  <c:v>45.802720000000001</c:v>
                </c:pt>
                <c:pt idx="456">
                  <c:v>45.433239999999998</c:v>
                </c:pt>
                <c:pt idx="457">
                  <c:v>44.675849999999997</c:v>
                </c:pt>
                <c:pt idx="458">
                  <c:v>44.361139999999999</c:v>
                </c:pt>
                <c:pt idx="459">
                  <c:v>44.441009999999999</c:v>
                </c:pt>
                <c:pt idx="460">
                  <c:v>44.516196999999998</c:v>
                </c:pt>
                <c:pt idx="461">
                  <c:v>44.39667</c:v>
                </c:pt>
                <c:pt idx="462">
                  <c:v>44.405679999999997</c:v>
                </c:pt>
                <c:pt idx="463">
                  <c:v>44.254474999999999</c:v>
                </c:pt>
                <c:pt idx="464">
                  <c:v>44.140140000000002</c:v>
                </c:pt>
                <c:pt idx="465">
                  <c:v>44.255760000000002</c:v>
                </c:pt>
                <c:pt idx="466">
                  <c:v>45.152819999999998</c:v>
                </c:pt>
                <c:pt idx="467">
                  <c:v>45.626021999999999</c:v>
                </c:pt>
                <c:pt idx="468">
                  <c:v>46.705523999999997</c:v>
                </c:pt>
                <c:pt idx="469">
                  <c:v>47.321689999999997</c:v>
                </c:pt>
                <c:pt idx="470">
                  <c:v>47.709800000000001</c:v>
                </c:pt>
                <c:pt idx="471">
                  <c:v>48.064697000000002</c:v>
                </c:pt>
                <c:pt idx="472">
                  <c:v>48.369979999999998</c:v>
                </c:pt>
                <c:pt idx="473">
                  <c:v>47.505394000000003</c:v>
                </c:pt>
                <c:pt idx="474">
                  <c:v>47.403584000000002</c:v>
                </c:pt>
                <c:pt idx="475">
                  <c:v>46.927512999999998</c:v>
                </c:pt>
                <c:pt idx="476">
                  <c:v>46.147423000000003</c:v>
                </c:pt>
                <c:pt idx="477">
                  <c:v>45.361396999999997</c:v>
                </c:pt>
                <c:pt idx="478">
                  <c:v>44.921275999999999</c:v>
                </c:pt>
                <c:pt idx="479">
                  <c:v>44.824379999999998</c:v>
                </c:pt>
                <c:pt idx="480">
                  <c:v>44.605246999999999</c:v>
                </c:pt>
                <c:pt idx="481">
                  <c:v>44.410490000000003</c:v>
                </c:pt>
                <c:pt idx="482">
                  <c:v>44.366596000000001</c:v>
                </c:pt>
                <c:pt idx="483">
                  <c:v>44.273646999999997</c:v>
                </c:pt>
                <c:pt idx="484">
                  <c:v>44.260241999999998</c:v>
                </c:pt>
                <c:pt idx="485">
                  <c:v>44.366199999999999</c:v>
                </c:pt>
                <c:pt idx="486">
                  <c:v>44.512177000000001</c:v>
                </c:pt>
                <c:pt idx="487">
                  <c:v>44.902676</c:v>
                </c:pt>
                <c:pt idx="488">
                  <c:v>45.478423999999997</c:v>
                </c:pt>
                <c:pt idx="489">
                  <c:v>46.015506999999999</c:v>
                </c:pt>
                <c:pt idx="490">
                  <c:v>46.147841999999997</c:v>
                </c:pt>
                <c:pt idx="491">
                  <c:v>46.010629999999999</c:v>
                </c:pt>
                <c:pt idx="492">
                  <c:v>45.752789999999997</c:v>
                </c:pt>
                <c:pt idx="493">
                  <c:v>45.489750000000001</c:v>
                </c:pt>
                <c:pt idx="494">
                  <c:v>44.684863999999997</c:v>
                </c:pt>
                <c:pt idx="495">
                  <c:v>43.749865999999997</c:v>
                </c:pt>
                <c:pt idx="496">
                  <c:v>43.732742000000002</c:v>
                </c:pt>
                <c:pt idx="497">
                  <c:v>41.88597</c:v>
                </c:pt>
                <c:pt idx="498">
                  <c:v>43.752983</c:v>
                </c:pt>
                <c:pt idx="499">
                  <c:v>45.040084999999998</c:v>
                </c:pt>
                <c:pt idx="500">
                  <c:v>45.420386999999998</c:v>
                </c:pt>
                <c:pt idx="501">
                  <c:v>45.93694</c:v>
                </c:pt>
                <c:pt idx="502">
                  <c:v>46.318832</c:v>
                </c:pt>
                <c:pt idx="503">
                  <c:v>46.839179999999999</c:v>
                </c:pt>
                <c:pt idx="504">
                  <c:v>47.208427</c:v>
                </c:pt>
                <c:pt idx="505">
                  <c:v>47.362842999999998</c:v>
                </c:pt>
                <c:pt idx="506">
                  <c:v>47.070456999999998</c:v>
                </c:pt>
                <c:pt idx="507">
                  <c:v>46.423847000000002</c:v>
                </c:pt>
                <c:pt idx="508">
                  <c:v>46.012214999999998</c:v>
                </c:pt>
                <c:pt idx="509">
                  <c:v>45.498080000000002</c:v>
                </c:pt>
                <c:pt idx="510">
                  <c:v>44.807938</c:v>
                </c:pt>
                <c:pt idx="511">
                  <c:v>44.081145999999997</c:v>
                </c:pt>
                <c:pt idx="512">
                  <c:v>43.546219999999998</c:v>
                </c:pt>
                <c:pt idx="513">
                  <c:v>42.901629999999997</c:v>
                </c:pt>
                <c:pt idx="514">
                  <c:v>42.686416999999999</c:v>
                </c:pt>
                <c:pt idx="515">
                  <c:v>42.589466000000002</c:v>
                </c:pt>
                <c:pt idx="516">
                  <c:v>42.474643999999998</c:v>
                </c:pt>
                <c:pt idx="517">
                  <c:v>42.475655000000003</c:v>
                </c:pt>
                <c:pt idx="518">
                  <c:v>42.241923999999997</c:v>
                </c:pt>
                <c:pt idx="519">
                  <c:v>42.336660000000002</c:v>
                </c:pt>
                <c:pt idx="520">
                  <c:v>42.039473999999998</c:v>
                </c:pt>
                <c:pt idx="521">
                  <c:v>41.57047</c:v>
                </c:pt>
                <c:pt idx="522">
                  <c:v>41.070296999999997</c:v>
                </c:pt>
                <c:pt idx="523">
                  <c:v>39.891747000000002</c:v>
                </c:pt>
                <c:pt idx="524">
                  <c:v>38.233260000000001</c:v>
                </c:pt>
                <c:pt idx="525">
                  <c:v>36.42165</c:v>
                </c:pt>
                <c:pt idx="526">
                  <c:v>36.881194999999998</c:v>
                </c:pt>
                <c:pt idx="527">
                  <c:v>37.15643</c:v>
                </c:pt>
                <c:pt idx="528">
                  <c:v>39.815322999999999</c:v>
                </c:pt>
                <c:pt idx="529">
                  <c:v>44.077877000000001</c:v>
                </c:pt>
                <c:pt idx="530">
                  <c:v>45.16948</c:v>
                </c:pt>
                <c:pt idx="531">
                  <c:v>46.322913999999997</c:v>
                </c:pt>
                <c:pt idx="532">
                  <c:v>46.835169999999998</c:v>
                </c:pt>
                <c:pt idx="533">
                  <c:v>46.963610000000003</c:v>
                </c:pt>
                <c:pt idx="534">
                  <c:v>45.953327000000002</c:v>
                </c:pt>
                <c:pt idx="535">
                  <c:v>44.931632999999998</c:v>
                </c:pt>
                <c:pt idx="536">
                  <c:v>43.950394000000003</c:v>
                </c:pt>
                <c:pt idx="537">
                  <c:v>43.503715999999997</c:v>
                </c:pt>
                <c:pt idx="538">
                  <c:v>43.413162</c:v>
                </c:pt>
                <c:pt idx="539">
                  <c:v>43.568767999999999</c:v>
                </c:pt>
                <c:pt idx="540">
                  <c:v>43.368526000000003</c:v>
                </c:pt>
                <c:pt idx="541">
                  <c:v>43.768771999999998</c:v>
                </c:pt>
                <c:pt idx="542">
                  <c:v>44.457397</c:v>
                </c:pt>
                <c:pt idx="543">
                  <c:v>44.91628</c:v>
                </c:pt>
                <c:pt idx="544">
                  <c:v>45.207324999999997</c:v>
                </c:pt>
                <c:pt idx="545">
                  <c:v>45.632469999999998</c:v>
                </c:pt>
                <c:pt idx="546">
                  <c:v>46.030903000000002</c:v>
                </c:pt>
                <c:pt idx="547">
                  <c:v>46.020072999999996</c:v>
                </c:pt>
                <c:pt idx="548">
                  <c:v>45.989716000000001</c:v>
                </c:pt>
                <c:pt idx="549">
                  <c:v>45.843380000000003</c:v>
                </c:pt>
                <c:pt idx="550">
                  <c:v>45.720607999999999</c:v>
                </c:pt>
                <c:pt idx="551">
                  <c:v>45.458072999999999</c:v>
                </c:pt>
                <c:pt idx="552">
                  <c:v>45.178085000000003</c:v>
                </c:pt>
                <c:pt idx="553">
                  <c:v>45.085030000000003</c:v>
                </c:pt>
                <c:pt idx="554">
                  <c:v>44.62838</c:v>
                </c:pt>
                <c:pt idx="555">
                  <c:v>41.393031999999998</c:v>
                </c:pt>
                <c:pt idx="556">
                  <c:v>37.804139999999997</c:v>
                </c:pt>
                <c:pt idx="557">
                  <c:v>36.460754000000001</c:v>
                </c:pt>
                <c:pt idx="558">
                  <c:v>41.505477999999997</c:v>
                </c:pt>
                <c:pt idx="559">
                  <c:v>40.517532000000003</c:v>
                </c:pt>
                <c:pt idx="560">
                  <c:v>40.175593999999997</c:v>
                </c:pt>
                <c:pt idx="561">
                  <c:v>39.506045999999998</c:v>
                </c:pt>
                <c:pt idx="562">
                  <c:v>39.079320000000003</c:v>
                </c:pt>
                <c:pt idx="563">
                  <c:v>39.806908</c:v>
                </c:pt>
                <c:pt idx="564">
                  <c:v>40.401477999999997</c:v>
                </c:pt>
                <c:pt idx="565">
                  <c:v>40.616610000000001</c:v>
                </c:pt>
                <c:pt idx="566">
                  <c:v>39.59254</c:v>
                </c:pt>
                <c:pt idx="567">
                  <c:v>38.527797999999997</c:v>
                </c:pt>
                <c:pt idx="568">
                  <c:v>37.515675000000002</c:v>
                </c:pt>
                <c:pt idx="569">
                  <c:v>37.179603999999998</c:v>
                </c:pt>
                <c:pt idx="570">
                  <c:v>36.946899999999999</c:v>
                </c:pt>
                <c:pt idx="571">
                  <c:v>37.556587</c:v>
                </c:pt>
                <c:pt idx="572">
                  <c:v>37.493774000000002</c:v>
                </c:pt>
                <c:pt idx="573">
                  <c:v>37.574223000000003</c:v>
                </c:pt>
                <c:pt idx="574">
                  <c:v>37.770763000000002</c:v>
                </c:pt>
                <c:pt idx="575">
                  <c:v>38.208187000000002</c:v>
                </c:pt>
                <c:pt idx="576">
                  <c:v>39.917965000000002</c:v>
                </c:pt>
                <c:pt idx="577">
                  <c:v>39.922317999999997</c:v>
                </c:pt>
                <c:pt idx="578">
                  <c:v>39.289433000000002</c:v>
                </c:pt>
                <c:pt idx="579">
                  <c:v>38.298695000000002</c:v>
                </c:pt>
                <c:pt idx="580">
                  <c:v>37.564920000000001</c:v>
                </c:pt>
                <c:pt idx="581">
                  <c:v>37.067320000000002</c:v>
                </c:pt>
                <c:pt idx="582">
                  <c:v>36.015149999999998</c:v>
                </c:pt>
                <c:pt idx="583">
                  <c:v>35.931404000000001</c:v>
                </c:pt>
                <c:pt idx="584">
                  <c:v>36.440570000000001</c:v>
                </c:pt>
                <c:pt idx="585">
                  <c:v>36.933169999999997</c:v>
                </c:pt>
                <c:pt idx="586">
                  <c:v>37.322024999999996</c:v>
                </c:pt>
                <c:pt idx="587">
                  <c:v>37.735039999999998</c:v>
                </c:pt>
                <c:pt idx="588">
                  <c:v>38.225850000000001</c:v>
                </c:pt>
                <c:pt idx="589">
                  <c:v>38.423865999999997</c:v>
                </c:pt>
                <c:pt idx="590">
                  <c:v>38.466113999999997</c:v>
                </c:pt>
                <c:pt idx="591">
                  <c:v>37.720393999999999</c:v>
                </c:pt>
                <c:pt idx="592">
                  <c:v>37.378456</c:v>
                </c:pt>
                <c:pt idx="593">
                  <c:v>37.163822000000003</c:v>
                </c:pt>
                <c:pt idx="594">
                  <c:v>37.081893999999998</c:v>
                </c:pt>
                <c:pt idx="595">
                  <c:v>36.867750000000001</c:v>
                </c:pt>
                <c:pt idx="596">
                  <c:v>36.626460000000002</c:v>
                </c:pt>
                <c:pt idx="597">
                  <c:v>36.400559999999999</c:v>
                </c:pt>
                <c:pt idx="598">
                  <c:v>36.491917000000001</c:v>
                </c:pt>
                <c:pt idx="599">
                  <c:v>36.229210000000002</c:v>
                </c:pt>
                <c:pt idx="600">
                  <c:v>36.661589999999997</c:v>
                </c:pt>
                <c:pt idx="601">
                  <c:v>37.110053999999998</c:v>
                </c:pt>
                <c:pt idx="602">
                  <c:v>37.497387000000003</c:v>
                </c:pt>
                <c:pt idx="603">
                  <c:v>37.671066000000003</c:v>
                </c:pt>
                <c:pt idx="604">
                  <c:v>38.062109999999997</c:v>
                </c:pt>
                <c:pt idx="605">
                  <c:v>38.20758</c:v>
                </c:pt>
                <c:pt idx="606">
                  <c:v>38.442985999999998</c:v>
                </c:pt>
                <c:pt idx="607">
                  <c:v>38.291054000000003</c:v>
                </c:pt>
                <c:pt idx="608">
                  <c:v>37.784950000000002</c:v>
                </c:pt>
                <c:pt idx="609">
                  <c:v>37.527275000000003</c:v>
                </c:pt>
                <c:pt idx="610">
                  <c:v>37.260370000000002</c:v>
                </c:pt>
                <c:pt idx="611">
                  <c:v>37.034990000000001</c:v>
                </c:pt>
                <c:pt idx="612">
                  <c:v>36.994396000000002</c:v>
                </c:pt>
                <c:pt idx="613">
                  <c:v>42.486649999999997</c:v>
                </c:pt>
                <c:pt idx="614">
                  <c:v>41.708495999999997</c:v>
                </c:pt>
                <c:pt idx="615">
                  <c:v>41.126600000000003</c:v>
                </c:pt>
                <c:pt idx="616">
                  <c:v>40.787643000000003</c:v>
                </c:pt>
                <c:pt idx="617">
                  <c:v>40.400060000000003</c:v>
                </c:pt>
                <c:pt idx="618">
                  <c:v>40.035919999999997</c:v>
                </c:pt>
                <c:pt idx="619">
                  <c:v>39.679740000000002</c:v>
                </c:pt>
                <c:pt idx="620">
                  <c:v>39.744509999999998</c:v>
                </c:pt>
                <c:pt idx="621">
                  <c:v>42.36056</c:v>
                </c:pt>
                <c:pt idx="622">
                  <c:v>42.935912999999999</c:v>
                </c:pt>
                <c:pt idx="623">
                  <c:v>43.007170000000002</c:v>
                </c:pt>
                <c:pt idx="624">
                  <c:v>41.142035999999997</c:v>
                </c:pt>
                <c:pt idx="625">
                  <c:v>39.003790000000002</c:v>
                </c:pt>
                <c:pt idx="626">
                  <c:v>38.338047000000003</c:v>
                </c:pt>
                <c:pt idx="627">
                  <c:v>40.541428000000003</c:v>
                </c:pt>
                <c:pt idx="628">
                  <c:v>40.54757</c:v>
                </c:pt>
                <c:pt idx="629">
                  <c:v>40.352519999999998</c:v>
                </c:pt>
                <c:pt idx="630">
                  <c:v>39.869906999999998</c:v>
                </c:pt>
                <c:pt idx="631">
                  <c:v>39.896942000000003</c:v>
                </c:pt>
                <c:pt idx="632">
                  <c:v>39.607729999999997</c:v>
                </c:pt>
                <c:pt idx="633">
                  <c:v>38.887340000000002</c:v>
                </c:pt>
                <c:pt idx="634">
                  <c:v>38.604446000000003</c:v>
                </c:pt>
                <c:pt idx="635">
                  <c:v>36.079113</c:v>
                </c:pt>
                <c:pt idx="636">
                  <c:v>34.739983000000002</c:v>
                </c:pt>
                <c:pt idx="637">
                  <c:v>34.024085999999997</c:v>
                </c:pt>
                <c:pt idx="638">
                  <c:v>34.309950000000001</c:v>
                </c:pt>
                <c:pt idx="639">
                  <c:v>35.377540000000003</c:v>
                </c:pt>
                <c:pt idx="640">
                  <c:v>36.423096000000001</c:v>
                </c:pt>
                <c:pt idx="641">
                  <c:v>37.171402</c:v>
                </c:pt>
                <c:pt idx="642">
                  <c:v>37.330146999999997</c:v>
                </c:pt>
                <c:pt idx="643">
                  <c:v>37.785789999999999</c:v>
                </c:pt>
                <c:pt idx="644">
                  <c:v>38.152897000000003</c:v>
                </c:pt>
                <c:pt idx="645">
                  <c:v>37.949145999999999</c:v>
                </c:pt>
                <c:pt idx="646">
                  <c:v>38.151062000000003</c:v>
                </c:pt>
                <c:pt idx="647">
                  <c:v>38.100872000000003</c:v>
                </c:pt>
                <c:pt idx="648">
                  <c:v>38.252510000000001</c:v>
                </c:pt>
                <c:pt idx="649">
                  <c:v>38.442596000000002</c:v>
                </c:pt>
                <c:pt idx="650">
                  <c:v>38.479030000000002</c:v>
                </c:pt>
                <c:pt idx="651">
                  <c:v>38.529986999999998</c:v>
                </c:pt>
                <c:pt idx="652">
                  <c:v>38.423645</c:v>
                </c:pt>
                <c:pt idx="653">
                  <c:v>38.362892000000002</c:v>
                </c:pt>
                <c:pt idx="654">
                  <c:v>38.138860000000001</c:v>
                </c:pt>
                <c:pt idx="655">
                  <c:v>38.193652999999998</c:v>
                </c:pt>
                <c:pt idx="656">
                  <c:v>37.836889999999997</c:v>
                </c:pt>
                <c:pt idx="657">
                  <c:v>37.558239999999998</c:v>
                </c:pt>
                <c:pt idx="658">
                  <c:v>37.281531999999999</c:v>
                </c:pt>
                <c:pt idx="659">
                  <c:v>37.400382999999998</c:v>
                </c:pt>
                <c:pt idx="660">
                  <c:v>37.218463999999997</c:v>
                </c:pt>
                <c:pt idx="661">
                  <c:v>36.523074999999999</c:v>
                </c:pt>
                <c:pt idx="662">
                  <c:v>36.746414000000001</c:v>
                </c:pt>
                <c:pt idx="663">
                  <c:v>37.212097</c:v>
                </c:pt>
                <c:pt idx="664">
                  <c:v>37.699154</c:v>
                </c:pt>
                <c:pt idx="665">
                  <c:v>38.408825</c:v>
                </c:pt>
                <c:pt idx="666">
                  <c:v>38.759320000000002</c:v>
                </c:pt>
                <c:pt idx="667">
                  <c:v>39.198993999999999</c:v>
                </c:pt>
                <c:pt idx="668">
                  <c:v>39.490882999999997</c:v>
                </c:pt>
                <c:pt idx="669">
                  <c:v>39.395847000000003</c:v>
                </c:pt>
                <c:pt idx="670">
                  <c:v>39.308315</c:v>
                </c:pt>
                <c:pt idx="671">
                  <c:v>38.799827999999998</c:v>
                </c:pt>
                <c:pt idx="672">
                  <c:v>38.068989999999999</c:v>
                </c:pt>
                <c:pt idx="673">
                  <c:v>37.462769999999999</c:v>
                </c:pt>
                <c:pt idx="674">
                  <c:v>37.093322999999998</c:v>
                </c:pt>
                <c:pt idx="675">
                  <c:v>36.828130000000002</c:v>
                </c:pt>
                <c:pt idx="676">
                  <c:v>36.564278000000002</c:v>
                </c:pt>
                <c:pt idx="677">
                  <c:v>36.228637999999997</c:v>
                </c:pt>
                <c:pt idx="678">
                  <c:v>36.267581999999997</c:v>
                </c:pt>
                <c:pt idx="679">
                  <c:v>36.685406</c:v>
                </c:pt>
                <c:pt idx="680">
                  <c:v>37.326507999999997</c:v>
                </c:pt>
                <c:pt idx="681">
                  <c:v>37.797615</c:v>
                </c:pt>
                <c:pt idx="682">
                  <c:v>38.228183999999999</c:v>
                </c:pt>
                <c:pt idx="683">
                  <c:v>38.11524</c:v>
                </c:pt>
                <c:pt idx="684">
                  <c:v>37.732799999999997</c:v>
                </c:pt>
                <c:pt idx="685">
                  <c:v>38.090004</c:v>
                </c:pt>
                <c:pt idx="686">
                  <c:v>37.711371999999997</c:v>
                </c:pt>
                <c:pt idx="687">
                  <c:v>37.62482</c:v>
                </c:pt>
                <c:pt idx="688">
                  <c:v>37.256138</c:v>
                </c:pt>
                <c:pt idx="689">
                  <c:v>37.099200000000003</c:v>
                </c:pt>
                <c:pt idx="690">
                  <c:v>36.649344999999997</c:v>
                </c:pt>
                <c:pt idx="691">
                  <c:v>36.539912999999999</c:v>
                </c:pt>
                <c:pt idx="692">
                  <c:v>35.876434000000003</c:v>
                </c:pt>
                <c:pt idx="693">
                  <c:v>35.708022999999997</c:v>
                </c:pt>
                <c:pt idx="694">
                  <c:v>35.485190000000003</c:v>
                </c:pt>
                <c:pt idx="695">
                  <c:v>35.776764</c:v>
                </c:pt>
                <c:pt idx="696">
                  <c:v>36.167682999999997</c:v>
                </c:pt>
                <c:pt idx="697">
                  <c:v>36.774549999999998</c:v>
                </c:pt>
                <c:pt idx="698">
                  <c:v>37.295082000000001</c:v>
                </c:pt>
                <c:pt idx="699">
                  <c:v>37.855119999999999</c:v>
                </c:pt>
                <c:pt idx="700">
                  <c:v>38.177708000000003</c:v>
                </c:pt>
                <c:pt idx="701">
                  <c:v>38.408047000000003</c:v>
                </c:pt>
                <c:pt idx="702">
                  <c:v>38.655859999999997</c:v>
                </c:pt>
                <c:pt idx="703">
                  <c:v>38.780140000000003</c:v>
                </c:pt>
                <c:pt idx="704">
                  <c:v>38.907142999999998</c:v>
                </c:pt>
                <c:pt idx="705">
                  <c:v>39.026394000000003</c:v>
                </c:pt>
                <c:pt idx="706">
                  <c:v>38.879536000000002</c:v>
                </c:pt>
                <c:pt idx="707">
                  <c:v>38.50835</c:v>
                </c:pt>
                <c:pt idx="708">
                  <c:v>39.052174000000001</c:v>
                </c:pt>
                <c:pt idx="709">
                  <c:v>39.789974000000001</c:v>
                </c:pt>
                <c:pt idx="710">
                  <c:v>39.804287000000002</c:v>
                </c:pt>
                <c:pt idx="711">
                  <c:v>39.485100000000003</c:v>
                </c:pt>
                <c:pt idx="712">
                  <c:v>39.338515999999998</c:v>
                </c:pt>
                <c:pt idx="713">
                  <c:v>38.694020000000002</c:v>
                </c:pt>
                <c:pt idx="714">
                  <c:v>38.459580000000003</c:v>
                </c:pt>
                <c:pt idx="715">
                  <c:v>38.510967000000001</c:v>
                </c:pt>
                <c:pt idx="716">
                  <c:v>38.858199999999997</c:v>
                </c:pt>
                <c:pt idx="717">
                  <c:v>38.931854000000001</c:v>
                </c:pt>
                <c:pt idx="718">
                  <c:v>38.253901999999997</c:v>
                </c:pt>
                <c:pt idx="719">
                  <c:v>38.404620000000001</c:v>
                </c:pt>
                <c:pt idx="720">
                  <c:v>38.526707000000002</c:v>
                </c:pt>
                <c:pt idx="721">
                  <c:v>38.773429999999998</c:v>
                </c:pt>
                <c:pt idx="722">
                  <c:v>38.956176999999997</c:v>
                </c:pt>
                <c:pt idx="723">
                  <c:v>39.073036000000002</c:v>
                </c:pt>
                <c:pt idx="724">
                  <c:v>39.446044999999998</c:v>
                </c:pt>
                <c:pt idx="725">
                  <c:v>39.675933999999998</c:v>
                </c:pt>
                <c:pt idx="726">
                  <c:v>39.736767</c:v>
                </c:pt>
                <c:pt idx="727">
                  <c:v>39.404755000000002</c:v>
                </c:pt>
                <c:pt idx="728">
                  <c:v>38.994556000000003</c:v>
                </c:pt>
                <c:pt idx="729">
                  <c:v>38.304180000000002</c:v>
                </c:pt>
                <c:pt idx="730">
                  <c:v>37.303196</c:v>
                </c:pt>
                <c:pt idx="731">
                  <c:v>36.653556999999999</c:v>
                </c:pt>
                <c:pt idx="732">
                  <c:v>35.980530000000002</c:v>
                </c:pt>
                <c:pt idx="733">
                  <c:v>35.919359999999998</c:v>
                </c:pt>
                <c:pt idx="734">
                  <c:v>35.766692999999997</c:v>
                </c:pt>
                <c:pt idx="735">
                  <c:v>36.147125000000003</c:v>
                </c:pt>
                <c:pt idx="736">
                  <c:v>36.167217000000001</c:v>
                </c:pt>
                <c:pt idx="737">
                  <c:v>36.552467</c:v>
                </c:pt>
                <c:pt idx="738">
                  <c:v>36.576701999999997</c:v>
                </c:pt>
                <c:pt idx="739">
                  <c:v>36.933104999999998</c:v>
                </c:pt>
                <c:pt idx="740">
                  <c:v>37.573303000000003</c:v>
                </c:pt>
                <c:pt idx="741">
                  <c:v>37.739409999999999</c:v>
                </c:pt>
                <c:pt idx="742">
                  <c:v>38.192528000000003</c:v>
                </c:pt>
                <c:pt idx="743">
                  <c:v>38.284554</c:v>
                </c:pt>
                <c:pt idx="744">
                  <c:v>38.340595</c:v>
                </c:pt>
                <c:pt idx="745">
                  <c:v>38.862690000000001</c:v>
                </c:pt>
                <c:pt idx="746">
                  <c:v>39.429879999999997</c:v>
                </c:pt>
                <c:pt idx="747">
                  <c:v>39.367381999999999</c:v>
                </c:pt>
                <c:pt idx="748">
                  <c:v>39.164470000000001</c:v>
                </c:pt>
                <c:pt idx="749">
                  <c:v>39.138979999999997</c:v>
                </c:pt>
                <c:pt idx="750">
                  <c:v>38.766219999999997</c:v>
                </c:pt>
                <c:pt idx="751">
                  <c:v>38.255966000000001</c:v>
                </c:pt>
                <c:pt idx="752">
                  <c:v>38.039413000000003</c:v>
                </c:pt>
                <c:pt idx="753">
                  <c:v>37.937424</c:v>
                </c:pt>
                <c:pt idx="754">
                  <c:v>37.650840000000002</c:v>
                </c:pt>
                <c:pt idx="755">
                  <c:v>37.686768000000001</c:v>
                </c:pt>
                <c:pt idx="756">
                  <c:v>38.052104999999997</c:v>
                </c:pt>
                <c:pt idx="757">
                  <c:v>38.576329999999999</c:v>
                </c:pt>
                <c:pt idx="758">
                  <c:v>38.968243000000001</c:v>
                </c:pt>
                <c:pt idx="759">
                  <c:v>39.290824999999998</c:v>
                </c:pt>
                <c:pt idx="760">
                  <c:v>39.782139999999998</c:v>
                </c:pt>
                <c:pt idx="761">
                  <c:v>39.957050000000002</c:v>
                </c:pt>
                <c:pt idx="762">
                  <c:v>39.961750000000002</c:v>
                </c:pt>
                <c:pt idx="763">
                  <c:v>39.944580000000002</c:v>
                </c:pt>
                <c:pt idx="764">
                  <c:v>39.732067000000001</c:v>
                </c:pt>
                <c:pt idx="765">
                  <c:v>39.292526000000002</c:v>
                </c:pt>
                <c:pt idx="766">
                  <c:v>39.087536</c:v>
                </c:pt>
                <c:pt idx="767">
                  <c:v>38.896000000000001</c:v>
                </c:pt>
                <c:pt idx="768">
                  <c:v>38.648617000000002</c:v>
                </c:pt>
                <c:pt idx="769">
                  <c:v>38.4253</c:v>
                </c:pt>
                <c:pt idx="770">
                  <c:v>38.243479999999998</c:v>
                </c:pt>
                <c:pt idx="771">
                  <c:v>37.801439999999999</c:v>
                </c:pt>
                <c:pt idx="772">
                  <c:v>37.548690000000001</c:v>
                </c:pt>
                <c:pt idx="773">
                  <c:v>37.448535999999997</c:v>
                </c:pt>
                <c:pt idx="774">
                  <c:v>37.696773999999998</c:v>
                </c:pt>
                <c:pt idx="775">
                  <c:v>37.99042</c:v>
                </c:pt>
                <c:pt idx="776">
                  <c:v>38.183593999999999</c:v>
                </c:pt>
                <c:pt idx="777">
                  <c:v>38.464877999999999</c:v>
                </c:pt>
                <c:pt idx="778">
                  <c:v>38.814632000000003</c:v>
                </c:pt>
                <c:pt idx="779">
                  <c:v>38.933643000000004</c:v>
                </c:pt>
                <c:pt idx="780">
                  <c:v>39.297629999999998</c:v>
                </c:pt>
                <c:pt idx="781">
                  <c:v>39.454067000000002</c:v>
                </c:pt>
                <c:pt idx="782">
                  <c:v>39.336548000000001</c:v>
                </c:pt>
                <c:pt idx="783">
                  <c:v>39.08623</c:v>
                </c:pt>
                <c:pt idx="784">
                  <c:v>39.058692999999998</c:v>
                </c:pt>
                <c:pt idx="785">
                  <c:v>39.194828000000001</c:v>
                </c:pt>
                <c:pt idx="786">
                  <c:v>37.147114000000002</c:v>
                </c:pt>
                <c:pt idx="787">
                  <c:v>37.231020000000001</c:v>
                </c:pt>
                <c:pt idx="788">
                  <c:v>37.374423999999998</c:v>
                </c:pt>
                <c:pt idx="789">
                  <c:v>37.552204000000003</c:v>
                </c:pt>
                <c:pt idx="790">
                  <c:v>37.462676999999999</c:v>
                </c:pt>
                <c:pt idx="791">
                  <c:v>37.540554</c:v>
                </c:pt>
                <c:pt idx="792">
                  <c:v>37.29956</c:v>
                </c:pt>
                <c:pt idx="793">
                  <c:v>37.302585999999998</c:v>
                </c:pt>
                <c:pt idx="794">
                  <c:v>37.233460000000001</c:v>
                </c:pt>
                <c:pt idx="795">
                  <c:v>37.378067000000001</c:v>
                </c:pt>
                <c:pt idx="796">
                  <c:v>37.561349999999997</c:v>
                </c:pt>
                <c:pt idx="797">
                  <c:v>37.751460000000002</c:v>
                </c:pt>
                <c:pt idx="798">
                  <c:v>37.973765999999998</c:v>
                </c:pt>
                <c:pt idx="799">
                  <c:v>38.300840000000001</c:v>
                </c:pt>
                <c:pt idx="800">
                  <c:v>38.455289999999998</c:v>
                </c:pt>
                <c:pt idx="801">
                  <c:v>38.709476000000002</c:v>
                </c:pt>
                <c:pt idx="802">
                  <c:v>38.61215</c:v>
                </c:pt>
                <c:pt idx="803">
                  <c:v>38.023240000000001</c:v>
                </c:pt>
                <c:pt idx="804">
                  <c:v>37.59151</c:v>
                </c:pt>
                <c:pt idx="805">
                  <c:v>36.988582999999998</c:v>
                </c:pt>
                <c:pt idx="806">
                  <c:v>36.475696999999997</c:v>
                </c:pt>
                <c:pt idx="807">
                  <c:v>35.910697999999996</c:v>
                </c:pt>
                <c:pt idx="808">
                  <c:v>35.220238000000002</c:v>
                </c:pt>
                <c:pt idx="809">
                  <c:v>35.450436000000003</c:v>
                </c:pt>
                <c:pt idx="810">
                  <c:v>35.033929999999998</c:v>
                </c:pt>
                <c:pt idx="811">
                  <c:v>34.675890000000003</c:v>
                </c:pt>
                <c:pt idx="812">
                  <c:v>34.651969999999999</c:v>
                </c:pt>
                <c:pt idx="813">
                  <c:v>34.844320000000003</c:v>
                </c:pt>
                <c:pt idx="814">
                  <c:v>34.915889999999997</c:v>
                </c:pt>
                <c:pt idx="815">
                  <c:v>35.177390000000003</c:v>
                </c:pt>
                <c:pt idx="816">
                  <c:v>35.125686999999999</c:v>
                </c:pt>
                <c:pt idx="817">
                  <c:v>34.998626999999999</c:v>
                </c:pt>
                <c:pt idx="818">
                  <c:v>35.011539999999997</c:v>
                </c:pt>
                <c:pt idx="819">
                  <c:v>34.919262000000003</c:v>
                </c:pt>
                <c:pt idx="820">
                  <c:v>34.679817</c:v>
                </c:pt>
                <c:pt idx="821">
                  <c:v>34.798594999999999</c:v>
                </c:pt>
                <c:pt idx="822">
                  <c:v>35.035240000000002</c:v>
                </c:pt>
                <c:pt idx="823">
                  <c:v>36.336384000000002</c:v>
                </c:pt>
                <c:pt idx="824">
                  <c:v>36.94999</c:v>
                </c:pt>
                <c:pt idx="825">
                  <c:v>37.939982999999998</c:v>
                </c:pt>
                <c:pt idx="826">
                  <c:v>37.234430000000003</c:v>
                </c:pt>
                <c:pt idx="827">
                  <c:v>37.204506000000002</c:v>
                </c:pt>
                <c:pt idx="828">
                  <c:v>37.908119999999997</c:v>
                </c:pt>
                <c:pt idx="829">
                  <c:v>38.990046999999997</c:v>
                </c:pt>
                <c:pt idx="830">
                  <c:v>39.589860000000002</c:v>
                </c:pt>
                <c:pt idx="831">
                  <c:v>40.151684000000003</c:v>
                </c:pt>
                <c:pt idx="832">
                  <c:v>39.279167000000001</c:v>
                </c:pt>
                <c:pt idx="833">
                  <c:v>36.839416999999997</c:v>
                </c:pt>
                <c:pt idx="834">
                  <c:v>35.934241999999998</c:v>
                </c:pt>
                <c:pt idx="835">
                  <c:v>35.179813000000003</c:v>
                </c:pt>
                <c:pt idx="836">
                  <c:v>34.8185</c:v>
                </c:pt>
                <c:pt idx="837">
                  <c:v>34.521602999999999</c:v>
                </c:pt>
                <c:pt idx="838">
                  <c:v>34.397232000000002</c:v>
                </c:pt>
                <c:pt idx="839">
                  <c:v>34.113849999999999</c:v>
                </c:pt>
                <c:pt idx="840">
                  <c:v>34.245609999999999</c:v>
                </c:pt>
                <c:pt idx="841">
                  <c:v>34.426000000000002</c:v>
                </c:pt>
                <c:pt idx="842">
                  <c:v>34.646970000000003</c:v>
                </c:pt>
                <c:pt idx="843">
                  <c:v>35.120063999999999</c:v>
                </c:pt>
                <c:pt idx="844">
                  <c:v>35.269190000000002</c:v>
                </c:pt>
                <c:pt idx="845">
                  <c:v>35.311905000000003</c:v>
                </c:pt>
                <c:pt idx="846">
                  <c:v>35.461150000000004</c:v>
                </c:pt>
                <c:pt idx="847">
                  <c:v>34.980145</c:v>
                </c:pt>
                <c:pt idx="848">
                  <c:v>34.783239999999999</c:v>
                </c:pt>
                <c:pt idx="849">
                  <c:v>34.986797000000003</c:v>
                </c:pt>
                <c:pt idx="850">
                  <c:v>35.346535000000003</c:v>
                </c:pt>
                <c:pt idx="851">
                  <c:v>35.664997</c:v>
                </c:pt>
                <c:pt idx="852">
                  <c:v>35.716693999999997</c:v>
                </c:pt>
                <c:pt idx="853">
                  <c:v>35.620579999999997</c:v>
                </c:pt>
                <c:pt idx="854">
                  <c:v>36.157696000000001</c:v>
                </c:pt>
                <c:pt idx="855">
                  <c:v>38.521169999999998</c:v>
                </c:pt>
                <c:pt idx="856">
                  <c:v>41.077643999999999</c:v>
                </c:pt>
                <c:pt idx="857">
                  <c:v>42.026313999999999</c:v>
                </c:pt>
                <c:pt idx="858">
                  <c:v>41.484195999999997</c:v>
                </c:pt>
                <c:pt idx="859">
                  <c:v>40.768880000000003</c:v>
                </c:pt>
                <c:pt idx="860">
                  <c:v>40.494169999999997</c:v>
                </c:pt>
                <c:pt idx="861">
                  <c:v>39.959845999999999</c:v>
                </c:pt>
                <c:pt idx="862">
                  <c:v>38.472270000000002</c:v>
                </c:pt>
                <c:pt idx="863">
                  <c:v>37.853157000000003</c:v>
                </c:pt>
                <c:pt idx="864">
                  <c:v>36.901775000000001</c:v>
                </c:pt>
                <c:pt idx="865">
                  <c:v>36.377952999999998</c:v>
                </c:pt>
                <c:pt idx="866">
                  <c:v>36.088949999999997</c:v>
                </c:pt>
                <c:pt idx="867">
                  <c:v>36.157829999999997</c:v>
                </c:pt>
                <c:pt idx="868">
                  <c:v>36.347410000000004</c:v>
                </c:pt>
                <c:pt idx="869">
                  <c:v>36.516663000000001</c:v>
                </c:pt>
                <c:pt idx="870">
                  <c:v>36.711585999999997</c:v>
                </c:pt>
                <c:pt idx="871">
                  <c:v>36.578873000000002</c:v>
                </c:pt>
                <c:pt idx="872">
                  <c:v>36.502254000000001</c:v>
                </c:pt>
                <c:pt idx="873">
                  <c:v>36.248694999999998</c:v>
                </c:pt>
                <c:pt idx="874">
                  <c:v>36.192869999999999</c:v>
                </c:pt>
                <c:pt idx="875">
                  <c:v>36.188209999999998</c:v>
                </c:pt>
                <c:pt idx="876">
                  <c:v>35.783805999999998</c:v>
                </c:pt>
                <c:pt idx="877">
                  <c:v>35.529502999999998</c:v>
                </c:pt>
                <c:pt idx="878">
                  <c:v>35.255496999999998</c:v>
                </c:pt>
                <c:pt idx="879">
                  <c:v>35.014935000000001</c:v>
                </c:pt>
                <c:pt idx="880">
                  <c:v>34.839866999999998</c:v>
                </c:pt>
                <c:pt idx="881">
                  <c:v>34.79401</c:v>
                </c:pt>
                <c:pt idx="882">
                  <c:v>34.747529999999998</c:v>
                </c:pt>
                <c:pt idx="883">
                  <c:v>34.616813999999998</c:v>
                </c:pt>
                <c:pt idx="884">
                  <c:v>34.811442999999997</c:v>
                </c:pt>
                <c:pt idx="885">
                  <c:v>35.053455</c:v>
                </c:pt>
                <c:pt idx="886">
                  <c:v>35.452064999999997</c:v>
                </c:pt>
                <c:pt idx="887">
                  <c:v>36.056255</c:v>
                </c:pt>
                <c:pt idx="888">
                  <c:v>40.385950000000001</c:v>
                </c:pt>
                <c:pt idx="889">
                  <c:v>42.445296999999997</c:v>
                </c:pt>
                <c:pt idx="890">
                  <c:v>38.367992000000001</c:v>
                </c:pt>
                <c:pt idx="891">
                  <c:v>38.454666000000003</c:v>
                </c:pt>
                <c:pt idx="892">
                  <c:v>38.834465000000002</c:v>
                </c:pt>
                <c:pt idx="893">
                  <c:v>38.862609999999997</c:v>
                </c:pt>
                <c:pt idx="894">
                  <c:v>38.484645999999998</c:v>
                </c:pt>
                <c:pt idx="895">
                  <c:v>39.073264999999999</c:v>
                </c:pt>
                <c:pt idx="896">
                  <c:v>39.805584000000003</c:v>
                </c:pt>
                <c:pt idx="897">
                  <c:v>40.123480000000001</c:v>
                </c:pt>
                <c:pt idx="898">
                  <c:v>40.021416000000002</c:v>
                </c:pt>
                <c:pt idx="899">
                  <c:v>39.863100000000003</c:v>
                </c:pt>
                <c:pt idx="900">
                  <c:v>39.171790000000001</c:v>
                </c:pt>
                <c:pt idx="901">
                  <c:v>38.974693000000002</c:v>
                </c:pt>
                <c:pt idx="902">
                  <c:v>38.473019999999998</c:v>
                </c:pt>
                <c:pt idx="903">
                  <c:v>38.575496999999999</c:v>
                </c:pt>
                <c:pt idx="904">
                  <c:v>38.636875000000003</c:v>
                </c:pt>
                <c:pt idx="905">
                  <c:v>38.430416000000001</c:v>
                </c:pt>
                <c:pt idx="906">
                  <c:v>39.2256</c:v>
                </c:pt>
                <c:pt idx="907">
                  <c:v>39.283462999999998</c:v>
                </c:pt>
                <c:pt idx="908">
                  <c:v>39.417267000000002</c:v>
                </c:pt>
                <c:pt idx="909">
                  <c:v>39.608722999999998</c:v>
                </c:pt>
                <c:pt idx="910">
                  <c:v>39.846496999999999</c:v>
                </c:pt>
                <c:pt idx="911">
                  <c:v>39.660614000000002</c:v>
                </c:pt>
                <c:pt idx="912">
                  <c:v>39.810616000000003</c:v>
                </c:pt>
                <c:pt idx="913">
                  <c:v>40.208750000000002</c:v>
                </c:pt>
                <c:pt idx="914">
                  <c:v>39.654083</c:v>
                </c:pt>
                <c:pt idx="915">
                  <c:v>39.643380000000001</c:v>
                </c:pt>
                <c:pt idx="916">
                  <c:v>39.561210000000003</c:v>
                </c:pt>
                <c:pt idx="917">
                  <c:v>39.176963999999998</c:v>
                </c:pt>
                <c:pt idx="918">
                  <c:v>39.038097</c:v>
                </c:pt>
                <c:pt idx="919">
                  <c:v>38.946060000000003</c:v>
                </c:pt>
                <c:pt idx="920">
                  <c:v>38.792279999999998</c:v>
                </c:pt>
                <c:pt idx="921">
                  <c:v>38.772334999999998</c:v>
                </c:pt>
                <c:pt idx="922">
                  <c:v>38.296165000000002</c:v>
                </c:pt>
                <c:pt idx="923">
                  <c:v>38.931663999999998</c:v>
                </c:pt>
                <c:pt idx="924">
                  <c:v>39.054810000000003</c:v>
                </c:pt>
                <c:pt idx="925">
                  <c:v>38.820487999999997</c:v>
                </c:pt>
                <c:pt idx="926">
                  <c:v>38.498463000000001</c:v>
                </c:pt>
                <c:pt idx="927">
                  <c:v>38.168574999999997</c:v>
                </c:pt>
                <c:pt idx="928">
                  <c:v>38.511989999999997</c:v>
                </c:pt>
                <c:pt idx="929">
                  <c:v>38.149120000000003</c:v>
                </c:pt>
                <c:pt idx="930">
                  <c:v>38.078560000000003</c:v>
                </c:pt>
                <c:pt idx="931">
                  <c:v>38.416885000000001</c:v>
                </c:pt>
                <c:pt idx="932">
                  <c:v>38.519736999999999</c:v>
                </c:pt>
                <c:pt idx="933">
                  <c:v>38.383020000000002</c:v>
                </c:pt>
                <c:pt idx="934">
                  <c:v>38.357716000000003</c:v>
                </c:pt>
                <c:pt idx="935">
                  <c:v>38.553772000000002</c:v>
                </c:pt>
                <c:pt idx="936">
                  <c:v>38.425483999999997</c:v>
                </c:pt>
                <c:pt idx="937">
                  <c:v>38.220516000000003</c:v>
                </c:pt>
                <c:pt idx="938">
                  <c:v>38.401114999999997</c:v>
                </c:pt>
                <c:pt idx="939">
                  <c:v>38.314354000000002</c:v>
                </c:pt>
                <c:pt idx="940">
                  <c:v>38.058875999999998</c:v>
                </c:pt>
                <c:pt idx="941">
                  <c:v>38.430706000000001</c:v>
                </c:pt>
                <c:pt idx="942">
                  <c:v>38.721060000000001</c:v>
                </c:pt>
                <c:pt idx="943">
                  <c:v>39.091385000000002</c:v>
                </c:pt>
                <c:pt idx="944">
                  <c:v>39.310200000000002</c:v>
                </c:pt>
                <c:pt idx="945">
                  <c:v>39.524639999999998</c:v>
                </c:pt>
                <c:pt idx="946">
                  <c:v>39.67756</c:v>
                </c:pt>
                <c:pt idx="947">
                  <c:v>39.669170000000001</c:v>
                </c:pt>
                <c:pt idx="948">
                  <c:v>39.341186999999998</c:v>
                </c:pt>
                <c:pt idx="949">
                  <c:v>38.916713999999999</c:v>
                </c:pt>
                <c:pt idx="950">
                  <c:v>38.410862000000002</c:v>
                </c:pt>
                <c:pt idx="951">
                  <c:v>38.267417999999999</c:v>
                </c:pt>
                <c:pt idx="952">
                  <c:v>38.561703000000001</c:v>
                </c:pt>
                <c:pt idx="953">
                  <c:v>38.629016999999997</c:v>
                </c:pt>
                <c:pt idx="954">
                  <c:v>39.741500000000002</c:v>
                </c:pt>
                <c:pt idx="955">
                  <c:v>39.893658000000002</c:v>
                </c:pt>
                <c:pt idx="956">
                  <c:v>39.854509999999998</c:v>
                </c:pt>
                <c:pt idx="957">
                  <c:v>40.223663000000002</c:v>
                </c:pt>
                <c:pt idx="958">
                  <c:v>40.747943999999997</c:v>
                </c:pt>
                <c:pt idx="959">
                  <c:v>41.433846000000003</c:v>
                </c:pt>
                <c:pt idx="960">
                  <c:v>41.838836999999998</c:v>
                </c:pt>
                <c:pt idx="961">
                  <c:v>41.995826999999998</c:v>
                </c:pt>
                <c:pt idx="962">
                  <c:v>42.117719999999998</c:v>
                </c:pt>
                <c:pt idx="963">
                  <c:v>42.628475000000002</c:v>
                </c:pt>
                <c:pt idx="964">
                  <c:v>42.688651999999998</c:v>
                </c:pt>
                <c:pt idx="965">
                  <c:v>42.649340000000002</c:v>
                </c:pt>
                <c:pt idx="966">
                  <c:v>42.683475000000001</c:v>
                </c:pt>
                <c:pt idx="967">
                  <c:v>42.811774999999997</c:v>
                </c:pt>
                <c:pt idx="968">
                  <c:v>42.617503999999997</c:v>
                </c:pt>
                <c:pt idx="969">
                  <c:v>42.359603999999997</c:v>
                </c:pt>
                <c:pt idx="970">
                  <c:v>42.369002999999999</c:v>
                </c:pt>
                <c:pt idx="971">
                  <c:v>42.586100000000002</c:v>
                </c:pt>
                <c:pt idx="972">
                  <c:v>42.575268000000001</c:v>
                </c:pt>
                <c:pt idx="973">
                  <c:v>42.825718000000002</c:v>
                </c:pt>
                <c:pt idx="974">
                  <c:v>43.196353999999999</c:v>
                </c:pt>
                <c:pt idx="975">
                  <c:v>43.47504</c:v>
                </c:pt>
                <c:pt idx="976">
                  <c:v>43.691510000000001</c:v>
                </c:pt>
                <c:pt idx="977">
                  <c:v>44.343212000000001</c:v>
                </c:pt>
                <c:pt idx="978">
                  <c:v>43.212420000000002</c:v>
                </c:pt>
                <c:pt idx="979">
                  <c:v>43.515774</c:v>
                </c:pt>
                <c:pt idx="980">
                  <c:v>43.842444999999998</c:v>
                </c:pt>
                <c:pt idx="981">
                  <c:v>43.963726000000001</c:v>
                </c:pt>
                <c:pt idx="982">
                  <c:v>44.019500000000001</c:v>
                </c:pt>
                <c:pt idx="983">
                  <c:v>43.988112999999998</c:v>
                </c:pt>
                <c:pt idx="984">
                  <c:v>43.6419</c:v>
                </c:pt>
                <c:pt idx="985">
                  <c:v>43.687134</c:v>
                </c:pt>
                <c:pt idx="986">
                  <c:v>43.563865999999997</c:v>
                </c:pt>
                <c:pt idx="987">
                  <c:v>43.808579999999999</c:v>
                </c:pt>
                <c:pt idx="988">
                  <c:v>43.882935000000003</c:v>
                </c:pt>
                <c:pt idx="989">
                  <c:v>43.933950000000003</c:v>
                </c:pt>
                <c:pt idx="990">
                  <c:v>43.898510000000002</c:v>
                </c:pt>
                <c:pt idx="991">
                  <c:v>43.898066999999998</c:v>
                </c:pt>
                <c:pt idx="992">
                  <c:v>44.205779999999997</c:v>
                </c:pt>
                <c:pt idx="993">
                  <c:v>44.347693999999997</c:v>
                </c:pt>
                <c:pt idx="994">
                  <c:v>44.803688000000001</c:v>
                </c:pt>
                <c:pt idx="995">
                  <c:v>44.876494999999998</c:v>
                </c:pt>
                <c:pt idx="996">
                  <c:v>44.345813999999997</c:v>
                </c:pt>
                <c:pt idx="997">
                  <c:v>43.604652000000002</c:v>
                </c:pt>
                <c:pt idx="998">
                  <c:v>43.121940000000002</c:v>
                </c:pt>
                <c:pt idx="999">
                  <c:v>42.942010000000003</c:v>
                </c:pt>
                <c:pt idx="1000">
                  <c:v>42.599589999999999</c:v>
                </c:pt>
                <c:pt idx="1001">
                  <c:v>42.525165999999999</c:v>
                </c:pt>
                <c:pt idx="1002">
                  <c:v>42.360657000000003</c:v>
                </c:pt>
                <c:pt idx="1003">
                  <c:v>42.220432000000002</c:v>
                </c:pt>
                <c:pt idx="1004">
                  <c:v>42.13411</c:v>
                </c:pt>
                <c:pt idx="1005">
                  <c:v>42.021630000000002</c:v>
                </c:pt>
                <c:pt idx="1006">
                  <c:v>42.172409999999999</c:v>
                </c:pt>
                <c:pt idx="1007">
                  <c:v>42.227497</c:v>
                </c:pt>
                <c:pt idx="1008">
                  <c:v>42.327292999999997</c:v>
                </c:pt>
                <c:pt idx="1009">
                  <c:v>42.492885999999999</c:v>
                </c:pt>
                <c:pt idx="1010">
                  <c:v>42.571959999999997</c:v>
                </c:pt>
                <c:pt idx="1011">
                  <c:v>42.781162000000002</c:v>
                </c:pt>
                <c:pt idx="1012">
                  <c:v>43.094078000000003</c:v>
                </c:pt>
                <c:pt idx="1013">
                  <c:v>43.100180000000002</c:v>
                </c:pt>
                <c:pt idx="1014">
                  <c:v>43.354827999999998</c:v>
                </c:pt>
                <c:pt idx="1015">
                  <c:v>43.615845</c:v>
                </c:pt>
                <c:pt idx="1016">
                  <c:v>43.765841999999999</c:v>
                </c:pt>
                <c:pt idx="1017">
                  <c:v>43.671737999999998</c:v>
                </c:pt>
                <c:pt idx="1018">
                  <c:v>43.797935000000003</c:v>
                </c:pt>
                <c:pt idx="1019">
                  <c:v>43.737130000000001</c:v>
                </c:pt>
                <c:pt idx="1020">
                  <c:v>43.563236000000003</c:v>
                </c:pt>
                <c:pt idx="1021">
                  <c:v>43.132350000000002</c:v>
                </c:pt>
                <c:pt idx="1022">
                  <c:v>42.849772999999999</c:v>
                </c:pt>
                <c:pt idx="1023">
                  <c:v>42.738308000000004</c:v>
                </c:pt>
                <c:pt idx="1024">
                  <c:v>42.769469999999998</c:v>
                </c:pt>
                <c:pt idx="1025">
                  <c:v>42.460014000000001</c:v>
                </c:pt>
                <c:pt idx="1026">
                  <c:v>42.465378000000001</c:v>
                </c:pt>
                <c:pt idx="1027">
                  <c:v>42.563809999999997</c:v>
                </c:pt>
                <c:pt idx="1028">
                  <c:v>42.519801999999999</c:v>
                </c:pt>
                <c:pt idx="1029">
                  <c:v>42.408141999999998</c:v>
                </c:pt>
                <c:pt idx="1030">
                  <c:v>42.128120000000003</c:v>
                </c:pt>
                <c:pt idx="1031">
                  <c:v>41.911223999999997</c:v>
                </c:pt>
                <c:pt idx="1032">
                  <c:v>41.497799999999998</c:v>
                </c:pt>
                <c:pt idx="1033">
                  <c:v>41.085839999999997</c:v>
                </c:pt>
                <c:pt idx="1034">
                  <c:v>40.562359999999998</c:v>
                </c:pt>
                <c:pt idx="1035">
                  <c:v>40.427025</c:v>
                </c:pt>
                <c:pt idx="1036">
                  <c:v>40.122100000000003</c:v>
                </c:pt>
                <c:pt idx="1037">
                  <c:v>40.220097000000003</c:v>
                </c:pt>
                <c:pt idx="1038">
                  <c:v>40.442245</c:v>
                </c:pt>
                <c:pt idx="1039">
                  <c:v>40.344369999999998</c:v>
                </c:pt>
                <c:pt idx="1040">
                  <c:v>40.619315999999998</c:v>
                </c:pt>
                <c:pt idx="1041">
                  <c:v>40.733379999999997</c:v>
                </c:pt>
                <c:pt idx="1042">
                  <c:v>40.798645</c:v>
                </c:pt>
                <c:pt idx="1043">
                  <c:v>40.884304</c:v>
                </c:pt>
                <c:pt idx="1044">
                  <c:v>41.195186999999997</c:v>
                </c:pt>
                <c:pt idx="1045">
                  <c:v>42.067355999999997</c:v>
                </c:pt>
                <c:pt idx="1046">
                  <c:v>43.182130000000001</c:v>
                </c:pt>
                <c:pt idx="1047">
                  <c:v>43.106819999999999</c:v>
                </c:pt>
                <c:pt idx="1048">
                  <c:v>42.593150000000001</c:v>
                </c:pt>
                <c:pt idx="1049">
                  <c:v>42.220657000000003</c:v>
                </c:pt>
                <c:pt idx="1050">
                  <c:v>42.122166</c:v>
                </c:pt>
                <c:pt idx="1051">
                  <c:v>42.100098000000003</c:v>
                </c:pt>
                <c:pt idx="1052">
                  <c:v>41.910649999999997</c:v>
                </c:pt>
                <c:pt idx="1053">
                  <c:v>41.99212</c:v>
                </c:pt>
                <c:pt idx="1054">
                  <c:v>42.109313999999998</c:v>
                </c:pt>
                <c:pt idx="1055">
                  <c:v>42.295856000000001</c:v>
                </c:pt>
                <c:pt idx="1056">
                  <c:v>42.620379999999997</c:v>
                </c:pt>
                <c:pt idx="1057">
                  <c:v>42.948844999999999</c:v>
                </c:pt>
                <c:pt idx="1058">
                  <c:v>42.88062</c:v>
                </c:pt>
                <c:pt idx="1059">
                  <c:v>42.421173000000003</c:v>
                </c:pt>
                <c:pt idx="1060">
                  <c:v>42.193640000000002</c:v>
                </c:pt>
                <c:pt idx="1061">
                  <c:v>41.762645999999997</c:v>
                </c:pt>
                <c:pt idx="1062">
                  <c:v>41.632007999999999</c:v>
                </c:pt>
                <c:pt idx="1063">
                  <c:v>41.790320000000001</c:v>
                </c:pt>
                <c:pt idx="1064">
                  <c:v>42.119390000000003</c:v>
                </c:pt>
                <c:pt idx="1065">
                  <c:v>42.222515000000001</c:v>
                </c:pt>
                <c:pt idx="1066">
                  <c:v>42.031770000000002</c:v>
                </c:pt>
                <c:pt idx="1067">
                  <c:v>41.962935999999999</c:v>
                </c:pt>
                <c:pt idx="1068">
                  <c:v>41.823642999999997</c:v>
                </c:pt>
                <c:pt idx="1069">
                  <c:v>41.673355000000001</c:v>
                </c:pt>
                <c:pt idx="1070">
                  <c:v>41.738315999999998</c:v>
                </c:pt>
                <c:pt idx="1071">
                  <c:v>41.886429999999997</c:v>
                </c:pt>
                <c:pt idx="1072">
                  <c:v>41.757976999999997</c:v>
                </c:pt>
                <c:pt idx="1073">
                  <c:v>41.733612000000001</c:v>
                </c:pt>
                <c:pt idx="1074">
                  <c:v>41.569049999999997</c:v>
                </c:pt>
                <c:pt idx="1075">
                  <c:v>41.83643</c:v>
                </c:pt>
                <c:pt idx="1076">
                  <c:v>43.003661999999998</c:v>
                </c:pt>
                <c:pt idx="1077">
                  <c:v>42.86994</c:v>
                </c:pt>
                <c:pt idx="1078">
                  <c:v>43.198143000000002</c:v>
                </c:pt>
                <c:pt idx="1079">
                  <c:v>43.633353999999997</c:v>
                </c:pt>
                <c:pt idx="1080">
                  <c:v>44.081270000000004</c:v>
                </c:pt>
                <c:pt idx="1081">
                  <c:v>44.400869999999998</c:v>
                </c:pt>
                <c:pt idx="1082">
                  <c:v>44.705444</c:v>
                </c:pt>
                <c:pt idx="1083">
                  <c:v>44.859336999999996</c:v>
                </c:pt>
                <c:pt idx="1084">
                  <c:v>44.915430000000001</c:v>
                </c:pt>
                <c:pt idx="1085">
                  <c:v>44.900730000000003</c:v>
                </c:pt>
                <c:pt idx="1086">
                  <c:v>44.793247000000001</c:v>
                </c:pt>
                <c:pt idx="1087">
                  <c:v>44.672516000000002</c:v>
                </c:pt>
                <c:pt idx="1088">
                  <c:v>44.636395</c:v>
                </c:pt>
                <c:pt idx="1089">
                  <c:v>44.556365999999997</c:v>
                </c:pt>
                <c:pt idx="1090">
                  <c:v>44.551693</c:v>
                </c:pt>
                <c:pt idx="1091">
                  <c:v>44.645539999999997</c:v>
                </c:pt>
                <c:pt idx="1092">
                  <c:v>44.603695000000002</c:v>
                </c:pt>
                <c:pt idx="1093">
                  <c:v>44.488543999999997</c:v>
                </c:pt>
                <c:pt idx="1094">
                  <c:v>44.614403000000003</c:v>
                </c:pt>
                <c:pt idx="1095">
                  <c:v>44.550815999999998</c:v>
                </c:pt>
                <c:pt idx="1096">
                  <c:v>44.767409999999998</c:v>
                </c:pt>
                <c:pt idx="1097">
                  <c:v>44.6492</c:v>
                </c:pt>
                <c:pt idx="1098">
                  <c:v>44.288913999999998</c:v>
                </c:pt>
                <c:pt idx="1099">
                  <c:v>44.084105999999998</c:v>
                </c:pt>
                <c:pt idx="1100">
                  <c:v>43.895102999999999</c:v>
                </c:pt>
                <c:pt idx="1101">
                  <c:v>43.891525000000001</c:v>
                </c:pt>
                <c:pt idx="1102">
                  <c:v>44.303649999999998</c:v>
                </c:pt>
                <c:pt idx="1103">
                  <c:v>44.347794</c:v>
                </c:pt>
                <c:pt idx="1104">
                  <c:v>44.610934999999998</c:v>
                </c:pt>
                <c:pt idx="1105">
                  <c:v>44.666744000000001</c:v>
                </c:pt>
                <c:pt idx="1106">
                  <c:v>44.400803000000003</c:v>
                </c:pt>
                <c:pt idx="1107">
                  <c:v>44.366549999999997</c:v>
                </c:pt>
                <c:pt idx="1108">
                  <c:v>44.481540000000003</c:v>
                </c:pt>
                <c:pt idx="1109">
                  <c:v>44.611539999999998</c:v>
                </c:pt>
                <c:pt idx="1110">
                  <c:v>44.671345000000002</c:v>
                </c:pt>
                <c:pt idx="1111">
                  <c:v>44.809449999999998</c:v>
                </c:pt>
                <c:pt idx="1112">
                  <c:v>45.071204999999999</c:v>
                </c:pt>
                <c:pt idx="1113">
                  <c:v>45.234650000000002</c:v>
                </c:pt>
                <c:pt idx="1114">
                  <c:v>45.430782000000001</c:v>
                </c:pt>
                <c:pt idx="1115">
                  <c:v>45.745196999999997</c:v>
                </c:pt>
                <c:pt idx="1116">
                  <c:v>45.851413999999998</c:v>
                </c:pt>
                <c:pt idx="1117">
                  <c:v>45.986730000000001</c:v>
                </c:pt>
                <c:pt idx="1118">
                  <c:v>46.023792</c:v>
                </c:pt>
                <c:pt idx="1119">
                  <c:v>46.167290000000001</c:v>
                </c:pt>
                <c:pt idx="1120">
                  <c:v>46.264360000000003</c:v>
                </c:pt>
                <c:pt idx="1121">
                  <c:v>46.084426999999998</c:v>
                </c:pt>
                <c:pt idx="1122">
                  <c:v>45.888016</c:v>
                </c:pt>
                <c:pt idx="1123">
                  <c:v>45.697299999999998</c:v>
                </c:pt>
                <c:pt idx="1124">
                  <c:v>45.674129999999998</c:v>
                </c:pt>
                <c:pt idx="1125">
                  <c:v>45.669110000000003</c:v>
                </c:pt>
                <c:pt idx="1126">
                  <c:v>45.850067000000003</c:v>
                </c:pt>
                <c:pt idx="1127">
                  <c:v>45.823729999999998</c:v>
                </c:pt>
                <c:pt idx="1128">
                  <c:v>46.105404</c:v>
                </c:pt>
                <c:pt idx="1129">
                  <c:v>46.131095999999999</c:v>
                </c:pt>
                <c:pt idx="1130">
                  <c:v>46.138924000000003</c:v>
                </c:pt>
                <c:pt idx="1131">
                  <c:v>45.915509999999998</c:v>
                </c:pt>
                <c:pt idx="1132">
                  <c:v>45.826934999999999</c:v>
                </c:pt>
                <c:pt idx="1133">
                  <c:v>46.045216000000003</c:v>
                </c:pt>
                <c:pt idx="1134">
                  <c:v>46.136578</c:v>
                </c:pt>
                <c:pt idx="1135">
                  <c:v>46.278655999999998</c:v>
                </c:pt>
                <c:pt idx="1136">
                  <c:v>45.942225999999998</c:v>
                </c:pt>
                <c:pt idx="1137">
                  <c:v>45.758625000000002</c:v>
                </c:pt>
                <c:pt idx="1138">
                  <c:v>45.660755000000002</c:v>
                </c:pt>
                <c:pt idx="1139">
                  <c:v>45.827995000000001</c:v>
                </c:pt>
                <c:pt idx="1140">
                  <c:v>45.834009999999999</c:v>
                </c:pt>
                <c:pt idx="1141">
                  <c:v>45.748286999999998</c:v>
                </c:pt>
                <c:pt idx="1142">
                  <c:v>45.438892000000003</c:v>
                </c:pt>
                <c:pt idx="1143">
                  <c:v>45.270862999999999</c:v>
                </c:pt>
                <c:pt idx="1144">
                  <c:v>45.230829999999997</c:v>
                </c:pt>
                <c:pt idx="1145">
                  <c:v>45.253517000000002</c:v>
                </c:pt>
                <c:pt idx="1146">
                  <c:v>45.427925000000002</c:v>
                </c:pt>
                <c:pt idx="1147">
                  <c:v>45.582526999999999</c:v>
                </c:pt>
                <c:pt idx="1148">
                  <c:v>45.398468000000001</c:v>
                </c:pt>
                <c:pt idx="1149">
                  <c:v>45.216656</c:v>
                </c:pt>
                <c:pt idx="1150">
                  <c:v>45.158659999999998</c:v>
                </c:pt>
                <c:pt idx="1151">
                  <c:v>45.033515999999999</c:v>
                </c:pt>
                <c:pt idx="1152">
                  <c:v>45.179915999999999</c:v>
                </c:pt>
                <c:pt idx="1153">
                  <c:v>45.304203000000001</c:v>
                </c:pt>
                <c:pt idx="1154">
                  <c:v>45.288969999999999</c:v>
                </c:pt>
                <c:pt idx="1155">
                  <c:v>45.276367</c:v>
                </c:pt>
                <c:pt idx="1156">
                  <c:v>44.743589999999998</c:v>
                </c:pt>
                <c:pt idx="1157">
                  <c:v>44.539104000000002</c:v>
                </c:pt>
                <c:pt idx="1158">
                  <c:v>44.273800000000001</c:v>
                </c:pt>
                <c:pt idx="1159">
                  <c:v>44.230159999999998</c:v>
                </c:pt>
                <c:pt idx="1160">
                  <c:v>44.159911999999998</c:v>
                </c:pt>
                <c:pt idx="1161">
                  <c:v>44.183346</c:v>
                </c:pt>
                <c:pt idx="1162">
                  <c:v>44.140484000000001</c:v>
                </c:pt>
                <c:pt idx="1163">
                  <c:v>44.465736</c:v>
                </c:pt>
                <c:pt idx="1164">
                  <c:v>45.394984999999998</c:v>
                </c:pt>
                <c:pt idx="1165">
                  <c:v>45.926017999999999</c:v>
                </c:pt>
                <c:pt idx="1166">
                  <c:v>44.30453</c:v>
                </c:pt>
                <c:pt idx="1167">
                  <c:v>44.687213999999997</c:v>
                </c:pt>
                <c:pt idx="1168">
                  <c:v>45.987926000000002</c:v>
                </c:pt>
                <c:pt idx="1169">
                  <c:v>46.759909999999998</c:v>
                </c:pt>
                <c:pt idx="1170">
                  <c:v>46.929070000000003</c:v>
                </c:pt>
                <c:pt idx="1171">
                  <c:v>47.082928000000003</c:v>
                </c:pt>
                <c:pt idx="1172">
                  <c:v>45.792538</c:v>
                </c:pt>
                <c:pt idx="1173">
                  <c:v>45.349809999999998</c:v>
                </c:pt>
                <c:pt idx="1174">
                  <c:v>46.307026</c:v>
                </c:pt>
                <c:pt idx="1175">
                  <c:v>46.862076000000002</c:v>
                </c:pt>
                <c:pt idx="1176">
                  <c:v>47.343184999999998</c:v>
                </c:pt>
                <c:pt idx="1177">
                  <c:v>47.703636000000003</c:v>
                </c:pt>
                <c:pt idx="1178">
                  <c:v>47.831505</c:v>
                </c:pt>
                <c:pt idx="1179">
                  <c:v>47.967945</c:v>
                </c:pt>
                <c:pt idx="1180">
                  <c:v>48.195770000000003</c:v>
                </c:pt>
                <c:pt idx="1181">
                  <c:v>48.652160000000002</c:v>
                </c:pt>
                <c:pt idx="1182">
                  <c:v>48.748359999999998</c:v>
                </c:pt>
                <c:pt idx="1183">
                  <c:v>48.902923999999999</c:v>
                </c:pt>
                <c:pt idx="1184">
                  <c:v>48.848939999999999</c:v>
                </c:pt>
                <c:pt idx="1185">
                  <c:v>48.484512000000002</c:v>
                </c:pt>
                <c:pt idx="1186">
                  <c:v>47.784385999999998</c:v>
                </c:pt>
                <c:pt idx="1187">
                  <c:v>47.997166</c:v>
                </c:pt>
                <c:pt idx="1188">
                  <c:v>47.711129999999997</c:v>
                </c:pt>
                <c:pt idx="1189">
                  <c:v>47.837935999999999</c:v>
                </c:pt>
                <c:pt idx="1190">
                  <c:v>47.875537999999999</c:v>
                </c:pt>
                <c:pt idx="1191">
                  <c:v>47.949300000000001</c:v>
                </c:pt>
                <c:pt idx="1192">
                  <c:v>47.985615000000003</c:v>
                </c:pt>
                <c:pt idx="1193">
                  <c:v>48.065865000000002</c:v>
                </c:pt>
                <c:pt idx="1194">
                  <c:v>48.188107000000002</c:v>
                </c:pt>
                <c:pt idx="1195">
                  <c:v>48.149479999999997</c:v>
                </c:pt>
                <c:pt idx="1196">
                  <c:v>48.379528000000001</c:v>
                </c:pt>
                <c:pt idx="1197">
                  <c:v>48.689776999999999</c:v>
                </c:pt>
                <c:pt idx="1198">
                  <c:v>48.045839999999998</c:v>
                </c:pt>
                <c:pt idx="1199">
                  <c:v>47.370387999999998</c:v>
                </c:pt>
                <c:pt idx="1200">
                  <c:v>47.537930000000003</c:v>
                </c:pt>
                <c:pt idx="1201">
                  <c:v>47.885128000000002</c:v>
                </c:pt>
                <c:pt idx="1202">
                  <c:v>48.655807000000003</c:v>
                </c:pt>
                <c:pt idx="1203">
                  <c:v>47.775550000000003</c:v>
                </c:pt>
                <c:pt idx="1204">
                  <c:v>47.966636999999999</c:v>
                </c:pt>
                <c:pt idx="1205">
                  <c:v>48.331940000000003</c:v>
                </c:pt>
                <c:pt idx="1206">
                  <c:v>48.80162</c:v>
                </c:pt>
                <c:pt idx="1207">
                  <c:v>49.485267999999998</c:v>
                </c:pt>
                <c:pt idx="1208">
                  <c:v>49.952350000000003</c:v>
                </c:pt>
                <c:pt idx="1209">
                  <c:v>50.388202999999997</c:v>
                </c:pt>
                <c:pt idx="1210">
                  <c:v>49.912242999999997</c:v>
                </c:pt>
                <c:pt idx="1211">
                  <c:v>50.000286000000003</c:v>
                </c:pt>
                <c:pt idx="1212">
                  <c:v>50.043120000000002</c:v>
                </c:pt>
                <c:pt idx="1213">
                  <c:v>50.008580000000002</c:v>
                </c:pt>
                <c:pt idx="1214">
                  <c:v>50.004063000000002</c:v>
                </c:pt>
                <c:pt idx="1215">
                  <c:v>49.772179999999999</c:v>
                </c:pt>
                <c:pt idx="1216">
                  <c:v>48.944865999999998</c:v>
                </c:pt>
                <c:pt idx="1217">
                  <c:v>48.885950000000001</c:v>
                </c:pt>
                <c:pt idx="1218">
                  <c:v>48.880676000000001</c:v>
                </c:pt>
                <c:pt idx="1219">
                  <c:v>48.764600000000002</c:v>
                </c:pt>
                <c:pt idx="1220">
                  <c:v>48.670788000000002</c:v>
                </c:pt>
                <c:pt idx="1221">
                  <c:v>48.688774000000002</c:v>
                </c:pt>
                <c:pt idx="1222">
                  <c:v>48.633006999999999</c:v>
                </c:pt>
                <c:pt idx="1223">
                  <c:v>48.509770000000003</c:v>
                </c:pt>
                <c:pt idx="1224">
                  <c:v>48.313071999999998</c:v>
                </c:pt>
                <c:pt idx="1225">
                  <c:v>48.272709999999996</c:v>
                </c:pt>
                <c:pt idx="1226">
                  <c:v>48.230539999999998</c:v>
                </c:pt>
                <c:pt idx="1227">
                  <c:v>48.276046999999998</c:v>
                </c:pt>
                <c:pt idx="1228">
                  <c:v>48.567659999999997</c:v>
                </c:pt>
                <c:pt idx="1229">
                  <c:v>47.569878000000003</c:v>
                </c:pt>
                <c:pt idx="1230">
                  <c:v>47.669969999999999</c:v>
                </c:pt>
                <c:pt idx="1231">
                  <c:v>48.035713000000001</c:v>
                </c:pt>
                <c:pt idx="1232">
                  <c:v>48.599670000000003</c:v>
                </c:pt>
                <c:pt idx="1233">
                  <c:v>49.18533</c:v>
                </c:pt>
                <c:pt idx="1234">
                  <c:v>49.890636000000001</c:v>
                </c:pt>
                <c:pt idx="1235">
                  <c:v>51.020203000000002</c:v>
                </c:pt>
                <c:pt idx="1236">
                  <c:v>50.793354000000001</c:v>
                </c:pt>
                <c:pt idx="1237">
                  <c:v>50.356639999999999</c:v>
                </c:pt>
                <c:pt idx="1238">
                  <c:v>50.432780000000001</c:v>
                </c:pt>
                <c:pt idx="1239">
                  <c:v>50.329242999999998</c:v>
                </c:pt>
                <c:pt idx="1240">
                  <c:v>50.421474000000003</c:v>
                </c:pt>
                <c:pt idx="1241">
                  <c:v>50.048305999999997</c:v>
                </c:pt>
                <c:pt idx="1242">
                  <c:v>50.331066</c:v>
                </c:pt>
                <c:pt idx="1243">
                  <c:v>50.603836000000001</c:v>
                </c:pt>
                <c:pt idx="1244">
                  <c:v>50.720882000000003</c:v>
                </c:pt>
                <c:pt idx="1245">
                  <c:v>50.137839999999997</c:v>
                </c:pt>
                <c:pt idx="1246">
                  <c:v>49.475464000000002</c:v>
                </c:pt>
                <c:pt idx="1247">
                  <c:v>48.528346999999997</c:v>
                </c:pt>
                <c:pt idx="1248">
                  <c:v>44.534424000000001</c:v>
                </c:pt>
                <c:pt idx="1249">
                  <c:v>37.694879999999998</c:v>
                </c:pt>
                <c:pt idx="1250">
                  <c:v>47.04806</c:v>
                </c:pt>
                <c:pt idx="1251">
                  <c:v>45.504356000000001</c:v>
                </c:pt>
                <c:pt idx="1252">
                  <c:v>36.887656999999997</c:v>
                </c:pt>
                <c:pt idx="1253">
                  <c:v>36.143363999999998</c:v>
                </c:pt>
                <c:pt idx="1254">
                  <c:v>42.948129999999999</c:v>
                </c:pt>
                <c:pt idx="1255">
                  <c:v>38.744655999999999</c:v>
                </c:pt>
                <c:pt idx="1256">
                  <c:v>35.527360000000002</c:v>
                </c:pt>
                <c:pt idx="1257">
                  <c:v>35.534300000000002</c:v>
                </c:pt>
                <c:pt idx="1258">
                  <c:v>35.633040000000001</c:v>
                </c:pt>
                <c:pt idx="1259">
                  <c:v>36.03586</c:v>
                </c:pt>
                <c:pt idx="1260">
                  <c:v>36.749454</c:v>
                </c:pt>
                <c:pt idx="1261">
                  <c:v>37.770412</c:v>
                </c:pt>
                <c:pt idx="1262">
                  <c:v>38.487392</c:v>
                </c:pt>
                <c:pt idx="1263">
                  <c:v>38.834589999999999</c:v>
                </c:pt>
                <c:pt idx="1264">
                  <c:v>38.718814999999999</c:v>
                </c:pt>
                <c:pt idx="1265">
                  <c:v>38.245865000000002</c:v>
                </c:pt>
                <c:pt idx="1266">
                  <c:v>39.094369999999998</c:v>
                </c:pt>
                <c:pt idx="1267">
                  <c:v>41.110382000000001</c:v>
                </c:pt>
                <c:pt idx="1268">
                  <c:v>42.197409999999998</c:v>
                </c:pt>
                <c:pt idx="1269">
                  <c:v>42.66337</c:v>
                </c:pt>
                <c:pt idx="1270">
                  <c:v>42.194972999999997</c:v>
                </c:pt>
                <c:pt idx="1271">
                  <c:v>41.957689999999999</c:v>
                </c:pt>
                <c:pt idx="1272">
                  <c:v>41.411884000000001</c:v>
                </c:pt>
                <c:pt idx="1273">
                  <c:v>40.776850000000003</c:v>
                </c:pt>
                <c:pt idx="1274">
                  <c:v>40.082850000000001</c:v>
                </c:pt>
                <c:pt idx="1275">
                  <c:v>43.686070000000001</c:v>
                </c:pt>
                <c:pt idx="1276">
                  <c:v>46.845089999999999</c:v>
                </c:pt>
                <c:pt idx="1277">
                  <c:v>48.798133999999997</c:v>
                </c:pt>
                <c:pt idx="1278">
                  <c:v>49.590629999999997</c:v>
                </c:pt>
                <c:pt idx="1279">
                  <c:v>49.562232999999999</c:v>
                </c:pt>
                <c:pt idx="1280">
                  <c:v>49.722335999999999</c:v>
                </c:pt>
                <c:pt idx="1281">
                  <c:v>49.384569999999997</c:v>
                </c:pt>
                <c:pt idx="1282">
                  <c:v>49.082134000000003</c:v>
                </c:pt>
                <c:pt idx="1283">
                  <c:v>49.284877999999999</c:v>
                </c:pt>
                <c:pt idx="1284">
                  <c:v>49.393009999999997</c:v>
                </c:pt>
                <c:pt idx="1285">
                  <c:v>48.900272000000001</c:v>
                </c:pt>
                <c:pt idx="1286">
                  <c:v>48.368015</c:v>
                </c:pt>
                <c:pt idx="1287">
                  <c:v>48.656097000000003</c:v>
                </c:pt>
                <c:pt idx="1288">
                  <c:v>48.777920000000002</c:v>
                </c:pt>
                <c:pt idx="1289">
                  <c:v>48.867095999999997</c:v>
                </c:pt>
                <c:pt idx="1290">
                  <c:v>48.592433999999997</c:v>
                </c:pt>
                <c:pt idx="1291">
                  <c:v>48.573062999999998</c:v>
                </c:pt>
                <c:pt idx="1292">
                  <c:v>48.720036</c:v>
                </c:pt>
                <c:pt idx="1293">
                  <c:v>49.034362999999999</c:v>
                </c:pt>
                <c:pt idx="1294">
                  <c:v>49.345776000000001</c:v>
                </c:pt>
                <c:pt idx="1295">
                  <c:v>49.159260000000003</c:v>
                </c:pt>
                <c:pt idx="1296">
                  <c:v>48.981229999999996</c:v>
                </c:pt>
                <c:pt idx="1297">
                  <c:v>48.754547000000002</c:v>
                </c:pt>
                <c:pt idx="1298">
                  <c:v>48.466293</c:v>
                </c:pt>
                <c:pt idx="1299">
                  <c:v>48.356791999999999</c:v>
                </c:pt>
                <c:pt idx="1300">
                  <c:v>48.320762999999999</c:v>
                </c:pt>
                <c:pt idx="1301">
                  <c:v>48.393039999999999</c:v>
                </c:pt>
                <c:pt idx="1302">
                  <c:v>48.481029999999997</c:v>
                </c:pt>
                <c:pt idx="1303">
                  <c:v>48.389442000000003</c:v>
                </c:pt>
                <c:pt idx="1304">
                  <c:v>48.230946000000003</c:v>
                </c:pt>
                <c:pt idx="1305">
                  <c:v>47.942946999999997</c:v>
                </c:pt>
                <c:pt idx="1306">
                  <c:v>47.713614999999997</c:v>
                </c:pt>
                <c:pt idx="1307">
                  <c:v>47.335120000000003</c:v>
                </c:pt>
                <c:pt idx="1308">
                  <c:v>46.846454999999999</c:v>
                </c:pt>
                <c:pt idx="1309">
                  <c:v>45.875819999999997</c:v>
                </c:pt>
                <c:pt idx="1310">
                  <c:v>45.689357999999999</c:v>
                </c:pt>
                <c:pt idx="1311">
                  <c:v>44.601418000000002</c:v>
                </c:pt>
                <c:pt idx="1312">
                  <c:v>44.058556000000003</c:v>
                </c:pt>
                <c:pt idx="1313">
                  <c:v>44.258659999999999</c:v>
                </c:pt>
                <c:pt idx="1314">
                  <c:v>43.170963</c:v>
                </c:pt>
                <c:pt idx="1315">
                  <c:v>42.911712999999999</c:v>
                </c:pt>
                <c:pt idx="1316">
                  <c:v>43.785164000000002</c:v>
                </c:pt>
                <c:pt idx="1317">
                  <c:v>44.882362000000001</c:v>
                </c:pt>
                <c:pt idx="1318">
                  <c:v>39.278163999999997</c:v>
                </c:pt>
                <c:pt idx="1319">
                  <c:v>38.928978000000001</c:v>
                </c:pt>
                <c:pt idx="1320">
                  <c:v>38.366599999999998</c:v>
                </c:pt>
                <c:pt idx="1321">
                  <c:v>38.099434000000002</c:v>
                </c:pt>
                <c:pt idx="1322">
                  <c:v>37.674973000000001</c:v>
                </c:pt>
                <c:pt idx="1323">
                  <c:v>37.239113000000003</c:v>
                </c:pt>
                <c:pt idx="1324">
                  <c:v>36.655144</c:v>
                </c:pt>
                <c:pt idx="1325">
                  <c:v>36.19135</c:v>
                </c:pt>
                <c:pt idx="1326">
                  <c:v>35.722847000000002</c:v>
                </c:pt>
                <c:pt idx="1327">
                  <c:v>36.830886999999997</c:v>
                </c:pt>
                <c:pt idx="1328">
                  <c:v>37.627155000000002</c:v>
                </c:pt>
                <c:pt idx="1329">
                  <c:v>38.024720000000002</c:v>
                </c:pt>
                <c:pt idx="1330">
                  <c:v>37.953360000000004</c:v>
                </c:pt>
                <c:pt idx="1331">
                  <c:v>37.670479999999998</c:v>
                </c:pt>
                <c:pt idx="1332">
                  <c:v>38.007910000000003</c:v>
                </c:pt>
                <c:pt idx="1333">
                  <c:v>38.358414000000003</c:v>
                </c:pt>
                <c:pt idx="1334">
                  <c:v>38.329456</c:v>
                </c:pt>
                <c:pt idx="1335">
                  <c:v>38.124516</c:v>
                </c:pt>
                <c:pt idx="1336">
                  <c:v>37.609546999999999</c:v>
                </c:pt>
                <c:pt idx="1337">
                  <c:v>36.827033999999998</c:v>
                </c:pt>
                <c:pt idx="1338">
                  <c:v>36.882885000000002</c:v>
                </c:pt>
                <c:pt idx="1339">
                  <c:v>38.683422</c:v>
                </c:pt>
                <c:pt idx="1340">
                  <c:v>38.640495000000001</c:v>
                </c:pt>
                <c:pt idx="1341">
                  <c:v>38.546979999999998</c:v>
                </c:pt>
                <c:pt idx="1342">
                  <c:v>38.220410000000001</c:v>
                </c:pt>
                <c:pt idx="1343">
                  <c:v>38.180762999999999</c:v>
                </c:pt>
                <c:pt idx="1344">
                  <c:v>37.806292999999997</c:v>
                </c:pt>
                <c:pt idx="1345">
                  <c:v>37.528489999999998</c:v>
                </c:pt>
                <c:pt idx="1346">
                  <c:v>37.193359999999998</c:v>
                </c:pt>
                <c:pt idx="1347">
                  <c:v>37.256720000000001</c:v>
                </c:pt>
                <c:pt idx="1348">
                  <c:v>37.411239999999999</c:v>
                </c:pt>
                <c:pt idx="1349">
                  <c:v>37.345179999999999</c:v>
                </c:pt>
                <c:pt idx="1350">
                  <c:v>36.926476000000001</c:v>
                </c:pt>
                <c:pt idx="1351">
                  <c:v>36.47972</c:v>
                </c:pt>
                <c:pt idx="1352">
                  <c:v>36.275664999999996</c:v>
                </c:pt>
                <c:pt idx="1353">
                  <c:v>36.259335</c:v>
                </c:pt>
                <c:pt idx="1354">
                  <c:v>36.357680000000002</c:v>
                </c:pt>
                <c:pt idx="1355">
                  <c:v>36.454777</c:v>
                </c:pt>
                <c:pt idx="1356">
                  <c:v>36.592747000000003</c:v>
                </c:pt>
                <c:pt idx="1357">
                  <c:v>36.987139999999997</c:v>
                </c:pt>
                <c:pt idx="1358">
                  <c:v>37.264007999999997</c:v>
                </c:pt>
                <c:pt idx="1359">
                  <c:v>37.494163999999998</c:v>
                </c:pt>
                <c:pt idx="1360">
                  <c:v>37.891871999999999</c:v>
                </c:pt>
                <c:pt idx="1361">
                  <c:v>36.519413</c:v>
                </c:pt>
                <c:pt idx="1362">
                  <c:v>35.403640000000003</c:v>
                </c:pt>
                <c:pt idx="1363">
                  <c:v>34.742984999999997</c:v>
                </c:pt>
                <c:pt idx="1364">
                  <c:v>34.323784000000003</c:v>
                </c:pt>
                <c:pt idx="1365">
                  <c:v>34.154870000000003</c:v>
                </c:pt>
                <c:pt idx="1366">
                  <c:v>33.786858000000002</c:v>
                </c:pt>
                <c:pt idx="1367">
                  <c:v>33.708945999999997</c:v>
                </c:pt>
                <c:pt idx="1368">
                  <c:v>33.399653999999998</c:v>
                </c:pt>
                <c:pt idx="1369">
                  <c:v>33.468876000000002</c:v>
                </c:pt>
                <c:pt idx="1370">
                  <c:v>33.584384999999997</c:v>
                </c:pt>
                <c:pt idx="1371">
                  <c:v>33.549545000000002</c:v>
                </c:pt>
                <c:pt idx="1372">
                  <c:v>33.194330000000001</c:v>
                </c:pt>
                <c:pt idx="1373">
                  <c:v>32.635289999999998</c:v>
                </c:pt>
                <c:pt idx="1374">
                  <c:v>32.503253999999998</c:v>
                </c:pt>
                <c:pt idx="1375">
                  <c:v>32.331420000000001</c:v>
                </c:pt>
                <c:pt idx="1376">
                  <c:v>32.130802000000003</c:v>
                </c:pt>
                <c:pt idx="1377">
                  <c:v>31.897525999999999</c:v>
                </c:pt>
                <c:pt idx="1378">
                  <c:v>31.739737000000002</c:v>
                </c:pt>
                <c:pt idx="1379">
                  <c:v>32.225493999999998</c:v>
                </c:pt>
                <c:pt idx="1380">
                  <c:v>32.363509999999998</c:v>
                </c:pt>
                <c:pt idx="1381">
                  <c:v>32.407783999999999</c:v>
                </c:pt>
                <c:pt idx="1382">
                  <c:v>32.750317000000003</c:v>
                </c:pt>
                <c:pt idx="1383">
                  <c:v>33.102406000000002</c:v>
                </c:pt>
                <c:pt idx="1384">
                  <c:v>33.252983</c:v>
                </c:pt>
                <c:pt idx="1385">
                  <c:v>33.008223999999998</c:v>
                </c:pt>
                <c:pt idx="1386">
                  <c:v>33.025795000000002</c:v>
                </c:pt>
                <c:pt idx="1387">
                  <c:v>33.114413999999996</c:v>
                </c:pt>
                <c:pt idx="1388">
                  <c:v>32.146884999999997</c:v>
                </c:pt>
                <c:pt idx="1389">
                  <c:v>30.707588000000001</c:v>
                </c:pt>
                <c:pt idx="1390">
                  <c:v>30.016690000000001</c:v>
                </c:pt>
                <c:pt idx="1391">
                  <c:v>32.772109999999998</c:v>
                </c:pt>
                <c:pt idx="1392">
                  <c:v>33.733924999999999</c:v>
                </c:pt>
                <c:pt idx="1393">
                  <c:v>34.49868</c:v>
                </c:pt>
                <c:pt idx="1394">
                  <c:v>34.174129999999998</c:v>
                </c:pt>
                <c:pt idx="1395">
                  <c:v>33.963679999999997</c:v>
                </c:pt>
                <c:pt idx="1396">
                  <c:v>34.361750000000001</c:v>
                </c:pt>
                <c:pt idx="1397">
                  <c:v>34.188200000000002</c:v>
                </c:pt>
                <c:pt idx="1398">
                  <c:v>34.110106999999999</c:v>
                </c:pt>
                <c:pt idx="1399">
                  <c:v>33.700786999999998</c:v>
                </c:pt>
                <c:pt idx="1400">
                  <c:v>33.223663000000002</c:v>
                </c:pt>
                <c:pt idx="1401">
                  <c:v>32.910609999999998</c:v>
                </c:pt>
                <c:pt idx="1402">
                  <c:v>33.359929999999999</c:v>
                </c:pt>
                <c:pt idx="1403">
                  <c:v>33.543232000000003</c:v>
                </c:pt>
                <c:pt idx="1404">
                  <c:v>33.482716000000003</c:v>
                </c:pt>
                <c:pt idx="1405">
                  <c:v>33.43139</c:v>
                </c:pt>
                <c:pt idx="1406">
                  <c:v>33.674219999999998</c:v>
                </c:pt>
                <c:pt idx="1407">
                  <c:v>33.930405</c:v>
                </c:pt>
                <c:pt idx="1408">
                  <c:v>33.876434000000003</c:v>
                </c:pt>
                <c:pt idx="1409">
                  <c:v>33.775837000000003</c:v>
                </c:pt>
                <c:pt idx="1410">
                  <c:v>33.872900000000001</c:v>
                </c:pt>
                <c:pt idx="1411">
                  <c:v>33.674323999999999</c:v>
                </c:pt>
                <c:pt idx="1412">
                  <c:v>33.171080000000003</c:v>
                </c:pt>
                <c:pt idx="1413">
                  <c:v>33.076583999999997</c:v>
                </c:pt>
                <c:pt idx="1414">
                  <c:v>32.6355</c:v>
                </c:pt>
                <c:pt idx="1415">
                  <c:v>32.226100000000002</c:v>
                </c:pt>
                <c:pt idx="1416">
                  <c:v>31.995317</c:v>
                </c:pt>
                <c:pt idx="1417">
                  <c:v>31.050507</c:v>
                </c:pt>
                <c:pt idx="1418">
                  <c:v>30.956130999999999</c:v>
                </c:pt>
                <c:pt idx="1419">
                  <c:v>31.217770000000002</c:v>
                </c:pt>
                <c:pt idx="1420">
                  <c:v>31.192388999999999</c:v>
                </c:pt>
                <c:pt idx="1421">
                  <c:v>31.015314</c:v>
                </c:pt>
                <c:pt idx="1422">
                  <c:v>30.542532000000001</c:v>
                </c:pt>
                <c:pt idx="1423">
                  <c:v>30.072405</c:v>
                </c:pt>
                <c:pt idx="1424">
                  <c:v>30.027183999999998</c:v>
                </c:pt>
                <c:pt idx="1425">
                  <c:v>29.393013</c:v>
                </c:pt>
                <c:pt idx="1426">
                  <c:v>28.749876</c:v>
                </c:pt>
                <c:pt idx="1427">
                  <c:v>28.661282</c:v>
                </c:pt>
                <c:pt idx="1428">
                  <c:v>28.903455999999998</c:v>
                </c:pt>
                <c:pt idx="1429">
                  <c:v>29.229728999999999</c:v>
                </c:pt>
                <c:pt idx="1430">
                  <c:v>29.294751999999999</c:v>
                </c:pt>
                <c:pt idx="1431">
                  <c:v>29.480004999999998</c:v>
                </c:pt>
                <c:pt idx="1432">
                  <c:v>29.827745</c:v>
                </c:pt>
                <c:pt idx="1433">
                  <c:v>30.156641</c:v>
                </c:pt>
                <c:pt idx="1434">
                  <c:v>30.31324</c:v>
                </c:pt>
                <c:pt idx="1435">
                  <c:v>30.433202999999999</c:v>
                </c:pt>
                <c:pt idx="1436">
                  <c:v>30.854489999999998</c:v>
                </c:pt>
                <c:pt idx="1437">
                  <c:v>31.526420000000002</c:v>
                </c:pt>
                <c:pt idx="1438">
                  <c:v>32.147807999999998</c:v>
                </c:pt>
                <c:pt idx="1439">
                  <c:v>32.736804999999997</c:v>
                </c:pt>
                <c:pt idx="1440">
                  <c:v>33.369377</c:v>
                </c:pt>
                <c:pt idx="1441">
                  <c:v>34.165410000000001</c:v>
                </c:pt>
                <c:pt idx="1442">
                  <c:v>34.176482999999998</c:v>
                </c:pt>
                <c:pt idx="1443">
                  <c:v>34.398220000000002</c:v>
                </c:pt>
                <c:pt idx="1444">
                  <c:v>34.525562000000001</c:v>
                </c:pt>
                <c:pt idx="1445">
                  <c:v>35.090290000000003</c:v>
                </c:pt>
                <c:pt idx="1446">
                  <c:v>35.411513999999997</c:v>
                </c:pt>
                <c:pt idx="1447">
                  <c:v>35.748351999999997</c:v>
                </c:pt>
                <c:pt idx="1448">
                  <c:v>35.541854999999998</c:v>
                </c:pt>
                <c:pt idx="1449">
                  <c:v>35.437041999999998</c:v>
                </c:pt>
                <c:pt idx="1450">
                  <c:v>35.715530000000001</c:v>
                </c:pt>
                <c:pt idx="1451">
                  <c:v>35.993220000000001</c:v>
                </c:pt>
                <c:pt idx="1452">
                  <c:v>35.909176000000002</c:v>
                </c:pt>
                <c:pt idx="1453">
                  <c:v>35.516705000000002</c:v>
                </c:pt>
                <c:pt idx="1454">
                  <c:v>36.154232</c:v>
                </c:pt>
                <c:pt idx="1455">
                  <c:v>36.714663999999999</c:v>
                </c:pt>
                <c:pt idx="1456">
                  <c:v>36.512413000000002</c:v>
                </c:pt>
                <c:pt idx="1457">
                  <c:v>36.613976000000001</c:v>
                </c:pt>
                <c:pt idx="1458">
                  <c:v>37.082479999999997</c:v>
                </c:pt>
                <c:pt idx="1459">
                  <c:v>37.272550000000003</c:v>
                </c:pt>
                <c:pt idx="1460">
                  <c:v>35.836067</c:v>
                </c:pt>
                <c:pt idx="1461">
                  <c:v>34.423749999999998</c:v>
                </c:pt>
                <c:pt idx="1462">
                  <c:v>34.002845999999998</c:v>
                </c:pt>
                <c:pt idx="1463">
                  <c:v>34.432119999999998</c:v>
                </c:pt>
                <c:pt idx="1464">
                  <c:v>33.826796999999999</c:v>
                </c:pt>
                <c:pt idx="1465">
                  <c:v>32.249429999999997</c:v>
                </c:pt>
                <c:pt idx="1466">
                  <c:v>30.595257</c:v>
                </c:pt>
                <c:pt idx="1467">
                  <c:v>30.622188999999999</c:v>
                </c:pt>
                <c:pt idx="1468">
                  <c:v>30.981655</c:v>
                </c:pt>
                <c:pt idx="1469">
                  <c:v>30.837755000000001</c:v>
                </c:pt>
                <c:pt idx="1470">
                  <c:v>30.878283</c:v>
                </c:pt>
                <c:pt idx="1471">
                  <c:v>31.000582000000001</c:v>
                </c:pt>
                <c:pt idx="1472">
                  <c:v>31.183558000000001</c:v>
                </c:pt>
                <c:pt idx="1473">
                  <c:v>31.314112000000002</c:v>
                </c:pt>
                <c:pt idx="1474">
                  <c:v>31.551791999999999</c:v>
                </c:pt>
                <c:pt idx="1475">
                  <c:v>31.878</c:v>
                </c:pt>
                <c:pt idx="1476">
                  <c:v>32.133006999999999</c:v>
                </c:pt>
                <c:pt idx="1477">
                  <c:v>32.818910000000002</c:v>
                </c:pt>
                <c:pt idx="1478">
                  <c:v>33.440289999999997</c:v>
                </c:pt>
                <c:pt idx="1479">
                  <c:v>33.007399999999997</c:v>
                </c:pt>
                <c:pt idx="1480">
                  <c:v>32.951892999999998</c:v>
                </c:pt>
                <c:pt idx="1481">
                  <c:v>32.810364</c:v>
                </c:pt>
                <c:pt idx="1482">
                  <c:v>32.566715000000002</c:v>
                </c:pt>
                <c:pt idx="1483">
                  <c:v>32.803485999999999</c:v>
                </c:pt>
                <c:pt idx="1484">
                  <c:v>32.522793</c:v>
                </c:pt>
                <c:pt idx="1485">
                  <c:v>32.681609999999999</c:v>
                </c:pt>
                <c:pt idx="1486">
                  <c:v>32.316192999999998</c:v>
                </c:pt>
                <c:pt idx="1487">
                  <c:v>32.377105999999998</c:v>
                </c:pt>
                <c:pt idx="1488">
                  <c:v>32.523457000000001</c:v>
                </c:pt>
                <c:pt idx="1489">
                  <c:v>32.256700000000002</c:v>
                </c:pt>
                <c:pt idx="1490">
                  <c:v>31.595106000000001</c:v>
                </c:pt>
                <c:pt idx="1491">
                  <c:v>32.028779999999998</c:v>
                </c:pt>
                <c:pt idx="1492">
                  <c:v>31.652177999999999</c:v>
                </c:pt>
                <c:pt idx="1493">
                  <c:v>32.829666000000003</c:v>
                </c:pt>
                <c:pt idx="1494">
                  <c:v>32.806652</c:v>
                </c:pt>
                <c:pt idx="1495">
                  <c:v>33.913733999999998</c:v>
                </c:pt>
                <c:pt idx="1496">
                  <c:v>33.343704000000002</c:v>
                </c:pt>
                <c:pt idx="1497">
                  <c:v>32.672429999999999</c:v>
                </c:pt>
                <c:pt idx="1498">
                  <c:v>31.882370000000002</c:v>
                </c:pt>
                <c:pt idx="1499">
                  <c:v>31.737223</c:v>
                </c:pt>
                <c:pt idx="1500">
                  <c:v>31.577940000000002</c:v>
                </c:pt>
                <c:pt idx="1501">
                  <c:v>31.341622999999998</c:v>
                </c:pt>
                <c:pt idx="1502">
                  <c:v>31.336967000000001</c:v>
                </c:pt>
                <c:pt idx="1503">
                  <c:v>31.166316999999999</c:v>
                </c:pt>
                <c:pt idx="1504">
                  <c:v>31.284528999999999</c:v>
                </c:pt>
                <c:pt idx="1505">
                  <c:v>31.697002000000001</c:v>
                </c:pt>
                <c:pt idx="1506">
                  <c:v>31.281036</c:v>
                </c:pt>
                <c:pt idx="1507">
                  <c:v>31.393916999999998</c:v>
                </c:pt>
                <c:pt idx="1508">
                  <c:v>31.377602</c:v>
                </c:pt>
                <c:pt idx="1509">
                  <c:v>31.053242000000001</c:v>
                </c:pt>
                <c:pt idx="1510">
                  <c:v>30.509888</c:v>
                </c:pt>
                <c:pt idx="1511">
                  <c:v>30.290192000000001</c:v>
                </c:pt>
                <c:pt idx="1512">
                  <c:v>30.810065999999999</c:v>
                </c:pt>
                <c:pt idx="1513">
                  <c:v>30.821591999999999</c:v>
                </c:pt>
                <c:pt idx="1514">
                  <c:v>30.471212000000001</c:v>
                </c:pt>
                <c:pt idx="1515">
                  <c:v>30.011158000000002</c:v>
                </c:pt>
                <c:pt idx="1516">
                  <c:v>29.806405999999999</c:v>
                </c:pt>
                <c:pt idx="1517">
                  <c:v>31.583641</c:v>
                </c:pt>
                <c:pt idx="1518">
                  <c:v>31.298555</c:v>
                </c:pt>
                <c:pt idx="1519">
                  <c:v>30.756516999999999</c:v>
                </c:pt>
                <c:pt idx="1520">
                  <c:v>30.601818000000002</c:v>
                </c:pt>
                <c:pt idx="1521">
                  <c:v>30.714289999999998</c:v>
                </c:pt>
                <c:pt idx="1522">
                  <c:v>29.924177</c:v>
                </c:pt>
                <c:pt idx="1523">
                  <c:v>29.679081</c:v>
                </c:pt>
                <c:pt idx="1524">
                  <c:v>29.701342</c:v>
                </c:pt>
                <c:pt idx="1525">
                  <c:v>30.021270000000001</c:v>
                </c:pt>
                <c:pt idx="1526">
                  <c:v>30.924866000000002</c:v>
                </c:pt>
                <c:pt idx="1527">
                  <c:v>32.057200000000002</c:v>
                </c:pt>
                <c:pt idx="1528">
                  <c:v>32.720109999999998</c:v>
                </c:pt>
                <c:pt idx="1529">
                  <c:v>32.547319999999999</c:v>
                </c:pt>
                <c:pt idx="1530">
                  <c:v>32.342269999999999</c:v>
                </c:pt>
                <c:pt idx="1531">
                  <c:v>32.116970000000002</c:v>
                </c:pt>
                <c:pt idx="1532">
                  <c:v>31.909400000000002</c:v>
                </c:pt>
                <c:pt idx="1533">
                  <c:v>31.999832000000001</c:v>
                </c:pt>
                <c:pt idx="1534">
                  <c:v>31.832865000000002</c:v>
                </c:pt>
                <c:pt idx="1535">
                  <c:v>31.792555</c:v>
                </c:pt>
                <c:pt idx="1536">
                  <c:v>31.524801</c:v>
                </c:pt>
                <c:pt idx="1537">
                  <c:v>31.292224999999998</c:v>
                </c:pt>
                <c:pt idx="1538">
                  <c:v>31.172560000000001</c:v>
                </c:pt>
                <c:pt idx="1539">
                  <c:v>31.239315000000001</c:v>
                </c:pt>
                <c:pt idx="1540">
                  <c:v>31.141480999999999</c:v>
                </c:pt>
                <c:pt idx="1541">
                  <c:v>29.964272000000001</c:v>
                </c:pt>
                <c:pt idx="1542">
                  <c:v>30.758398</c:v>
                </c:pt>
                <c:pt idx="1543">
                  <c:v>30.583832000000001</c:v>
                </c:pt>
                <c:pt idx="1544">
                  <c:v>30.375077999999998</c:v>
                </c:pt>
                <c:pt idx="1545">
                  <c:v>29.985976999999998</c:v>
                </c:pt>
                <c:pt idx="1546">
                  <c:v>29.553846</c:v>
                </c:pt>
                <c:pt idx="1547">
                  <c:v>30.049824000000001</c:v>
                </c:pt>
                <c:pt idx="1548">
                  <c:v>29.936267999999998</c:v>
                </c:pt>
                <c:pt idx="1549">
                  <c:v>29.594889999999999</c:v>
                </c:pt>
                <c:pt idx="1550">
                  <c:v>29.59524</c:v>
                </c:pt>
                <c:pt idx="1551">
                  <c:v>29.899806999999999</c:v>
                </c:pt>
                <c:pt idx="1552">
                  <c:v>29.876545</c:v>
                </c:pt>
                <c:pt idx="1553">
                  <c:v>29.967110000000002</c:v>
                </c:pt>
                <c:pt idx="1554">
                  <c:v>29.887148</c:v>
                </c:pt>
                <c:pt idx="1555">
                  <c:v>29.920770000000001</c:v>
                </c:pt>
                <c:pt idx="1556">
                  <c:v>29.708174</c:v>
                </c:pt>
                <c:pt idx="1557">
                  <c:v>30.034455999999999</c:v>
                </c:pt>
                <c:pt idx="1558">
                  <c:v>30.763204999999999</c:v>
                </c:pt>
                <c:pt idx="1559">
                  <c:v>31.537748000000001</c:v>
                </c:pt>
                <c:pt idx="1560">
                  <c:v>31.389804999999999</c:v>
                </c:pt>
                <c:pt idx="1561">
                  <c:v>31.833884999999999</c:v>
                </c:pt>
                <c:pt idx="1562">
                  <c:v>31.829470000000001</c:v>
                </c:pt>
                <c:pt idx="1563">
                  <c:v>31.835888000000001</c:v>
                </c:pt>
                <c:pt idx="1564">
                  <c:v>31.77533</c:v>
                </c:pt>
                <c:pt idx="1565">
                  <c:v>31.797422000000001</c:v>
                </c:pt>
                <c:pt idx="1566">
                  <c:v>32.019295</c:v>
                </c:pt>
                <c:pt idx="1567">
                  <c:v>31.694212</c:v>
                </c:pt>
                <c:pt idx="1568">
                  <c:v>31.401841999999998</c:v>
                </c:pt>
                <c:pt idx="1569">
                  <c:v>31.365320000000001</c:v>
                </c:pt>
                <c:pt idx="1570">
                  <c:v>31.420942</c:v>
                </c:pt>
                <c:pt idx="1571">
                  <c:v>31.219954999999999</c:v>
                </c:pt>
                <c:pt idx="1572">
                  <c:v>31.318565</c:v>
                </c:pt>
                <c:pt idx="1573">
                  <c:v>31.916461999999999</c:v>
                </c:pt>
                <c:pt idx="1574">
                  <c:v>32.539479999999998</c:v>
                </c:pt>
                <c:pt idx="1575">
                  <c:v>32.731693</c:v>
                </c:pt>
                <c:pt idx="1576">
                  <c:v>32.60136</c:v>
                </c:pt>
                <c:pt idx="1577">
                  <c:v>32.716785000000002</c:v>
                </c:pt>
                <c:pt idx="1578">
                  <c:v>32.723464999999997</c:v>
                </c:pt>
                <c:pt idx="1579">
                  <c:v>32.421813999999998</c:v>
                </c:pt>
                <c:pt idx="1580">
                  <c:v>32.402831999999997</c:v>
                </c:pt>
                <c:pt idx="1581">
                  <c:v>32.077385</c:v>
                </c:pt>
                <c:pt idx="1582">
                  <c:v>32.039529999999999</c:v>
                </c:pt>
                <c:pt idx="1583">
                  <c:v>32.070704999999997</c:v>
                </c:pt>
                <c:pt idx="1584">
                  <c:v>31.925144</c:v>
                </c:pt>
                <c:pt idx="1585">
                  <c:v>31.827625000000001</c:v>
                </c:pt>
                <c:pt idx="1586">
                  <c:v>31.836863999999998</c:v>
                </c:pt>
                <c:pt idx="1587">
                  <c:v>31.716487999999998</c:v>
                </c:pt>
                <c:pt idx="1588">
                  <c:v>31.596651000000001</c:v>
                </c:pt>
                <c:pt idx="1589">
                  <c:v>31.73922</c:v>
                </c:pt>
                <c:pt idx="1590">
                  <c:v>32.257908</c:v>
                </c:pt>
                <c:pt idx="1591">
                  <c:v>32.477688000000001</c:v>
                </c:pt>
                <c:pt idx="1592">
                  <c:v>32.670746000000001</c:v>
                </c:pt>
                <c:pt idx="1593">
                  <c:v>32.450854999999997</c:v>
                </c:pt>
                <c:pt idx="1594">
                  <c:v>32.377540000000003</c:v>
                </c:pt>
                <c:pt idx="1595">
                  <c:v>32.419040000000003</c:v>
                </c:pt>
                <c:pt idx="1596">
                  <c:v>32.428474000000001</c:v>
                </c:pt>
                <c:pt idx="1597">
                  <c:v>32.776276000000003</c:v>
                </c:pt>
                <c:pt idx="1598">
                  <c:v>32.570785999999998</c:v>
                </c:pt>
                <c:pt idx="1599">
                  <c:v>32.229785999999997</c:v>
                </c:pt>
                <c:pt idx="1600">
                  <c:v>31.844018999999999</c:v>
                </c:pt>
                <c:pt idx="1601">
                  <c:v>31.735320000000002</c:v>
                </c:pt>
                <c:pt idx="1602">
                  <c:v>31.584403999999999</c:v>
                </c:pt>
                <c:pt idx="1603">
                  <c:v>31.380806</c:v>
                </c:pt>
                <c:pt idx="1604">
                  <c:v>31.486902000000001</c:v>
                </c:pt>
                <c:pt idx="1605">
                  <c:v>31.108969999999999</c:v>
                </c:pt>
                <c:pt idx="1606">
                  <c:v>31.14</c:v>
                </c:pt>
                <c:pt idx="1607">
                  <c:v>30.835128999999998</c:v>
                </c:pt>
                <c:pt idx="1608">
                  <c:v>31.373812000000001</c:v>
                </c:pt>
                <c:pt idx="1609">
                  <c:v>31.934341</c:v>
                </c:pt>
                <c:pt idx="1610">
                  <c:v>31.817537000000002</c:v>
                </c:pt>
                <c:pt idx="1611">
                  <c:v>31.871894999999999</c:v>
                </c:pt>
                <c:pt idx="1612">
                  <c:v>31.627876000000001</c:v>
                </c:pt>
                <c:pt idx="1613">
                  <c:v>31.214195</c:v>
                </c:pt>
                <c:pt idx="1614">
                  <c:v>31.104094</c:v>
                </c:pt>
                <c:pt idx="1615">
                  <c:v>30.842970000000001</c:v>
                </c:pt>
                <c:pt idx="1616">
                  <c:v>31.081780999999999</c:v>
                </c:pt>
                <c:pt idx="1617">
                  <c:v>31.361125999999999</c:v>
                </c:pt>
                <c:pt idx="1618">
                  <c:v>31.317547000000001</c:v>
                </c:pt>
                <c:pt idx="1619">
                  <c:v>31.289528000000001</c:v>
                </c:pt>
                <c:pt idx="1620">
                  <c:v>31.351171000000001</c:v>
                </c:pt>
                <c:pt idx="1621">
                  <c:v>31.030951999999999</c:v>
                </c:pt>
                <c:pt idx="1622">
                  <c:v>30.602715</c:v>
                </c:pt>
                <c:pt idx="1623">
                  <c:v>30.881166</c:v>
                </c:pt>
                <c:pt idx="1624">
                  <c:v>30.648175999999999</c:v>
                </c:pt>
                <c:pt idx="1625">
                  <c:v>30.190048000000001</c:v>
                </c:pt>
                <c:pt idx="1626">
                  <c:v>29.671576000000002</c:v>
                </c:pt>
                <c:pt idx="1627">
                  <c:v>29.300920000000001</c:v>
                </c:pt>
                <c:pt idx="1628">
                  <c:v>29.309507</c:v>
                </c:pt>
                <c:pt idx="1629">
                  <c:v>29.097646999999998</c:v>
                </c:pt>
                <c:pt idx="1630">
                  <c:v>29.292372</c:v>
                </c:pt>
                <c:pt idx="1631">
                  <c:v>29.460915</c:v>
                </c:pt>
                <c:pt idx="1632">
                  <c:v>29.782935999999999</c:v>
                </c:pt>
                <c:pt idx="1633">
                  <c:v>29.982953999999999</c:v>
                </c:pt>
                <c:pt idx="1634">
                  <c:v>29.998327</c:v>
                </c:pt>
                <c:pt idx="1635">
                  <c:v>30.163574000000001</c:v>
                </c:pt>
                <c:pt idx="1636">
                  <c:v>30.014724999999999</c:v>
                </c:pt>
                <c:pt idx="1637">
                  <c:v>29.897950000000002</c:v>
                </c:pt>
                <c:pt idx="1638">
                  <c:v>29.894917</c:v>
                </c:pt>
                <c:pt idx="1639">
                  <c:v>29.899141</c:v>
                </c:pt>
                <c:pt idx="1640">
                  <c:v>29.808257999999999</c:v>
                </c:pt>
                <c:pt idx="1641">
                  <c:v>29.756730999999998</c:v>
                </c:pt>
                <c:pt idx="1642">
                  <c:v>29.700372999999999</c:v>
                </c:pt>
                <c:pt idx="1643">
                  <c:v>29.510425999999999</c:v>
                </c:pt>
                <c:pt idx="1644">
                  <c:v>29.572230000000001</c:v>
                </c:pt>
                <c:pt idx="1645">
                  <c:v>29.653168000000001</c:v>
                </c:pt>
                <c:pt idx="1646">
                  <c:v>29.779952999999999</c:v>
                </c:pt>
                <c:pt idx="1647">
                  <c:v>29.916668000000001</c:v>
                </c:pt>
                <c:pt idx="1648">
                  <c:v>29.980475999999999</c:v>
                </c:pt>
                <c:pt idx="1649">
                  <c:v>29.998512000000002</c:v>
                </c:pt>
                <c:pt idx="1650">
                  <c:v>30.236439000000001</c:v>
                </c:pt>
                <c:pt idx="1651">
                  <c:v>30.244577</c:v>
                </c:pt>
                <c:pt idx="1652">
                  <c:v>29.721968</c:v>
                </c:pt>
                <c:pt idx="1653">
                  <c:v>29.573622</c:v>
                </c:pt>
                <c:pt idx="1654">
                  <c:v>29.496357</c:v>
                </c:pt>
                <c:pt idx="1655">
                  <c:v>29.365003999999999</c:v>
                </c:pt>
                <c:pt idx="1656">
                  <c:v>29.320557000000001</c:v>
                </c:pt>
                <c:pt idx="1657">
                  <c:v>29.21827</c:v>
                </c:pt>
                <c:pt idx="1658">
                  <c:v>29.088362</c:v>
                </c:pt>
                <c:pt idx="1659">
                  <c:v>29.075201</c:v>
                </c:pt>
                <c:pt idx="1660">
                  <c:v>29.090973000000002</c:v>
                </c:pt>
                <c:pt idx="1661">
                  <c:v>29.040485</c:v>
                </c:pt>
                <c:pt idx="1662">
                  <c:v>29.102170000000001</c:v>
                </c:pt>
                <c:pt idx="1663">
                  <c:v>29.499154999999998</c:v>
                </c:pt>
                <c:pt idx="1664">
                  <c:v>29.630742999999999</c:v>
                </c:pt>
                <c:pt idx="1665">
                  <c:v>29.430730000000001</c:v>
                </c:pt>
                <c:pt idx="1666">
                  <c:v>29.48311</c:v>
                </c:pt>
                <c:pt idx="1667">
                  <c:v>28.734219</c:v>
                </c:pt>
                <c:pt idx="1668">
                  <c:v>28.83436</c:v>
                </c:pt>
                <c:pt idx="1669">
                  <c:v>28.836237000000001</c:v>
                </c:pt>
                <c:pt idx="1670">
                  <c:v>28.827963</c:v>
                </c:pt>
                <c:pt idx="1671">
                  <c:v>29.089264</c:v>
                </c:pt>
                <c:pt idx="1672">
                  <c:v>29.371952</c:v>
                </c:pt>
                <c:pt idx="1673">
                  <c:v>29.337868</c:v>
                </c:pt>
                <c:pt idx="1674">
                  <c:v>29.309963</c:v>
                </c:pt>
                <c:pt idx="1675">
                  <c:v>29.35519</c:v>
                </c:pt>
                <c:pt idx="1676">
                  <c:v>29.255103999999999</c:v>
                </c:pt>
                <c:pt idx="1677">
                  <c:v>29.254753000000001</c:v>
                </c:pt>
                <c:pt idx="1678">
                  <c:v>29.303899999999999</c:v>
                </c:pt>
                <c:pt idx="1679">
                  <c:v>29.209993000000001</c:v>
                </c:pt>
                <c:pt idx="1680">
                  <c:v>29.177267000000001</c:v>
                </c:pt>
                <c:pt idx="1681">
                  <c:v>29.136856000000002</c:v>
                </c:pt>
                <c:pt idx="1682">
                  <c:v>29.201626000000001</c:v>
                </c:pt>
                <c:pt idx="1683">
                  <c:v>29.056137</c:v>
                </c:pt>
                <c:pt idx="1684">
                  <c:v>29.110699</c:v>
                </c:pt>
                <c:pt idx="1685">
                  <c:v>28.874039</c:v>
                </c:pt>
                <c:pt idx="1686">
                  <c:v>29.0928</c:v>
                </c:pt>
                <c:pt idx="1687">
                  <c:v>29.370456999999998</c:v>
                </c:pt>
                <c:pt idx="1688">
                  <c:v>28.957844000000001</c:v>
                </c:pt>
                <c:pt idx="1689">
                  <c:v>28.600072999999998</c:v>
                </c:pt>
                <c:pt idx="1690">
                  <c:v>28.476465000000001</c:v>
                </c:pt>
                <c:pt idx="1691">
                  <c:v>28.487556000000001</c:v>
                </c:pt>
                <c:pt idx="1692">
                  <c:v>28.52543</c:v>
                </c:pt>
                <c:pt idx="1693">
                  <c:v>28.636354000000001</c:v>
                </c:pt>
                <c:pt idx="1694">
                  <c:v>28.701338</c:v>
                </c:pt>
                <c:pt idx="1695">
                  <c:v>28.73358</c:v>
                </c:pt>
                <c:pt idx="1696">
                  <c:v>28.848513000000001</c:v>
                </c:pt>
                <c:pt idx="1697">
                  <c:v>29.031548000000001</c:v>
                </c:pt>
                <c:pt idx="1698">
                  <c:v>29.280277000000002</c:v>
                </c:pt>
                <c:pt idx="1699">
                  <c:v>29.462409999999998</c:v>
                </c:pt>
                <c:pt idx="1700">
                  <c:v>29.173020000000001</c:v>
                </c:pt>
                <c:pt idx="1701">
                  <c:v>29.175042999999999</c:v>
                </c:pt>
                <c:pt idx="1702">
                  <c:v>29.27711</c:v>
                </c:pt>
                <c:pt idx="1703">
                  <c:v>29.415976000000001</c:v>
                </c:pt>
                <c:pt idx="1704">
                  <c:v>29.281109000000001</c:v>
                </c:pt>
                <c:pt idx="1705">
                  <c:v>29.146429999999999</c:v>
                </c:pt>
                <c:pt idx="1706">
                  <c:v>29.139267</c:v>
                </c:pt>
                <c:pt idx="1707">
                  <c:v>29.083770000000001</c:v>
                </c:pt>
                <c:pt idx="1708">
                  <c:v>29.345715999999999</c:v>
                </c:pt>
                <c:pt idx="1709">
                  <c:v>29.274647000000002</c:v>
                </c:pt>
                <c:pt idx="1710">
                  <c:v>29.293627000000001</c:v>
                </c:pt>
                <c:pt idx="1711">
                  <c:v>29.263120000000001</c:v>
                </c:pt>
                <c:pt idx="1712">
                  <c:v>29.357502</c:v>
                </c:pt>
                <c:pt idx="1713">
                  <c:v>29.521256999999999</c:v>
                </c:pt>
                <c:pt idx="1714">
                  <c:v>29.815705999999999</c:v>
                </c:pt>
                <c:pt idx="1715">
                  <c:v>30.057891999999999</c:v>
                </c:pt>
                <c:pt idx="1716">
                  <c:v>29.316358999999999</c:v>
                </c:pt>
                <c:pt idx="1717">
                  <c:v>28.970773999999999</c:v>
                </c:pt>
                <c:pt idx="1718">
                  <c:v>28.785281999999999</c:v>
                </c:pt>
                <c:pt idx="1719">
                  <c:v>28.846240999999999</c:v>
                </c:pt>
                <c:pt idx="1720">
                  <c:v>28.673738</c:v>
                </c:pt>
                <c:pt idx="1721">
                  <c:v>28.585384000000001</c:v>
                </c:pt>
                <c:pt idx="1722">
                  <c:v>28.469062999999998</c:v>
                </c:pt>
                <c:pt idx="1723">
                  <c:v>28.388496</c:v>
                </c:pt>
                <c:pt idx="1724">
                  <c:v>28.321822999999998</c:v>
                </c:pt>
                <c:pt idx="1725">
                  <c:v>28.333366000000002</c:v>
                </c:pt>
                <c:pt idx="1726">
                  <c:v>28.312735</c:v>
                </c:pt>
                <c:pt idx="1727">
                  <c:v>28.369762000000001</c:v>
                </c:pt>
                <c:pt idx="1728">
                  <c:v>28.526184000000001</c:v>
                </c:pt>
                <c:pt idx="1729">
                  <c:v>28.352060000000002</c:v>
                </c:pt>
                <c:pt idx="1730">
                  <c:v>28.233205999999999</c:v>
                </c:pt>
                <c:pt idx="1731">
                  <c:v>27.509391999999998</c:v>
                </c:pt>
                <c:pt idx="1732">
                  <c:v>27.641188</c:v>
                </c:pt>
                <c:pt idx="1733">
                  <c:v>27.738184</c:v>
                </c:pt>
                <c:pt idx="1734">
                  <c:v>27.813041999999999</c:v>
                </c:pt>
                <c:pt idx="1735">
                  <c:v>27.822737</c:v>
                </c:pt>
                <c:pt idx="1736">
                  <c:v>27.850876</c:v>
                </c:pt>
                <c:pt idx="1737">
                  <c:v>27.900734</c:v>
                </c:pt>
                <c:pt idx="1738">
                  <c:v>27.961243</c:v>
                </c:pt>
                <c:pt idx="1739">
                  <c:v>27.952711000000001</c:v>
                </c:pt>
                <c:pt idx="1740">
                  <c:v>28.024056999999999</c:v>
                </c:pt>
                <c:pt idx="1741">
                  <c:v>28.05517</c:v>
                </c:pt>
                <c:pt idx="1742">
                  <c:v>28.064444999999999</c:v>
                </c:pt>
                <c:pt idx="1743">
                  <c:v>28.03284</c:v>
                </c:pt>
                <c:pt idx="1744">
                  <c:v>28.066600000000001</c:v>
                </c:pt>
                <c:pt idx="1745">
                  <c:v>28.002524999999999</c:v>
                </c:pt>
                <c:pt idx="1746">
                  <c:v>28.048172000000001</c:v>
                </c:pt>
                <c:pt idx="1747">
                  <c:v>27.941965</c:v>
                </c:pt>
                <c:pt idx="1748">
                  <c:v>27.966766</c:v>
                </c:pt>
                <c:pt idx="1749">
                  <c:v>27.888815000000001</c:v>
                </c:pt>
                <c:pt idx="1750">
                  <c:v>28.014015000000001</c:v>
                </c:pt>
                <c:pt idx="1751">
                  <c:v>28.073119999999999</c:v>
                </c:pt>
                <c:pt idx="1752">
                  <c:v>28.079965999999999</c:v>
                </c:pt>
                <c:pt idx="1753">
                  <c:v>27.957792000000001</c:v>
                </c:pt>
                <c:pt idx="1754">
                  <c:v>27.631378000000002</c:v>
                </c:pt>
                <c:pt idx="1755">
                  <c:v>27.257942</c:v>
                </c:pt>
                <c:pt idx="1756">
                  <c:v>27.840976999999999</c:v>
                </c:pt>
                <c:pt idx="1757">
                  <c:v>28.028987999999998</c:v>
                </c:pt>
                <c:pt idx="1758">
                  <c:v>27.422419999999999</c:v>
                </c:pt>
                <c:pt idx="1759">
                  <c:v>26.881891</c:v>
                </c:pt>
                <c:pt idx="1760">
                  <c:v>26.981869</c:v>
                </c:pt>
                <c:pt idx="1761">
                  <c:v>26.597912000000001</c:v>
                </c:pt>
                <c:pt idx="1762">
                  <c:v>26.063479999999998</c:v>
                </c:pt>
                <c:pt idx="1763">
                  <c:v>25.893204000000001</c:v>
                </c:pt>
                <c:pt idx="1764">
                  <c:v>26.124018</c:v>
                </c:pt>
                <c:pt idx="1765">
                  <c:v>25.916146999999999</c:v>
                </c:pt>
                <c:pt idx="1766">
                  <c:v>25.637415000000001</c:v>
                </c:pt>
                <c:pt idx="1767">
                  <c:v>25.522991000000001</c:v>
                </c:pt>
                <c:pt idx="1768">
                  <c:v>24.549747</c:v>
                </c:pt>
                <c:pt idx="1769">
                  <c:v>23.436900999999999</c:v>
                </c:pt>
                <c:pt idx="1770">
                  <c:v>22.273448999999999</c:v>
                </c:pt>
                <c:pt idx="1771">
                  <c:v>20.845589</c:v>
                </c:pt>
                <c:pt idx="1772">
                  <c:v>19.242135999999999</c:v>
                </c:pt>
                <c:pt idx="1773">
                  <c:v>18.624872</c:v>
                </c:pt>
                <c:pt idx="1774">
                  <c:v>17.918230000000001</c:v>
                </c:pt>
                <c:pt idx="1775">
                  <c:v>18.194535999999999</c:v>
                </c:pt>
                <c:pt idx="1776">
                  <c:v>17.715029000000001</c:v>
                </c:pt>
                <c:pt idx="1777">
                  <c:v>17.835584999999998</c:v>
                </c:pt>
                <c:pt idx="1778">
                  <c:v>17.054655</c:v>
                </c:pt>
                <c:pt idx="1779">
                  <c:v>17.471948999999999</c:v>
                </c:pt>
                <c:pt idx="1780">
                  <c:v>16.567661000000001</c:v>
                </c:pt>
                <c:pt idx="1781">
                  <c:v>14.788527999999999</c:v>
                </c:pt>
                <c:pt idx="1782">
                  <c:v>13.962567999999999</c:v>
                </c:pt>
                <c:pt idx="1783">
                  <c:v>13.467814000000001</c:v>
                </c:pt>
                <c:pt idx="1784">
                  <c:v>12.660633000000001</c:v>
                </c:pt>
                <c:pt idx="1785">
                  <c:v>12.460948999999999</c:v>
                </c:pt>
                <c:pt idx="1786">
                  <c:v>12.177868999999999</c:v>
                </c:pt>
                <c:pt idx="1787">
                  <c:v>11.994725000000001</c:v>
                </c:pt>
                <c:pt idx="1788">
                  <c:v>11.833086</c:v>
                </c:pt>
                <c:pt idx="1789">
                  <c:v>12.042318</c:v>
                </c:pt>
                <c:pt idx="1790">
                  <c:v>12.365622500000001</c:v>
                </c:pt>
                <c:pt idx="1791">
                  <c:v>12.655735</c:v>
                </c:pt>
                <c:pt idx="1792">
                  <c:v>13.041032</c:v>
                </c:pt>
                <c:pt idx="1793">
                  <c:v>9.6898929999999996</c:v>
                </c:pt>
                <c:pt idx="1794">
                  <c:v>10.121897000000001</c:v>
                </c:pt>
                <c:pt idx="1795">
                  <c:v>10.231640000000001</c:v>
                </c:pt>
                <c:pt idx="1796">
                  <c:v>10.386016</c:v>
                </c:pt>
                <c:pt idx="1797">
                  <c:v>10.602379000000001</c:v>
                </c:pt>
                <c:pt idx="1798">
                  <c:v>11.040566</c:v>
                </c:pt>
                <c:pt idx="1799">
                  <c:v>11.745692999999999</c:v>
                </c:pt>
                <c:pt idx="1800">
                  <c:v>12.16789</c:v>
                </c:pt>
                <c:pt idx="1801">
                  <c:v>12.634423999999999</c:v>
                </c:pt>
                <c:pt idx="1802">
                  <c:v>12.736554999999999</c:v>
                </c:pt>
                <c:pt idx="1803">
                  <c:v>12.793112000000001</c:v>
                </c:pt>
                <c:pt idx="1804">
                  <c:v>12.740038999999999</c:v>
                </c:pt>
                <c:pt idx="1805">
                  <c:v>12.438601</c:v>
                </c:pt>
                <c:pt idx="1806">
                  <c:v>12.190149999999999</c:v>
                </c:pt>
                <c:pt idx="1807">
                  <c:v>11.72443</c:v>
                </c:pt>
                <c:pt idx="1808">
                  <c:v>11.09019</c:v>
                </c:pt>
                <c:pt idx="1809">
                  <c:v>10.723896</c:v>
                </c:pt>
                <c:pt idx="1810">
                  <c:v>10.59769</c:v>
                </c:pt>
                <c:pt idx="1811">
                  <c:v>10.600766</c:v>
                </c:pt>
                <c:pt idx="1812">
                  <c:v>10.810002000000001</c:v>
                </c:pt>
                <c:pt idx="1813">
                  <c:v>11.221413999999999</c:v>
                </c:pt>
                <c:pt idx="1814">
                  <c:v>11.686973</c:v>
                </c:pt>
                <c:pt idx="1815">
                  <c:v>11.838533</c:v>
                </c:pt>
                <c:pt idx="1816">
                  <c:v>11.683353</c:v>
                </c:pt>
                <c:pt idx="1817">
                  <c:v>11.721997999999999</c:v>
                </c:pt>
                <c:pt idx="1818">
                  <c:v>11.446535000000001</c:v>
                </c:pt>
                <c:pt idx="1819">
                  <c:v>11.055362000000001</c:v>
                </c:pt>
                <c:pt idx="1820">
                  <c:v>10.793264000000001</c:v>
                </c:pt>
                <c:pt idx="1821">
                  <c:v>10.781494</c:v>
                </c:pt>
                <c:pt idx="1822">
                  <c:v>10.803890000000001</c:v>
                </c:pt>
                <c:pt idx="1823">
                  <c:v>10.626438</c:v>
                </c:pt>
                <c:pt idx="1824">
                  <c:v>10.405473000000001</c:v>
                </c:pt>
                <c:pt idx="1825">
                  <c:v>10.404952</c:v>
                </c:pt>
                <c:pt idx="1826">
                  <c:v>10.434827</c:v>
                </c:pt>
                <c:pt idx="1827">
                  <c:v>10.679205</c:v>
                </c:pt>
                <c:pt idx="1828">
                  <c:v>11.019488000000001</c:v>
                </c:pt>
                <c:pt idx="1829">
                  <c:v>11.384682</c:v>
                </c:pt>
                <c:pt idx="1830">
                  <c:v>11.556691000000001</c:v>
                </c:pt>
                <c:pt idx="1831">
                  <c:v>11.786427</c:v>
                </c:pt>
                <c:pt idx="1832">
                  <c:v>12.061442</c:v>
                </c:pt>
                <c:pt idx="1833">
                  <c:v>12.692594</c:v>
                </c:pt>
                <c:pt idx="1834">
                  <c:v>13.09355</c:v>
                </c:pt>
                <c:pt idx="1835">
                  <c:v>13.292748</c:v>
                </c:pt>
                <c:pt idx="1836">
                  <c:v>13.404890999999999</c:v>
                </c:pt>
                <c:pt idx="1837">
                  <c:v>13.524286</c:v>
                </c:pt>
                <c:pt idx="1838">
                  <c:v>13.746598000000001</c:v>
                </c:pt>
                <c:pt idx="1839">
                  <c:v>17.029223999999999</c:v>
                </c:pt>
                <c:pt idx="1840">
                  <c:v>18.939</c:v>
                </c:pt>
                <c:pt idx="1841">
                  <c:v>18.241206999999999</c:v>
                </c:pt>
                <c:pt idx="1842">
                  <c:v>17.848928000000001</c:v>
                </c:pt>
                <c:pt idx="1843">
                  <c:v>17.347534</c:v>
                </c:pt>
                <c:pt idx="1844">
                  <c:v>16.402978999999998</c:v>
                </c:pt>
                <c:pt idx="1845">
                  <c:v>15.864818</c:v>
                </c:pt>
                <c:pt idx="1846">
                  <c:v>15.388581</c:v>
                </c:pt>
                <c:pt idx="1847">
                  <c:v>15.163650000000001</c:v>
                </c:pt>
                <c:pt idx="1848">
                  <c:v>14.88367</c:v>
                </c:pt>
                <c:pt idx="1849">
                  <c:v>14.478408999999999</c:v>
                </c:pt>
                <c:pt idx="1850">
                  <c:v>14.222149</c:v>
                </c:pt>
                <c:pt idx="1851">
                  <c:v>14.386742999999999</c:v>
                </c:pt>
                <c:pt idx="1852">
                  <c:v>15.284025</c:v>
                </c:pt>
                <c:pt idx="1853">
                  <c:v>15.140224999999999</c:v>
                </c:pt>
                <c:pt idx="1854">
                  <c:v>14.970863</c:v>
                </c:pt>
                <c:pt idx="1855">
                  <c:v>14.636656</c:v>
                </c:pt>
                <c:pt idx="1856">
                  <c:v>10.906672500000001</c:v>
                </c:pt>
                <c:pt idx="1857">
                  <c:v>10.824579</c:v>
                </c:pt>
                <c:pt idx="1858">
                  <c:v>10.939178999999999</c:v>
                </c:pt>
                <c:pt idx="1859">
                  <c:v>11.034836</c:v>
                </c:pt>
                <c:pt idx="1860">
                  <c:v>11.114573</c:v>
                </c:pt>
                <c:pt idx="1861">
                  <c:v>10.917365999999999</c:v>
                </c:pt>
                <c:pt idx="1862">
                  <c:v>10.91386</c:v>
                </c:pt>
                <c:pt idx="1863">
                  <c:v>10.84324</c:v>
                </c:pt>
                <c:pt idx="1864">
                  <c:v>10.91005</c:v>
                </c:pt>
                <c:pt idx="1865">
                  <c:v>10.864844</c:v>
                </c:pt>
                <c:pt idx="1866">
                  <c:v>10.8972645</c:v>
                </c:pt>
                <c:pt idx="1867">
                  <c:v>11.207893</c:v>
                </c:pt>
                <c:pt idx="1868">
                  <c:v>11.609724999999999</c:v>
                </c:pt>
                <c:pt idx="1869">
                  <c:v>11.516387999999999</c:v>
                </c:pt>
                <c:pt idx="1870">
                  <c:v>11.542102999999999</c:v>
                </c:pt>
                <c:pt idx="1871">
                  <c:v>11.611580999999999</c:v>
                </c:pt>
                <c:pt idx="1872">
                  <c:v>11.849983999999999</c:v>
                </c:pt>
                <c:pt idx="1873">
                  <c:v>11.709550999999999</c:v>
                </c:pt>
                <c:pt idx="1874">
                  <c:v>11.810758999999999</c:v>
                </c:pt>
                <c:pt idx="1875">
                  <c:v>11.629921</c:v>
                </c:pt>
                <c:pt idx="1876">
                  <c:v>11.547938</c:v>
                </c:pt>
                <c:pt idx="1877">
                  <c:v>11.639734000000001</c:v>
                </c:pt>
                <c:pt idx="1878">
                  <c:v>11.675268000000001</c:v>
                </c:pt>
                <c:pt idx="1879">
                  <c:v>11.749356000000001</c:v>
                </c:pt>
                <c:pt idx="1880">
                  <c:v>12.012561</c:v>
                </c:pt>
                <c:pt idx="1881">
                  <c:v>12.242704</c:v>
                </c:pt>
                <c:pt idx="1882">
                  <c:v>12.430249999999999</c:v>
                </c:pt>
                <c:pt idx="1883">
                  <c:v>12.878233</c:v>
                </c:pt>
                <c:pt idx="1884">
                  <c:v>13.349463999999999</c:v>
                </c:pt>
                <c:pt idx="1885">
                  <c:v>13.253933</c:v>
                </c:pt>
                <c:pt idx="1886">
                  <c:v>13.321971</c:v>
                </c:pt>
                <c:pt idx="1887">
                  <c:v>13.604374</c:v>
                </c:pt>
                <c:pt idx="1888">
                  <c:v>13.680315999999999</c:v>
                </c:pt>
                <c:pt idx="1889">
                  <c:v>13.596733</c:v>
                </c:pt>
                <c:pt idx="1890">
                  <c:v>13.524896</c:v>
                </c:pt>
                <c:pt idx="1891">
                  <c:v>13.699778</c:v>
                </c:pt>
                <c:pt idx="1892">
                  <c:v>13.521642999999999</c:v>
                </c:pt>
                <c:pt idx="1893">
                  <c:v>13.682888</c:v>
                </c:pt>
                <c:pt idx="1894">
                  <c:v>13.822571</c:v>
                </c:pt>
                <c:pt idx="1895">
                  <c:v>13.760517</c:v>
                </c:pt>
                <c:pt idx="1896">
                  <c:v>14.173242999999999</c:v>
                </c:pt>
                <c:pt idx="1897">
                  <c:v>14.700196999999999</c:v>
                </c:pt>
                <c:pt idx="1898">
                  <c:v>14.563485</c:v>
                </c:pt>
                <c:pt idx="1899">
                  <c:v>15.165943</c:v>
                </c:pt>
                <c:pt idx="1900">
                  <c:v>15.332675</c:v>
                </c:pt>
                <c:pt idx="1901">
                  <c:v>15.312613499999999</c:v>
                </c:pt>
                <c:pt idx="1902">
                  <c:v>15.748915999999999</c:v>
                </c:pt>
                <c:pt idx="1903">
                  <c:v>15.302103000000001</c:v>
                </c:pt>
                <c:pt idx="1904">
                  <c:v>15.11238</c:v>
                </c:pt>
                <c:pt idx="1905">
                  <c:v>14.412713</c:v>
                </c:pt>
                <c:pt idx="1906">
                  <c:v>14.194464</c:v>
                </c:pt>
                <c:pt idx="1907">
                  <c:v>13.962745999999999</c:v>
                </c:pt>
                <c:pt idx="1908">
                  <c:v>13.680642000000001</c:v>
                </c:pt>
                <c:pt idx="1909">
                  <c:v>13.667279000000001</c:v>
                </c:pt>
                <c:pt idx="1910">
                  <c:v>13.76404</c:v>
                </c:pt>
                <c:pt idx="1911">
                  <c:v>13.62621</c:v>
                </c:pt>
                <c:pt idx="1912">
                  <c:v>13.692862999999999</c:v>
                </c:pt>
                <c:pt idx="1913">
                  <c:v>13.396207</c:v>
                </c:pt>
                <c:pt idx="1914">
                  <c:v>13.025067999999999</c:v>
                </c:pt>
                <c:pt idx="1915">
                  <c:v>13.018872</c:v>
                </c:pt>
                <c:pt idx="1916">
                  <c:v>12.470993999999999</c:v>
                </c:pt>
                <c:pt idx="1917">
                  <c:v>12.193398</c:v>
                </c:pt>
                <c:pt idx="1918">
                  <c:v>12.292299999999999</c:v>
                </c:pt>
                <c:pt idx="1919">
                  <c:v>12.577223999999999</c:v>
                </c:pt>
                <c:pt idx="1920">
                  <c:v>13.004445</c:v>
                </c:pt>
                <c:pt idx="1921">
                  <c:v>13.221791</c:v>
                </c:pt>
                <c:pt idx="1922">
                  <c:v>13.652265</c:v>
                </c:pt>
                <c:pt idx="1923">
                  <c:v>13.542045</c:v>
                </c:pt>
                <c:pt idx="1924">
                  <c:v>14.137312</c:v>
                </c:pt>
                <c:pt idx="1925">
                  <c:v>13.937184</c:v>
                </c:pt>
                <c:pt idx="1926">
                  <c:v>14.273580000000001</c:v>
                </c:pt>
                <c:pt idx="1927">
                  <c:v>14.377734999999999</c:v>
                </c:pt>
                <c:pt idx="1928">
                  <c:v>14.832060999999999</c:v>
                </c:pt>
                <c:pt idx="1929">
                  <c:v>15.445449</c:v>
                </c:pt>
                <c:pt idx="1930">
                  <c:v>15.466702</c:v>
                </c:pt>
                <c:pt idx="1931">
                  <c:v>15.677654</c:v>
                </c:pt>
                <c:pt idx="1932">
                  <c:v>15.669651999999999</c:v>
                </c:pt>
                <c:pt idx="1933">
                  <c:v>15.665998999999999</c:v>
                </c:pt>
                <c:pt idx="1934">
                  <c:v>15.279719999999999</c:v>
                </c:pt>
                <c:pt idx="1935">
                  <c:v>15.209534</c:v>
                </c:pt>
                <c:pt idx="1936">
                  <c:v>15.187499000000001</c:v>
                </c:pt>
                <c:pt idx="1937">
                  <c:v>14.897182000000001</c:v>
                </c:pt>
                <c:pt idx="1938">
                  <c:v>15.030934</c:v>
                </c:pt>
                <c:pt idx="1939">
                  <c:v>14.883666</c:v>
                </c:pt>
                <c:pt idx="1940">
                  <c:v>14.753973</c:v>
                </c:pt>
                <c:pt idx="1941">
                  <c:v>14.039123</c:v>
                </c:pt>
                <c:pt idx="1942">
                  <c:v>13.718360000000001</c:v>
                </c:pt>
                <c:pt idx="1943">
                  <c:v>13.210260999999999</c:v>
                </c:pt>
                <c:pt idx="1944">
                  <c:v>13.122982</c:v>
                </c:pt>
                <c:pt idx="1945">
                  <c:v>13.295317000000001</c:v>
                </c:pt>
                <c:pt idx="1946">
                  <c:v>13.845428999999999</c:v>
                </c:pt>
                <c:pt idx="1947">
                  <c:v>14.554651</c:v>
                </c:pt>
                <c:pt idx="1948">
                  <c:v>15.266745</c:v>
                </c:pt>
                <c:pt idx="1949">
                  <c:v>15.199140999999999</c:v>
                </c:pt>
                <c:pt idx="1950">
                  <c:v>15.835205999999999</c:v>
                </c:pt>
                <c:pt idx="1951">
                  <c:v>16.339924</c:v>
                </c:pt>
                <c:pt idx="1952">
                  <c:v>16.305057999999999</c:v>
                </c:pt>
                <c:pt idx="1953">
                  <c:v>16.557694999999999</c:v>
                </c:pt>
                <c:pt idx="1954">
                  <c:v>16.410049999999998</c:v>
                </c:pt>
                <c:pt idx="1955">
                  <c:v>16.841018999999999</c:v>
                </c:pt>
                <c:pt idx="1956">
                  <c:v>16.469180000000001</c:v>
                </c:pt>
                <c:pt idx="1957">
                  <c:v>16.773083</c:v>
                </c:pt>
                <c:pt idx="1958">
                  <c:v>16.696228000000001</c:v>
                </c:pt>
                <c:pt idx="1959">
                  <c:v>16.360749999999999</c:v>
                </c:pt>
                <c:pt idx="1960">
                  <c:v>16.309816000000001</c:v>
                </c:pt>
                <c:pt idx="1961">
                  <c:v>16.820274000000001</c:v>
                </c:pt>
                <c:pt idx="1962">
                  <c:v>17.225581999999999</c:v>
                </c:pt>
                <c:pt idx="1963">
                  <c:v>16.943352000000001</c:v>
                </c:pt>
                <c:pt idx="1964">
                  <c:v>17.243880000000001</c:v>
                </c:pt>
                <c:pt idx="1965">
                  <c:v>17.380472000000001</c:v>
                </c:pt>
                <c:pt idx="1966">
                  <c:v>16.812909999999999</c:v>
                </c:pt>
                <c:pt idx="1967">
                  <c:v>17.318549999999998</c:v>
                </c:pt>
                <c:pt idx="1968">
                  <c:v>17.254017000000001</c:v>
                </c:pt>
                <c:pt idx="1969">
                  <c:v>17.877323000000001</c:v>
                </c:pt>
                <c:pt idx="1970">
                  <c:v>17.647715000000002</c:v>
                </c:pt>
                <c:pt idx="1971">
                  <c:v>18.097875999999999</c:v>
                </c:pt>
                <c:pt idx="1972">
                  <c:v>17.876448</c:v>
                </c:pt>
                <c:pt idx="1973">
                  <c:v>17.901202999999999</c:v>
                </c:pt>
                <c:pt idx="1974">
                  <c:v>17.948381000000001</c:v>
                </c:pt>
                <c:pt idx="1975">
                  <c:v>18.303443999999999</c:v>
                </c:pt>
                <c:pt idx="1976">
                  <c:v>18.543495</c:v>
                </c:pt>
                <c:pt idx="1977">
                  <c:v>18.391876</c:v>
                </c:pt>
                <c:pt idx="1978">
                  <c:v>18.170459999999999</c:v>
                </c:pt>
                <c:pt idx="1979">
                  <c:v>18.097525000000001</c:v>
                </c:pt>
                <c:pt idx="1980">
                  <c:v>18.164843000000001</c:v>
                </c:pt>
                <c:pt idx="1981">
                  <c:v>18.518844999999999</c:v>
                </c:pt>
                <c:pt idx="1982">
                  <c:v>18.363714000000002</c:v>
                </c:pt>
                <c:pt idx="1983">
                  <c:v>18.442693999999999</c:v>
                </c:pt>
                <c:pt idx="1984">
                  <c:v>18.682732000000001</c:v>
                </c:pt>
                <c:pt idx="1985">
                  <c:v>18.704481000000001</c:v>
                </c:pt>
                <c:pt idx="1986">
                  <c:v>18.463039999999999</c:v>
                </c:pt>
                <c:pt idx="1987">
                  <c:v>18.635999999999999</c:v>
                </c:pt>
                <c:pt idx="1988">
                  <c:v>18.617146999999999</c:v>
                </c:pt>
                <c:pt idx="1989">
                  <c:v>19.002801999999999</c:v>
                </c:pt>
                <c:pt idx="1990">
                  <c:v>19.12527</c:v>
                </c:pt>
                <c:pt idx="1991">
                  <c:v>19.331575000000001</c:v>
                </c:pt>
                <c:pt idx="1992">
                  <c:v>19.319701999999999</c:v>
                </c:pt>
                <c:pt idx="1993">
                  <c:v>19.401727999999999</c:v>
                </c:pt>
                <c:pt idx="1994">
                  <c:v>18.978618999999998</c:v>
                </c:pt>
                <c:pt idx="1995">
                  <c:v>19.152823999999999</c:v>
                </c:pt>
                <c:pt idx="1996">
                  <c:v>19.367027</c:v>
                </c:pt>
                <c:pt idx="1997">
                  <c:v>19.55969</c:v>
                </c:pt>
                <c:pt idx="1998">
                  <c:v>19.572824000000001</c:v>
                </c:pt>
                <c:pt idx="1999">
                  <c:v>19.761078000000001</c:v>
                </c:pt>
                <c:pt idx="2000">
                  <c:v>19.558534999999999</c:v>
                </c:pt>
                <c:pt idx="2001">
                  <c:v>19.757256999999999</c:v>
                </c:pt>
                <c:pt idx="2002">
                  <c:v>18.240279999999998</c:v>
                </c:pt>
                <c:pt idx="2003">
                  <c:v>17.976505</c:v>
                </c:pt>
                <c:pt idx="2004">
                  <c:v>19.069102999999998</c:v>
                </c:pt>
                <c:pt idx="2005">
                  <c:v>19.857569999999999</c:v>
                </c:pt>
                <c:pt idx="2006">
                  <c:v>20.06897</c:v>
                </c:pt>
                <c:pt idx="2007">
                  <c:v>19.861666</c:v>
                </c:pt>
                <c:pt idx="2008">
                  <c:v>20.247945999999999</c:v>
                </c:pt>
                <c:pt idx="2009">
                  <c:v>20.49738</c:v>
                </c:pt>
                <c:pt idx="2010">
                  <c:v>20.510641</c:v>
                </c:pt>
                <c:pt idx="2011">
                  <c:v>20.644252999999999</c:v>
                </c:pt>
                <c:pt idx="2012">
                  <c:v>20.721253999999998</c:v>
                </c:pt>
                <c:pt idx="2013">
                  <c:v>20.630157000000001</c:v>
                </c:pt>
                <c:pt idx="2014">
                  <c:v>20.820292999999999</c:v>
                </c:pt>
                <c:pt idx="2015">
                  <c:v>20.792000000000002</c:v>
                </c:pt>
                <c:pt idx="2016">
                  <c:v>20.791526999999999</c:v>
                </c:pt>
                <c:pt idx="2017">
                  <c:v>20.850325000000002</c:v>
                </c:pt>
                <c:pt idx="2018">
                  <c:v>20.560224999999999</c:v>
                </c:pt>
                <c:pt idx="2019">
                  <c:v>19.788405999999998</c:v>
                </c:pt>
                <c:pt idx="2020">
                  <c:v>19.958368</c:v>
                </c:pt>
                <c:pt idx="2021">
                  <c:v>20.127651</c:v>
                </c:pt>
                <c:pt idx="2022">
                  <c:v>20.066755000000001</c:v>
                </c:pt>
                <c:pt idx="2023">
                  <c:v>20.155484999999999</c:v>
                </c:pt>
                <c:pt idx="2024">
                  <c:v>20.311983000000001</c:v>
                </c:pt>
                <c:pt idx="2025">
                  <c:v>20.481905000000001</c:v>
                </c:pt>
                <c:pt idx="2026">
                  <c:v>20.048615000000002</c:v>
                </c:pt>
                <c:pt idx="2027">
                  <c:v>19.602049000000001</c:v>
                </c:pt>
                <c:pt idx="2028">
                  <c:v>19.626148000000001</c:v>
                </c:pt>
                <c:pt idx="2029">
                  <c:v>19.873753000000001</c:v>
                </c:pt>
                <c:pt idx="2030">
                  <c:v>20.113845999999999</c:v>
                </c:pt>
                <c:pt idx="2031">
                  <c:v>20.269477999999999</c:v>
                </c:pt>
                <c:pt idx="2032">
                  <c:v>20.496683000000001</c:v>
                </c:pt>
                <c:pt idx="2033">
                  <c:v>20.387812</c:v>
                </c:pt>
                <c:pt idx="2034">
                  <c:v>20.050802000000001</c:v>
                </c:pt>
                <c:pt idx="2035">
                  <c:v>20.665972</c:v>
                </c:pt>
                <c:pt idx="2036">
                  <c:v>20.915248999999999</c:v>
                </c:pt>
                <c:pt idx="2037">
                  <c:v>20.708334000000001</c:v>
                </c:pt>
                <c:pt idx="2038">
                  <c:v>20.669105999999999</c:v>
                </c:pt>
                <c:pt idx="2039">
                  <c:v>20.742087999999999</c:v>
                </c:pt>
                <c:pt idx="2040">
                  <c:v>20.506513999999999</c:v>
                </c:pt>
                <c:pt idx="2041">
                  <c:v>20.482561</c:v>
                </c:pt>
                <c:pt idx="2042">
                  <c:v>20.404394</c:v>
                </c:pt>
                <c:pt idx="2043">
                  <c:v>20.74061</c:v>
                </c:pt>
                <c:pt idx="2044">
                  <c:v>20.923902999999999</c:v>
                </c:pt>
                <c:pt idx="2045">
                  <c:v>21.105111999999998</c:v>
                </c:pt>
                <c:pt idx="2046">
                  <c:v>21.283874999999998</c:v>
                </c:pt>
                <c:pt idx="2047">
                  <c:v>21.505980999999998</c:v>
                </c:pt>
                <c:pt idx="2048">
                  <c:v>21.641558</c:v>
                </c:pt>
                <c:pt idx="2049">
                  <c:v>21.782596999999999</c:v>
                </c:pt>
                <c:pt idx="2050">
                  <c:v>21.915087</c:v>
                </c:pt>
                <c:pt idx="2051">
                  <c:v>22.003205999999999</c:v>
                </c:pt>
                <c:pt idx="2052">
                  <c:v>22.246693</c:v>
                </c:pt>
                <c:pt idx="2053">
                  <c:v>22.255293000000002</c:v>
                </c:pt>
                <c:pt idx="2054">
                  <c:v>22.078279999999999</c:v>
                </c:pt>
                <c:pt idx="2055">
                  <c:v>22.177447999999998</c:v>
                </c:pt>
                <c:pt idx="2056">
                  <c:v>22.285019999999999</c:v>
                </c:pt>
                <c:pt idx="2057">
                  <c:v>22.498466000000001</c:v>
                </c:pt>
                <c:pt idx="2058">
                  <c:v>22.509394</c:v>
                </c:pt>
                <c:pt idx="2059">
                  <c:v>22.152218000000001</c:v>
                </c:pt>
                <c:pt idx="2060">
                  <c:v>22.143908</c:v>
                </c:pt>
                <c:pt idx="2061">
                  <c:v>21.753578000000001</c:v>
                </c:pt>
                <c:pt idx="2062">
                  <c:v>22.119350000000001</c:v>
                </c:pt>
                <c:pt idx="2063">
                  <c:v>22.274819999999998</c:v>
                </c:pt>
                <c:pt idx="2064">
                  <c:v>22.582556</c:v>
                </c:pt>
                <c:pt idx="2065">
                  <c:v>22.708431000000001</c:v>
                </c:pt>
                <c:pt idx="2066">
                  <c:v>22.608834999999999</c:v>
                </c:pt>
                <c:pt idx="2067">
                  <c:v>22.658391999999999</c:v>
                </c:pt>
                <c:pt idx="2068">
                  <c:v>22.761948</c:v>
                </c:pt>
                <c:pt idx="2069">
                  <c:v>22.626469</c:v>
                </c:pt>
                <c:pt idx="2070">
                  <c:v>22.772107999999999</c:v>
                </c:pt>
                <c:pt idx="2071">
                  <c:v>22.904779999999999</c:v>
                </c:pt>
                <c:pt idx="2072">
                  <c:v>22.969238000000001</c:v>
                </c:pt>
                <c:pt idx="2073">
                  <c:v>22.942758999999999</c:v>
                </c:pt>
                <c:pt idx="2074">
                  <c:v>22.792826000000002</c:v>
                </c:pt>
                <c:pt idx="2075">
                  <c:v>22.675642</c:v>
                </c:pt>
                <c:pt idx="2076">
                  <c:v>22.68055</c:v>
                </c:pt>
                <c:pt idx="2077">
                  <c:v>22.703537000000001</c:v>
                </c:pt>
                <c:pt idx="2078">
                  <c:v>22.721132000000001</c:v>
                </c:pt>
                <c:pt idx="2079">
                  <c:v>22.68966</c:v>
                </c:pt>
                <c:pt idx="2080">
                  <c:v>22.669029999999999</c:v>
                </c:pt>
                <c:pt idx="2081">
                  <c:v>22.705627</c:v>
                </c:pt>
                <c:pt idx="2082">
                  <c:v>22.764897999999999</c:v>
                </c:pt>
                <c:pt idx="2083">
                  <c:v>22.814692000000001</c:v>
                </c:pt>
                <c:pt idx="2084">
                  <c:v>22.530076999999999</c:v>
                </c:pt>
                <c:pt idx="2085">
                  <c:v>22.842193999999999</c:v>
                </c:pt>
                <c:pt idx="2086">
                  <c:v>22.892565000000001</c:v>
                </c:pt>
                <c:pt idx="2087">
                  <c:v>22.958494000000002</c:v>
                </c:pt>
                <c:pt idx="2088">
                  <c:v>22.840527000000002</c:v>
                </c:pt>
                <c:pt idx="2089">
                  <c:v>22.557317999999999</c:v>
                </c:pt>
                <c:pt idx="2090">
                  <c:v>22.800041</c:v>
                </c:pt>
                <c:pt idx="2091">
                  <c:v>23.080155999999999</c:v>
                </c:pt>
                <c:pt idx="2092">
                  <c:v>23.247349</c:v>
                </c:pt>
                <c:pt idx="2093">
                  <c:v>23.239989999999999</c:v>
                </c:pt>
                <c:pt idx="2094">
                  <c:v>23.281586000000001</c:v>
                </c:pt>
                <c:pt idx="2095">
                  <c:v>23.161384999999999</c:v>
                </c:pt>
                <c:pt idx="2096">
                  <c:v>23.230093</c:v>
                </c:pt>
                <c:pt idx="2097">
                  <c:v>23.279404</c:v>
                </c:pt>
                <c:pt idx="2098">
                  <c:v>23.302634999999999</c:v>
                </c:pt>
                <c:pt idx="2099">
                  <c:v>23.277930999999999</c:v>
                </c:pt>
                <c:pt idx="2100">
                  <c:v>23.102239999999998</c:v>
                </c:pt>
                <c:pt idx="2101">
                  <c:v>23.045224999999999</c:v>
                </c:pt>
                <c:pt idx="2102">
                  <c:v>23.131164999999999</c:v>
                </c:pt>
                <c:pt idx="2103">
                  <c:v>23.233915</c:v>
                </c:pt>
                <c:pt idx="2104">
                  <c:v>23.328156</c:v>
                </c:pt>
                <c:pt idx="2105">
                  <c:v>23.299430000000001</c:v>
                </c:pt>
                <c:pt idx="2106">
                  <c:v>23.369606000000001</c:v>
                </c:pt>
                <c:pt idx="2107">
                  <c:v>23.028503000000001</c:v>
                </c:pt>
                <c:pt idx="2108">
                  <c:v>25.494212999999998</c:v>
                </c:pt>
                <c:pt idx="2109">
                  <c:v>25.619969999999999</c:v>
                </c:pt>
              </c:numCache>
            </c:numRef>
          </c:val>
          <c:smooth val="0"/>
          <c:extLst>
            <c:ext xmlns:c16="http://schemas.microsoft.com/office/drawing/2014/chart" uri="{C3380CC4-5D6E-409C-BE32-E72D297353CC}">
              <c16:uniqueId val="{00000001-2D94-3E47-9F2A-6F98A173A096}"/>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60"/>
          <c:min val="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90203223919881E-2"/>
          <c:y val="3.9286234984628063E-2"/>
          <c:w val="0.93640979677608016"/>
          <c:h val="0.92142753003074385"/>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13.1889515</c:v>
                </c:pt>
                <c:pt idx="1">
                  <c:v>13.669750000000001</c:v>
                </c:pt>
                <c:pt idx="2">
                  <c:v>13.443493</c:v>
                </c:pt>
                <c:pt idx="3">
                  <c:v>12.566744999999999</c:v>
                </c:pt>
                <c:pt idx="4">
                  <c:v>12.604450999999999</c:v>
                </c:pt>
                <c:pt idx="5">
                  <c:v>12.793001</c:v>
                </c:pt>
                <c:pt idx="6">
                  <c:v>12.274495999999999</c:v>
                </c:pt>
                <c:pt idx="7">
                  <c:v>12.5007515</c:v>
                </c:pt>
                <c:pt idx="8">
                  <c:v>12.642160000000001</c:v>
                </c:pt>
                <c:pt idx="9">
                  <c:v>12.661016</c:v>
                </c:pt>
                <c:pt idx="10">
                  <c:v>12.830712</c:v>
                </c:pt>
                <c:pt idx="11">
                  <c:v>13.104106</c:v>
                </c:pt>
                <c:pt idx="12">
                  <c:v>13.245518000000001</c:v>
                </c:pt>
                <c:pt idx="13">
                  <c:v>13.735741000000001</c:v>
                </c:pt>
                <c:pt idx="14">
                  <c:v>13.971429000000001</c:v>
                </c:pt>
                <c:pt idx="15">
                  <c:v>14.065701499999999</c:v>
                </c:pt>
                <c:pt idx="16">
                  <c:v>14.263679</c:v>
                </c:pt>
                <c:pt idx="17">
                  <c:v>14.612493499999999</c:v>
                </c:pt>
                <c:pt idx="18">
                  <c:v>14.999018</c:v>
                </c:pt>
                <c:pt idx="19">
                  <c:v>15.319549</c:v>
                </c:pt>
                <c:pt idx="20">
                  <c:v>15.065009</c:v>
                </c:pt>
                <c:pt idx="21">
                  <c:v>15.35726</c:v>
                </c:pt>
                <c:pt idx="22">
                  <c:v>15.819203999999999</c:v>
                </c:pt>
                <c:pt idx="23">
                  <c:v>16.243438999999999</c:v>
                </c:pt>
                <c:pt idx="24">
                  <c:v>16.026602</c:v>
                </c:pt>
                <c:pt idx="25">
                  <c:v>15.894628000000001</c:v>
                </c:pt>
                <c:pt idx="26">
                  <c:v>15.649509999999999</c:v>
                </c:pt>
                <c:pt idx="27">
                  <c:v>15.564665</c:v>
                </c:pt>
                <c:pt idx="28">
                  <c:v>15.696642000000001</c:v>
                </c:pt>
                <c:pt idx="29">
                  <c:v>15.9983225</c:v>
                </c:pt>
                <c:pt idx="30">
                  <c:v>15.715503999999999</c:v>
                </c:pt>
                <c:pt idx="31">
                  <c:v>14.838749999999999</c:v>
                </c:pt>
                <c:pt idx="32">
                  <c:v>14.640772</c:v>
                </c:pt>
                <c:pt idx="33">
                  <c:v>14.791613999999999</c:v>
                </c:pt>
                <c:pt idx="34">
                  <c:v>14.819896</c:v>
                </c:pt>
                <c:pt idx="35">
                  <c:v>14.933026999999999</c:v>
                </c:pt>
                <c:pt idx="36">
                  <c:v>14.801041</c:v>
                </c:pt>
                <c:pt idx="37">
                  <c:v>14.876459000000001</c:v>
                </c:pt>
                <c:pt idx="38">
                  <c:v>15.262985</c:v>
                </c:pt>
                <c:pt idx="39">
                  <c:v>15.215846000000001</c:v>
                </c:pt>
                <c:pt idx="40">
                  <c:v>14.697338999999999</c:v>
                </c:pt>
                <c:pt idx="41">
                  <c:v>15.43268</c:v>
                </c:pt>
                <c:pt idx="42">
                  <c:v>15.574092</c:v>
                </c:pt>
                <c:pt idx="43">
                  <c:v>15.178139</c:v>
                </c:pt>
                <c:pt idx="44">
                  <c:v>15.102719</c:v>
                </c:pt>
                <c:pt idx="45">
                  <c:v>14.631346000000001</c:v>
                </c:pt>
                <c:pt idx="46">
                  <c:v>15.366682000000001</c:v>
                </c:pt>
                <c:pt idx="47">
                  <c:v>15.508098</c:v>
                </c:pt>
                <c:pt idx="48">
                  <c:v>15.291264</c:v>
                </c:pt>
                <c:pt idx="49">
                  <c:v>15.640081</c:v>
                </c:pt>
                <c:pt idx="50">
                  <c:v>15.847481999999999</c:v>
                </c:pt>
                <c:pt idx="51">
                  <c:v>15.932332000000001</c:v>
                </c:pt>
                <c:pt idx="52">
                  <c:v>15.649509999999999</c:v>
                </c:pt>
                <c:pt idx="53">
                  <c:v>15.970036500000001</c:v>
                </c:pt>
                <c:pt idx="54">
                  <c:v>16.045456000000001</c:v>
                </c:pt>
                <c:pt idx="55">
                  <c:v>16.026602</c:v>
                </c:pt>
                <c:pt idx="56">
                  <c:v>16.007747999999999</c:v>
                </c:pt>
                <c:pt idx="57">
                  <c:v>16.347134</c:v>
                </c:pt>
                <c:pt idx="58">
                  <c:v>16.384848000000002</c:v>
                </c:pt>
                <c:pt idx="59">
                  <c:v>16.743086000000002</c:v>
                </c:pt>
                <c:pt idx="60">
                  <c:v>16.705380999999999</c:v>
                </c:pt>
                <c:pt idx="61">
                  <c:v>17.063618000000002</c:v>
                </c:pt>
                <c:pt idx="62">
                  <c:v>17.732963999999999</c:v>
                </c:pt>
                <c:pt idx="63">
                  <c:v>18.025214999999999</c:v>
                </c:pt>
                <c:pt idx="64">
                  <c:v>17.921514999999999</c:v>
                </c:pt>
                <c:pt idx="65">
                  <c:v>17.525562000000001</c:v>
                </c:pt>
                <c:pt idx="66">
                  <c:v>16.922207</c:v>
                </c:pt>
                <c:pt idx="67">
                  <c:v>16.90335</c:v>
                </c:pt>
                <c:pt idx="68">
                  <c:v>17.148465999999999</c:v>
                </c:pt>
                <c:pt idx="69">
                  <c:v>17.167324000000001</c:v>
                </c:pt>
                <c:pt idx="70">
                  <c:v>17.082476</c:v>
                </c:pt>
                <c:pt idx="71">
                  <c:v>16.809078</c:v>
                </c:pt>
                <c:pt idx="72">
                  <c:v>16.658239999999999</c:v>
                </c:pt>
                <c:pt idx="73">
                  <c:v>16.563970000000001</c:v>
                </c:pt>
                <c:pt idx="74">
                  <c:v>16.71481</c:v>
                </c:pt>
                <c:pt idx="75">
                  <c:v>16.639382999999999</c:v>
                </c:pt>
                <c:pt idx="76">
                  <c:v>15.979469999999999</c:v>
                </c:pt>
                <c:pt idx="77">
                  <c:v>15.687218</c:v>
                </c:pt>
                <c:pt idx="78">
                  <c:v>16.045456000000001</c:v>
                </c:pt>
                <c:pt idx="79">
                  <c:v>16.271715</c:v>
                </c:pt>
                <c:pt idx="80">
                  <c:v>15.951185000000001</c:v>
                </c:pt>
                <c:pt idx="81">
                  <c:v>15.913472000000001</c:v>
                </c:pt>
                <c:pt idx="82">
                  <c:v>16.036034000000001</c:v>
                </c:pt>
                <c:pt idx="83">
                  <c:v>15.960618</c:v>
                </c:pt>
                <c:pt idx="84">
                  <c:v>15.979469999999999</c:v>
                </c:pt>
                <c:pt idx="85">
                  <c:v>16.234009</c:v>
                </c:pt>
                <c:pt idx="86">
                  <c:v>16.083165999999999</c:v>
                </c:pt>
                <c:pt idx="87">
                  <c:v>15.772062999999999</c:v>
                </c:pt>
                <c:pt idx="88">
                  <c:v>15.404394</c:v>
                </c:pt>
                <c:pt idx="89">
                  <c:v>15.20642</c:v>
                </c:pt>
                <c:pt idx="90">
                  <c:v>15.517526</c:v>
                </c:pt>
                <c:pt idx="91">
                  <c:v>15.244128</c:v>
                </c:pt>
                <c:pt idx="92">
                  <c:v>15.376113999999999</c:v>
                </c:pt>
                <c:pt idx="93">
                  <c:v>15.479815</c:v>
                </c:pt>
                <c:pt idx="94">
                  <c:v>15.838056</c:v>
                </c:pt>
                <c:pt idx="95">
                  <c:v>15.489243999999999</c:v>
                </c:pt>
                <c:pt idx="96">
                  <c:v>15.790917</c:v>
                </c:pt>
                <c:pt idx="97">
                  <c:v>15.875762999999999</c:v>
                </c:pt>
                <c:pt idx="98">
                  <c:v>15.970036500000001</c:v>
                </c:pt>
                <c:pt idx="99">
                  <c:v>16.365993</c:v>
                </c:pt>
                <c:pt idx="100">
                  <c:v>16.186869000000002</c:v>
                </c:pt>
                <c:pt idx="101">
                  <c:v>16.375418</c:v>
                </c:pt>
                <c:pt idx="102">
                  <c:v>16.554542999999999</c:v>
                </c:pt>
                <c:pt idx="103">
                  <c:v>16.743086000000002</c:v>
                </c:pt>
                <c:pt idx="104">
                  <c:v>16.922207</c:v>
                </c:pt>
                <c:pt idx="105">
                  <c:v>17.393578000000002</c:v>
                </c:pt>
                <c:pt idx="106">
                  <c:v>17.365300000000001</c:v>
                </c:pt>
                <c:pt idx="107">
                  <c:v>17.186178000000002</c:v>
                </c:pt>
                <c:pt idx="108">
                  <c:v>17.110759999999999</c:v>
                </c:pt>
                <c:pt idx="109">
                  <c:v>17.016480000000001</c:v>
                </c:pt>
                <c:pt idx="110">
                  <c:v>17.440719999999999</c:v>
                </c:pt>
                <c:pt idx="111">
                  <c:v>17.751822000000001</c:v>
                </c:pt>
                <c:pt idx="112">
                  <c:v>17.996932999999999</c:v>
                </c:pt>
                <c:pt idx="113">
                  <c:v>18.128921999999999</c:v>
                </c:pt>
                <c:pt idx="114">
                  <c:v>18.100633999999999</c:v>
                </c:pt>
                <c:pt idx="115">
                  <c:v>18.242045999999998</c:v>
                </c:pt>
                <c:pt idx="116">
                  <c:v>18.270325</c:v>
                </c:pt>
                <c:pt idx="117">
                  <c:v>17.836666000000001</c:v>
                </c:pt>
                <c:pt idx="118">
                  <c:v>18.072351000000001</c:v>
                </c:pt>
                <c:pt idx="119">
                  <c:v>17.836666000000001</c:v>
                </c:pt>
                <c:pt idx="120">
                  <c:v>17.789529999999999</c:v>
                </c:pt>
                <c:pt idx="121">
                  <c:v>17.893232000000001</c:v>
                </c:pt>
                <c:pt idx="122">
                  <c:v>17.534991999999999</c:v>
                </c:pt>
                <c:pt idx="123">
                  <c:v>17.742393</c:v>
                </c:pt>
                <c:pt idx="124">
                  <c:v>15.423249999999999</c:v>
                </c:pt>
                <c:pt idx="125">
                  <c:v>15.244128</c:v>
                </c:pt>
                <c:pt idx="126">
                  <c:v>14.819896</c:v>
                </c:pt>
                <c:pt idx="127">
                  <c:v>15.09329</c:v>
                </c:pt>
                <c:pt idx="128">
                  <c:v>14.744475</c:v>
                </c:pt>
                <c:pt idx="129">
                  <c:v>14.895313</c:v>
                </c:pt>
                <c:pt idx="130">
                  <c:v>14.90474</c:v>
                </c:pt>
                <c:pt idx="131">
                  <c:v>15.338404000000001</c:v>
                </c:pt>
                <c:pt idx="132">
                  <c:v>15.234700999999999</c:v>
                </c:pt>
                <c:pt idx="133">
                  <c:v>15.281836500000001</c:v>
                </c:pt>
                <c:pt idx="134">
                  <c:v>14.584212000000001</c:v>
                </c:pt>
                <c:pt idx="135">
                  <c:v>14.4616585</c:v>
                </c:pt>
                <c:pt idx="136">
                  <c:v>15.046151999999999</c:v>
                </c:pt>
                <c:pt idx="137">
                  <c:v>15.234700999999999</c:v>
                </c:pt>
                <c:pt idx="138">
                  <c:v>15.451532</c:v>
                </c:pt>
                <c:pt idx="139">
                  <c:v>15.847481999999999</c:v>
                </c:pt>
                <c:pt idx="140">
                  <c:v>16.017181000000001</c:v>
                </c:pt>
                <c:pt idx="141">
                  <c:v>15.838056</c:v>
                </c:pt>
                <c:pt idx="142">
                  <c:v>16.469695999999999</c:v>
                </c:pt>
                <c:pt idx="143">
                  <c:v>17.082476</c:v>
                </c:pt>
                <c:pt idx="144">
                  <c:v>16.705380999999999</c:v>
                </c:pt>
                <c:pt idx="145">
                  <c:v>16.620531</c:v>
                </c:pt>
                <c:pt idx="146">
                  <c:v>16.846788</c:v>
                </c:pt>
                <c:pt idx="147">
                  <c:v>17.035336000000001</c:v>
                </c:pt>
                <c:pt idx="148">
                  <c:v>17.648119999999999</c:v>
                </c:pt>
                <c:pt idx="149">
                  <c:v>17.610415</c:v>
                </c:pt>
                <c:pt idx="150">
                  <c:v>17.883801999999999</c:v>
                </c:pt>
                <c:pt idx="151">
                  <c:v>17.808384</c:v>
                </c:pt>
                <c:pt idx="152">
                  <c:v>17.780104000000001</c:v>
                </c:pt>
                <c:pt idx="153">
                  <c:v>17.902657000000001</c:v>
                </c:pt>
                <c:pt idx="154">
                  <c:v>18.081779999999998</c:v>
                </c:pt>
                <c:pt idx="155">
                  <c:v>18.355174999999999</c:v>
                </c:pt>
                <c:pt idx="156">
                  <c:v>17.987504999999999</c:v>
                </c:pt>
                <c:pt idx="157">
                  <c:v>17.874374</c:v>
                </c:pt>
                <c:pt idx="158">
                  <c:v>18.562577999999998</c:v>
                </c:pt>
                <c:pt idx="159">
                  <c:v>18.703987000000001</c:v>
                </c:pt>
                <c:pt idx="160">
                  <c:v>19.307348000000001</c:v>
                </c:pt>
                <c:pt idx="161">
                  <c:v>19.354485</c:v>
                </c:pt>
                <c:pt idx="162">
                  <c:v>19.222498000000002</c:v>
                </c:pt>
                <c:pt idx="163">
                  <c:v>18.873685999999999</c:v>
                </c:pt>
                <c:pt idx="164">
                  <c:v>18.911397999999998</c:v>
                </c:pt>
                <c:pt idx="165">
                  <c:v>19.326198999999999</c:v>
                </c:pt>
                <c:pt idx="166">
                  <c:v>19.533605999999999</c:v>
                </c:pt>
                <c:pt idx="167">
                  <c:v>19.401623000000001</c:v>
                </c:pt>
                <c:pt idx="168">
                  <c:v>19.326198999999999</c:v>
                </c:pt>
                <c:pt idx="169">
                  <c:v>19.439333000000001</c:v>
                </c:pt>
                <c:pt idx="170">
                  <c:v>19.797571000000001</c:v>
                </c:pt>
                <c:pt idx="171">
                  <c:v>19.929552000000001</c:v>
                </c:pt>
                <c:pt idx="172">
                  <c:v>20.004974000000001</c:v>
                </c:pt>
                <c:pt idx="173">
                  <c:v>20.693173999999999</c:v>
                </c:pt>
                <c:pt idx="174">
                  <c:v>20.174664</c:v>
                </c:pt>
                <c:pt idx="175">
                  <c:v>21.371949999999998</c:v>
                </c:pt>
                <c:pt idx="176">
                  <c:v>20.881724999999999</c:v>
                </c:pt>
                <c:pt idx="177">
                  <c:v>20.749737</c:v>
                </c:pt>
                <c:pt idx="178">
                  <c:v>21.089127000000001</c:v>
                </c:pt>
                <c:pt idx="179">
                  <c:v>21.287099999999999</c:v>
                </c:pt>
                <c:pt idx="180">
                  <c:v>20.712025000000001</c:v>
                </c:pt>
                <c:pt idx="181">
                  <c:v>21.155118999999999</c:v>
                </c:pt>
                <c:pt idx="182">
                  <c:v>21.409656999999999</c:v>
                </c:pt>
                <c:pt idx="183">
                  <c:v>21.38138</c:v>
                </c:pt>
                <c:pt idx="184">
                  <c:v>21.117407</c:v>
                </c:pt>
                <c:pt idx="185">
                  <c:v>20.815725</c:v>
                </c:pt>
                <c:pt idx="186">
                  <c:v>21.881031</c:v>
                </c:pt>
                <c:pt idx="187">
                  <c:v>21.937591999999999</c:v>
                </c:pt>
                <c:pt idx="188">
                  <c:v>22.173279999999998</c:v>
                </c:pt>
                <c:pt idx="189">
                  <c:v>21.975297999999999</c:v>
                </c:pt>
                <c:pt idx="190">
                  <c:v>22.305261999999999</c:v>
                </c:pt>
                <c:pt idx="191">
                  <c:v>22.522093000000002</c:v>
                </c:pt>
                <c:pt idx="192">
                  <c:v>23.002897000000001</c:v>
                </c:pt>
                <c:pt idx="193">
                  <c:v>22.842623</c:v>
                </c:pt>
                <c:pt idx="194">
                  <c:v>22.682355999999999</c:v>
                </c:pt>
                <c:pt idx="195">
                  <c:v>22.616364000000001</c:v>
                </c:pt>
                <c:pt idx="196">
                  <c:v>22.880338999999999</c:v>
                </c:pt>
                <c:pt idx="197">
                  <c:v>22.852049999999998</c:v>
                </c:pt>
                <c:pt idx="198">
                  <c:v>22.446674000000002</c:v>
                </c:pt>
                <c:pt idx="199">
                  <c:v>22.606936999999999</c:v>
                </c:pt>
                <c:pt idx="200">
                  <c:v>22.135570000000001</c:v>
                </c:pt>
                <c:pt idx="201">
                  <c:v>21.720759999999999</c:v>
                </c:pt>
                <c:pt idx="202">
                  <c:v>21.107983000000001</c:v>
                </c:pt>
                <c:pt idx="203">
                  <c:v>20.617756</c:v>
                </c:pt>
                <c:pt idx="204">
                  <c:v>21.070270000000001</c:v>
                </c:pt>
                <c:pt idx="205">
                  <c:v>21.258823</c:v>
                </c:pt>
                <c:pt idx="206">
                  <c:v>23.191437000000001</c:v>
                </c:pt>
                <c:pt idx="207">
                  <c:v>23.455407999999998</c:v>
                </c:pt>
                <c:pt idx="208">
                  <c:v>24.501850000000001</c:v>
                </c:pt>
                <c:pt idx="209">
                  <c:v>23.992773</c:v>
                </c:pt>
                <c:pt idx="210">
                  <c:v>24.728110000000001</c:v>
                </c:pt>
                <c:pt idx="211">
                  <c:v>25.086352999999999</c:v>
                </c:pt>
                <c:pt idx="212">
                  <c:v>24.605554999999999</c:v>
                </c:pt>
                <c:pt idx="213">
                  <c:v>24.728110000000001</c:v>
                </c:pt>
                <c:pt idx="214">
                  <c:v>24.624404999999999</c:v>
                </c:pt>
                <c:pt idx="215">
                  <c:v>24.822382000000001</c:v>
                </c:pt>
                <c:pt idx="216">
                  <c:v>24.680971</c:v>
                </c:pt>
                <c:pt idx="217">
                  <c:v>24.746963999999998</c:v>
                </c:pt>
                <c:pt idx="218">
                  <c:v>24.633831000000001</c:v>
                </c:pt>
                <c:pt idx="219">
                  <c:v>23.511970000000002</c:v>
                </c:pt>
                <c:pt idx="220">
                  <c:v>23.361134</c:v>
                </c:pt>
                <c:pt idx="221">
                  <c:v>23.804217999999999</c:v>
                </c:pt>
                <c:pt idx="222">
                  <c:v>23.907927000000001</c:v>
                </c:pt>
                <c:pt idx="223">
                  <c:v>25.020357000000001</c:v>
                </c:pt>
                <c:pt idx="224">
                  <c:v>25.482303999999999</c:v>
                </c:pt>
                <c:pt idx="225">
                  <c:v>25.369177000000001</c:v>
                </c:pt>
                <c:pt idx="226">
                  <c:v>26.04795</c:v>
                </c:pt>
                <c:pt idx="227">
                  <c:v>27.735455000000002</c:v>
                </c:pt>
                <c:pt idx="228">
                  <c:v>27.669464000000001</c:v>
                </c:pt>
                <c:pt idx="229">
                  <c:v>27.009542</c:v>
                </c:pt>
                <c:pt idx="230">
                  <c:v>27.216947999999999</c:v>
                </c:pt>
                <c:pt idx="231">
                  <c:v>27.188665</c:v>
                </c:pt>
                <c:pt idx="232">
                  <c:v>27.660032000000001</c:v>
                </c:pt>
                <c:pt idx="233">
                  <c:v>28.301098</c:v>
                </c:pt>
                <c:pt idx="234">
                  <c:v>28.904451000000002</c:v>
                </c:pt>
                <c:pt idx="235">
                  <c:v>29.413536000000001</c:v>
                </c:pt>
                <c:pt idx="236">
                  <c:v>29.554945</c:v>
                </c:pt>
                <c:pt idx="237">
                  <c:v>28.659334000000001</c:v>
                </c:pt>
                <c:pt idx="238">
                  <c:v>28.451938999999999</c:v>
                </c:pt>
                <c:pt idx="239">
                  <c:v>30.130018</c:v>
                </c:pt>
                <c:pt idx="240">
                  <c:v>31.091614</c:v>
                </c:pt>
                <c:pt idx="241">
                  <c:v>31.864664000000001</c:v>
                </c:pt>
                <c:pt idx="242">
                  <c:v>31.628976999999999</c:v>
                </c:pt>
                <c:pt idx="243">
                  <c:v>32.015495000000001</c:v>
                </c:pt>
                <c:pt idx="244">
                  <c:v>32.100349999999999</c:v>
                </c:pt>
                <c:pt idx="245">
                  <c:v>31.864664000000001</c:v>
                </c:pt>
                <c:pt idx="246">
                  <c:v>32.675423000000002</c:v>
                </c:pt>
                <c:pt idx="247">
                  <c:v>33.627580000000002</c:v>
                </c:pt>
                <c:pt idx="248">
                  <c:v>33.542735999999998</c:v>
                </c:pt>
                <c:pt idx="249">
                  <c:v>33.118496</c:v>
                </c:pt>
                <c:pt idx="250">
                  <c:v>32.703693000000001</c:v>
                </c:pt>
                <c:pt idx="251">
                  <c:v>33.024234999999997</c:v>
                </c:pt>
                <c:pt idx="252">
                  <c:v>32.439728000000002</c:v>
                </c:pt>
                <c:pt idx="253">
                  <c:v>32.345466999999999</c:v>
                </c:pt>
                <c:pt idx="254">
                  <c:v>32.609425000000002</c:v>
                </c:pt>
                <c:pt idx="255">
                  <c:v>33.618155999999999</c:v>
                </c:pt>
                <c:pt idx="256">
                  <c:v>34.098959999999998</c:v>
                </c:pt>
                <c:pt idx="257">
                  <c:v>34.551487000000002</c:v>
                </c:pt>
                <c:pt idx="258">
                  <c:v>34.881439999999998</c:v>
                </c:pt>
                <c:pt idx="259">
                  <c:v>34.64575</c:v>
                </c:pt>
                <c:pt idx="260">
                  <c:v>34.466625000000001</c:v>
                </c:pt>
                <c:pt idx="261">
                  <c:v>34.815437000000003</c:v>
                </c:pt>
                <c:pt idx="262">
                  <c:v>34.032960000000003</c:v>
                </c:pt>
                <c:pt idx="263">
                  <c:v>35.201970000000003</c:v>
                </c:pt>
                <c:pt idx="264">
                  <c:v>35.692196000000003</c:v>
                </c:pt>
                <c:pt idx="265">
                  <c:v>36.587800000000001</c:v>
                </c:pt>
                <c:pt idx="266">
                  <c:v>36.785769999999999</c:v>
                </c:pt>
                <c:pt idx="267">
                  <c:v>36.729205999999998</c:v>
                </c:pt>
                <c:pt idx="268">
                  <c:v>35.899597</c:v>
                </c:pt>
                <c:pt idx="269">
                  <c:v>35.409377999999997</c:v>
                </c:pt>
                <c:pt idx="270">
                  <c:v>34.636325999999997</c:v>
                </c:pt>
                <c:pt idx="271">
                  <c:v>34.259216000000002</c:v>
                </c:pt>
                <c:pt idx="272">
                  <c:v>35.541359999999997</c:v>
                </c:pt>
                <c:pt idx="273">
                  <c:v>35.211390000000002</c:v>
                </c:pt>
                <c:pt idx="274">
                  <c:v>34.956856000000002</c:v>
                </c:pt>
                <c:pt idx="275">
                  <c:v>34.466625000000001</c:v>
                </c:pt>
                <c:pt idx="276">
                  <c:v>34.042397000000001</c:v>
                </c:pt>
                <c:pt idx="277">
                  <c:v>34.692880000000002</c:v>
                </c:pt>
                <c:pt idx="278">
                  <c:v>35.729908000000002</c:v>
                </c:pt>
                <c:pt idx="279">
                  <c:v>34.598610000000001</c:v>
                </c:pt>
                <c:pt idx="280">
                  <c:v>33.721862999999999</c:v>
                </c:pt>
                <c:pt idx="281">
                  <c:v>33.363619999999997</c:v>
                </c:pt>
                <c:pt idx="282">
                  <c:v>34.504337</c:v>
                </c:pt>
                <c:pt idx="283">
                  <c:v>35.767609999999998</c:v>
                </c:pt>
                <c:pt idx="284">
                  <c:v>35.550780000000003</c:v>
                </c:pt>
                <c:pt idx="285">
                  <c:v>35.201970000000003</c:v>
                </c:pt>
                <c:pt idx="286">
                  <c:v>34.466625000000001</c:v>
                </c:pt>
                <c:pt idx="287">
                  <c:v>33.731293000000001</c:v>
                </c:pt>
                <c:pt idx="288">
                  <c:v>33.919840000000001</c:v>
                </c:pt>
                <c:pt idx="289">
                  <c:v>34.787154999999998</c:v>
                </c:pt>
                <c:pt idx="290">
                  <c:v>33.269351999999998</c:v>
                </c:pt>
                <c:pt idx="291">
                  <c:v>31.751529999999999</c:v>
                </c:pt>
                <c:pt idx="292">
                  <c:v>31.459282000000002</c:v>
                </c:pt>
                <c:pt idx="293">
                  <c:v>31.789255000000001</c:v>
                </c:pt>
                <c:pt idx="294">
                  <c:v>33.476753000000002</c:v>
                </c:pt>
                <c:pt idx="295">
                  <c:v>33.373060000000002</c:v>
                </c:pt>
                <c:pt idx="296">
                  <c:v>33.627580000000002</c:v>
                </c:pt>
                <c:pt idx="297">
                  <c:v>34.089530000000003</c:v>
                </c:pt>
                <c:pt idx="298">
                  <c:v>34.966279999999998</c:v>
                </c:pt>
                <c:pt idx="299">
                  <c:v>35.126553000000001</c:v>
                </c:pt>
                <c:pt idx="300">
                  <c:v>33.938690000000001</c:v>
                </c:pt>
                <c:pt idx="301">
                  <c:v>33.146782000000002</c:v>
                </c:pt>
                <c:pt idx="302">
                  <c:v>33.476753000000002</c:v>
                </c:pt>
                <c:pt idx="303">
                  <c:v>33.061942999999999</c:v>
                </c:pt>
                <c:pt idx="304">
                  <c:v>34.306350000000002</c:v>
                </c:pt>
                <c:pt idx="305">
                  <c:v>34.400635000000001</c:v>
                </c:pt>
                <c:pt idx="306">
                  <c:v>34.504337</c:v>
                </c:pt>
                <c:pt idx="307">
                  <c:v>34.570335</c:v>
                </c:pt>
                <c:pt idx="308">
                  <c:v>35.088844000000002</c:v>
                </c:pt>
                <c:pt idx="309">
                  <c:v>36.059856000000003</c:v>
                </c:pt>
                <c:pt idx="310">
                  <c:v>36.069285999999998</c:v>
                </c:pt>
                <c:pt idx="311">
                  <c:v>37.134582999999999</c:v>
                </c:pt>
                <c:pt idx="312">
                  <c:v>37.059170000000002</c:v>
                </c:pt>
                <c:pt idx="313">
                  <c:v>36.616073999999998</c:v>
                </c:pt>
                <c:pt idx="314">
                  <c:v>36.003300000000003</c:v>
                </c:pt>
                <c:pt idx="315">
                  <c:v>36.323830000000001</c:v>
                </c:pt>
                <c:pt idx="316">
                  <c:v>36.361545999999997</c:v>
                </c:pt>
                <c:pt idx="317">
                  <c:v>36.050429999999999</c:v>
                </c:pt>
                <c:pt idx="318">
                  <c:v>36.125847</c:v>
                </c:pt>
                <c:pt idx="319">
                  <c:v>36.502955999999998</c:v>
                </c:pt>
                <c:pt idx="320">
                  <c:v>36.870624999999997</c:v>
                </c:pt>
                <c:pt idx="321">
                  <c:v>37.096890000000002</c:v>
                </c:pt>
                <c:pt idx="322">
                  <c:v>37.521113999999997</c:v>
                </c:pt>
                <c:pt idx="323">
                  <c:v>37.539963</c:v>
                </c:pt>
                <c:pt idx="324">
                  <c:v>37.860492999999998</c:v>
                </c:pt>
                <c:pt idx="325">
                  <c:v>38.859802000000002</c:v>
                </c:pt>
                <c:pt idx="326">
                  <c:v>39.067210000000003</c:v>
                </c:pt>
                <c:pt idx="327">
                  <c:v>40.368186999999999</c:v>
                </c:pt>
                <c:pt idx="328">
                  <c:v>39.981667000000002</c:v>
                </c:pt>
                <c:pt idx="329">
                  <c:v>41.3675</c:v>
                </c:pt>
                <c:pt idx="330">
                  <c:v>41.094104999999999</c:v>
                </c:pt>
                <c:pt idx="331">
                  <c:v>41.160094999999998</c:v>
                </c:pt>
                <c:pt idx="332">
                  <c:v>39.868538000000001</c:v>
                </c:pt>
                <c:pt idx="333">
                  <c:v>37.898209999999999</c:v>
                </c:pt>
                <c:pt idx="334">
                  <c:v>38.067900000000002</c:v>
                </c:pt>
                <c:pt idx="335">
                  <c:v>38.708970000000001</c:v>
                </c:pt>
                <c:pt idx="336">
                  <c:v>39.472580000000001</c:v>
                </c:pt>
                <c:pt idx="337">
                  <c:v>40.217342000000002</c:v>
                </c:pt>
                <c:pt idx="338">
                  <c:v>40.594448</c:v>
                </c:pt>
                <c:pt idx="339">
                  <c:v>41.999133999999998</c:v>
                </c:pt>
                <c:pt idx="340">
                  <c:v>41.820010000000003</c:v>
                </c:pt>
                <c:pt idx="341">
                  <c:v>40.707572999999996</c:v>
                </c:pt>
                <c:pt idx="342">
                  <c:v>41.395780000000002</c:v>
                </c:pt>
                <c:pt idx="343">
                  <c:v>41.999133999999998</c:v>
                </c:pt>
                <c:pt idx="344">
                  <c:v>41.480620000000002</c:v>
                </c:pt>
                <c:pt idx="345">
                  <c:v>40.500168000000002</c:v>
                </c:pt>
                <c:pt idx="346">
                  <c:v>41.348640000000003</c:v>
                </c:pt>
                <c:pt idx="347">
                  <c:v>39.548008000000003</c:v>
                </c:pt>
                <c:pt idx="348">
                  <c:v>39.236908</c:v>
                </c:pt>
                <c:pt idx="349">
                  <c:v>37.803936</c:v>
                </c:pt>
                <c:pt idx="350">
                  <c:v>37.954777</c:v>
                </c:pt>
                <c:pt idx="351">
                  <c:v>39.585723999999999</c:v>
                </c:pt>
                <c:pt idx="352">
                  <c:v>40.368186999999999</c:v>
                </c:pt>
                <c:pt idx="353">
                  <c:v>40.424762999999999</c:v>
                </c:pt>
                <c:pt idx="354">
                  <c:v>40.519024000000002</c:v>
                </c:pt>
                <c:pt idx="355">
                  <c:v>41.197806999999997</c:v>
                </c:pt>
                <c:pt idx="356">
                  <c:v>40.990400000000001</c:v>
                </c:pt>
                <c:pt idx="357">
                  <c:v>39.312325000000001</c:v>
                </c:pt>
                <c:pt idx="358">
                  <c:v>40.462463</c:v>
                </c:pt>
                <c:pt idx="359">
                  <c:v>40.047657000000001</c:v>
                </c:pt>
                <c:pt idx="360">
                  <c:v>39.953377000000003</c:v>
                </c:pt>
                <c:pt idx="361">
                  <c:v>40.848984000000002</c:v>
                </c:pt>
                <c:pt idx="362">
                  <c:v>39.745980000000003</c:v>
                </c:pt>
                <c:pt idx="363">
                  <c:v>39.293460000000003</c:v>
                </c:pt>
                <c:pt idx="364">
                  <c:v>37.983046999999999</c:v>
                </c:pt>
                <c:pt idx="365">
                  <c:v>37.266579999999998</c:v>
                </c:pt>
                <c:pt idx="366">
                  <c:v>37.285429999999998</c:v>
                </c:pt>
                <c:pt idx="367">
                  <c:v>36.718350000000001</c:v>
                </c:pt>
                <c:pt idx="368">
                  <c:v>37.266530000000003</c:v>
                </c:pt>
                <c:pt idx="369">
                  <c:v>36.047302000000002</c:v>
                </c:pt>
                <c:pt idx="370">
                  <c:v>35.139980000000001</c:v>
                </c:pt>
                <c:pt idx="371">
                  <c:v>35.404606000000001</c:v>
                </c:pt>
                <c:pt idx="372">
                  <c:v>34.837542999999997</c:v>
                </c:pt>
                <c:pt idx="373">
                  <c:v>35.139980000000001</c:v>
                </c:pt>
                <c:pt idx="374">
                  <c:v>35.886634999999998</c:v>
                </c:pt>
                <c:pt idx="375">
                  <c:v>35.461326999999997</c:v>
                </c:pt>
                <c:pt idx="376">
                  <c:v>36.028399999999998</c:v>
                </c:pt>
                <c:pt idx="377">
                  <c:v>37.398837999999998</c:v>
                </c:pt>
                <c:pt idx="378">
                  <c:v>37.039684000000001</c:v>
                </c:pt>
                <c:pt idx="379">
                  <c:v>38.429034999999999</c:v>
                </c:pt>
                <c:pt idx="380">
                  <c:v>38.211649999999999</c:v>
                </c:pt>
                <c:pt idx="381">
                  <c:v>38.372321999999997</c:v>
                </c:pt>
                <c:pt idx="382">
                  <c:v>37.342129999999997</c:v>
                </c:pt>
                <c:pt idx="383">
                  <c:v>37.663474999999998</c:v>
                </c:pt>
                <c:pt idx="384">
                  <c:v>37.257064999999997</c:v>
                </c:pt>
                <c:pt idx="385">
                  <c:v>36.945169999999997</c:v>
                </c:pt>
                <c:pt idx="386">
                  <c:v>36.850662</c:v>
                </c:pt>
                <c:pt idx="387">
                  <c:v>37.020786000000001</c:v>
                </c:pt>
                <c:pt idx="388">
                  <c:v>36.746696</c:v>
                </c:pt>
                <c:pt idx="389">
                  <c:v>38.277813000000002</c:v>
                </c:pt>
                <c:pt idx="390">
                  <c:v>36.992435</c:v>
                </c:pt>
                <c:pt idx="391">
                  <c:v>36.359200000000001</c:v>
                </c:pt>
                <c:pt idx="392">
                  <c:v>35.773212000000001</c:v>
                </c:pt>
                <c:pt idx="393">
                  <c:v>36.132365999999998</c:v>
                </c:pt>
                <c:pt idx="394">
                  <c:v>35.877181999999998</c:v>
                </c:pt>
                <c:pt idx="395">
                  <c:v>36.463164999999996</c:v>
                </c:pt>
                <c:pt idx="396">
                  <c:v>36.000050000000002</c:v>
                </c:pt>
                <c:pt idx="397">
                  <c:v>35.58419</c:v>
                </c:pt>
                <c:pt idx="398">
                  <c:v>35.036020000000001</c:v>
                </c:pt>
                <c:pt idx="399">
                  <c:v>35.896079999999998</c:v>
                </c:pt>
                <c:pt idx="400">
                  <c:v>35.404606000000001</c:v>
                </c:pt>
                <c:pt idx="401">
                  <c:v>35.962240000000001</c:v>
                </c:pt>
                <c:pt idx="402">
                  <c:v>34.620159999999998</c:v>
                </c:pt>
                <c:pt idx="403">
                  <c:v>33.627766000000001</c:v>
                </c:pt>
                <c:pt idx="404">
                  <c:v>33.391486999999998</c:v>
                </c:pt>
                <c:pt idx="405">
                  <c:v>34.138137999999998</c:v>
                </c:pt>
                <c:pt idx="406">
                  <c:v>33.278064999999998</c:v>
                </c:pt>
                <c:pt idx="407">
                  <c:v>33.958556999999999</c:v>
                </c:pt>
                <c:pt idx="408">
                  <c:v>33.107950000000002</c:v>
                </c:pt>
                <c:pt idx="409">
                  <c:v>33.533256999999999</c:v>
                </c:pt>
                <c:pt idx="410">
                  <c:v>32.503067000000001</c:v>
                </c:pt>
                <c:pt idx="411">
                  <c:v>32.068294999999999</c:v>
                </c:pt>
                <c:pt idx="412">
                  <c:v>34.242100000000001</c:v>
                </c:pt>
                <c:pt idx="413">
                  <c:v>33.01343</c:v>
                </c:pt>
                <c:pt idx="414">
                  <c:v>32.219529999999999</c:v>
                </c:pt>
                <c:pt idx="415">
                  <c:v>31.189326999999999</c:v>
                </c:pt>
                <c:pt idx="416">
                  <c:v>30.225294000000002</c:v>
                </c:pt>
                <c:pt idx="417">
                  <c:v>29.091137</c:v>
                </c:pt>
                <c:pt idx="418">
                  <c:v>27.011849999999999</c:v>
                </c:pt>
                <c:pt idx="419">
                  <c:v>29.781079999999999</c:v>
                </c:pt>
                <c:pt idx="420">
                  <c:v>29.951208000000001</c:v>
                </c:pt>
                <c:pt idx="421">
                  <c:v>31.160978</c:v>
                </c:pt>
                <c:pt idx="422">
                  <c:v>31.548476999999998</c:v>
                </c:pt>
                <c:pt idx="423">
                  <c:v>33.287529999999997</c:v>
                </c:pt>
                <c:pt idx="424">
                  <c:v>35.773212000000001</c:v>
                </c:pt>
                <c:pt idx="425">
                  <c:v>35.007655999999997</c:v>
                </c:pt>
                <c:pt idx="426">
                  <c:v>36.368645000000001</c:v>
                </c:pt>
                <c:pt idx="427">
                  <c:v>37.635128000000002</c:v>
                </c:pt>
                <c:pt idx="428">
                  <c:v>37.720179999999999</c:v>
                </c:pt>
                <c:pt idx="429">
                  <c:v>38.032089999999997</c:v>
                </c:pt>
                <c:pt idx="430">
                  <c:v>37.748530000000002</c:v>
                </c:pt>
                <c:pt idx="431">
                  <c:v>38.18439</c:v>
                </c:pt>
                <c:pt idx="432">
                  <c:v>39.179256000000002</c:v>
                </c:pt>
                <c:pt idx="433">
                  <c:v>39.795147</c:v>
                </c:pt>
                <c:pt idx="434">
                  <c:v>40.458404999999999</c:v>
                </c:pt>
                <c:pt idx="435">
                  <c:v>40.032024</c:v>
                </c:pt>
                <c:pt idx="436">
                  <c:v>40.875293999999997</c:v>
                </c:pt>
                <c:pt idx="437">
                  <c:v>40.932147999999998</c:v>
                </c:pt>
                <c:pt idx="438">
                  <c:v>41.529076000000003</c:v>
                </c:pt>
                <c:pt idx="439">
                  <c:v>41.159542000000002</c:v>
                </c:pt>
                <c:pt idx="440">
                  <c:v>41.150078000000001</c:v>
                </c:pt>
                <c:pt idx="441">
                  <c:v>41.803856000000003</c:v>
                </c:pt>
                <c:pt idx="442">
                  <c:v>41.699629999999999</c:v>
                </c:pt>
                <c:pt idx="443">
                  <c:v>41.396422999999999</c:v>
                </c:pt>
                <c:pt idx="444">
                  <c:v>42.685028000000003</c:v>
                </c:pt>
                <c:pt idx="445">
                  <c:v>41.7849</c:v>
                </c:pt>
                <c:pt idx="446">
                  <c:v>41.841749999999998</c:v>
                </c:pt>
                <c:pt idx="447">
                  <c:v>41.036372999999998</c:v>
                </c:pt>
                <c:pt idx="448">
                  <c:v>40.941628000000001</c:v>
                </c:pt>
                <c:pt idx="449">
                  <c:v>41.832275000000003</c:v>
                </c:pt>
                <c:pt idx="450">
                  <c:v>42.609229999999997</c:v>
                </c:pt>
                <c:pt idx="451">
                  <c:v>45.982346</c:v>
                </c:pt>
                <c:pt idx="452">
                  <c:v>45.366463000000003</c:v>
                </c:pt>
                <c:pt idx="453">
                  <c:v>45.347515000000001</c:v>
                </c:pt>
                <c:pt idx="454">
                  <c:v>45.707572999999996</c:v>
                </c:pt>
                <c:pt idx="455">
                  <c:v>47.043550000000003</c:v>
                </c:pt>
                <c:pt idx="456">
                  <c:v>48.332146000000002</c:v>
                </c:pt>
                <c:pt idx="457">
                  <c:v>48.152121999999999</c:v>
                </c:pt>
                <c:pt idx="458">
                  <c:v>45.773895000000003</c:v>
                </c:pt>
                <c:pt idx="459">
                  <c:v>46.370820000000002</c:v>
                </c:pt>
                <c:pt idx="460">
                  <c:v>47.877346000000003</c:v>
                </c:pt>
                <c:pt idx="461">
                  <c:v>47.346760000000003</c:v>
                </c:pt>
                <c:pt idx="462">
                  <c:v>48.171078000000001</c:v>
                </c:pt>
                <c:pt idx="463">
                  <c:v>45.442264999999999</c:v>
                </c:pt>
                <c:pt idx="464">
                  <c:v>46.238174000000001</c:v>
                </c:pt>
                <c:pt idx="465">
                  <c:v>47.507823999999999</c:v>
                </c:pt>
                <c:pt idx="466">
                  <c:v>48.047893999999999</c:v>
                </c:pt>
                <c:pt idx="467">
                  <c:v>48.171078000000001</c:v>
                </c:pt>
                <c:pt idx="468">
                  <c:v>47.574145999999999</c:v>
                </c:pt>
                <c:pt idx="469">
                  <c:v>48.730117999999997</c:v>
                </c:pt>
                <c:pt idx="470">
                  <c:v>49.232280000000003</c:v>
                </c:pt>
                <c:pt idx="471">
                  <c:v>50.075564999999997</c:v>
                </c:pt>
                <c:pt idx="472">
                  <c:v>50.615639999999999</c:v>
                </c:pt>
                <c:pt idx="473">
                  <c:v>50.814616999999998</c:v>
                </c:pt>
                <c:pt idx="474">
                  <c:v>51.079917999999999</c:v>
                </c:pt>
                <c:pt idx="475">
                  <c:v>51.051479999999998</c:v>
                </c:pt>
                <c:pt idx="476">
                  <c:v>50.255580000000002</c:v>
                </c:pt>
                <c:pt idx="477">
                  <c:v>50.227158000000003</c:v>
                </c:pt>
                <c:pt idx="478">
                  <c:v>50.843037000000002</c:v>
                </c:pt>
                <c:pt idx="479">
                  <c:v>49.289127000000001</c:v>
                </c:pt>
                <c:pt idx="480">
                  <c:v>46.977221999999998</c:v>
                </c:pt>
                <c:pt idx="481">
                  <c:v>47.754173000000002</c:v>
                </c:pt>
                <c:pt idx="482">
                  <c:v>46.816153999999997</c:v>
                </c:pt>
                <c:pt idx="483">
                  <c:v>46.816153999999997</c:v>
                </c:pt>
                <c:pt idx="484">
                  <c:v>47.195149999999998</c:v>
                </c:pt>
                <c:pt idx="485">
                  <c:v>49.980815999999997</c:v>
                </c:pt>
                <c:pt idx="486">
                  <c:v>50.852511999999997</c:v>
                </c:pt>
                <c:pt idx="487">
                  <c:v>52.671709999999997</c:v>
                </c:pt>
                <c:pt idx="488">
                  <c:v>52.766475999999997</c:v>
                </c:pt>
                <c:pt idx="489">
                  <c:v>52.539073999999999</c:v>
                </c:pt>
                <c:pt idx="490">
                  <c:v>49.933436999999998</c:v>
                </c:pt>
                <c:pt idx="491">
                  <c:v>47.962615999999997</c:v>
                </c:pt>
                <c:pt idx="492">
                  <c:v>49.497579999999999</c:v>
                </c:pt>
                <c:pt idx="493">
                  <c:v>46.503459999999997</c:v>
                </c:pt>
                <c:pt idx="494">
                  <c:v>46.162370000000003</c:v>
                </c:pt>
                <c:pt idx="495">
                  <c:v>45.006413000000002</c:v>
                </c:pt>
                <c:pt idx="496">
                  <c:v>46.863525000000003</c:v>
                </c:pt>
                <c:pt idx="497">
                  <c:v>46.341346999999999</c:v>
                </c:pt>
                <c:pt idx="498">
                  <c:v>45.714725000000001</c:v>
                </c:pt>
                <c:pt idx="499">
                  <c:v>44.176654999999997</c:v>
                </c:pt>
                <c:pt idx="500">
                  <c:v>45.619774</c:v>
                </c:pt>
                <c:pt idx="501">
                  <c:v>45.183050000000001</c:v>
                </c:pt>
                <c:pt idx="502">
                  <c:v>45.458370000000002</c:v>
                </c:pt>
                <c:pt idx="503">
                  <c:v>45.942585000000001</c:v>
                </c:pt>
                <c:pt idx="504">
                  <c:v>45.581806</c:v>
                </c:pt>
                <c:pt idx="505">
                  <c:v>46.816049999999997</c:v>
                </c:pt>
                <c:pt idx="506">
                  <c:v>47.262287000000001</c:v>
                </c:pt>
                <c:pt idx="507">
                  <c:v>48.43956</c:v>
                </c:pt>
                <c:pt idx="508">
                  <c:v>48.714893000000004</c:v>
                </c:pt>
                <c:pt idx="509">
                  <c:v>48.914279999999998</c:v>
                </c:pt>
                <c:pt idx="510">
                  <c:v>47.21481</c:v>
                </c:pt>
                <c:pt idx="511">
                  <c:v>46.854022999999998</c:v>
                </c:pt>
                <c:pt idx="512">
                  <c:v>45.477367000000001</c:v>
                </c:pt>
                <c:pt idx="513">
                  <c:v>45.866630000000001</c:v>
                </c:pt>
                <c:pt idx="514">
                  <c:v>46.303370000000001</c:v>
                </c:pt>
                <c:pt idx="515">
                  <c:v>46.474262000000003</c:v>
                </c:pt>
                <c:pt idx="516">
                  <c:v>45.952080000000002</c:v>
                </c:pt>
                <c:pt idx="517">
                  <c:v>45.572308</c:v>
                </c:pt>
                <c:pt idx="518">
                  <c:v>45.496346000000003</c:v>
                </c:pt>
                <c:pt idx="519">
                  <c:v>44.376038000000001</c:v>
                </c:pt>
                <c:pt idx="520">
                  <c:v>44.993169999999999</c:v>
                </c:pt>
                <c:pt idx="521">
                  <c:v>46.217919999999999</c:v>
                </c:pt>
                <c:pt idx="522">
                  <c:v>46.730609999999999</c:v>
                </c:pt>
                <c:pt idx="523">
                  <c:v>47.680027000000003</c:v>
                </c:pt>
                <c:pt idx="524">
                  <c:v>50.974519999999998</c:v>
                </c:pt>
                <c:pt idx="525">
                  <c:v>51.392277</c:v>
                </c:pt>
                <c:pt idx="526">
                  <c:v>52.398662999999999</c:v>
                </c:pt>
                <c:pt idx="527">
                  <c:v>52.939830000000001</c:v>
                </c:pt>
                <c:pt idx="528">
                  <c:v>51.648605000000003</c:v>
                </c:pt>
                <c:pt idx="529">
                  <c:v>51.202385</c:v>
                </c:pt>
                <c:pt idx="530">
                  <c:v>49.379489999999997</c:v>
                </c:pt>
                <c:pt idx="531">
                  <c:v>48.676926000000002</c:v>
                </c:pt>
                <c:pt idx="532">
                  <c:v>49.99662</c:v>
                </c:pt>
                <c:pt idx="533">
                  <c:v>50.927047999999999</c:v>
                </c:pt>
                <c:pt idx="534">
                  <c:v>50.110557999999997</c:v>
                </c:pt>
                <c:pt idx="535">
                  <c:v>47.8889</c:v>
                </c:pt>
                <c:pt idx="536">
                  <c:v>46.692622999999998</c:v>
                </c:pt>
                <c:pt idx="537">
                  <c:v>45.648262000000003</c:v>
                </c:pt>
                <c:pt idx="538">
                  <c:v>45.097588000000002</c:v>
                </c:pt>
                <c:pt idx="539">
                  <c:v>46.274883000000003</c:v>
                </c:pt>
                <c:pt idx="540">
                  <c:v>45.420394999999999</c:v>
                </c:pt>
                <c:pt idx="541">
                  <c:v>45.315967999999998</c:v>
                </c:pt>
                <c:pt idx="542">
                  <c:v>45.372920000000001</c:v>
                </c:pt>
                <c:pt idx="543">
                  <c:v>45.021639999999998</c:v>
                </c:pt>
                <c:pt idx="544">
                  <c:v>45.334946000000002</c:v>
                </c:pt>
                <c:pt idx="545">
                  <c:v>45.800170000000001</c:v>
                </c:pt>
                <c:pt idx="546">
                  <c:v>45.752699999999997</c:v>
                </c:pt>
                <c:pt idx="547">
                  <c:v>47.243285999999998</c:v>
                </c:pt>
                <c:pt idx="548">
                  <c:v>48.76238</c:v>
                </c:pt>
                <c:pt idx="549">
                  <c:v>48.800350000000002</c:v>
                </c:pt>
                <c:pt idx="550">
                  <c:v>48.847816000000002</c:v>
                </c:pt>
                <c:pt idx="551">
                  <c:v>50.044089999999997</c:v>
                </c:pt>
                <c:pt idx="552">
                  <c:v>49.246569999999998</c:v>
                </c:pt>
                <c:pt idx="553">
                  <c:v>48.600966999999997</c:v>
                </c:pt>
                <c:pt idx="554">
                  <c:v>46.407803000000001</c:v>
                </c:pt>
                <c:pt idx="555">
                  <c:v>45.941630000000004</c:v>
                </c:pt>
                <c:pt idx="556">
                  <c:v>46.988135999999997</c:v>
                </c:pt>
                <c:pt idx="557">
                  <c:v>46.569541999999998</c:v>
                </c:pt>
                <c:pt idx="558">
                  <c:v>44.723877000000002</c:v>
                </c:pt>
                <c:pt idx="559">
                  <c:v>44.761916999999997</c:v>
                </c:pt>
                <c:pt idx="560">
                  <c:v>46.67418</c:v>
                </c:pt>
                <c:pt idx="561">
                  <c:v>46.655149999999999</c:v>
                </c:pt>
                <c:pt idx="562">
                  <c:v>47.235492999999998</c:v>
                </c:pt>
                <c:pt idx="563">
                  <c:v>46.47439</c:v>
                </c:pt>
                <c:pt idx="564">
                  <c:v>46.131912</c:v>
                </c:pt>
                <c:pt idx="565">
                  <c:v>46.445853999999997</c:v>
                </c:pt>
                <c:pt idx="566">
                  <c:v>46.303153999999999</c:v>
                </c:pt>
                <c:pt idx="567">
                  <c:v>46.617103999999998</c:v>
                </c:pt>
                <c:pt idx="568">
                  <c:v>45.523014000000003</c:v>
                </c:pt>
                <c:pt idx="569">
                  <c:v>40.965960000000003</c:v>
                </c:pt>
                <c:pt idx="570">
                  <c:v>40.404662999999999</c:v>
                </c:pt>
                <c:pt idx="571">
                  <c:v>40.537846000000002</c:v>
                </c:pt>
                <c:pt idx="572">
                  <c:v>39.538919999999997</c:v>
                </c:pt>
                <c:pt idx="573">
                  <c:v>40.185850000000002</c:v>
                </c:pt>
                <c:pt idx="574">
                  <c:v>39.928986000000002</c:v>
                </c:pt>
                <c:pt idx="575">
                  <c:v>40.309525000000001</c:v>
                </c:pt>
                <c:pt idx="576">
                  <c:v>42.031497999999999</c:v>
                </c:pt>
                <c:pt idx="577">
                  <c:v>41.650950000000002</c:v>
                </c:pt>
                <c:pt idx="578">
                  <c:v>41.03257</c:v>
                </c:pt>
                <c:pt idx="579">
                  <c:v>40.119244000000002</c:v>
                </c:pt>
                <c:pt idx="580">
                  <c:v>39.691135000000003</c:v>
                </c:pt>
                <c:pt idx="581">
                  <c:v>37.921593000000001</c:v>
                </c:pt>
                <c:pt idx="582">
                  <c:v>38.368724999999998</c:v>
                </c:pt>
                <c:pt idx="583">
                  <c:v>38.463875000000002</c:v>
                </c:pt>
                <c:pt idx="584">
                  <c:v>38.073807000000002</c:v>
                </c:pt>
                <c:pt idx="585">
                  <c:v>38.730246999999999</c:v>
                </c:pt>
                <c:pt idx="586">
                  <c:v>38.121369999999999</c:v>
                </c:pt>
                <c:pt idx="587">
                  <c:v>37.560062000000002</c:v>
                </c:pt>
                <c:pt idx="588">
                  <c:v>37.940617000000003</c:v>
                </c:pt>
                <c:pt idx="589">
                  <c:v>38.03575</c:v>
                </c:pt>
                <c:pt idx="590">
                  <c:v>39.538919999999997</c:v>
                </c:pt>
                <c:pt idx="591">
                  <c:v>40.937415999999999</c:v>
                </c:pt>
                <c:pt idx="592">
                  <c:v>40.652016000000003</c:v>
                </c:pt>
                <c:pt idx="593">
                  <c:v>40.185850000000002</c:v>
                </c:pt>
                <c:pt idx="594">
                  <c:v>40.185850000000002</c:v>
                </c:pt>
                <c:pt idx="595">
                  <c:v>39.424747000000004</c:v>
                </c:pt>
                <c:pt idx="596">
                  <c:v>37.816929999999999</c:v>
                </c:pt>
                <c:pt idx="597">
                  <c:v>37.997695999999998</c:v>
                </c:pt>
                <c:pt idx="598">
                  <c:v>36.913139999999999</c:v>
                </c:pt>
                <c:pt idx="599">
                  <c:v>37.131943</c:v>
                </c:pt>
                <c:pt idx="600">
                  <c:v>37.797910000000002</c:v>
                </c:pt>
                <c:pt idx="601">
                  <c:v>38.692183999999997</c:v>
                </c:pt>
                <c:pt idx="602">
                  <c:v>37.398330000000001</c:v>
                </c:pt>
                <c:pt idx="603">
                  <c:v>37.740819999999999</c:v>
                </c:pt>
                <c:pt idx="604">
                  <c:v>39.205930000000002</c:v>
                </c:pt>
                <c:pt idx="605">
                  <c:v>40.357086000000002</c:v>
                </c:pt>
                <c:pt idx="606">
                  <c:v>40.014600000000002</c:v>
                </c:pt>
                <c:pt idx="607">
                  <c:v>39.519897</c:v>
                </c:pt>
                <c:pt idx="608">
                  <c:v>39.377173999999997</c:v>
                </c:pt>
                <c:pt idx="609">
                  <c:v>39.386691999999996</c:v>
                </c:pt>
                <c:pt idx="610">
                  <c:v>38.578026000000001</c:v>
                </c:pt>
                <c:pt idx="611">
                  <c:v>38.911006999999998</c:v>
                </c:pt>
                <c:pt idx="612">
                  <c:v>39.415230000000001</c:v>
                </c:pt>
                <c:pt idx="613">
                  <c:v>40.537846000000002</c:v>
                </c:pt>
                <c:pt idx="614">
                  <c:v>37.702765999999997</c:v>
                </c:pt>
                <c:pt idx="615">
                  <c:v>38.187964999999998</c:v>
                </c:pt>
                <c:pt idx="616">
                  <c:v>39.167876999999997</c:v>
                </c:pt>
                <c:pt idx="617">
                  <c:v>38.749274999999997</c:v>
                </c:pt>
                <c:pt idx="618">
                  <c:v>38.31165</c:v>
                </c:pt>
                <c:pt idx="619">
                  <c:v>38.149914000000003</c:v>
                </c:pt>
                <c:pt idx="620">
                  <c:v>39.681614000000003</c:v>
                </c:pt>
                <c:pt idx="621">
                  <c:v>40.661526000000002</c:v>
                </c:pt>
                <c:pt idx="622">
                  <c:v>40.870834000000002</c:v>
                </c:pt>
                <c:pt idx="623">
                  <c:v>40.222380000000001</c:v>
                </c:pt>
                <c:pt idx="624">
                  <c:v>39.564419999999998</c:v>
                </c:pt>
                <c:pt idx="625">
                  <c:v>39.745604999999998</c:v>
                </c:pt>
                <c:pt idx="626">
                  <c:v>40.718254000000002</c:v>
                </c:pt>
                <c:pt idx="627">
                  <c:v>40.546607999999999</c:v>
                </c:pt>
                <c:pt idx="628">
                  <c:v>40.689647999999998</c:v>
                </c:pt>
                <c:pt idx="629">
                  <c:v>40.889896</c:v>
                </c:pt>
                <c:pt idx="630">
                  <c:v>41.910240000000002</c:v>
                </c:pt>
                <c:pt idx="631">
                  <c:v>41.605083</c:v>
                </c:pt>
                <c:pt idx="632">
                  <c:v>41.509740000000001</c:v>
                </c:pt>
                <c:pt idx="633">
                  <c:v>40.031669999999998</c:v>
                </c:pt>
                <c:pt idx="634">
                  <c:v>37.905155000000001</c:v>
                </c:pt>
                <c:pt idx="635">
                  <c:v>35.874023000000001</c:v>
                </c:pt>
                <c:pt idx="636">
                  <c:v>35.759585999999999</c:v>
                </c:pt>
                <c:pt idx="637">
                  <c:v>37.046944000000003</c:v>
                </c:pt>
                <c:pt idx="638">
                  <c:v>37.218581999999998</c:v>
                </c:pt>
                <c:pt idx="639">
                  <c:v>36.82761</c:v>
                </c:pt>
                <c:pt idx="640">
                  <c:v>37.170900000000003</c:v>
                </c:pt>
                <c:pt idx="641">
                  <c:v>37.380684000000002</c:v>
                </c:pt>
                <c:pt idx="642">
                  <c:v>39.583485000000003</c:v>
                </c:pt>
                <c:pt idx="643">
                  <c:v>38.992263999999999</c:v>
                </c:pt>
                <c:pt idx="644">
                  <c:v>38.715710000000001</c:v>
                </c:pt>
                <c:pt idx="645">
                  <c:v>38.906436999999997</c:v>
                </c:pt>
                <c:pt idx="646">
                  <c:v>39.097152999999999</c:v>
                </c:pt>
                <c:pt idx="647">
                  <c:v>39.297398000000001</c:v>
                </c:pt>
                <c:pt idx="648">
                  <c:v>40.193779999999997</c:v>
                </c:pt>
                <c:pt idx="649">
                  <c:v>40.327292999999997</c:v>
                </c:pt>
                <c:pt idx="650">
                  <c:v>40.66104</c:v>
                </c:pt>
                <c:pt idx="651">
                  <c:v>41.061546</c:v>
                </c:pt>
                <c:pt idx="652">
                  <c:v>41.94838</c:v>
                </c:pt>
                <c:pt idx="653">
                  <c:v>41.471589999999999</c:v>
                </c:pt>
                <c:pt idx="654">
                  <c:v>41.223655999999998</c:v>
                </c:pt>
                <c:pt idx="655">
                  <c:v>39.27834</c:v>
                </c:pt>
                <c:pt idx="656">
                  <c:v>39.326014999999998</c:v>
                </c:pt>
                <c:pt idx="657">
                  <c:v>38.381954</c:v>
                </c:pt>
                <c:pt idx="658">
                  <c:v>38.372433000000001</c:v>
                </c:pt>
                <c:pt idx="659">
                  <c:v>37.266269999999999</c:v>
                </c:pt>
                <c:pt idx="660">
                  <c:v>37.361626000000001</c:v>
                </c:pt>
                <c:pt idx="661">
                  <c:v>37.027866000000003</c:v>
                </c:pt>
                <c:pt idx="662">
                  <c:v>37.380684000000002</c:v>
                </c:pt>
                <c:pt idx="663">
                  <c:v>36.837153999999998</c:v>
                </c:pt>
                <c:pt idx="664">
                  <c:v>38.324745</c:v>
                </c:pt>
                <c:pt idx="665">
                  <c:v>36.360349999999997</c:v>
                </c:pt>
                <c:pt idx="666">
                  <c:v>37.485596000000001</c:v>
                </c:pt>
                <c:pt idx="667">
                  <c:v>37.895626</c:v>
                </c:pt>
                <c:pt idx="668">
                  <c:v>40.451251999999997</c:v>
                </c:pt>
                <c:pt idx="669">
                  <c:v>41.805346999999998</c:v>
                </c:pt>
                <c:pt idx="670">
                  <c:v>41.395297999999997</c:v>
                </c:pt>
                <c:pt idx="671">
                  <c:v>41.767197000000003</c:v>
                </c:pt>
                <c:pt idx="672">
                  <c:v>42.396569999999997</c:v>
                </c:pt>
                <c:pt idx="673">
                  <c:v>41.681379999999997</c:v>
                </c:pt>
                <c:pt idx="674">
                  <c:v>42.387030000000003</c:v>
                </c:pt>
                <c:pt idx="675">
                  <c:v>42.711253999999997</c:v>
                </c:pt>
                <c:pt idx="676">
                  <c:v>42.253535999999997</c:v>
                </c:pt>
                <c:pt idx="677">
                  <c:v>43.855559999999997</c:v>
                </c:pt>
                <c:pt idx="678">
                  <c:v>43.550407</c:v>
                </c:pt>
                <c:pt idx="679">
                  <c:v>44.313290000000002</c:v>
                </c:pt>
                <c:pt idx="680">
                  <c:v>44.303750000000001</c:v>
                </c:pt>
                <c:pt idx="681">
                  <c:v>43.7316</c:v>
                </c:pt>
                <c:pt idx="682">
                  <c:v>43.7316</c:v>
                </c:pt>
                <c:pt idx="683">
                  <c:v>44.074883</c:v>
                </c:pt>
                <c:pt idx="684">
                  <c:v>44.313290000000002</c:v>
                </c:pt>
                <c:pt idx="685">
                  <c:v>44.437522999999999</c:v>
                </c:pt>
                <c:pt idx="686">
                  <c:v>43.606110000000001</c:v>
                </c:pt>
                <c:pt idx="687">
                  <c:v>43.577440000000003</c:v>
                </c:pt>
                <c:pt idx="688">
                  <c:v>43.328968000000003</c:v>
                </c:pt>
                <c:pt idx="689">
                  <c:v>42.669581999999998</c:v>
                </c:pt>
                <c:pt idx="690">
                  <c:v>42.516669999999998</c:v>
                </c:pt>
                <c:pt idx="691">
                  <c:v>42.421104</c:v>
                </c:pt>
                <c:pt idx="692">
                  <c:v>41.952846999999998</c:v>
                </c:pt>
                <c:pt idx="693">
                  <c:v>41.522804000000001</c:v>
                </c:pt>
                <c:pt idx="694">
                  <c:v>40.930298000000001</c:v>
                </c:pt>
                <c:pt idx="695">
                  <c:v>40.423805000000002</c:v>
                </c:pt>
                <c:pt idx="696">
                  <c:v>39.898209999999999</c:v>
                </c:pt>
                <c:pt idx="697">
                  <c:v>40.423805000000002</c:v>
                </c:pt>
                <c:pt idx="698">
                  <c:v>40.328246999999998</c:v>
                </c:pt>
                <c:pt idx="699">
                  <c:v>40.423805000000002</c:v>
                </c:pt>
                <c:pt idx="700">
                  <c:v>39.401257000000001</c:v>
                </c:pt>
                <c:pt idx="701">
                  <c:v>39.477722</c:v>
                </c:pt>
                <c:pt idx="702">
                  <c:v>39.840862000000001</c:v>
                </c:pt>
                <c:pt idx="703">
                  <c:v>39.429929999999999</c:v>
                </c:pt>
                <c:pt idx="704">
                  <c:v>41.341225000000001</c:v>
                </c:pt>
                <c:pt idx="705">
                  <c:v>41.876392000000003</c:v>
                </c:pt>
                <c:pt idx="706">
                  <c:v>41.350783999999997</c:v>
                </c:pt>
                <c:pt idx="707">
                  <c:v>42.975383999999998</c:v>
                </c:pt>
                <c:pt idx="708">
                  <c:v>43.749447000000004</c:v>
                </c:pt>
                <c:pt idx="709">
                  <c:v>42.573999999999998</c:v>
                </c:pt>
                <c:pt idx="710">
                  <c:v>41.713935999999997</c:v>
                </c:pt>
                <c:pt idx="711">
                  <c:v>42.134410000000003</c:v>
                </c:pt>
                <c:pt idx="712">
                  <c:v>40.223132999999997</c:v>
                </c:pt>
                <c:pt idx="713">
                  <c:v>39.917316</c:v>
                </c:pt>
                <c:pt idx="714">
                  <c:v>40.710503000000003</c:v>
                </c:pt>
                <c:pt idx="715">
                  <c:v>41.283893999999997</c:v>
                </c:pt>
                <c:pt idx="716">
                  <c:v>40.576714000000003</c:v>
                </c:pt>
                <c:pt idx="717">
                  <c:v>39.267487000000003</c:v>
                </c:pt>
                <c:pt idx="718">
                  <c:v>40.519370000000002</c:v>
                </c:pt>
                <c:pt idx="719">
                  <c:v>40.997191999999998</c:v>
                </c:pt>
                <c:pt idx="720">
                  <c:v>41.369900000000001</c:v>
                </c:pt>
                <c:pt idx="721">
                  <c:v>41.866833</c:v>
                </c:pt>
                <c:pt idx="722">
                  <c:v>41.312556999999998</c:v>
                </c:pt>
                <c:pt idx="723">
                  <c:v>41.57058</c:v>
                </c:pt>
                <c:pt idx="724">
                  <c:v>40.901626999999998</c:v>
                </c:pt>
                <c:pt idx="725">
                  <c:v>40.471589999999999</c:v>
                </c:pt>
                <c:pt idx="726">
                  <c:v>39.095455000000001</c:v>
                </c:pt>
                <c:pt idx="727">
                  <c:v>38.722766999999997</c:v>
                </c:pt>
                <c:pt idx="728">
                  <c:v>39.401257000000001</c:v>
                </c:pt>
                <c:pt idx="729">
                  <c:v>38.655853</c:v>
                </c:pt>
                <c:pt idx="730">
                  <c:v>38.579407000000003</c:v>
                </c:pt>
                <c:pt idx="731">
                  <c:v>39.257914999999997</c:v>
                </c:pt>
                <c:pt idx="732">
                  <c:v>40.137115000000001</c:v>
                </c:pt>
                <c:pt idx="733">
                  <c:v>38.321399999999997</c:v>
                </c:pt>
                <c:pt idx="734">
                  <c:v>38.751427</c:v>
                </c:pt>
                <c:pt idx="735">
                  <c:v>37.040824999999998</c:v>
                </c:pt>
                <c:pt idx="736">
                  <c:v>37.136383000000002</c:v>
                </c:pt>
                <c:pt idx="737">
                  <c:v>37.32752</c:v>
                </c:pt>
                <c:pt idx="738">
                  <c:v>38.025143</c:v>
                </c:pt>
                <c:pt idx="739">
                  <c:v>38.378729999999997</c:v>
                </c:pt>
                <c:pt idx="740">
                  <c:v>37.155501999999998</c:v>
                </c:pt>
                <c:pt idx="741">
                  <c:v>37.881785999999998</c:v>
                </c:pt>
                <c:pt idx="742">
                  <c:v>37.929569999999998</c:v>
                </c:pt>
                <c:pt idx="743">
                  <c:v>36.448321999999997</c:v>
                </c:pt>
                <c:pt idx="744">
                  <c:v>37.260629999999999</c:v>
                </c:pt>
                <c:pt idx="745">
                  <c:v>37.633319999999998</c:v>
                </c:pt>
                <c:pt idx="746">
                  <c:v>35.387557999999999</c:v>
                </c:pt>
                <c:pt idx="747">
                  <c:v>35.846269999999997</c:v>
                </c:pt>
                <c:pt idx="748">
                  <c:v>36.515217</c:v>
                </c:pt>
                <c:pt idx="749">
                  <c:v>35.119987000000002</c:v>
                </c:pt>
                <c:pt idx="750">
                  <c:v>34.065890000000003</c:v>
                </c:pt>
                <c:pt idx="751">
                  <c:v>34.679175999999998</c:v>
                </c:pt>
                <c:pt idx="752">
                  <c:v>35.570346999999998</c:v>
                </c:pt>
                <c:pt idx="753">
                  <c:v>34.966639999999998</c:v>
                </c:pt>
                <c:pt idx="754">
                  <c:v>36.241120000000002</c:v>
                </c:pt>
                <c:pt idx="755">
                  <c:v>36.998150000000003</c:v>
                </c:pt>
                <c:pt idx="756">
                  <c:v>37.697679999999998</c:v>
                </c:pt>
                <c:pt idx="757">
                  <c:v>37.889324000000002</c:v>
                </c:pt>
                <c:pt idx="758">
                  <c:v>38.100147</c:v>
                </c:pt>
                <c:pt idx="759">
                  <c:v>39.135060000000003</c:v>
                </c:pt>
                <c:pt idx="760">
                  <c:v>38.694262999999999</c:v>
                </c:pt>
                <c:pt idx="761">
                  <c:v>38.962560000000003</c:v>
                </c:pt>
                <c:pt idx="762">
                  <c:v>39.633347000000001</c:v>
                </c:pt>
                <c:pt idx="763">
                  <c:v>39.163800000000002</c:v>
                </c:pt>
                <c:pt idx="764">
                  <c:v>39.288372000000003</c:v>
                </c:pt>
                <c:pt idx="765">
                  <c:v>40.083725000000001</c:v>
                </c:pt>
                <c:pt idx="766">
                  <c:v>39.853752</c:v>
                </c:pt>
                <c:pt idx="767">
                  <c:v>40.131639999999997</c:v>
                </c:pt>
                <c:pt idx="768">
                  <c:v>39.89208</c:v>
                </c:pt>
                <c:pt idx="769">
                  <c:v>40.371197000000002</c:v>
                </c:pt>
                <c:pt idx="770">
                  <c:v>39.067979999999999</c:v>
                </c:pt>
                <c:pt idx="771">
                  <c:v>39.911242999999999</c:v>
                </c:pt>
                <c:pt idx="772">
                  <c:v>39.89208</c:v>
                </c:pt>
                <c:pt idx="773">
                  <c:v>40.697014000000003</c:v>
                </c:pt>
                <c:pt idx="774">
                  <c:v>40.811993000000001</c:v>
                </c:pt>
                <c:pt idx="775">
                  <c:v>40.352040000000002</c:v>
                </c:pt>
                <c:pt idx="776">
                  <c:v>40.543681999999997</c:v>
                </c:pt>
                <c:pt idx="777">
                  <c:v>40.342449999999999</c:v>
                </c:pt>
                <c:pt idx="778">
                  <c:v>41.626506999999997</c:v>
                </c:pt>
                <c:pt idx="779">
                  <c:v>41.655259999999998</c:v>
                </c:pt>
                <c:pt idx="780">
                  <c:v>40.974890000000002</c:v>
                </c:pt>
                <c:pt idx="781">
                  <c:v>40.169969999999999</c:v>
                </c:pt>
                <c:pt idx="782">
                  <c:v>38.809246000000002</c:v>
                </c:pt>
                <c:pt idx="783">
                  <c:v>39.202126</c:v>
                </c:pt>
                <c:pt idx="784">
                  <c:v>39.623764000000001</c:v>
                </c:pt>
                <c:pt idx="785">
                  <c:v>39.652509999999999</c:v>
                </c:pt>
                <c:pt idx="786">
                  <c:v>39.297960000000003</c:v>
                </c:pt>
                <c:pt idx="787">
                  <c:v>37.870159999999998</c:v>
                </c:pt>
                <c:pt idx="788">
                  <c:v>37.726419999999997</c:v>
                </c:pt>
                <c:pt idx="789">
                  <c:v>37.304789999999997</c:v>
                </c:pt>
                <c:pt idx="790">
                  <c:v>37.276046999999998</c:v>
                </c:pt>
                <c:pt idx="791">
                  <c:v>36.758586999999999</c:v>
                </c:pt>
                <c:pt idx="792">
                  <c:v>36.892741999999998</c:v>
                </c:pt>
                <c:pt idx="793">
                  <c:v>37.113148000000002</c:v>
                </c:pt>
                <c:pt idx="794">
                  <c:v>37.553939999999997</c:v>
                </c:pt>
                <c:pt idx="795">
                  <c:v>38.272629999999999</c:v>
                </c:pt>
                <c:pt idx="796">
                  <c:v>39.451282999999997</c:v>
                </c:pt>
                <c:pt idx="797">
                  <c:v>39.202126</c:v>
                </c:pt>
                <c:pt idx="798">
                  <c:v>39.211716000000003</c:v>
                </c:pt>
                <c:pt idx="799">
                  <c:v>39.614184999999999</c:v>
                </c:pt>
                <c:pt idx="800">
                  <c:v>39.537509999999997</c:v>
                </c:pt>
                <c:pt idx="801">
                  <c:v>38.339709999999997</c:v>
                </c:pt>
                <c:pt idx="802">
                  <c:v>36.614849999999997</c:v>
                </c:pt>
                <c:pt idx="803">
                  <c:v>35.455364000000003</c:v>
                </c:pt>
                <c:pt idx="804">
                  <c:v>35.378708000000003</c:v>
                </c:pt>
                <c:pt idx="805">
                  <c:v>35.177480000000003</c:v>
                </c:pt>
                <c:pt idx="806">
                  <c:v>34.46837</c:v>
                </c:pt>
                <c:pt idx="807">
                  <c:v>33.241790000000002</c:v>
                </c:pt>
                <c:pt idx="808">
                  <c:v>33.088030000000003</c:v>
                </c:pt>
                <c:pt idx="809">
                  <c:v>33.232190000000003</c:v>
                </c:pt>
                <c:pt idx="810">
                  <c:v>31.915585</c:v>
                </c:pt>
                <c:pt idx="811">
                  <c:v>31.531174</c:v>
                </c:pt>
                <c:pt idx="812">
                  <c:v>31.742601000000001</c:v>
                </c:pt>
                <c:pt idx="813">
                  <c:v>31.656110000000002</c:v>
                </c:pt>
                <c:pt idx="814">
                  <c:v>32.453760000000003</c:v>
                </c:pt>
                <c:pt idx="815">
                  <c:v>31.579232999999999</c:v>
                </c:pt>
                <c:pt idx="816">
                  <c:v>30.108864000000001</c:v>
                </c:pt>
                <c:pt idx="817">
                  <c:v>30.281849000000001</c:v>
                </c:pt>
                <c:pt idx="818">
                  <c:v>30.868067</c:v>
                </c:pt>
                <c:pt idx="819">
                  <c:v>31.367804</c:v>
                </c:pt>
                <c:pt idx="820">
                  <c:v>31.338974</c:v>
                </c:pt>
                <c:pt idx="821">
                  <c:v>30.896896000000002</c:v>
                </c:pt>
                <c:pt idx="822">
                  <c:v>30.762356</c:v>
                </c:pt>
                <c:pt idx="823">
                  <c:v>30.493272999999999</c:v>
                </c:pt>
                <c:pt idx="824">
                  <c:v>30.896896000000002</c:v>
                </c:pt>
                <c:pt idx="825">
                  <c:v>30.916122000000001</c:v>
                </c:pt>
                <c:pt idx="826">
                  <c:v>30.281849000000001</c:v>
                </c:pt>
                <c:pt idx="827">
                  <c:v>30.416388000000001</c:v>
                </c:pt>
                <c:pt idx="828">
                  <c:v>30.666256000000001</c:v>
                </c:pt>
                <c:pt idx="829">
                  <c:v>30.704692999999999</c:v>
                </c:pt>
                <c:pt idx="830">
                  <c:v>30.435607999999998</c:v>
                </c:pt>
                <c:pt idx="831">
                  <c:v>29.609124999999999</c:v>
                </c:pt>
                <c:pt idx="832">
                  <c:v>30.041589999999999</c:v>
                </c:pt>
                <c:pt idx="833">
                  <c:v>31.098718999999999</c:v>
                </c:pt>
                <c:pt idx="834">
                  <c:v>31.242868000000001</c:v>
                </c:pt>
                <c:pt idx="835">
                  <c:v>32.098185999999998</c:v>
                </c:pt>
                <c:pt idx="836">
                  <c:v>31.848306999999998</c:v>
                </c:pt>
                <c:pt idx="837">
                  <c:v>30.56054</c:v>
                </c:pt>
                <c:pt idx="838">
                  <c:v>29.176666000000001</c:v>
                </c:pt>
                <c:pt idx="839">
                  <c:v>29.301603</c:v>
                </c:pt>
                <c:pt idx="840">
                  <c:v>28.004217000000001</c:v>
                </c:pt>
                <c:pt idx="841">
                  <c:v>28.196425999999999</c:v>
                </c:pt>
                <c:pt idx="842">
                  <c:v>28.552002000000002</c:v>
                </c:pt>
                <c:pt idx="843">
                  <c:v>28.849914999999999</c:v>
                </c:pt>
                <c:pt idx="844">
                  <c:v>28.724989999999998</c:v>
                </c:pt>
                <c:pt idx="845">
                  <c:v>29.147839000000001</c:v>
                </c:pt>
                <c:pt idx="846">
                  <c:v>25.995687</c:v>
                </c:pt>
                <c:pt idx="847">
                  <c:v>24.285063000000001</c:v>
                </c:pt>
                <c:pt idx="848">
                  <c:v>25.726599</c:v>
                </c:pt>
                <c:pt idx="849">
                  <c:v>26.620346000000001</c:v>
                </c:pt>
                <c:pt idx="850">
                  <c:v>27.206568000000001</c:v>
                </c:pt>
                <c:pt idx="851">
                  <c:v>28.186813000000001</c:v>
                </c:pt>
                <c:pt idx="852">
                  <c:v>27.802403999999999</c:v>
                </c:pt>
                <c:pt idx="853">
                  <c:v>27.245011999999999</c:v>
                </c:pt>
                <c:pt idx="854">
                  <c:v>28.254086999999998</c:v>
                </c:pt>
                <c:pt idx="855">
                  <c:v>28.869146000000001</c:v>
                </c:pt>
                <c:pt idx="856">
                  <c:v>29.945485999999999</c:v>
                </c:pt>
                <c:pt idx="857">
                  <c:v>33.309063000000002</c:v>
                </c:pt>
                <c:pt idx="858">
                  <c:v>33.107259999999997</c:v>
                </c:pt>
                <c:pt idx="859">
                  <c:v>34.481513999999997</c:v>
                </c:pt>
                <c:pt idx="860">
                  <c:v>34.491123000000002</c:v>
                </c:pt>
                <c:pt idx="861">
                  <c:v>34.625667999999997</c:v>
                </c:pt>
                <c:pt idx="862">
                  <c:v>34.606450000000002</c:v>
                </c:pt>
                <c:pt idx="863">
                  <c:v>34.519955000000003</c:v>
                </c:pt>
                <c:pt idx="864">
                  <c:v>33.597369999999998</c:v>
                </c:pt>
                <c:pt idx="865">
                  <c:v>34.942805999999997</c:v>
                </c:pt>
                <c:pt idx="866">
                  <c:v>34.404636000000004</c:v>
                </c:pt>
                <c:pt idx="867">
                  <c:v>35.125410000000002</c:v>
                </c:pt>
                <c:pt idx="868">
                  <c:v>34.789042999999999</c:v>
                </c:pt>
                <c:pt idx="869">
                  <c:v>34.923580000000001</c:v>
                </c:pt>
                <c:pt idx="870">
                  <c:v>34.116332999999997</c:v>
                </c:pt>
                <c:pt idx="871">
                  <c:v>34.212429999999998</c:v>
                </c:pt>
                <c:pt idx="872">
                  <c:v>32.203899999999997</c:v>
                </c:pt>
                <c:pt idx="873">
                  <c:v>32.271362000000003</c:v>
                </c:pt>
                <c:pt idx="874">
                  <c:v>32.367750000000001</c:v>
                </c:pt>
                <c:pt idx="875">
                  <c:v>33.196705000000001</c:v>
                </c:pt>
                <c:pt idx="876">
                  <c:v>33.109949999999998</c:v>
                </c:pt>
                <c:pt idx="877">
                  <c:v>33.341293</c:v>
                </c:pt>
                <c:pt idx="878">
                  <c:v>32.946095</c:v>
                </c:pt>
                <c:pt idx="879">
                  <c:v>33.697940000000003</c:v>
                </c:pt>
                <c:pt idx="880">
                  <c:v>33.659374</c:v>
                </c:pt>
                <c:pt idx="881">
                  <c:v>34.57508</c:v>
                </c:pt>
                <c:pt idx="882">
                  <c:v>35.423319999999997</c:v>
                </c:pt>
                <c:pt idx="883">
                  <c:v>35.278731999999998</c:v>
                </c:pt>
                <c:pt idx="884">
                  <c:v>35.346209999999999</c:v>
                </c:pt>
                <c:pt idx="885">
                  <c:v>35.172699999999999</c:v>
                </c:pt>
                <c:pt idx="886">
                  <c:v>34.700397000000002</c:v>
                </c:pt>
                <c:pt idx="887">
                  <c:v>35.085953000000003</c:v>
                </c:pt>
                <c:pt idx="888">
                  <c:v>35.326926999999998</c:v>
                </c:pt>
                <c:pt idx="889">
                  <c:v>35.394398000000002</c:v>
                </c:pt>
                <c:pt idx="890">
                  <c:v>34.922091999999999</c:v>
                </c:pt>
                <c:pt idx="891">
                  <c:v>34.864254000000003</c:v>
                </c:pt>
                <c:pt idx="892">
                  <c:v>35.712485999999998</c:v>
                </c:pt>
                <c:pt idx="893">
                  <c:v>34.989567000000001</c:v>
                </c:pt>
                <c:pt idx="894">
                  <c:v>34.931731999999997</c:v>
                </c:pt>
                <c:pt idx="895">
                  <c:v>35.211253999999997</c:v>
                </c:pt>
                <c:pt idx="896">
                  <c:v>35.625729999999997</c:v>
                </c:pt>
                <c:pt idx="897">
                  <c:v>37.351112000000001</c:v>
                </c:pt>
                <c:pt idx="898">
                  <c:v>37.929454999999997</c:v>
                </c:pt>
                <c:pt idx="899">
                  <c:v>37.100506000000003</c:v>
                </c:pt>
                <c:pt idx="900">
                  <c:v>36.955930000000002</c:v>
                </c:pt>
                <c:pt idx="901">
                  <c:v>36.020940000000003</c:v>
                </c:pt>
                <c:pt idx="902">
                  <c:v>35.076304999999998</c:v>
                </c:pt>
                <c:pt idx="903">
                  <c:v>35.095592000000003</c:v>
                </c:pt>
                <c:pt idx="904">
                  <c:v>34.208804999999998</c:v>
                </c:pt>
                <c:pt idx="905">
                  <c:v>34.160606000000001</c:v>
                </c:pt>
                <c:pt idx="906">
                  <c:v>33.881076999999998</c:v>
                </c:pt>
                <c:pt idx="907">
                  <c:v>33.418404000000002</c:v>
                </c:pt>
                <c:pt idx="908">
                  <c:v>33.977466999999997</c:v>
                </c:pt>
                <c:pt idx="909">
                  <c:v>34.266632000000001</c:v>
                </c:pt>
                <c:pt idx="910">
                  <c:v>33.669020000000003</c:v>
                </c:pt>
                <c:pt idx="911">
                  <c:v>34.700397000000002</c:v>
                </c:pt>
                <c:pt idx="912">
                  <c:v>34.546165000000002</c:v>
                </c:pt>
                <c:pt idx="913">
                  <c:v>34.526890000000002</c:v>
                </c:pt>
                <c:pt idx="914">
                  <c:v>35.28837</c:v>
                </c:pt>
                <c:pt idx="915">
                  <c:v>36.339024000000002</c:v>
                </c:pt>
                <c:pt idx="916">
                  <c:v>36.271552999999997</c:v>
                </c:pt>
                <c:pt idx="917">
                  <c:v>36.502884000000002</c:v>
                </c:pt>
                <c:pt idx="918">
                  <c:v>36.792053000000003</c:v>
                </c:pt>
                <c:pt idx="919">
                  <c:v>36.367935000000003</c:v>
                </c:pt>
                <c:pt idx="920">
                  <c:v>37.486057000000002</c:v>
                </c:pt>
                <c:pt idx="921">
                  <c:v>36.820971999999998</c:v>
                </c:pt>
                <c:pt idx="922">
                  <c:v>36.030574999999999</c:v>
                </c:pt>
                <c:pt idx="923">
                  <c:v>37.823430000000002</c:v>
                </c:pt>
                <c:pt idx="924">
                  <c:v>37.254730000000002</c:v>
                </c:pt>
                <c:pt idx="925">
                  <c:v>37.187252000000001</c:v>
                </c:pt>
                <c:pt idx="926">
                  <c:v>37.929454999999997</c:v>
                </c:pt>
                <c:pt idx="927">
                  <c:v>39.163241999999997</c:v>
                </c:pt>
                <c:pt idx="928">
                  <c:v>39.124695000000003</c:v>
                </c:pt>
                <c:pt idx="929">
                  <c:v>38.459601999999997</c:v>
                </c:pt>
                <c:pt idx="930">
                  <c:v>38.392128</c:v>
                </c:pt>
                <c:pt idx="931">
                  <c:v>38.257187000000002</c:v>
                </c:pt>
                <c:pt idx="932">
                  <c:v>37.900542999999999</c:v>
                </c:pt>
                <c:pt idx="933">
                  <c:v>38.469239999999999</c:v>
                </c:pt>
                <c:pt idx="934">
                  <c:v>38.613827000000001</c:v>
                </c:pt>
                <c:pt idx="935">
                  <c:v>39.134323000000002</c:v>
                </c:pt>
                <c:pt idx="936">
                  <c:v>38.363210000000002</c:v>
                </c:pt>
                <c:pt idx="937">
                  <c:v>38.27646</c:v>
                </c:pt>
                <c:pt idx="938">
                  <c:v>38.054206999999998</c:v>
                </c:pt>
                <c:pt idx="939">
                  <c:v>38.402084000000002</c:v>
                </c:pt>
                <c:pt idx="940">
                  <c:v>40.093162999999997</c:v>
                </c:pt>
                <c:pt idx="941">
                  <c:v>40.296097000000003</c:v>
                </c:pt>
                <c:pt idx="942">
                  <c:v>40.982193000000002</c:v>
                </c:pt>
                <c:pt idx="943">
                  <c:v>40.875895999999997</c:v>
                </c:pt>
                <c:pt idx="944">
                  <c:v>41.484690000000001</c:v>
                </c:pt>
                <c:pt idx="945">
                  <c:v>41.938859999999998</c:v>
                </c:pt>
                <c:pt idx="946">
                  <c:v>43.253067000000001</c:v>
                </c:pt>
                <c:pt idx="947">
                  <c:v>42.953518000000003</c:v>
                </c:pt>
                <c:pt idx="948">
                  <c:v>44.287059999999997</c:v>
                </c:pt>
                <c:pt idx="949">
                  <c:v>44.702567999999999</c:v>
                </c:pt>
                <c:pt idx="950">
                  <c:v>44.528632999999999</c:v>
                </c:pt>
                <c:pt idx="951">
                  <c:v>44.528632999999999</c:v>
                </c:pt>
                <c:pt idx="952">
                  <c:v>44.779876999999999</c:v>
                </c:pt>
                <c:pt idx="953">
                  <c:v>45.243720000000003</c:v>
                </c:pt>
                <c:pt idx="954">
                  <c:v>44.934497999999998</c:v>
                </c:pt>
                <c:pt idx="955">
                  <c:v>45.311366999999997</c:v>
                </c:pt>
                <c:pt idx="956">
                  <c:v>44.876510000000003</c:v>
                </c:pt>
                <c:pt idx="957">
                  <c:v>44.209743000000003</c:v>
                </c:pt>
                <c:pt idx="958">
                  <c:v>44.547966000000002</c:v>
                </c:pt>
                <c:pt idx="959">
                  <c:v>44.180756000000002</c:v>
                </c:pt>
                <c:pt idx="960">
                  <c:v>44.866860000000003</c:v>
                </c:pt>
                <c:pt idx="961">
                  <c:v>47.012107999999998</c:v>
                </c:pt>
                <c:pt idx="962">
                  <c:v>46.432304000000002</c:v>
                </c:pt>
                <c:pt idx="963">
                  <c:v>47.968772999999999</c:v>
                </c:pt>
                <c:pt idx="964">
                  <c:v>45.987803999999997</c:v>
                </c:pt>
                <c:pt idx="965">
                  <c:v>46.229377999999997</c:v>
                </c:pt>
                <c:pt idx="966">
                  <c:v>46.306683</c:v>
                </c:pt>
                <c:pt idx="967">
                  <c:v>46.67389</c:v>
                </c:pt>
                <c:pt idx="968">
                  <c:v>46.026449999999997</c:v>
                </c:pt>
                <c:pt idx="969">
                  <c:v>46.944473000000002</c:v>
                </c:pt>
                <c:pt idx="970">
                  <c:v>47.562927000000002</c:v>
                </c:pt>
                <c:pt idx="971">
                  <c:v>47.804504000000001</c:v>
                </c:pt>
                <c:pt idx="972">
                  <c:v>47.050773999999997</c:v>
                </c:pt>
                <c:pt idx="973">
                  <c:v>46.847830000000002</c:v>
                </c:pt>
                <c:pt idx="974">
                  <c:v>46.973460000000003</c:v>
                </c:pt>
                <c:pt idx="975">
                  <c:v>46.065097999999999</c:v>
                </c:pt>
                <c:pt idx="976">
                  <c:v>45.659244999999999</c:v>
                </c:pt>
                <c:pt idx="977">
                  <c:v>45.118090000000002</c:v>
                </c:pt>
                <c:pt idx="978">
                  <c:v>44.741225999999997</c:v>
                </c:pt>
                <c:pt idx="979">
                  <c:v>45.127758</c:v>
                </c:pt>
                <c:pt idx="980">
                  <c:v>44.345030000000001</c:v>
                </c:pt>
                <c:pt idx="981">
                  <c:v>44.654254999999999</c:v>
                </c:pt>
                <c:pt idx="982">
                  <c:v>45.494971999999997</c:v>
                </c:pt>
                <c:pt idx="983">
                  <c:v>46.847830000000002</c:v>
                </c:pt>
                <c:pt idx="984">
                  <c:v>47.002450000000003</c:v>
                </c:pt>
                <c:pt idx="985">
                  <c:v>46.480625000000003</c:v>
                </c:pt>
                <c:pt idx="986">
                  <c:v>46.045775999999996</c:v>
                </c:pt>
                <c:pt idx="987">
                  <c:v>45.176079999999999</c:v>
                </c:pt>
                <c:pt idx="988">
                  <c:v>46.036124999999998</c:v>
                </c:pt>
                <c:pt idx="989">
                  <c:v>45.668903</c:v>
                </c:pt>
                <c:pt idx="990">
                  <c:v>46.383994999999999</c:v>
                </c:pt>
                <c:pt idx="991">
                  <c:v>45.359676</c:v>
                </c:pt>
                <c:pt idx="992">
                  <c:v>45.939487</c:v>
                </c:pt>
                <c:pt idx="993">
                  <c:v>46.297027999999997</c:v>
                </c:pt>
                <c:pt idx="994">
                  <c:v>47.920459999999999</c:v>
                </c:pt>
                <c:pt idx="995">
                  <c:v>45.369349999999997</c:v>
                </c:pt>
                <c:pt idx="996">
                  <c:v>43.388362999999998</c:v>
                </c:pt>
                <c:pt idx="997">
                  <c:v>42.760241999999998</c:v>
                </c:pt>
                <c:pt idx="998">
                  <c:v>42.566969999999998</c:v>
                </c:pt>
                <c:pt idx="999">
                  <c:v>42.528328000000002</c:v>
                </c:pt>
                <c:pt idx="1000">
                  <c:v>42.711936999999999</c:v>
                </c:pt>
                <c:pt idx="1001">
                  <c:v>43.774887</c:v>
                </c:pt>
                <c:pt idx="1002">
                  <c:v>43.649273000000001</c:v>
                </c:pt>
                <c:pt idx="1003">
                  <c:v>43.542976000000003</c:v>
                </c:pt>
                <c:pt idx="1004">
                  <c:v>44.840739999999997</c:v>
                </c:pt>
                <c:pt idx="1005">
                  <c:v>44.986015000000002</c:v>
                </c:pt>
                <c:pt idx="1006">
                  <c:v>45.915756000000002</c:v>
                </c:pt>
                <c:pt idx="1007">
                  <c:v>45.102238</c:v>
                </c:pt>
                <c:pt idx="1008">
                  <c:v>46.041663999999997</c:v>
                </c:pt>
                <c:pt idx="1009">
                  <c:v>45.489623999999999</c:v>
                </c:pt>
                <c:pt idx="1010">
                  <c:v>45.431519999999999</c:v>
                </c:pt>
                <c:pt idx="1011">
                  <c:v>45.334679999999999</c:v>
                </c:pt>
                <c:pt idx="1012">
                  <c:v>44.860109999999999</c:v>
                </c:pt>
                <c:pt idx="1013">
                  <c:v>44.647039999999997</c:v>
                </c:pt>
                <c:pt idx="1014">
                  <c:v>44.821370000000002</c:v>
                </c:pt>
                <c:pt idx="1015">
                  <c:v>44.860109999999999</c:v>
                </c:pt>
                <c:pt idx="1016">
                  <c:v>44.898845999999999</c:v>
                </c:pt>
                <c:pt idx="1017">
                  <c:v>45.605846</c:v>
                </c:pt>
                <c:pt idx="1018">
                  <c:v>44.279020000000003</c:v>
                </c:pt>
                <c:pt idx="1019">
                  <c:v>45.344344999999997</c:v>
                </c:pt>
                <c:pt idx="1020">
                  <c:v>43.881943</c:v>
                </c:pt>
                <c:pt idx="1021">
                  <c:v>43.426754000000003</c:v>
                </c:pt>
                <c:pt idx="1022">
                  <c:v>43.475185000000003</c:v>
                </c:pt>
                <c:pt idx="1023">
                  <c:v>41.964348000000001</c:v>
                </c:pt>
                <c:pt idx="1024">
                  <c:v>42.516387999999999</c:v>
                </c:pt>
                <c:pt idx="1025">
                  <c:v>41.034602999999997</c:v>
                </c:pt>
                <c:pt idx="1026">
                  <c:v>39.911163000000002</c:v>
                </c:pt>
                <c:pt idx="1027">
                  <c:v>40.76343</c:v>
                </c:pt>
                <c:pt idx="1028">
                  <c:v>40.802177</c:v>
                </c:pt>
                <c:pt idx="1029">
                  <c:v>40.405098000000002</c:v>
                </c:pt>
                <c:pt idx="1030">
                  <c:v>40.385719999999999</c:v>
                </c:pt>
                <c:pt idx="1031">
                  <c:v>39.146070000000002</c:v>
                </c:pt>
                <c:pt idx="1032">
                  <c:v>39.078270000000003</c:v>
                </c:pt>
                <c:pt idx="1033">
                  <c:v>40.104866000000001</c:v>
                </c:pt>
                <c:pt idx="1034">
                  <c:v>40.414783</c:v>
                </c:pt>
                <c:pt idx="1035">
                  <c:v>40.424458000000001</c:v>
                </c:pt>
                <c:pt idx="1036">
                  <c:v>41.257359999999998</c:v>
                </c:pt>
                <c:pt idx="1037">
                  <c:v>40.637529999999998</c:v>
                </c:pt>
                <c:pt idx="1038">
                  <c:v>41.199244999999998</c:v>
                </c:pt>
                <c:pt idx="1039">
                  <c:v>40.966810000000002</c:v>
                </c:pt>
                <c:pt idx="1040">
                  <c:v>41.112087000000002</c:v>
                </c:pt>
                <c:pt idx="1041">
                  <c:v>39.610930000000003</c:v>
                </c:pt>
                <c:pt idx="1042">
                  <c:v>40.008006999999999</c:v>
                </c:pt>
                <c:pt idx="1043">
                  <c:v>40.405098000000002</c:v>
                </c:pt>
                <c:pt idx="1044">
                  <c:v>40.492260000000002</c:v>
                </c:pt>
                <c:pt idx="1045">
                  <c:v>40.986190000000001</c:v>
                </c:pt>
                <c:pt idx="1046">
                  <c:v>42.545439999999999</c:v>
                </c:pt>
                <c:pt idx="1047">
                  <c:v>42.574492999999997</c:v>
                </c:pt>
                <c:pt idx="1048">
                  <c:v>41.983710000000002</c:v>
                </c:pt>
                <c:pt idx="1049">
                  <c:v>42.835982999999999</c:v>
                </c:pt>
                <c:pt idx="1050">
                  <c:v>42.429220000000001</c:v>
                </c:pt>
                <c:pt idx="1051">
                  <c:v>43.000630000000001</c:v>
                </c:pt>
                <c:pt idx="1052">
                  <c:v>43.794784999999997</c:v>
                </c:pt>
                <c:pt idx="1053">
                  <c:v>43.726999999999997</c:v>
                </c:pt>
                <c:pt idx="1054">
                  <c:v>44.976322000000003</c:v>
                </c:pt>
                <c:pt idx="1055">
                  <c:v>45.140970000000003</c:v>
                </c:pt>
                <c:pt idx="1056">
                  <c:v>44.937595000000002</c:v>
                </c:pt>
                <c:pt idx="1057">
                  <c:v>42.593857</c:v>
                </c:pt>
                <c:pt idx="1058">
                  <c:v>41.276730000000001</c:v>
                </c:pt>
                <c:pt idx="1059">
                  <c:v>40.753746</c:v>
                </c:pt>
                <c:pt idx="1060">
                  <c:v>42.48733</c:v>
                </c:pt>
                <c:pt idx="1061">
                  <c:v>42.53575</c:v>
                </c:pt>
                <c:pt idx="1062">
                  <c:v>42.526069999999997</c:v>
                </c:pt>
                <c:pt idx="1063">
                  <c:v>43.107162000000002</c:v>
                </c:pt>
                <c:pt idx="1064">
                  <c:v>43.523609999999998</c:v>
                </c:pt>
                <c:pt idx="1065">
                  <c:v>45.596159999999998</c:v>
                </c:pt>
                <c:pt idx="1066">
                  <c:v>45.809223000000003</c:v>
                </c:pt>
                <c:pt idx="1067">
                  <c:v>45.073177000000001</c:v>
                </c:pt>
                <c:pt idx="1068">
                  <c:v>44.481133</c:v>
                </c:pt>
                <c:pt idx="1069">
                  <c:v>45.306114000000001</c:v>
                </c:pt>
                <c:pt idx="1070">
                  <c:v>45.558459999999997</c:v>
                </c:pt>
                <c:pt idx="1071">
                  <c:v>43.597909999999999</c:v>
                </c:pt>
                <c:pt idx="1072">
                  <c:v>43.335859999999997</c:v>
                </c:pt>
                <c:pt idx="1073">
                  <c:v>43.889088000000001</c:v>
                </c:pt>
                <c:pt idx="1074">
                  <c:v>44.849944999999998</c:v>
                </c:pt>
                <c:pt idx="1075">
                  <c:v>45.286704999999998</c:v>
                </c:pt>
                <c:pt idx="1076">
                  <c:v>45.393459999999997</c:v>
                </c:pt>
                <c:pt idx="1077">
                  <c:v>46.606678000000002</c:v>
                </c:pt>
                <c:pt idx="1078">
                  <c:v>47.305492000000001</c:v>
                </c:pt>
                <c:pt idx="1079">
                  <c:v>46.548439999999999</c:v>
                </c:pt>
                <c:pt idx="1080">
                  <c:v>46.985199999999999</c:v>
                </c:pt>
                <c:pt idx="1081">
                  <c:v>47.606354000000003</c:v>
                </c:pt>
                <c:pt idx="1082">
                  <c:v>48.062527000000003</c:v>
                </c:pt>
                <c:pt idx="1083">
                  <c:v>48.276049999999998</c:v>
                </c:pt>
                <c:pt idx="1084">
                  <c:v>48.276049999999998</c:v>
                </c:pt>
                <c:pt idx="1085">
                  <c:v>49.363083000000003</c:v>
                </c:pt>
                <c:pt idx="1086">
                  <c:v>49.916313000000002</c:v>
                </c:pt>
                <c:pt idx="1087">
                  <c:v>48.790455000000001</c:v>
                </c:pt>
                <c:pt idx="1088">
                  <c:v>48.023705</c:v>
                </c:pt>
                <c:pt idx="1089">
                  <c:v>47.994587000000003</c:v>
                </c:pt>
                <c:pt idx="1090">
                  <c:v>47.936349999999997</c:v>
                </c:pt>
                <c:pt idx="1091">
                  <c:v>47.664589999999997</c:v>
                </c:pt>
                <c:pt idx="1092">
                  <c:v>47.354014999999997</c:v>
                </c:pt>
                <c:pt idx="1093">
                  <c:v>48.198405999999999</c:v>
                </c:pt>
                <c:pt idx="1094">
                  <c:v>46.616382999999999</c:v>
                </c:pt>
                <c:pt idx="1095">
                  <c:v>47.004604</c:v>
                </c:pt>
                <c:pt idx="1096">
                  <c:v>47.528717</c:v>
                </c:pt>
                <c:pt idx="1097">
                  <c:v>47.198723000000001</c:v>
                </c:pt>
                <c:pt idx="1098">
                  <c:v>47.344307000000001</c:v>
                </c:pt>
                <c:pt idx="1099">
                  <c:v>47.072544000000001</c:v>
                </c:pt>
                <c:pt idx="1100">
                  <c:v>47.800471999999999</c:v>
                </c:pt>
                <c:pt idx="1101">
                  <c:v>48.159576000000001</c:v>
                </c:pt>
                <c:pt idx="1102">
                  <c:v>48.838977999999997</c:v>
                </c:pt>
                <c:pt idx="1103">
                  <c:v>48.906917999999997</c:v>
                </c:pt>
                <c:pt idx="1104">
                  <c:v>49.751305000000002</c:v>
                </c:pt>
                <c:pt idx="1105">
                  <c:v>50.518059999999998</c:v>
                </c:pt>
                <c:pt idx="1106">
                  <c:v>51.46922</c:v>
                </c:pt>
                <c:pt idx="1107">
                  <c:v>51.110115</c:v>
                </c:pt>
                <c:pt idx="1108">
                  <c:v>50.091006999999998</c:v>
                </c:pt>
                <c:pt idx="1109">
                  <c:v>52.216560000000001</c:v>
                </c:pt>
                <c:pt idx="1110">
                  <c:v>52.226264999999998</c:v>
                </c:pt>
                <c:pt idx="1111">
                  <c:v>52.624195</c:v>
                </c:pt>
                <c:pt idx="1112">
                  <c:v>52.284495999999997</c:v>
                </c:pt>
                <c:pt idx="1113">
                  <c:v>51.58569</c:v>
                </c:pt>
                <c:pt idx="1114">
                  <c:v>51.061573000000003</c:v>
                </c:pt>
                <c:pt idx="1115">
                  <c:v>50.799526</c:v>
                </c:pt>
                <c:pt idx="1116">
                  <c:v>50.382182999999998</c:v>
                </c:pt>
                <c:pt idx="1117">
                  <c:v>49.770719999999997</c:v>
                </c:pt>
                <c:pt idx="1118">
                  <c:v>49.120449999999998</c:v>
                </c:pt>
                <c:pt idx="1119">
                  <c:v>49.508670000000002</c:v>
                </c:pt>
                <c:pt idx="1120">
                  <c:v>48.528396999999998</c:v>
                </c:pt>
                <c:pt idx="1121">
                  <c:v>49.003982999999998</c:v>
                </c:pt>
                <c:pt idx="1122">
                  <c:v>48.955449999999999</c:v>
                </c:pt>
                <c:pt idx="1123">
                  <c:v>49.557200000000002</c:v>
                </c:pt>
                <c:pt idx="1124">
                  <c:v>48.965156999999998</c:v>
                </c:pt>
                <c:pt idx="1125">
                  <c:v>49.062213999999997</c:v>
                </c:pt>
                <c:pt idx="1126">
                  <c:v>49.304850000000002</c:v>
                </c:pt>
                <c:pt idx="1127">
                  <c:v>49.091329999999999</c:v>
                </c:pt>
                <c:pt idx="1128">
                  <c:v>48.528396999999998</c:v>
                </c:pt>
                <c:pt idx="1129">
                  <c:v>47.946055999999999</c:v>
                </c:pt>
                <c:pt idx="1130">
                  <c:v>47.216656</c:v>
                </c:pt>
                <c:pt idx="1131">
                  <c:v>47.022143999999997</c:v>
                </c:pt>
                <c:pt idx="1132">
                  <c:v>47.46951</c:v>
                </c:pt>
                <c:pt idx="1133">
                  <c:v>47.187477000000001</c:v>
                </c:pt>
                <c:pt idx="1134">
                  <c:v>47.080505000000002</c:v>
                </c:pt>
                <c:pt idx="1135">
                  <c:v>44.765860000000004</c:v>
                </c:pt>
                <c:pt idx="1136">
                  <c:v>44.299045999999997</c:v>
                </c:pt>
                <c:pt idx="1137">
                  <c:v>44.454650000000001</c:v>
                </c:pt>
                <c:pt idx="1138">
                  <c:v>44.162889999999997</c:v>
                </c:pt>
                <c:pt idx="1139">
                  <c:v>42.762439999999998</c:v>
                </c:pt>
                <c:pt idx="1140">
                  <c:v>41.74127</c:v>
                </c:pt>
                <c:pt idx="1141">
                  <c:v>44.007286000000001</c:v>
                </c:pt>
                <c:pt idx="1142">
                  <c:v>43.715527000000002</c:v>
                </c:pt>
                <c:pt idx="1143">
                  <c:v>43.33623</c:v>
                </c:pt>
                <c:pt idx="1144">
                  <c:v>43.102820000000001</c:v>
                </c:pt>
                <c:pt idx="1145">
                  <c:v>43.511294999999997</c:v>
                </c:pt>
                <c:pt idx="1146">
                  <c:v>44.065635999999998</c:v>
                </c:pt>
                <c:pt idx="1147">
                  <c:v>42.713818000000003</c:v>
                </c:pt>
                <c:pt idx="1148">
                  <c:v>43.0931</c:v>
                </c:pt>
                <c:pt idx="1149">
                  <c:v>42.636009999999999</c:v>
                </c:pt>
                <c:pt idx="1150">
                  <c:v>42.4026</c:v>
                </c:pt>
                <c:pt idx="1151">
                  <c:v>44.600532999999999</c:v>
                </c:pt>
                <c:pt idx="1152">
                  <c:v>45.018723000000001</c:v>
                </c:pt>
                <c:pt idx="1153">
                  <c:v>45.709225000000004</c:v>
                </c:pt>
                <c:pt idx="1154">
                  <c:v>44.921474000000003</c:v>
                </c:pt>
                <c:pt idx="1155">
                  <c:v>44.736687000000003</c:v>
                </c:pt>
                <c:pt idx="1156">
                  <c:v>44.065635999999998</c:v>
                </c:pt>
                <c:pt idx="1157">
                  <c:v>43.161186000000001</c:v>
                </c:pt>
                <c:pt idx="1158">
                  <c:v>44.172606999999999</c:v>
                </c:pt>
                <c:pt idx="1159">
                  <c:v>45.018723000000001</c:v>
                </c:pt>
                <c:pt idx="1160">
                  <c:v>45.767580000000002</c:v>
                </c:pt>
                <c:pt idx="1161">
                  <c:v>46.390006999999997</c:v>
                </c:pt>
                <c:pt idx="1162">
                  <c:v>46.273296000000002</c:v>
                </c:pt>
                <c:pt idx="1163">
                  <c:v>45.563339999999997</c:v>
                </c:pt>
                <c:pt idx="1164">
                  <c:v>46.185775999999997</c:v>
                </c:pt>
                <c:pt idx="1165">
                  <c:v>46.185775999999997</c:v>
                </c:pt>
                <c:pt idx="1166">
                  <c:v>46.419173999999998</c:v>
                </c:pt>
                <c:pt idx="1167">
                  <c:v>49.122819999999997</c:v>
                </c:pt>
                <c:pt idx="1168">
                  <c:v>49.336784000000002</c:v>
                </c:pt>
                <c:pt idx="1169">
                  <c:v>49.171460000000003</c:v>
                </c:pt>
                <c:pt idx="1170">
                  <c:v>49.891129999999997</c:v>
                </c:pt>
                <c:pt idx="1171">
                  <c:v>49.210354000000002</c:v>
                </c:pt>
                <c:pt idx="1172">
                  <c:v>51.573624000000002</c:v>
                </c:pt>
                <c:pt idx="1173">
                  <c:v>51.379105000000003</c:v>
                </c:pt>
                <c:pt idx="1174">
                  <c:v>51.204059999999998</c:v>
                </c:pt>
                <c:pt idx="1175">
                  <c:v>51.252679999999998</c:v>
                </c:pt>
                <c:pt idx="1176">
                  <c:v>50.834484000000003</c:v>
                </c:pt>
                <c:pt idx="1177">
                  <c:v>50.639995999999996</c:v>
                </c:pt>
                <c:pt idx="1178">
                  <c:v>50.601080000000003</c:v>
                </c:pt>
                <c:pt idx="1179">
                  <c:v>50.095363999999996</c:v>
                </c:pt>
                <c:pt idx="1180">
                  <c:v>50.503825999999997</c:v>
                </c:pt>
                <c:pt idx="1181">
                  <c:v>49.579914000000002</c:v>
                </c:pt>
                <c:pt idx="1182">
                  <c:v>50.52328</c:v>
                </c:pt>
                <c:pt idx="1183">
                  <c:v>49.618819999999999</c:v>
                </c:pt>
                <c:pt idx="1184">
                  <c:v>47.274999999999999</c:v>
                </c:pt>
                <c:pt idx="1185">
                  <c:v>46.253844999999998</c:v>
                </c:pt>
                <c:pt idx="1186">
                  <c:v>45.952354</c:v>
                </c:pt>
                <c:pt idx="1187">
                  <c:v>45.534170000000003</c:v>
                </c:pt>
                <c:pt idx="1188">
                  <c:v>46.526156999999998</c:v>
                </c:pt>
                <c:pt idx="1189">
                  <c:v>46.059337999999997</c:v>
                </c:pt>
                <c:pt idx="1190">
                  <c:v>46.146866000000003</c:v>
                </c:pt>
                <c:pt idx="1191">
                  <c:v>46.205215000000003</c:v>
                </c:pt>
                <c:pt idx="1192">
                  <c:v>45.184055000000001</c:v>
                </c:pt>
                <c:pt idx="1193">
                  <c:v>45.096522999999998</c:v>
                </c:pt>
                <c:pt idx="1194">
                  <c:v>44.513004000000002</c:v>
                </c:pt>
                <c:pt idx="1195">
                  <c:v>44.659202999999998</c:v>
                </c:pt>
                <c:pt idx="1196">
                  <c:v>44.581234000000002</c:v>
                </c:pt>
                <c:pt idx="1197">
                  <c:v>44.649451999999997</c:v>
                </c:pt>
                <c:pt idx="1198">
                  <c:v>45.994489999999999</c:v>
                </c:pt>
                <c:pt idx="1199">
                  <c:v>46.472087999999999</c:v>
                </c:pt>
                <c:pt idx="1200">
                  <c:v>46.189425999999997</c:v>
                </c:pt>
                <c:pt idx="1201">
                  <c:v>46.481830000000002</c:v>
                </c:pt>
                <c:pt idx="1202">
                  <c:v>47.41751</c:v>
                </c:pt>
                <c:pt idx="1203">
                  <c:v>47.427253999999998</c:v>
                </c:pt>
                <c:pt idx="1204">
                  <c:v>47.329791999999998</c:v>
                </c:pt>
                <c:pt idx="1205">
                  <c:v>47.193333000000003</c:v>
                </c:pt>
                <c:pt idx="1206">
                  <c:v>47.97307</c:v>
                </c:pt>
                <c:pt idx="1207">
                  <c:v>48.002307999999999</c:v>
                </c:pt>
                <c:pt idx="1208">
                  <c:v>49.210889999999999</c:v>
                </c:pt>
                <c:pt idx="1209">
                  <c:v>47.758643999999997</c:v>
                </c:pt>
                <c:pt idx="1210">
                  <c:v>48.665089999999999</c:v>
                </c:pt>
                <c:pt idx="1211">
                  <c:v>48.216732</c:v>
                </c:pt>
                <c:pt idx="1212">
                  <c:v>48.353180000000002</c:v>
                </c:pt>
                <c:pt idx="1213">
                  <c:v>49.591006999999998</c:v>
                </c:pt>
                <c:pt idx="1214">
                  <c:v>49.727469999999997</c:v>
                </c:pt>
                <c:pt idx="1215">
                  <c:v>50.000369999999997</c:v>
                </c:pt>
                <c:pt idx="1216">
                  <c:v>49.191406000000001</c:v>
                </c:pt>
                <c:pt idx="1217">
                  <c:v>48.82103</c:v>
                </c:pt>
                <c:pt idx="1218">
                  <c:v>48.937984</c:v>
                </c:pt>
                <c:pt idx="1219">
                  <c:v>49.766452999999998</c:v>
                </c:pt>
                <c:pt idx="1220">
                  <c:v>50.185555000000001</c:v>
                </c:pt>
                <c:pt idx="1221">
                  <c:v>50.136830000000003</c:v>
                </c:pt>
                <c:pt idx="1222">
                  <c:v>50.604664</c:v>
                </c:pt>
                <c:pt idx="1223">
                  <c:v>51.452624999999998</c:v>
                </c:pt>
                <c:pt idx="1224">
                  <c:v>51.257686999999997</c:v>
                </c:pt>
                <c:pt idx="1225">
                  <c:v>51.511105000000001</c:v>
                </c:pt>
                <c:pt idx="1226">
                  <c:v>51.072510000000001</c:v>
                </c:pt>
                <c:pt idx="1227">
                  <c:v>51.130980000000001</c:v>
                </c:pt>
                <c:pt idx="1228">
                  <c:v>50.711872</c:v>
                </c:pt>
                <c:pt idx="1229">
                  <c:v>51.647556000000002</c:v>
                </c:pt>
                <c:pt idx="1230">
                  <c:v>51.014029999999998</c:v>
                </c:pt>
                <c:pt idx="1231">
                  <c:v>51.335662999999997</c:v>
                </c:pt>
                <c:pt idx="1232">
                  <c:v>51.316177000000003</c:v>
                </c:pt>
                <c:pt idx="1233">
                  <c:v>50.809345</c:v>
                </c:pt>
                <c:pt idx="1234">
                  <c:v>50.760612000000002</c:v>
                </c:pt>
                <c:pt idx="1235">
                  <c:v>52.417540000000002</c:v>
                </c:pt>
                <c:pt idx="1236">
                  <c:v>54.990665</c:v>
                </c:pt>
                <c:pt idx="1237">
                  <c:v>56.988728000000002</c:v>
                </c:pt>
                <c:pt idx="1238">
                  <c:v>56.511139999999997</c:v>
                </c:pt>
                <c:pt idx="1239">
                  <c:v>56.686579999999999</c:v>
                </c:pt>
                <c:pt idx="1240">
                  <c:v>56.862022000000003</c:v>
                </c:pt>
                <c:pt idx="1241">
                  <c:v>56.589123000000001</c:v>
                </c:pt>
                <c:pt idx="1242">
                  <c:v>56.628098000000001</c:v>
                </c:pt>
                <c:pt idx="1243">
                  <c:v>56.813285999999998</c:v>
                </c:pt>
                <c:pt idx="1244">
                  <c:v>53.401960000000003</c:v>
                </c:pt>
                <c:pt idx="1245">
                  <c:v>51.706035999999997</c:v>
                </c:pt>
                <c:pt idx="1246">
                  <c:v>51.725532999999999</c:v>
                </c:pt>
                <c:pt idx="1247">
                  <c:v>51.345410000000001</c:v>
                </c:pt>
                <c:pt idx="1248">
                  <c:v>51.257686999999997</c:v>
                </c:pt>
                <c:pt idx="1249">
                  <c:v>52.943860000000001</c:v>
                </c:pt>
                <c:pt idx="1250">
                  <c:v>52.515014999999998</c:v>
                </c:pt>
                <c:pt idx="1251">
                  <c:v>50.780106000000004</c:v>
                </c:pt>
                <c:pt idx="1252">
                  <c:v>48.592649999999999</c:v>
                </c:pt>
                <c:pt idx="1253">
                  <c:v>49.979343</c:v>
                </c:pt>
                <c:pt idx="1254">
                  <c:v>50.194180000000003</c:v>
                </c:pt>
                <c:pt idx="1255">
                  <c:v>47.459865999999998</c:v>
                </c:pt>
                <c:pt idx="1256">
                  <c:v>47.225499999999997</c:v>
                </c:pt>
                <c:pt idx="1257">
                  <c:v>48.914917000000003</c:v>
                </c:pt>
                <c:pt idx="1258">
                  <c:v>49.676617</c:v>
                </c:pt>
                <c:pt idx="1259">
                  <c:v>49.871920000000003</c:v>
                </c:pt>
                <c:pt idx="1260">
                  <c:v>50.457847999999998</c:v>
                </c:pt>
                <c:pt idx="1261">
                  <c:v>50.369956999999999</c:v>
                </c:pt>
                <c:pt idx="1262">
                  <c:v>50.506675999999999</c:v>
                </c:pt>
                <c:pt idx="1263">
                  <c:v>51.541804999999997</c:v>
                </c:pt>
                <c:pt idx="1264">
                  <c:v>51.737110000000001</c:v>
                </c:pt>
                <c:pt idx="1265">
                  <c:v>52.137500000000003</c:v>
                </c:pt>
                <c:pt idx="1266">
                  <c:v>53.709732000000002</c:v>
                </c:pt>
                <c:pt idx="1267">
                  <c:v>52.987090000000002</c:v>
                </c:pt>
                <c:pt idx="1268">
                  <c:v>52.977319999999999</c:v>
                </c:pt>
                <c:pt idx="1269">
                  <c:v>52.225389999999997</c:v>
                </c:pt>
                <c:pt idx="1270">
                  <c:v>51.93242</c:v>
                </c:pt>
                <c:pt idx="1271">
                  <c:v>51.942189999999997</c:v>
                </c:pt>
                <c:pt idx="1272">
                  <c:v>52.313270000000003</c:v>
                </c:pt>
                <c:pt idx="1273">
                  <c:v>52.840614000000002</c:v>
                </c:pt>
                <c:pt idx="1274">
                  <c:v>53.504654000000002</c:v>
                </c:pt>
                <c:pt idx="1275">
                  <c:v>54.754623000000002</c:v>
                </c:pt>
                <c:pt idx="1276">
                  <c:v>55.174537999999998</c:v>
                </c:pt>
                <c:pt idx="1277">
                  <c:v>54.910865999999999</c:v>
                </c:pt>
                <c:pt idx="1278">
                  <c:v>53.983153999999999</c:v>
                </c:pt>
                <c:pt idx="1279">
                  <c:v>53.875731999999999</c:v>
                </c:pt>
                <c:pt idx="1280">
                  <c:v>54.100346000000002</c:v>
                </c:pt>
                <c:pt idx="1281">
                  <c:v>53.338633999999999</c:v>
                </c:pt>
                <c:pt idx="1282">
                  <c:v>54.022219999999997</c:v>
                </c:pt>
                <c:pt idx="1283">
                  <c:v>52.821069999999999</c:v>
                </c:pt>
                <c:pt idx="1284">
                  <c:v>51.082836</c:v>
                </c:pt>
                <c:pt idx="1285">
                  <c:v>49.813327999999998</c:v>
                </c:pt>
                <c:pt idx="1286">
                  <c:v>50.643389999999997</c:v>
                </c:pt>
                <c:pt idx="1287">
                  <c:v>49.705914</c:v>
                </c:pt>
                <c:pt idx="1288">
                  <c:v>49.657080000000001</c:v>
                </c:pt>
                <c:pt idx="1289">
                  <c:v>50.741034999999997</c:v>
                </c:pt>
                <c:pt idx="1290">
                  <c:v>48.612186000000001</c:v>
                </c:pt>
                <c:pt idx="1291">
                  <c:v>50.262543000000001</c:v>
                </c:pt>
                <c:pt idx="1292">
                  <c:v>50.819167999999998</c:v>
                </c:pt>
                <c:pt idx="1293">
                  <c:v>50.916812999999998</c:v>
                </c:pt>
                <c:pt idx="1294">
                  <c:v>49.110219999999998</c:v>
                </c:pt>
                <c:pt idx="1295">
                  <c:v>48.651249999999997</c:v>
                </c:pt>
                <c:pt idx="1296">
                  <c:v>46.346609999999998</c:v>
                </c:pt>
                <c:pt idx="1297">
                  <c:v>44.334946000000002</c:v>
                </c:pt>
                <c:pt idx="1298">
                  <c:v>45.477493000000003</c:v>
                </c:pt>
                <c:pt idx="1299">
                  <c:v>44.793914999999998</c:v>
                </c:pt>
                <c:pt idx="1300">
                  <c:v>45.311484999999998</c:v>
                </c:pt>
                <c:pt idx="1301">
                  <c:v>44.676727</c:v>
                </c:pt>
                <c:pt idx="1302">
                  <c:v>46.639569999999999</c:v>
                </c:pt>
                <c:pt idx="1303">
                  <c:v>45.78022</c:v>
                </c:pt>
                <c:pt idx="1304">
                  <c:v>45.682560000000002</c:v>
                </c:pt>
                <c:pt idx="1305">
                  <c:v>45.584910000000001</c:v>
                </c:pt>
                <c:pt idx="1306">
                  <c:v>44.618133999999998</c:v>
                </c:pt>
                <c:pt idx="1307">
                  <c:v>44.188459999999999</c:v>
                </c:pt>
                <c:pt idx="1308">
                  <c:v>41.376021999999999</c:v>
                </c:pt>
                <c:pt idx="1309">
                  <c:v>42.381860000000003</c:v>
                </c:pt>
                <c:pt idx="1310">
                  <c:v>41.922885999999998</c:v>
                </c:pt>
                <c:pt idx="1311">
                  <c:v>42.342796</c:v>
                </c:pt>
                <c:pt idx="1312">
                  <c:v>41.249073000000003</c:v>
                </c:pt>
                <c:pt idx="1313">
                  <c:v>41.122123999999999</c:v>
                </c:pt>
                <c:pt idx="1314">
                  <c:v>41.854526999999997</c:v>
                </c:pt>
                <c:pt idx="1315">
                  <c:v>41.5413</c:v>
                </c:pt>
                <c:pt idx="1316">
                  <c:v>42.089440000000003</c:v>
                </c:pt>
                <c:pt idx="1317">
                  <c:v>40.621203999999999</c:v>
                </c:pt>
                <c:pt idx="1318">
                  <c:v>41.149773000000003</c:v>
                </c:pt>
                <c:pt idx="1319">
                  <c:v>41.697920000000003</c:v>
                </c:pt>
                <c:pt idx="1320">
                  <c:v>41.560879999999997</c:v>
                </c:pt>
                <c:pt idx="1321">
                  <c:v>42.275424999999998</c:v>
                </c:pt>
                <c:pt idx="1322">
                  <c:v>43.127000000000002</c:v>
                </c:pt>
                <c:pt idx="1323">
                  <c:v>42.706099999999999</c:v>
                </c:pt>
                <c:pt idx="1324">
                  <c:v>42.461399999999998</c:v>
                </c:pt>
                <c:pt idx="1325">
                  <c:v>43.34234</c:v>
                </c:pt>
                <c:pt idx="1326">
                  <c:v>41.971980000000002</c:v>
                </c:pt>
                <c:pt idx="1327">
                  <c:v>41.893673</c:v>
                </c:pt>
                <c:pt idx="1328">
                  <c:v>42.637591999999998</c:v>
                </c:pt>
                <c:pt idx="1329">
                  <c:v>43.958995999999999</c:v>
                </c:pt>
                <c:pt idx="1330">
                  <c:v>42.666946000000003</c:v>
                </c:pt>
                <c:pt idx="1331">
                  <c:v>42.383090000000003</c:v>
                </c:pt>
                <c:pt idx="1332">
                  <c:v>42.618009999999998</c:v>
                </c:pt>
                <c:pt idx="1333">
                  <c:v>43.068269999999998</c:v>
                </c:pt>
                <c:pt idx="1334">
                  <c:v>43.910057000000002</c:v>
                </c:pt>
                <c:pt idx="1335">
                  <c:v>43.244464999999998</c:v>
                </c:pt>
                <c:pt idx="1336">
                  <c:v>43.254241999999998</c:v>
                </c:pt>
                <c:pt idx="1337">
                  <c:v>42.911655000000003</c:v>
                </c:pt>
                <c:pt idx="1338">
                  <c:v>42.197113000000002</c:v>
                </c:pt>
                <c:pt idx="1339">
                  <c:v>43.224879999999999</c:v>
                </c:pt>
                <c:pt idx="1340">
                  <c:v>42.490765000000003</c:v>
                </c:pt>
                <c:pt idx="1341">
                  <c:v>42.011130000000001</c:v>
                </c:pt>
                <c:pt idx="1342">
                  <c:v>42.167755</c:v>
                </c:pt>
                <c:pt idx="1343">
                  <c:v>41.864314999999998</c:v>
                </c:pt>
                <c:pt idx="1344">
                  <c:v>41.5413</c:v>
                </c:pt>
                <c:pt idx="1345">
                  <c:v>40.631</c:v>
                </c:pt>
                <c:pt idx="1346">
                  <c:v>41.139980000000001</c:v>
                </c:pt>
                <c:pt idx="1347">
                  <c:v>40.611423000000002</c:v>
                </c:pt>
                <c:pt idx="1348">
                  <c:v>40.474384000000001</c:v>
                </c:pt>
                <c:pt idx="1349">
                  <c:v>38.839750000000002</c:v>
                </c:pt>
                <c:pt idx="1350">
                  <c:v>38.262239999999998</c:v>
                </c:pt>
                <c:pt idx="1351">
                  <c:v>37.449818</c:v>
                </c:pt>
                <c:pt idx="1352">
                  <c:v>37.391086999999999</c:v>
                </c:pt>
                <c:pt idx="1353">
                  <c:v>37.156177999999997</c:v>
                </c:pt>
                <c:pt idx="1354">
                  <c:v>37.547702999999998</c:v>
                </c:pt>
                <c:pt idx="1355">
                  <c:v>36.950620000000001</c:v>
                </c:pt>
                <c:pt idx="1356">
                  <c:v>37.185535000000002</c:v>
                </c:pt>
                <c:pt idx="1357">
                  <c:v>37.283417</c:v>
                </c:pt>
                <c:pt idx="1358">
                  <c:v>38.477584999999998</c:v>
                </c:pt>
                <c:pt idx="1359">
                  <c:v>38.291603000000002</c:v>
                </c:pt>
                <c:pt idx="1360">
                  <c:v>35.198523999999999</c:v>
                </c:pt>
                <c:pt idx="1361">
                  <c:v>35.560690000000001</c:v>
                </c:pt>
                <c:pt idx="1362">
                  <c:v>36.333953999999999</c:v>
                </c:pt>
                <c:pt idx="1363">
                  <c:v>36.490561999999997</c:v>
                </c:pt>
                <c:pt idx="1364">
                  <c:v>36.588450000000002</c:v>
                </c:pt>
                <c:pt idx="1365">
                  <c:v>37.557487000000002</c:v>
                </c:pt>
                <c:pt idx="1366">
                  <c:v>37.322575000000001</c:v>
                </c:pt>
                <c:pt idx="1367">
                  <c:v>37.077869999999997</c:v>
                </c:pt>
                <c:pt idx="1368">
                  <c:v>37.234473999999999</c:v>
                </c:pt>
                <c:pt idx="1369">
                  <c:v>36.656970000000001</c:v>
                </c:pt>
                <c:pt idx="1370">
                  <c:v>37.381298000000001</c:v>
                </c:pt>
                <c:pt idx="1371">
                  <c:v>39.172542999999997</c:v>
                </c:pt>
                <c:pt idx="1372">
                  <c:v>38.849536999999998</c:v>
                </c:pt>
                <c:pt idx="1373">
                  <c:v>38.144782999999997</c:v>
                </c:pt>
                <c:pt idx="1374">
                  <c:v>38.702713000000003</c:v>
                </c:pt>
                <c:pt idx="1375">
                  <c:v>37.332349999999998</c:v>
                </c:pt>
                <c:pt idx="1376">
                  <c:v>37.126804</c:v>
                </c:pt>
                <c:pt idx="1377">
                  <c:v>37.606434</c:v>
                </c:pt>
                <c:pt idx="1378">
                  <c:v>37.694749999999999</c:v>
                </c:pt>
                <c:pt idx="1379">
                  <c:v>37.547545999999997</c:v>
                </c:pt>
                <c:pt idx="1380">
                  <c:v>37.665309999999998</c:v>
                </c:pt>
                <c:pt idx="1381">
                  <c:v>37.213875000000002</c:v>
                </c:pt>
                <c:pt idx="1382">
                  <c:v>36.566166000000003</c:v>
                </c:pt>
                <c:pt idx="1383">
                  <c:v>36.10492</c:v>
                </c:pt>
                <c:pt idx="1384">
                  <c:v>36.399334000000003</c:v>
                </c:pt>
                <c:pt idx="1385">
                  <c:v>36.742809999999999</c:v>
                </c:pt>
                <c:pt idx="1386">
                  <c:v>37.449406000000003</c:v>
                </c:pt>
                <c:pt idx="1387">
                  <c:v>37.086295999999997</c:v>
                </c:pt>
                <c:pt idx="1388">
                  <c:v>39.245339999999999</c:v>
                </c:pt>
                <c:pt idx="1389">
                  <c:v>39.579000000000001</c:v>
                </c:pt>
                <c:pt idx="1390">
                  <c:v>38.460223999999997</c:v>
                </c:pt>
                <c:pt idx="1391">
                  <c:v>38.106937000000002</c:v>
                </c:pt>
                <c:pt idx="1392">
                  <c:v>38.097119999999997</c:v>
                </c:pt>
                <c:pt idx="1393">
                  <c:v>38.784089999999999</c:v>
                </c:pt>
                <c:pt idx="1394">
                  <c:v>39.932290000000002</c:v>
                </c:pt>
                <c:pt idx="1395">
                  <c:v>39.745834000000002</c:v>
                </c:pt>
                <c:pt idx="1396">
                  <c:v>39.647697000000001</c:v>
                </c:pt>
                <c:pt idx="1397">
                  <c:v>39.726204000000003</c:v>
                </c:pt>
                <c:pt idx="1398">
                  <c:v>40.010807</c:v>
                </c:pt>
                <c:pt idx="1399">
                  <c:v>38.931289999999997</c:v>
                </c:pt>
                <c:pt idx="1400">
                  <c:v>37.763449999999999</c:v>
                </c:pt>
                <c:pt idx="1401">
                  <c:v>37.714379999999998</c:v>
                </c:pt>
                <c:pt idx="1402">
                  <c:v>38.69576</c:v>
                </c:pt>
                <c:pt idx="1403">
                  <c:v>39.431789999999999</c:v>
                </c:pt>
                <c:pt idx="1404">
                  <c:v>38.528919999999999</c:v>
                </c:pt>
                <c:pt idx="1405">
                  <c:v>38.744822999999997</c:v>
                </c:pt>
                <c:pt idx="1406">
                  <c:v>38.999991999999999</c:v>
                </c:pt>
                <c:pt idx="1407">
                  <c:v>39.569183000000002</c:v>
                </c:pt>
                <c:pt idx="1408">
                  <c:v>40.030434</c:v>
                </c:pt>
                <c:pt idx="1409">
                  <c:v>40.825347999999998</c:v>
                </c:pt>
                <c:pt idx="1410">
                  <c:v>41.109946999999998</c:v>
                </c:pt>
                <c:pt idx="1411">
                  <c:v>42.788105000000002</c:v>
                </c:pt>
                <c:pt idx="1412">
                  <c:v>41.198279999999997</c:v>
                </c:pt>
                <c:pt idx="1413">
                  <c:v>40.050060000000002</c:v>
                </c:pt>
                <c:pt idx="1414">
                  <c:v>40.275779999999997</c:v>
                </c:pt>
                <c:pt idx="1415">
                  <c:v>40.727209999999999</c:v>
                </c:pt>
                <c:pt idx="1416">
                  <c:v>40.560383000000002</c:v>
                </c:pt>
                <c:pt idx="1417">
                  <c:v>38.872402000000001</c:v>
                </c:pt>
                <c:pt idx="1418">
                  <c:v>37.783073000000002</c:v>
                </c:pt>
                <c:pt idx="1419">
                  <c:v>38.077488000000002</c:v>
                </c:pt>
                <c:pt idx="1420">
                  <c:v>37.213875000000002</c:v>
                </c:pt>
                <c:pt idx="1421">
                  <c:v>35.761436000000003</c:v>
                </c:pt>
                <c:pt idx="1422">
                  <c:v>35.231495000000002</c:v>
                </c:pt>
                <c:pt idx="1423">
                  <c:v>32.925249999999998</c:v>
                </c:pt>
                <c:pt idx="1424">
                  <c:v>31.021380000000001</c:v>
                </c:pt>
                <c:pt idx="1425">
                  <c:v>30.687708000000001</c:v>
                </c:pt>
                <c:pt idx="1426">
                  <c:v>30.334415</c:v>
                </c:pt>
                <c:pt idx="1427">
                  <c:v>31.188215</c:v>
                </c:pt>
                <c:pt idx="1428">
                  <c:v>32.660274999999999</c:v>
                </c:pt>
                <c:pt idx="1429">
                  <c:v>32.944884999999999</c:v>
                </c:pt>
                <c:pt idx="1430">
                  <c:v>31.463000999999998</c:v>
                </c:pt>
                <c:pt idx="1431">
                  <c:v>31.443373000000001</c:v>
                </c:pt>
                <c:pt idx="1432">
                  <c:v>31.561133999999999</c:v>
                </c:pt>
                <c:pt idx="1433">
                  <c:v>31.777042000000002</c:v>
                </c:pt>
                <c:pt idx="1434">
                  <c:v>29.775027999999999</c:v>
                </c:pt>
                <c:pt idx="1435">
                  <c:v>31.767220999999999</c:v>
                </c:pt>
                <c:pt idx="1436">
                  <c:v>31.855547000000001</c:v>
                </c:pt>
                <c:pt idx="1437">
                  <c:v>31.992940000000001</c:v>
                </c:pt>
                <c:pt idx="1438">
                  <c:v>34.014583999999999</c:v>
                </c:pt>
                <c:pt idx="1439">
                  <c:v>34.426765000000003</c:v>
                </c:pt>
                <c:pt idx="1440">
                  <c:v>35.692740000000001</c:v>
                </c:pt>
                <c:pt idx="1441">
                  <c:v>35.653492</c:v>
                </c:pt>
                <c:pt idx="1442">
                  <c:v>35.151603999999999</c:v>
                </c:pt>
                <c:pt idx="1443">
                  <c:v>34.610354999999998</c:v>
                </c:pt>
                <c:pt idx="1444">
                  <c:v>36.381709999999998</c:v>
                </c:pt>
                <c:pt idx="1445">
                  <c:v>36.273463999999997</c:v>
                </c:pt>
                <c:pt idx="1446">
                  <c:v>35.643645999999997</c:v>
                </c:pt>
                <c:pt idx="1447">
                  <c:v>36.273463999999997</c:v>
                </c:pt>
                <c:pt idx="1448">
                  <c:v>37.178820000000002</c:v>
                </c:pt>
                <c:pt idx="1449">
                  <c:v>37.503566999999997</c:v>
                </c:pt>
                <c:pt idx="1450">
                  <c:v>37.218184999999998</c:v>
                </c:pt>
                <c:pt idx="1451">
                  <c:v>36.165215000000003</c:v>
                </c:pt>
                <c:pt idx="1452">
                  <c:v>35.250008000000001</c:v>
                </c:pt>
                <c:pt idx="1453">
                  <c:v>35.023674</c:v>
                </c:pt>
                <c:pt idx="1454">
                  <c:v>35.732210000000002</c:v>
                </c:pt>
                <c:pt idx="1455">
                  <c:v>37.346114999999998</c:v>
                </c:pt>
                <c:pt idx="1456">
                  <c:v>37.493724999999998</c:v>
                </c:pt>
                <c:pt idx="1457">
                  <c:v>37.680706000000001</c:v>
                </c:pt>
                <c:pt idx="1458">
                  <c:v>38.320360000000001</c:v>
                </c:pt>
                <c:pt idx="1459">
                  <c:v>37.808639999999997</c:v>
                </c:pt>
                <c:pt idx="1460">
                  <c:v>39.520947</c:v>
                </c:pt>
                <c:pt idx="1461">
                  <c:v>39.019066000000002</c:v>
                </c:pt>
                <c:pt idx="1462">
                  <c:v>36.106163000000002</c:v>
                </c:pt>
                <c:pt idx="1463">
                  <c:v>36.352184000000001</c:v>
                </c:pt>
                <c:pt idx="1464">
                  <c:v>33.035812</c:v>
                </c:pt>
                <c:pt idx="1465">
                  <c:v>33.301516999999997</c:v>
                </c:pt>
                <c:pt idx="1466">
                  <c:v>33.557377000000002</c:v>
                </c:pt>
                <c:pt idx="1467">
                  <c:v>33.803401999999998</c:v>
                </c:pt>
                <c:pt idx="1468">
                  <c:v>31.943476</c:v>
                </c:pt>
                <c:pt idx="1469">
                  <c:v>31.894269999999999</c:v>
                </c:pt>
                <c:pt idx="1470">
                  <c:v>31.530159000000001</c:v>
                </c:pt>
                <c:pt idx="1471">
                  <c:v>33.00629</c:v>
                </c:pt>
                <c:pt idx="1472">
                  <c:v>31.904109999999999</c:v>
                </c:pt>
                <c:pt idx="1473">
                  <c:v>31.382545</c:v>
                </c:pt>
                <c:pt idx="1474">
                  <c:v>30.290209999999998</c:v>
                </c:pt>
                <c:pt idx="1475">
                  <c:v>29.247076</c:v>
                </c:pt>
                <c:pt idx="1476">
                  <c:v>31.776178000000002</c:v>
                </c:pt>
                <c:pt idx="1477">
                  <c:v>31.530159000000001</c:v>
                </c:pt>
                <c:pt idx="1478">
                  <c:v>31.323498000000001</c:v>
                </c:pt>
                <c:pt idx="1479">
                  <c:v>31.599045</c:v>
                </c:pt>
                <c:pt idx="1480">
                  <c:v>31.963159999999998</c:v>
                </c:pt>
                <c:pt idx="1481">
                  <c:v>29.581666999999999</c:v>
                </c:pt>
                <c:pt idx="1482">
                  <c:v>31.530159000000001</c:v>
                </c:pt>
                <c:pt idx="1483">
                  <c:v>32.42568</c:v>
                </c:pt>
                <c:pt idx="1484">
                  <c:v>31.904109999999999</c:v>
                </c:pt>
                <c:pt idx="1485">
                  <c:v>32.888199999999998</c:v>
                </c:pt>
                <c:pt idx="1486">
                  <c:v>31.530159000000001</c:v>
                </c:pt>
                <c:pt idx="1487">
                  <c:v>31.293980000000001</c:v>
                </c:pt>
                <c:pt idx="1488">
                  <c:v>31.205407999999998</c:v>
                </c:pt>
                <c:pt idx="1489">
                  <c:v>31.589205</c:v>
                </c:pt>
                <c:pt idx="1490">
                  <c:v>32.317430000000002</c:v>
                </c:pt>
                <c:pt idx="1491">
                  <c:v>33.045653999999999</c:v>
                </c:pt>
                <c:pt idx="1492">
                  <c:v>33.429454999999997</c:v>
                </c:pt>
                <c:pt idx="1493">
                  <c:v>32.219025000000002</c:v>
                </c:pt>
                <c:pt idx="1494">
                  <c:v>31.146363999999998</c:v>
                </c:pt>
                <c:pt idx="1495">
                  <c:v>33.124389999999998</c:v>
                </c:pt>
                <c:pt idx="1496">
                  <c:v>34.423378</c:v>
                </c:pt>
                <c:pt idx="1497">
                  <c:v>35.988075000000002</c:v>
                </c:pt>
                <c:pt idx="1498">
                  <c:v>35.712536</c:v>
                </c:pt>
                <c:pt idx="1499">
                  <c:v>35.761733999999997</c:v>
                </c:pt>
                <c:pt idx="1500">
                  <c:v>35.200806</c:v>
                </c:pt>
                <c:pt idx="1501">
                  <c:v>35.535397000000003</c:v>
                </c:pt>
                <c:pt idx="1502">
                  <c:v>36.194732999999999</c:v>
                </c:pt>
                <c:pt idx="1503">
                  <c:v>36.441425000000002</c:v>
                </c:pt>
                <c:pt idx="1504">
                  <c:v>36.273670000000003</c:v>
                </c:pt>
                <c:pt idx="1505">
                  <c:v>35.691479999999999</c:v>
                </c:pt>
                <c:pt idx="1506">
                  <c:v>35.523724000000001</c:v>
                </c:pt>
                <c:pt idx="1507">
                  <c:v>36.105927000000001</c:v>
                </c:pt>
                <c:pt idx="1508">
                  <c:v>35.27704</c:v>
                </c:pt>
                <c:pt idx="1509">
                  <c:v>35.73095</c:v>
                </c:pt>
                <c:pt idx="1510">
                  <c:v>35.632280000000002</c:v>
                </c:pt>
                <c:pt idx="1511">
                  <c:v>34.586300000000001</c:v>
                </c:pt>
                <c:pt idx="1512">
                  <c:v>35.00074</c:v>
                </c:pt>
                <c:pt idx="1513">
                  <c:v>34.596170000000001</c:v>
                </c:pt>
                <c:pt idx="1514">
                  <c:v>34.517223000000001</c:v>
                </c:pt>
                <c:pt idx="1515">
                  <c:v>35.020477</c:v>
                </c:pt>
                <c:pt idx="1516">
                  <c:v>35.425055999999998</c:v>
                </c:pt>
                <c:pt idx="1517">
                  <c:v>35.770420000000001</c:v>
                </c:pt>
                <c:pt idx="1518">
                  <c:v>35.217827</c:v>
                </c:pt>
                <c:pt idx="1519">
                  <c:v>35.158630000000002</c:v>
                </c:pt>
                <c:pt idx="1520">
                  <c:v>34.181716999999999</c:v>
                </c:pt>
                <c:pt idx="1521">
                  <c:v>33.273895000000003</c:v>
                </c:pt>
                <c:pt idx="1522">
                  <c:v>32.790374999999997</c:v>
                </c:pt>
                <c:pt idx="1523">
                  <c:v>32.326590000000003</c:v>
                </c:pt>
                <c:pt idx="1524">
                  <c:v>31.79374</c:v>
                </c:pt>
                <c:pt idx="1525">
                  <c:v>31.487839000000001</c:v>
                </c:pt>
                <c:pt idx="1526">
                  <c:v>31.625988</c:v>
                </c:pt>
                <c:pt idx="1527">
                  <c:v>30.510935</c:v>
                </c:pt>
                <c:pt idx="1528">
                  <c:v>31.418763999999999</c:v>
                </c:pt>
                <c:pt idx="1529">
                  <c:v>31.704927000000001</c:v>
                </c:pt>
                <c:pt idx="1530">
                  <c:v>31.014189999999999</c:v>
                </c:pt>
                <c:pt idx="1531">
                  <c:v>30.964848</c:v>
                </c:pt>
                <c:pt idx="1532">
                  <c:v>31.172077000000002</c:v>
                </c:pt>
                <c:pt idx="1533">
                  <c:v>30.550405999999999</c:v>
                </c:pt>
                <c:pt idx="1534">
                  <c:v>31.033926000000001</c:v>
                </c:pt>
                <c:pt idx="1535">
                  <c:v>30.165565000000001</c:v>
                </c:pt>
                <c:pt idx="1536">
                  <c:v>29.810327999999998</c:v>
                </c:pt>
                <c:pt idx="1537">
                  <c:v>29.810327999999998</c:v>
                </c:pt>
                <c:pt idx="1538">
                  <c:v>30.530671999999999</c:v>
                </c:pt>
                <c:pt idx="1539">
                  <c:v>30.491199999999999</c:v>
                </c:pt>
                <c:pt idx="1540">
                  <c:v>31.339822999999999</c:v>
                </c:pt>
                <c:pt idx="1541">
                  <c:v>31.922018000000001</c:v>
                </c:pt>
                <c:pt idx="1542">
                  <c:v>32.553550000000001</c:v>
                </c:pt>
                <c:pt idx="1543">
                  <c:v>33.264023000000002</c:v>
                </c:pt>
                <c:pt idx="1544">
                  <c:v>33.481116999999998</c:v>
                </c:pt>
                <c:pt idx="1545">
                  <c:v>33.609397999999999</c:v>
                </c:pt>
                <c:pt idx="1546">
                  <c:v>33.431778000000001</c:v>
                </c:pt>
                <c:pt idx="1547">
                  <c:v>32.869320000000002</c:v>
                </c:pt>
                <c:pt idx="1548">
                  <c:v>33.569927</c:v>
                </c:pt>
                <c:pt idx="1549">
                  <c:v>34.349471999999999</c:v>
                </c:pt>
                <c:pt idx="1550">
                  <c:v>34.231064000000003</c:v>
                </c:pt>
                <c:pt idx="1551">
                  <c:v>33.303497</c:v>
                </c:pt>
                <c:pt idx="1552">
                  <c:v>33.579790000000003</c:v>
                </c:pt>
                <c:pt idx="1553">
                  <c:v>33.925162999999998</c:v>
                </c:pt>
                <c:pt idx="1554">
                  <c:v>33.915295</c:v>
                </c:pt>
                <c:pt idx="1555">
                  <c:v>33.03707</c:v>
                </c:pt>
                <c:pt idx="1556">
                  <c:v>33.520587999999996</c:v>
                </c:pt>
                <c:pt idx="1557">
                  <c:v>33.540325000000003</c:v>
                </c:pt>
                <c:pt idx="1558">
                  <c:v>32.967995000000002</c:v>
                </c:pt>
                <c:pt idx="1559">
                  <c:v>32.622622999999997</c:v>
                </c:pt>
                <c:pt idx="1560">
                  <c:v>33.323239999999998</c:v>
                </c:pt>
                <c:pt idx="1561">
                  <c:v>33.727801999999997</c:v>
                </c:pt>
                <c:pt idx="1562">
                  <c:v>33.461376000000001</c:v>
                </c:pt>
                <c:pt idx="1563">
                  <c:v>33.500853999999997</c:v>
                </c:pt>
                <c:pt idx="1564">
                  <c:v>34.329734999999999</c:v>
                </c:pt>
                <c:pt idx="1565">
                  <c:v>34.290264000000001</c:v>
                </c:pt>
                <c:pt idx="1566">
                  <c:v>33.557952999999998</c:v>
                </c:pt>
                <c:pt idx="1567">
                  <c:v>33.399610000000003</c:v>
                </c:pt>
                <c:pt idx="1568">
                  <c:v>33.597534000000003</c:v>
                </c:pt>
                <c:pt idx="1569">
                  <c:v>33.637120000000003</c:v>
                </c:pt>
                <c:pt idx="1570">
                  <c:v>31.806325999999999</c:v>
                </c:pt>
                <c:pt idx="1571">
                  <c:v>32.004252999999999</c:v>
                </c:pt>
                <c:pt idx="1572">
                  <c:v>31.826118000000001</c:v>
                </c:pt>
                <c:pt idx="1573">
                  <c:v>31.984456999999999</c:v>
                </c:pt>
                <c:pt idx="1574">
                  <c:v>31.410477</c:v>
                </c:pt>
                <c:pt idx="1575">
                  <c:v>30.638574999999999</c:v>
                </c:pt>
                <c:pt idx="1576">
                  <c:v>30.975045999999999</c:v>
                </c:pt>
                <c:pt idx="1577">
                  <c:v>29.609375</c:v>
                </c:pt>
                <c:pt idx="1578">
                  <c:v>29.193731</c:v>
                </c:pt>
                <c:pt idx="1579">
                  <c:v>28.867159999999998</c:v>
                </c:pt>
                <c:pt idx="1580">
                  <c:v>28.431726000000001</c:v>
                </c:pt>
                <c:pt idx="1581">
                  <c:v>28.11505</c:v>
                </c:pt>
                <c:pt idx="1582">
                  <c:v>27.87754</c:v>
                </c:pt>
                <c:pt idx="1583">
                  <c:v>26.947298</c:v>
                </c:pt>
                <c:pt idx="1584">
                  <c:v>26.917611999999998</c:v>
                </c:pt>
                <c:pt idx="1585">
                  <c:v>28.817678000000001</c:v>
                </c:pt>
                <c:pt idx="1586">
                  <c:v>30.044806000000001</c:v>
                </c:pt>
                <c:pt idx="1587">
                  <c:v>30.064598</c:v>
                </c:pt>
                <c:pt idx="1588">
                  <c:v>30.598987999999999</c:v>
                </c:pt>
                <c:pt idx="1589">
                  <c:v>30.440655</c:v>
                </c:pt>
                <c:pt idx="1590">
                  <c:v>30.262519999999999</c:v>
                </c:pt>
                <c:pt idx="1591">
                  <c:v>30.777125999999999</c:v>
                </c:pt>
                <c:pt idx="1592">
                  <c:v>32.746464000000003</c:v>
                </c:pt>
                <c:pt idx="1593">
                  <c:v>32.340719999999997</c:v>
                </c:pt>
                <c:pt idx="1594">
                  <c:v>32.221966000000002</c:v>
                </c:pt>
                <c:pt idx="1595">
                  <c:v>32.182380000000002</c:v>
                </c:pt>
                <c:pt idx="1596">
                  <c:v>32.865220000000001</c:v>
                </c:pt>
                <c:pt idx="1597">
                  <c:v>31.816223000000001</c:v>
                </c:pt>
                <c:pt idx="1598">
                  <c:v>31.242242999999998</c:v>
                </c:pt>
                <c:pt idx="1599">
                  <c:v>31.489649</c:v>
                </c:pt>
                <c:pt idx="1600">
                  <c:v>30.935459999999999</c:v>
                </c:pt>
                <c:pt idx="1601">
                  <c:v>31.133385000000001</c:v>
                </c:pt>
                <c:pt idx="1602">
                  <c:v>31.816223000000001</c:v>
                </c:pt>
                <c:pt idx="1603">
                  <c:v>32.271445999999997</c:v>
                </c:pt>
                <c:pt idx="1604">
                  <c:v>32.538643</c:v>
                </c:pt>
                <c:pt idx="1605">
                  <c:v>31.855803999999999</c:v>
                </c:pt>
                <c:pt idx="1606">
                  <c:v>32.380305999999997</c:v>
                </c:pt>
                <c:pt idx="1607">
                  <c:v>32.123004999999999</c:v>
                </c:pt>
                <c:pt idx="1608">
                  <c:v>32.449573999999998</c:v>
                </c:pt>
                <c:pt idx="1609">
                  <c:v>32.024044000000004</c:v>
                </c:pt>
                <c:pt idx="1610">
                  <c:v>32.598019999999998</c:v>
                </c:pt>
                <c:pt idx="1611">
                  <c:v>32.687083999999999</c:v>
                </c:pt>
                <c:pt idx="1612">
                  <c:v>33.429299999999998</c:v>
                </c:pt>
                <c:pt idx="1613">
                  <c:v>33.261063</c:v>
                </c:pt>
                <c:pt idx="1614">
                  <c:v>33.864735000000003</c:v>
                </c:pt>
                <c:pt idx="1615">
                  <c:v>32.914695999999999</c:v>
                </c:pt>
                <c:pt idx="1616">
                  <c:v>33.389716999999997</c:v>
                </c:pt>
                <c:pt idx="1617">
                  <c:v>32.73657</c:v>
                </c:pt>
                <c:pt idx="1618">
                  <c:v>32.558436999999998</c:v>
                </c:pt>
                <c:pt idx="1619">
                  <c:v>33.379818</c:v>
                </c:pt>
                <c:pt idx="1620">
                  <c:v>34.230891999999997</c:v>
                </c:pt>
                <c:pt idx="1621">
                  <c:v>31.341206</c:v>
                </c:pt>
                <c:pt idx="1622">
                  <c:v>30.915668</c:v>
                </c:pt>
                <c:pt idx="1623">
                  <c:v>30.420856000000001</c:v>
                </c:pt>
                <c:pt idx="1624">
                  <c:v>30.391169999999999</c:v>
                </c:pt>
                <c:pt idx="1625">
                  <c:v>30.193245000000001</c:v>
                </c:pt>
                <c:pt idx="1626">
                  <c:v>29.530207000000001</c:v>
                </c:pt>
                <c:pt idx="1627">
                  <c:v>29.144255000000001</c:v>
                </c:pt>
                <c:pt idx="1628">
                  <c:v>28.233806999999999</c:v>
                </c:pt>
                <c:pt idx="1629">
                  <c:v>28.164290000000001</c:v>
                </c:pt>
                <c:pt idx="1630">
                  <c:v>28.432424999999999</c:v>
                </c:pt>
                <c:pt idx="1631">
                  <c:v>28.879318000000001</c:v>
                </c:pt>
                <c:pt idx="1632">
                  <c:v>28.581389999999999</c:v>
                </c:pt>
                <c:pt idx="1633">
                  <c:v>27.449256999999999</c:v>
                </c:pt>
                <c:pt idx="1634">
                  <c:v>27.320153999999999</c:v>
                </c:pt>
                <c:pt idx="1635">
                  <c:v>25.919886000000002</c:v>
                </c:pt>
                <c:pt idx="1636">
                  <c:v>25.234648</c:v>
                </c:pt>
                <c:pt idx="1637">
                  <c:v>25.612024000000002</c:v>
                </c:pt>
                <c:pt idx="1638">
                  <c:v>25.919886000000002</c:v>
                </c:pt>
                <c:pt idx="1639">
                  <c:v>25.65175</c:v>
                </c:pt>
                <c:pt idx="1640">
                  <c:v>26.237673000000001</c:v>
                </c:pt>
                <c:pt idx="1641">
                  <c:v>26.346920000000001</c:v>
                </c:pt>
                <c:pt idx="1642">
                  <c:v>25.244575999999999</c:v>
                </c:pt>
                <c:pt idx="1643">
                  <c:v>25.016165000000001</c:v>
                </c:pt>
                <c:pt idx="1644">
                  <c:v>24.281272999999999</c:v>
                </c:pt>
                <c:pt idx="1645">
                  <c:v>25.155200000000001</c:v>
                </c:pt>
                <c:pt idx="1646">
                  <c:v>26.138369000000001</c:v>
                </c:pt>
                <c:pt idx="1647">
                  <c:v>26.128437000000002</c:v>
                </c:pt>
                <c:pt idx="1648">
                  <c:v>26.327052999999999</c:v>
                </c:pt>
                <c:pt idx="1649">
                  <c:v>26.813675</c:v>
                </c:pt>
                <c:pt idx="1650">
                  <c:v>27.498909999999999</c:v>
                </c:pt>
                <c:pt idx="1651">
                  <c:v>27.598223000000001</c:v>
                </c:pt>
                <c:pt idx="1652">
                  <c:v>28.243738</c:v>
                </c:pt>
                <c:pt idx="1653">
                  <c:v>28.919044</c:v>
                </c:pt>
                <c:pt idx="1654">
                  <c:v>29.554625999999999</c:v>
                </c:pt>
                <c:pt idx="1655">
                  <c:v>29.733384999999998</c:v>
                </c:pt>
                <c:pt idx="1656">
                  <c:v>29.743317000000001</c:v>
                </c:pt>
                <c:pt idx="1657">
                  <c:v>27.57836</c:v>
                </c:pt>
                <c:pt idx="1658">
                  <c:v>28.442354000000002</c:v>
                </c:pt>
                <c:pt idx="1659">
                  <c:v>28.402632000000001</c:v>
                </c:pt>
                <c:pt idx="1660">
                  <c:v>28.104704000000002</c:v>
                </c:pt>
                <c:pt idx="1661">
                  <c:v>27.79684</c:v>
                </c:pt>
                <c:pt idx="1662">
                  <c:v>27.310223000000001</c:v>
                </c:pt>
                <c:pt idx="1663">
                  <c:v>26.813675</c:v>
                </c:pt>
                <c:pt idx="1664">
                  <c:v>27.250637000000001</c:v>
                </c:pt>
                <c:pt idx="1665">
                  <c:v>27.002362999999999</c:v>
                </c:pt>
                <c:pt idx="1666">
                  <c:v>26.823605000000001</c:v>
                </c:pt>
                <c:pt idx="1667">
                  <c:v>26.78388</c:v>
                </c:pt>
                <c:pt idx="1668">
                  <c:v>26.615053</c:v>
                </c:pt>
                <c:pt idx="1669">
                  <c:v>25.194925000000001</c:v>
                </c:pt>
                <c:pt idx="1670">
                  <c:v>25.095613</c:v>
                </c:pt>
                <c:pt idx="1671">
                  <c:v>25.65175</c:v>
                </c:pt>
                <c:pt idx="1672">
                  <c:v>25.65175</c:v>
                </c:pt>
                <c:pt idx="1673">
                  <c:v>26.078779999999998</c:v>
                </c:pt>
                <c:pt idx="1674">
                  <c:v>26.883192000000001</c:v>
                </c:pt>
                <c:pt idx="1675">
                  <c:v>26.992432000000001</c:v>
                </c:pt>
                <c:pt idx="1676">
                  <c:v>27.171192000000001</c:v>
                </c:pt>
                <c:pt idx="1677">
                  <c:v>27.429397999999999</c:v>
                </c:pt>
                <c:pt idx="1678">
                  <c:v>28.074911</c:v>
                </c:pt>
                <c:pt idx="1679">
                  <c:v>27.856425999999999</c:v>
                </c:pt>
                <c:pt idx="1680">
                  <c:v>27.737255000000001</c:v>
                </c:pt>
                <c:pt idx="1681">
                  <c:v>28.025251000000001</c:v>
                </c:pt>
                <c:pt idx="1682">
                  <c:v>28.422495000000001</c:v>
                </c:pt>
                <c:pt idx="1683">
                  <c:v>28.064978</c:v>
                </c:pt>
                <c:pt idx="1684">
                  <c:v>28.094771999999999</c:v>
                </c:pt>
                <c:pt idx="1685">
                  <c:v>29.207039999999999</c:v>
                </c:pt>
                <c:pt idx="1686">
                  <c:v>30.647036</c:v>
                </c:pt>
                <c:pt idx="1687">
                  <c:v>31.143585000000002</c:v>
                </c:pt>
                <c:pt idx="1688">
                  <c:v>30.706623</c:v>
                </c:pt>
                <c:pt idx="1689">
                  <c:v>30.080970000000001</c:v>
                </c:pt>
                <c:pt idx="1690">
                  <c:v>29.852551999999999</c:v>
                </c:pt>
                <c:pt idx="1691">
                  <c:v>30.349105999999999</c:v>
                </c:pt>
                <c:pt idx="1692">
                  <c:v>30.736415999999998</c:v>
                </c:pt>
                <c:pt idx="1693">
                  <c:v>31.065200000000001</c:v>
                </c:pt>
                <c:pt idx="1694">
                  <c:v>30.846008000000001</c:v>
                </c:pt>
                <c:pt idx="1695">
                  <c:v>30.776266</c:v>
                </c:pt>
                <c:pt idx="1696">
                  <c:v>30.646746</c:v>
                </c:pt>
                <c:pt idx="1697">
                  <c:v>30.477371000000002</c:v>
                </c:pt>
                <c:pt idx="1698">
                  <c:v>29.411307999999998</c:v>
                </c:pt>
                <c:pt idx="1699">
                  <c:v>28.554476000000001</c:v>
                </c:pt>
                <c:pt idx="1700">
                  <c:v>28.664073999999999</c:v>
                </c:pt>
                <c:pt idx="1701">
                  <c:v>28.753737999999998</c:v>
                </c:pt>
                <c:pt idx="1702">
                  <c:v>28.494700000000002</c:v>
                </c:pt>
                <c:pt idx="1703">
                  <c:v>29.182158000000001</c:v>
                </c:pt>
                <c:pt idx="1704">
                  <c:v>28.126059999999999</c:v>
                </c:pt>
                <c:pt idx="1705">
                  <c:v>27.827165999999998</c:v>
                </c:pt>
                <c:pt idx="1706">
                  <c:v>28.574404000000001</c:v>
                </c:pt>
                <c:pt idx="1707">
                  <c:v>28.883262999999999</c:v>
                </c:pt>
                <c:pt idx="1708">
                  <c:v>28.943042999999999</c:v>
                </c:pt>
                <c:pt idx="1709">
                  <c:v>28.843409999999999</c:v>
                </c:pt>
                <c:pt idx="1710">
                  <c:v>28.634181999999999</c:v>
                </c:pt>
                <c:pt idx="1711">
                  <c:v>27.976611999999999</c:v>
                </c:pt>
                <c:pt idx="1712">
                  <c:v>27.189522</c:v>
                </c:pt>
                <c:pt idx="1713">
                  <c:v>27.279188000000001</c:v>
                </c:pt>
                <c:pt idx="1714">
                  <c:v>27.139706</c:v>
                </c:pt>
                <c:pt idx="1715">
                  <c:v>27.627901000000001</c:v>
                </c:pt>
                <c:pt idx="1716">
                  <c:v>27.388783</c:v>
                </c:pt>
                <c:pt idx="1717">
                  <c:v>26.900587000000002</c:v>
                </c:pt>
                <c:pt idx="1718">
                  <c:v>26.761105000000001</c:v>
                </c:pt>
                <c:pt idx="1719">
                  <c:v>27.617937000000001</c:v>
                </c:pt>
                <c:pt idx="1720">
                  <c:v>27.378820000000001</c:v>
                </c:pt>
                <c:pt idx="1721">
                  <c:v>27.817204</c:v>
                </c:pt>
                <c:pt idx="1722">
                  <c:v>28.175878999999998</c:v>
                </c:pt>
                <c:pt idx="1723">
                  <c:v>27.896909999999998</c:v>
                </c:pt>
                <c:pt idx="1724">
                  <c:v>28.444880999999999</c:v>
                </c:pt>
                <c:pt idx="1725">
                  <c:v>28.933078999999999</c:v>
                </c:pt>
                <c:pt idx="1726">
                  <c:v>29.192119999999999</c:v>
                </c:pt>
                <c:pt idx="1727">
                  <c:v>29.072562999999999</c:v>
                </c:pt>
                <c:pt idx="1728">
                  <c:v>29.560759999999998</c:v>
                </c:pt>
                <c:pt idx="1729">
                  <c:v>28.335287000000001</c:v>
                </c:pt>
                <c:pt idx="1730">
                  <c:v>28.195799999999998</c:v>
                </c:pt>
                <c:pt idx="1731">
                  <c:v>28.574404000000001</c:v>
                </c:pt>
                <c:pt idx="1732">
                  <c:v>28.982893000000001</c:v>
                </c:pt>
                <c:pt idx="1733">
                  <c:v>27.548195</c:v>
                </c:pt>
                <c:pt idx="1734">
                  <c:v>27.219411999999998</c:v>
                </c:pt>
                <c:pt idx="1735">
                  <c:v>27.119779999999999</c:v>
                </c:pt>
                <c:pt idx="1736">
                  <c:v>27.737494999999999</c:v>
                </c:pt>
                <c:pt idx="1737">
                  <c:v>27.847092</c:v>
                </c:pt>
                <c:pt idx="1738">
                  <c:v>27.219411999999998</c:v>
                </c:pt>
                <c:pt idx="1739">
                  <c:v>27.289149999999999</c:v>
                </c:pt>
                <c:pt idx="1740">
                  <c:v>27.428636999999998</c:v>
                </c:pt>
                <c:pt idx="1741">
                  <c:v>27.478455</c:v>
                </c:pt>
                <c:pt idx="1742">
                  <c:v>28.126059999999999</c:v>
                </c:pt>
                <c:pt idx="1743">
                  <c:v>28.295432999999999</c:v>
                </c:pt>
                <c:pt idx="1744">
                  <c:v>27.099854000000001</c:v>
                </c:pt>
                <c:pt idx="1745">
                  <c:v>27.219411999999998</c:v>
                </c:pt>
                <c:pt idx="1746">
                  <c:v>28.693957999999999</c:v>
                </c:pt>
                <c:pt idx="1747">
                  <c:v>27.538229999999999</c:v>
                </c:pt>
                <c:pt idx="1748">
                  <c:v>26.013866</c:v>
                </c:pt>
                <c:pt idx="1749">
                  <c:v>26.800957</c:v>
                </c:pt>
                <c:pt idx="1750">
                  <c:v>26.701324</c:v>
                </c:pt>
                <c:pt idx="1751">
                  <c:v>27.617937000000001</c:v>
                </c:pt>
                <c:pt idx="1752">
                  <c:v>26.741178999999999</c:v>
                </c:pt>
                <c:pt idx="1753">
                  <c:v>27.06</c:v>
                </c:pt>
                <c:pt idx="1754">
                  <c:v>28.43</c:v>
                </c:pt>
                <c:pt idx="1755">
                  <c:v>29.099997999999999</c:v>
                </c:pt>
                <c:pt idx="1756">
                  <c:v>28.3</c:v>
                </c:pt>
                <c:pt idx="1757">
                  <c:v>28.38</c:v>
                </c:pt>
                <c:pt idx="1758">
                  <c:v>28.79</c:v>
                </c:pt>
                <c:pt idx="1759">
                  <c:v>29.84</c:v>
                </c:pt>
                <c:pt idx="1760">
                  <c:v>30.47</c:v>
                </c:pt>
                <c:pt idx="1761">
                  <c:v>30.089998000000001</c:v>
                </c:pt>
                <c:pt idx="1762">
                  <c:v>29.200002999999999</c:v>
                </c:pt>
                <c:pt idx="1763">
                  <c:v>28.629996999999999</c:v>
                </c:pt>
                <c:pt idx="1764">
                  <c:v>28.33</c:v>
                </c:pt>
                <c:pt idx="1765">
                  <c:v>28.51</c:v>
                </c:pt>
                <c:pt idx="1766">
                  <c:v>27.820001999999999</c:v>
                </c:pt>
                <c:pt idx="1767">
                  <c:v>25.45</c:v>
                </c:pt>
                <c:pt idx="1768">
                  <c:v>23.12</c:v>
                </c:pt>
                <c:pt idx="1769">
                  <c:v>22.309998</c:v>
                </c:pt>
                <c:pt idx="1770">
                  <c:v>20.6</c:v>
                </c:pt>
                <c:pt idx="1771">
                  <c:v>19.05</c:v>
                </c:pt>
                <c:pt idx="1772">
                  <c:v>18.86</c:v>
                </c:pt>
                <c:pt idx="1773">
                  <c:v>17.850000000000001</c:v>
                </c:pt>
                <c:pt idx="1774">
                  <c:v>18.53</c:v>
                </c:pt>
                <c:pt idx="1775">
                  <c:v>16.04</c:v>
                </c:pt>
                <c:pt idx="1776">
                  <c:v>15.97</c:v>
                </c:pt>
                <c:pt idx="1777">
                  <c:v>14.75</c:v>
                </c:pt>
                <c:pt idx="1778">
                  <c:v>17</c:v>
                </c:pt>
                <c:pt idx="1779">
                  <c:v>16.260000000000002</c:v>
                </c:pt>
                <c:pt idx="1780">
                  <c:v>13.45</c:v>
                </c:pt>
                <c:pt idx="1781">
                  <c:v>14.31</c:v>
                </c:pt>
                <c:pt idx="1782">
                  <c:v>15.92</c:v>
                </c:pt>
                <c:pt idx="1783">
                  <c:v>15.579999000000001</c:v>
                </c:pt>
                <c:pt idx="1784">
                  <c:v>11.65</c:v>
                </c:pt>
                <c:pt idx="1785">
                  <c:v>10.29</c:v>
                </c:pt>
                <c:pt idx="1786">
                  <c:v>10.38</c:v>
                </c:pt>
                <c:pt idx="1787">
                  <c:v>10.25</c:v>
                </c:pt>
                <c:pt idx="1788">
                  <c:v>13.919999000000001</c:v>
                </c:pt>
                <c:pt idx="1789">
                  <c:v>15.39</c:v>
                </c:pt>
                <c:pt idx="1790">
                  <c:v>15.66</c:v>
                </c:pt>
                <c:pt idx="1791">
                  <c:v>14.04</c:v>
                </c:pt>
                <c:pt idx="1792">
                  <c:v>12.249999000000001</c:v>
                </c:pt>
                <c:pt idx="1793">
                  <c:v>12.190001000000001</c:v>
                </c:pt>
                <c:pt idx="1794">
                  <c:v>10.690001000000001</c:v>
                </c:pt>
                <c:pt idx="1795">
                  <c:v>10.059998999999999</c:v>
                </c:pt>
                <c:pt idx="1796">
                  <c:v>9.39</c:v>
                </c:pt>
                <c:pt idx="1797">
                  <c:v>9.5</c:v>
                </c:pt>
                <c:pt idx="1798">
                  <c:v>10.219999</c:v>
                </c:pt>
                <c:pt idx="1799">
                  <c:v>11.33</c:v>
                </c:pt>
                <c:pt idx="1800">
                  <c:v>12.51</c:v>
                </c:pt>
                <c:pt idx="1801">
                  <c:v>11.56</c:v>
                </c:pt>
                <c:pt idx="1802">
                  <c:v>11.95</c:v>
                </c:pt>
                <c:pt idx="1803">
                  <c:v>12.289999</c:v>
                </c:pt>
                <c:pt idx="1804">
                  <c:v>11.07</c:v>
                </c:pt>
                <c:pt idx="1805">
                  <c:v>11.570001</c:v>
                </c:pt>
                <c:pt idx="1806">
                  <c:v>11.059998999999999</c:v>
                </c:pt>
                <c:pt idx="1807">
                  <c:v>11</c:v>
                </c:pt>
                <c:pt idx="1808">
                  <c:v>10.269999500000001</c:v>
                </c:pt>
                <c:pt idx="1809">
                  <c:v>10.25</c:v>
                </c:pt>
                <c:pt idx="1810">
                  <c:v>10.309998999999999</c:v>
                </c:pt>
                <c:pt idx="1811">
                  <c:v>10.019999500000001</c:v>
                </c:pt>
                <c:pt idx="1812">
                  <c:v>11.26</c:v>
                </c:pt>
                <c:pt idx="1813">
                  <c:v>12.63</c:v>
                </c:pt>
                <c:pt idx="1814">
                  <c:v>12.01</c:v>
                </c:pt>
                <c:pt idx="1815">
                  <c:v>10.64</c:v>
                </c:pt>
                <c:pt idx="1816">
                  <c:v>9.82</c:v>
                </c:pt>
                <c:pt idx="1817">
                  <c:v>9.51</c:v>
                </c:pt>
                <c:pt idx="1818">
                  <c:v>9.25</c:v>
                </c:pt>
                <c:pt idx="1819">
                  <c:v>9.5399999999999991</c:v>
                </c:pt>
                <c:pt idx="1820">
                  <c:v>10.14</c:v>
                </c:pt>
                <c:pt idx="1821">
                  <c:v>10.1</c:v>
                </c:pt>
                <c:pt idx="1822">
                  <c:v>9.6500009999999996</c:v>
                </c:pt>
                <c:pt idx="1823">
                  <c:v>9.1100010000000005</c:v>
                </c:pt>
                <c:pt idx="1824">
                  <c:v>9.15</c:v>
                </c:pt>
                <c:pt idx="1825">
                  <c:v>9.0399999999999991</c:v>
                </c:pt>
                <c:pt idx="1826">
                  <c:v>9.8699999999999992</c:v>
                </c:pt>
                <c:pt idx="1827">
                  <c:v>9.64</c:v>
                </c:pt>
                <c:pt idx="1828">
                  <c:v>9.8699999999999992</c:v>
                </c:pt>
                <c:pt idx="1829">
                  <c:v>9.89</c:v>
                </c:pt>
                <c:pt idx="1830">
                  <c:v>9.6999999999999993</c:v>
                </c:pt>
                <c:pt idx="1831">
                  <c:v>11.14</c:v>
                </c:pt>
                <c:pt idx="1832">
                  <c:v>11.98</c:v>
                </c:pt>
                <c:pt idx="1833">
                  <c:v>10.980000499999999</c:v>
                </c:pt>
                <c:pt idx="1834">
                  <c:v>10.5</c:v>
                </c:pt>
                <c:pt idx="1835">
                  <c:v>11.11</c:v>
                </c:pt>
                <c:pt idx="1836">
                  <c:v>11.22</c:v>
                </c:pt>
                <c:pt idx="1837">
                  <c:v>11.85</c:v>
                </c:pt>
                <c:pt idx="1838">
                  <c:v>16.719996999999999</c:v>
                </c:pt>
                <c:pt idx="1839">
                  <c:v>18.59</c:v>
                </c:pt>
                <c:pt idx="1840">
                  <c:v>20.309999999999999</c:v>
                </c:pt>
                <c:pt idx="1841">
                  <c:v>18.55</c:v>
                </c:pt>
                <c:pt idx="1842">
                  <c:v>17.02</c:v>
                </c:pt>
                <c:pt idx="1843">
                  <c:v>14.38</c:v>
                </c:pt>
                <c:pt idx="1844">
                  <c:v>16.739999999999998</c:v>
                </c:pt>
                <c:pt idx="1845">
                  <c:v>16.7</c:v>
                </c:pt>
                <c:pt idx="1846">
                  <c:v>17.03</c:v>
                </c:pt>
                <c:pt idx="1847">
                  <c:v>16.98</c:v>
                </c:pt>
                <c:pt idx="1848">
                  <c:v>16.489999999999998</c:v>
                </c:pt>
                <c:pt idx="1849">
                  <c:v>15.999999000000001</c:v>
                </c:pt>
                <c:pt idx="1850">
                  <c:v>14.92</c:v>
                </c:pt>
                <c:pt idx="1851">
                  <c:v>13.999999000000001</c:v>
                </c:pt>
                <c:pt idx="1852">
                  <c:v>13.04</c:v>
                </c:pt>
                <c:pt idx="1853">
                  <c:v>13.17</c:v>
                </c:pt>
                <c:pt idx="1854">
                  <c:v>12.379999</c:v>
                </c:pt>
                <c:pt idx="1855">
                  <c:v>13.320001</c:v>
                </c:pt>
                <c:pt idx="1856">
                  <c:v>13.07</c:v>
                </c:pt>
                <c:pt idx="1857">
                  <c:v>12.809998999999999</c:v>
                </c:pt>
                <c:pt idx="1858">
                  <c:v>12.5</c:v>
                </c:pt>
                <c:pt idx="1859">
                  <c:v>12.799999</c:v>
                </c:pt>
                <c:pt idx="1860">
                  <c:v>11.91</c:v>
                </c:pt>
                <c:pt idx="1861">
                  <c:v>11.99</c:v>
                </c:pt>
                <c:pt idx="1862">
                  <c:v>11.18</c:v>
                </c:pt>
                <c:pt idx="1863">
                  <c:v>11.94</c:v>
                </c:pt>
                <c:pt idx="1864">
                  <c:v>11.63</c:v>
                </c:pt>
                <c:pt idx="1865">
                  <c:v>11.570001</c:v>
                </c:pt>
                <c:pt idx="1866">
                  <c:v>13.44</c:v>
                </c:pt>
                <c:pt idx="1867">
                  <c:v>12.45</c:v>
                </c:pt>
                <c:pt idx="1868">
                  <c:v>11.91</c:v>
                </c:pt>
                <c:pt idx="1869">
                  <c:v>11.47</c:v>
                </c:pt>
                <c:pt idx="1870">
                  <c:v>11.47</c:v>
                </c:pt>
                <c:pt idx="1871">
                  <c:v>11.36</c:v>
                </c:pt>
                <c:pt idx="1872">
                  <c:v>11.77</c:v>
                </c:pt>
                <c:pt idx="1873">
                  <c:v>11.389999</c:v>
                </c:pt>
                <c:pt idx="1874">
                  <c:v>11.389999</c:v>
                </c:pt>
                <c:pt idx="1875">
                  <c:v>11.77</c:v>
                </c:pt>
                <c:pt idx="1876">
                  <c:v>11.4</c:v>
                </c:pt>
                <c:pt idx="1877">
                  <c:v>11.18</c:v>
                </c:pt>
                <c:pt idx="1878">
                  <c:v>11.12</c:v>
                </c:pt>
                <c:pt idx="1879">
                  <c:v>11.08</c:v>
                </c:pt>
                <c:pt idx="1880">
                  <c:v>11.47</c:v>
                </c:pt>
                <c:pt idx="1881">
                  <c:v>12.56</c:v>
                </c:pt>
                <c:pt idx="1882">
                  <c:v>13.04</c:v>
                </c:pt>
                <c:pt idx="1883">
                  <c:v>13.03</c:v>
                </c:pt>
                <c:pt idx="1884">
                  <c:v>13.999999000000001</c:v>
                </c:pt>
                <c:pt idx="1885">
                  <c:v>13.730000499999999</c:v>
                </c:pt>
                <c:pt idx="1886">
                  <c:v>13.54</c:v>
                </c:pt>
                <c:pt idx="1887">
                  <c:v>13.3</c:v>
                </c:pt>
                <c:pt idx="1888">
                  <c:v>13.330000999999999</c:v>
                </c:pt>
                <c:pt idx="1889">
                  <c:v>12.62</c:v>
                </c:pt>
                <c:pt idx="1890">
                  <c:v>12.6</c:v>
                </c:pt>
                <c:pt idx="1891">
                  <c:v>12.68</c:v>
                </c:pt>
                <c:pt idx="1892">
                  <c:v>12.5</c:v>
                </c:pt>
                <c:pt idx="1893">
                  <c:v>12.160000999999999</c:v>
                </c:pt>
                <c:pt idx="1894">
                  <c:v>13.44</c:v>
                </c:pt>
                <c:pt idx="1895">
                  <c:v>13.14</c:v>
                </c:pt>
                <c:pt idx="1896">
                  <c:v>12.790001</c:v>
                </c:pt>
                <c:pt idx="1897">
                  <c:v>13.280001</c:v>
                </c:pt>
                <c:pt idx="1898">
                  <c:v>13.59</c:v>
                </c:pt>
                <c:pt idx="1899">
                  <c:v>13.05</c:v>
                </c:pt>
                <c:pt idx="1900">
                  <c:v>13.1</c:v>
                </c:pt>
                <c:pt idx="1901">
                  <c:v>13.230000499999999</c:v>
                </c:pt>
                <c:pt idx="1902">
                  <c:v>13.36</c:v>
                </c:pt>
                <c:pt idx="1903">
                  <c:v>13.61</c:v>
                </c:pt>
                <c:pt idx="1904">
                  <c:v>13.63</c:v>
                </c:pt>
                <c:pt idx="1905">
                  <c:v>13.05</c:v>
                </c:pt>
                <c:pt idx="1906">
                  <c:v>13.01</c:v>
                </c:pt>
                <c:pt idx="1907">
                  <c:v>12.95</c:v>
                </c:pt>
                <c:pt idx="1908">
                  <c:v>13.26</c:v>
                </c:pt>
                <c:pt idx="1909">
                  <c:v>13.14</c:v>
                </c:pt>
                <c:pt idx="1910">
                  <c:v>13.8</c:v>
                </c:pt>
                <c:pt idx="1911">
                  <c:v>13.63</c:v>
                </c:pt>
                <c:pt idx="1912">
                  <c:v>13.190001000000001</c:v>
                </c:pt>
                <c:pt idx="1913">
                  <c:v>12.210001</c:v>
                </c:pt>
                <c:pt idx="1914">
                  <c:v>12.339999000000001</c:v>
                </c:pt>
                <c:pt idx="1915">
                  <c:v>11.929999</c:v>
                </c:pt>
                <c:pt idx="1916">
                  <c:v>11.77</c:v>
                </c:pt>
                <c:pt idx="1917">
                  <c:v>12.289999</c:v>
                </c:pt>
                <c:pt idx="1918">
                  <c:v>12.76</c:v>
                </c:pt>
                <c:pt idx="1919">
                  <c:v>12.249999000000001</c:v>
                </c:pt>
                <c:pt idx="1920">
                  <c:v>12.289999</c:v>
                </c:pt>
                <c:pt idx="1921">
                  <c:v>12.58</c:v>
                </c:pt>
                <c:pt idx="1922">
                  <c:v>13</c:v>
                </c:pt>
                <c:pt idx="1923">
                  <c:v>13.12</c:v>
                </c:pt>
                <c:pt idx="1924">
                  <c:v>12.53</c:v>
                </c:pt>
                <c:pt idx="1925">
                  <c:v>13.07</c:v>
                </c:pt>
                <c:pt idx="1926">
                  <c:v>13.16</c:v>
                </c:pt>
                <c:pt idx="1927">
                  <c:v>13.2</c:v>
                </c:pt>
                <c:pt idx="1928">
                  <c:v>12.919999000000001</c:v>
                </c:pt>
                <c:pt idx="1929">
                  <c:v>12.22</c:v>
                </c:pt>
                <c:pt idx="1930">
                  <c:v>12.36</c:v>
                </c:pt>
                <c:pt idx="1931">
                  <c:v>12.230000499999999</c:v>
                </c:pt>
                <c:pt idx="1932">
                  <c:v>12.46</c:v>
                </c:pt>
                <c:pt idx="1933">
                  <c:v>12.56</c:v>
                </c:pt>
                <c:pt idx="1934">
                  <c:v>12.799999</c:v>
                </c:pt>
                <c:pt idx="1935">
                  <c:v>12.750000999999999</c:v>
                </c:pt>
                <c:pt idx="1936">
                  <c:v>13.150001</c:v>
                </c:pt>
                <c:pt idx="1937">
                  <c:v>12.6</c:v>
                </c:pt>
                <c:pt idx="1938">
                  <c:v>11.8</c:v>
                </c:pt>
                <c:pt idx="1939">
                  <c:v>11.230000499999999</c:v>
                </c:pt>
                <c:pt idx="1940">
                  <c:v>10.95</c:v>
                </c:pt>
                <c:pt idx="1941">
                  <c:v>11.16</c:v>
                </c:pt>
                <c:pt idx="1942">
                  <c:v>11.280001</c:v>
                </c:pt>
                <c:pt idx="1943">
                  <c:v>11.19</c:v>
                </c:pt>
                <c:pt idx="1944">
                  <c:v>11.25</c:v>
                </c:pt>
                <c:pt idx="1945">
                  <c:v>11.01</c:v>
                </c:pt>
                <c:pt idx="1946">
                  <c:v>11.599999</c:v>
                </c:pt>
                <c:pt idx="1947">
                  <c:v>11.46</c:v>
                </c:pt>
                <c:pt idx="1948">
                  <c:v>13.2</c:v>
                </c:pt>
                <c:pt idx="1949">
                  <c:v>12.379999</c:v>
                </c:pt>
                <c:pt idx="1950">
                  <c:v>12.04</c:v>
                </c:pt>
                <c:pt idx="1951">
                  <c:v>11.74</c:v>
                </c:pt>
                <c:pt idx="1952">
                  <c:v>12.240000999999999</c:v>
                </c:pt>
                <c:pt idx="1953">
                  <c:v>12.790001</c:v>
                </c:pt>
                <c:pt idx="1954">
                  <c:v>12.700001</c:v>
                </c:pt>
                <c:pt idx="1955">
                  <c:v>12.740000999999999</c:v>
                </c:pt>
                <c:pt idx="1956">
                  <c:v>12.790001</c:v>
                </c:pt>
                <c:pt idx="1957">
                  <c:v>12.53</c:v>
                </c:pt>
                <c:pt idx="1958">
                  <c:v>13.559998999999999</c:v>
                </c:pt>
                <c:pt idx="1959">
                  <c:v>14.820001</c:v>
                </c:pt>
                <c:pt idx="1960">
                  <c:v>14.940001000000001</c:v>
                </c:pt>
                <c:pt idx="1961">
                  <c:v>14.98</c:v>
                </c:pt>
                <c:pt idx="1962">
                  <c:v>14.13</c:v>
                </c:pt>
                <c:pt idx="1963">
                  <c:v>14.27</c:v>
                </c:pt>
                <c:pt idx="1964">
                  <c:v>14.860001</c:v>
                </c:pt>
                <c:pt idx="1965">
                  <c:v>16.09</c:v>
                </c:pt>
                <c:pt idx="1966">
                  <c:v>16.399999999999999</c:v>
                </c:pt>
                <c:pt idx="1967">
                  <c:v>17.21</c:v>
                </c:pt>
                <c:pt idx="1968">
                  <c:v>17.63</c:v>
                </c:pt>
                <c:pt idx="1969">
                  <c:v>17.16</c:v>
                </c:pt>
                <c:pt idx="1970">
                  <c:v>17.989999999999998</c:v>
                </c:pt>
                <c:pt idx="1971">
                  <c:v>17.05</c:v>
                </c:pt>
                <c:pt idx="1972">
                  <c:v>16.7</c:v>
                </c:pt>
                <c:pt idx="1973">
                  <c:v>17.010000000000002</c:v>
                </c:pt>
                <c:pt idx="1974">
                  <c:v>16.86</c:v>
                </c:pt>
                <c:pt idx="1975">
                  <c:v>16.799997000000001</c:v>
                </c:pt>
                <c:pt idx="1976">
                  <c:v>16.510000000000002</c:v>
                </c:pt>
                <c:pt idx="1977">
                  <c:v>16.099997999999999</c:v>
                </c:pt>
                <c:pt idx="1978">
                  <c:v>15.48</c:v>
                </c:pt>
                <c:pt idx="1979">
                  <c:v>15.89</c:v>
                </c:pt>
                <c:pt idx="1980">
                  <c:v>15.66</c:v>
                </c:pt>
                <c:pt idx="1981">
                  <c:v>16.059999999999999</c:v>
                </c:pt>
                <c:pt idx="1982">
                  <c:v>15.86</c:v>
                </c:pt>
                <c:pt idx="1983">
                  <c:v>16.149999999999999</c:v>
                </c:pt>
                <c:pt idx="1984">
                  <c:v>15.769999500000001</c:v>
                </c:pt>
                <c:pt idx="1985">
                  <c:v>15.129999</c:v>
                </c:pt>
                <c:pt idx="1986">
                  <c:v>15.43</c:v>
                </c:pt>
                <c:pt idx="1987">
                  <c:v>15.519999500000001</c:v>
                </c:pt>
                <c:pt idx="1988">
                  <c:v>15.38</c:v>
                </c:pt>
                <c:pt idx="1989">
                  <c:v>15.129999</c:v>
                </c:pt>
                <c:pt idx="1990">
                  <c:v>14.999999000000001</c:v>
                </c:pt>
                <c:pt idx="1991">
                  <c:v>15.38</c:v>
                </c:pt>
                <c:pt idx="1992">
                  <c:v>15.529999</c:v>
                </c:pt>
                <c:pt idx="1993">
                  <c:v>16.440000000000001</c:v>
                </c:pt>
                <c:pt idx="1994">
                  <c:v>15.76</c:v>
                </c:pt>
                <c:pt idx="1995">
                  <c:v>15.97</c:v>
                </c:pt>
                <c:pt idx="1996">
                  <c:v>16.170000000000002</c:v>
                </c:pt>
                <c:pt idx="1997">
                  <c:v>15.83</c:v>
                </c:pt>
                <c:pt idx="1998">
                  <c:v>15.82</c:v>
                </c:pt>
                <c:pt idx="1999">
                  <c:v>15.43</c:v>
                </c:pt>
                <c:pt idx="2000">
                  <c:v>15.529999</c:v>
                </c:pt>
                <c:pt idx="2001">
                  <c:v>16.559999999999999</c:v>
                </c:pt>
                <c:pt idx="2002">
                  <c:v>18.100000000000001</c:v>
                </c:pt>
                <c:pt idx="2003">
                  <c:v>17.170000000000002</c:v>
                </c:pt>
                <c:pt idx="2004">
                  <c:v>16.84</c:v>
                </c:pt>
                <c:pt idx="2005">
                  <c:v>16.589998000000001</c:v>
                </c:pt>
                <c:pt idx="2006">
                  <c:v>17.600000000000001</c:v>
                </c:pt>
                <c:pt idx="2007">
                  <c:v>17.399999999999999</c:v>
                </c:pt>
                <c:pt idx="2008">
                  <c:v>17.190000000000001</c:v>
                </c:pt>
                <c:pt idx="2009">
                  <c:v>17.769998999999999</c:v>
                </c:pt>
                <c:pt idx="2010">
                  <c:v>17.440000000000001</c:v>
                </c:pt>
                <c:pt idx="2011">
                  <c:v>17.41</c:v>
                </c:pt>
                <c:pt idx="2012">
                  <c:v>16.989999999999998</c:v>
                </c:pt>
                <c:pt idx="2013">
                  <c:v>17.269998999999999</c:v>
                </c:pt>
                <c:pt idx="2014">
                  <c:v>17.82</c:v>
                </c:pt>
                <c:pt idx="2015">
                  <c:v>17.989999999999998</c:v>
                </c:pt>
                <c:pt idx="2016">
                  <c:v>17.71</c:v>
                </c:pt>
                <c:pt idx="2017">
                  <c:v>18.68</c:v>
                </c:pt>
                <c:pt idx="2018">
                  <c:v>20.440000000000001</c:v>
                </c:pt>
                <c:pt idx="2019">
                  <c:v>20.66</c:v>
                </c:pt>
                <c:pt idx="2020">
                  <c:v>21.82</c:v>
                </c:pt>
                <c:pt idx="2021">
                  <c:v>20.86</c:v>
                </c:pt>
                <c:pt idx="2022">
                  <c:v>20.94</c:v>
                </c:pt>
                <c:pt idx="2023">
                  <c:v>21.18</c:v>
                </c:pt>
                <c:pt idx="2024">
                  <c:v>21.44</c:v>
                </c:pt>
                <c:pt idx="2025">
                  <c:v>22.17</c:v>
                </c:pt>
                <c:pt idx="2026">
                  <c:v>21.24</c:v>
                </c:pt>
                <c:pt idx="2027">
                  <c:v>20.45</c:v>
                </c:pt>
                <c:pt idx="2028">
                  <c:v>21.47</c:v>
                </c:pt>
                <c:pt idx="2029">
                  <c:v>21.599997999999999</c:v>
                </c:pt>
                <c:pt idx="2030">
                  <c:v>21.75</c:v>
                </c:pt>
                <c:pt idx="2031">
                  <c:v>22.15</c:v>
                </c:pt>
                <c:pt idx="2032">
                  <c:v>23.369999</c:v>
                </c:pt>
                <c:pt idx="2033">
                  <c:v>25.17</c:v>
                </c:pt>
                <c:pt idx="2034">
                  <c:v>24.469996999999999</c:v>
                </c:pt>
                <c:pt idx="2035">
                  <c:v>25.16</c:v>
                </c:pt>
                <c:pt idx="2036">
                  <c:v>24.700002999999999</c:v>
                </c:pt>
                <c:pt idx="2037">
                  <c:v>24.97</c:v>
                </c:pt>
                <c:pt idx="2038">
                  <c:v>23.83</c:v>
                </c:pt>
                <c:pt idx="2039">
                  <c:v>22.27</c:v>
                </c:pt>
                <c:pt idx="2040">
                  <c:v>21.81</c:v>
                </c:pt>
                <c:pt idx="2041">
                  <c:v>22.77</c:v>
                </c:pt>
                <c:pt idx="2042">
                  <c:v>22.93</c:v>
                </c:pt>
                <c:pt idx="2043">
                  <c:v>22.91</c:v>
                </c:pt>
                <c:pt idx="2044">
                  <c:v>24.12</c:v>
                </c:pt>
                <c:pt idx="2045">
                  <c:v>23.9</c:v>
                </c:pt>
                <c:pt idx="2046">
                  <c:v>23.86</c:v>
                </c:pt>
                <c:pt idx="2047">
                  <c:v>24.230001000000001</c:v>
                </c:pt>
                <c:pt idx="2048">
                  <c:v>24.06</c:v>
                </c:pt>
                <c:pt idx="2049">
                  <c:v>23.93</c:v>
                </c:pt>
                <c:pt idx="2050">
                  <c:v>23.65</c:v>
                </c:pt>
                <c:pt idx="2051">
                  <c:v>23.54</c:v>
                </c:pt>
                <c:pt idx="2052">
                  <c:v>22.91</c:v>
                </c:pt>
                <c:pt idx="2053">
                  <c:v>22.56</c:v>
                </c:pt>
                <c:pt idx="2054">
                  <c:v>22.37</c:v>
                </c:pt>
                <c:pt idx="2055">
                  <c:v>22.13</c:v>
                </c:pt>
                <c:pt idx="2056">
                  <c:v>22.029999</c:v>
                </c:pt>
                <c:pt idx="2057">
                  <c:v>21.55</c:v>
                </c:pt>
                <c:pt idx="2058">
                  <c:v>20.369999</c:v>
                </c:pt>
                <c:pt idx="2059">
                  <c:v>21.01</c:v>
                </c:pt>
                <c:pt idx="2060">
                  <c:v>20.07</c:v>
                </c:pt>
                <c:pt idx="2061">
                  <c:v>21.109998999999998</c:v>
                </c:pt>
                <c:pt idx="2062">
                  <c:v>22.039999000000002</c:v>
                </c:pt>
                <c:pt idx="2063">
                  <c:v>21.76</c:v>
                </c:pt>
                <c:pt idx="2064">
                  <c:v>21.699998999999998</c:v>
                </c:pt>
                <c:pt idx="2065">
                  <c:v>21.3</c:v>
                </c:pt>
                <c:pt idx="2066">
                  <c:v>21.72</c:v>
                </c:pt>
                <c:pt idx="2067">
                  <c:v>21.949998999999998</c:v>
                </c:pt>
                <c:pt idx="2068">
                  <c:v>21.419998</c:v>
                </c:pt>
                <c:pt idx="2069">
                  <c:v>21.57</c:v>
                </c:pt>
                <c:pt idx="2070">
                  <c:v>21.49</c:v>
                </c:pt>
                <c:pt idx="2071">
                  <c:v>21.999998000000001</c:v>
                </c:pt>
                <c:pt idx="2072">
                  <c:v>21.999998000000001</c:v>
                </c:pt>
                <c:pt idx="2073">
                  <c:v>21.57</c:v>
                </c:pt>
                <c:pt idx="2074">
                  <c:v>20.76</c:v>
                </c:pt>
                <c:pt idx="2075">
                  <c:v>21.21</c:v>
                </c:pt>
                <c:pt idx="2076">
                  <c:v>22.4</c:v>
                </c:pt>
                <c:pt idx="2077">
                  <c:v>23.35</c:v>
                </c:pt>
                <c:pt idx="2078">
                  <c:v>23.56</c:v>
                </c:pt>
                <c:pt idx="2079">
                  <c:v>22.97</c:v>
                </c:pt>
                <c:pt idx="2080">
                  <c:v>22.599997999999999</c:v>
                </c:pt>
                <c:pt idx="2081">
                  <c:v>22.57</c:v>
                </c:pt>
                <c:pt idx="2082">
                  <c:v>22.989998</c:v>
                </c:pt>
                <c:pt idx="2083">
                  <c:v>23.21</c:v>
                </c:pt>
                <c:pt idx="2084">
                  <c:v>23.9</c:v>
                </c:pt>
                <c:pt idx="2085">
                  <c:v>24.43</c:v>
                </c:pt>
                <c:pt idx="2086">
                  <c:v>24.24</c:v>
                </c:pt>
                <c:pt idx="2087">
                  <c:v>24.669998</c:v>
                </c:pt>
                <c:pt idx="2088">
                  <c:v>25.82</c:v>
                </c:pt>
                <c:pt idx="2089">
                  <c:v>24.93</c:v>
                </c:pt>
                <c:pt idx="2090">
                  <c:v>24.300001000000002</c:v>
                </c:pt>
                <c:pt idx="2091">
                  <c:v>24.25</c:v>
                </c:pt>
                <c:pt idx="2092">
                  <c:v>24.220001</c:v>
                </c:pt>
                <c:pt idx="2093">
                  <c:v>23.85</c:v>
                </c:pt>
                <c:pt idx="2094">
                  <c:v>23.46</c:v>
                </c:pt>
                <c:pt idx="2095">
                  <c:v>23.529999</c:v>
                </c:pt>
                <c:pt idx="2096">
                  <c:v>22.989998</c:v>
                </c:pt>
                <c:pt idx="2097">
                  <c:v>22.789999000000002</c:v>
                </c:pt>
                <c:pt idx="2098">
                  <c:v>22.83</c:v>
                </c:pt>
                <c:pt idx="2099">
                  <c:v>22.23</c:v>
                </c:pt>
                <c:pt idx="2100">
                  <c:v>22.289999000000002</c:v>
                </c:pt>
                <c:pt idx="2101">
                  <c:v>22.449998999999998</c:v>
                </c:pt>
                <c:pt idx="2102">
                  <c:v>22.109998999999998</c:v>
                </c:pt>
                <c:pt idx="2103">
                  <c:v>22.199998999999998</c:v>
                </c:pt>
                <c:pt idx="2104">
                  <c:v>22.35</c:v>
                </c:pt>
                <c:pt idx="2105">
                  <c:v>22.22</c:v>
                </c:pt>
                <c:pt idx="2106">
                  <c:v>21.39</c:v>
                </c:pt>
                <c:pt idx="2107">
                  <c:v>21.08</c:v>
                </c:pt>
                <c:pt idx="2108">
                  <c:v>21.21</c:v>
                </c:pt>
                <c:pt idx="2109">
                  <c:v>21.509998</c:v>
                </c:pt>
              </c:numCache>
            </c:numRef>
          </c:val>
          <c:smooth val="0"/>
          <c:extLst>
            <c:ext xmlns:c16="http://schemas.microsoft.com/office/drawing/2014/chart" uri="{C3380CC4-5D6E-409C-BE32-E72D297353CC}">
              <c16:uniqueId val="{00000000-B998-C442-B095-CD8526EFFC4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13.911327999999999</c:v>
                </c:pt>
                <c:pt idx="1">
                  <c:v>13.337932</c:v>
                </c:pt>
                <c:pt idx="2">
                  <c:v>13.858397999999999</c:v>
                </c:pt>
                <c:pt idx="3">
                  <c:v>14.104058</c:v>
                </c:pt>
                <c:pt idx="4">
                  <c:v>14.024836000000001</c:v>
                </c:pt>
                <c:pt idx="5">
                  <c:v>14.089848999999999</c:v>
                </c:pt>
                <c:pt idx="6">
                  <c:v>14.289223</c:v>
                </c:pt>
                <c:pt idx="7">
                  <c:v>14.211738</c:v>
                </c:pt>
                <c:pt idx="8">
                  <c:v>14.049391</c:v>
                </c:pt>
                <c:pt idx="9">
                  <c:v>14.080145999999999</c:v>
                </c:pt>
                <c:pt idx="10">
                  <c:v>14.139941</c:v>
                </c:pt>
                <c:pt idx="11">
                  <c:v>14.122292</c:v>
                </c:pt>
                <c:pt idx="12">
                  <c:v>14.106057</c:v>
                </c:pt>
                <c:pt idx="13">
                  <c:v>14.165981</c:v>
                </c:pt>
                <c:pt idx="14">
                  <c:v>13.977935</c:v>
                </c:pt>
                <c:pt idx="15">
                  <c:v>14.171576999999999</c:v>
                </c:pt>
                <c:pt idx="16">
                  <c:v>14.201123000000001</c:v>
                </c:pt>
                <c:pt idx="17">
                  <c:v>14.414844499999999</c:v>
                </c:pt>
                <c:pt idx="18">
                  <c:v>14.391976</c:v>
                </c:pt>
                <c:pt idx="19">
                  <c:v>14.304605</c:v>
                </c:pt>
                <c:pt idx="20">
                  <c:v>14.896812000000001</c:v>
                </c:pt>
                <c:pt idx="21">
                  <c:v>14.122301999999999</c:v>
                </c:pt>
                <c:pt idx="22">
                  <c:v>14.557494</c:v>
                </c:pt>
                <c:pt idx="23">
                  <c:v>14.402501000000001</c:v>
                </c:pt>
                <c:pt idx="24">
                  <c:v>14.424245000000001</c:v>
                </c:pt>
                <c:pt idx="25">
                  <c:v>14.425051</c:v>
                </c:pt>
                <c:pt idx="26">
                  <c:v>14.530009</c:v>
                </c:pt>
                <c:pt idx="27">
                  <c:v>14.54997</c:v>
                </c:pt>
                <c:pt idx="28">
                  <c:v>14.627031000000001</c:v>
                </c:pt>
                <c:pt idx="29">
                  <c:v>14.718787000000001</c:v>
                </c:pt>
                <c:pt idx="30">
                  <c:v>14.300995</c:v>
                </c:pt>
                <c:pt idx="31">
                  <c:v>14.452722</c:v>
                </c:pt>
                <c:pt idx="32">
                  <c:v>14.068479999999999</c:v>
                </c:pt>
                <c:pt idx="33">
                  <c:v>14.015620999999999</c:v>
                </c:pt>
                <c:pt idx="34">
                  <c:v>14.432603</c:v>
                </c:pt>
                <c:pt idx="35">
                  <c:v>14.552580000000001</c:v>
                </c:pt>
                <c:pt idx="36">
                  <c:v>14.662841999999999</c:v>
                </c:pt>
                <c:pt idx="37">
                  <c:v>14.669733000000001</c:v>
                </c:pt>
                <c:pt idx="38">
                  <c:v>14.757701000000001</c:v>
                </c:pt>
                <c:pt idx="39">
                  <c:v>14.760101000000001</c:v>
                </c:pt>
                <c:pt idx="40">
                  <c:v>14.902346</c:v>
                </c:pt>
                <c:pt idx="41">
                  <c:v>15.887681000000001</c:v>
                </c:pt>
                <c:pt idx="42">
                  <c:v>14.573808</c:v>
                </c:pt>
                <c:pt idx="43">
                  <c:v>14.710107000000001</c:v>
                </c:pt>
                <c:pt idx="44">
                  <c:v>14.666058</c:v>
                </c:pt>
                <c:pt idx="45">
                  <c:v>14.759587</c:v>
                </c:pt>
                <c:pt idx="46">
                  <c:v>14.599973</c:v>
                </c:pt>
                <c:pt idx="47">
                  <c:v>14.430785999999999</c:v>
                </c:pt>
                <c:pt idx="48">
                  <c:v>14.714283</c:v>
                </c:pt>
                <c:pt idx="49">
                  <c:v>14.836549</c:v>
                </c:pt>
                <c:pt idx="50">
                  <c:v>14.813269999999999</c:v>
                </c:pt>
                <c:pt idx="51">
                  <c:v>14.930659</c:v>
                </c:pt>
                <c:pt idx="52">
                  <c:v>15.096453</c:v>
                </c:pt>
                <c:pt idx="53">
                  <c:v>15.088590999999999</c:v>
                </c:pt>
                <c:pt idx="54">
                  <c:v>15.127997000000001</c:v>
                </c:pt>
                <c:pt idx="55">
                  <c:v>15.120262</c:v>
                </c:pt>
                <c:pt idx="56">
                  <c:v>15.322525000000001</c:v>
                </c:pt>
                <c:pt idx="57">
                  <c:v>15.505469</c:v>
                </c:pt>
                <c:pt idx="58">
                  <c:v>15.430052</c:v>
                </c:pt>
                <c:pt idx="59">
                  <c:v>15.480218000000001</c:v>
                </c:pt>
                <c:pt idx="60">
                  <c:v>15.695683000000001</c:v>
                </c:pt>
                <c:pt idx="61">
                  <c:v>15.815035999999999</c:v>
                </c:pt>
                <c:pt idx="62">
                  <c:v>15.82582</c:v>
                </c:pt>
                <c:pt idx="63">
                  <c:v>15.7302065</c:v>
                </c:pt>
                <c:pt idx="64">
                  <c:v>15.884040000000001</c:v>
                </c:pt>
                <c:pt idx="65">
                  <c:v>15.96336</c:v>
                </c:pt>
                <c:pt idx="66">
                  <c:v>16.138897</c:v>
                </c:pt>
                <c:pt idx="67">
                  <c:v>16.015787</c:v>
                </c:pt>
                <c:pt idx="68">
                  <c:v>16.077255000000001</c:v>
                </c:pt>
                <c:pt idx="69">
                  <c:v>14.732188000000001</c:v>
                </c:pt>
                <c:pt idx="70">
                  <c:v>16.385581999999999</c:v>
                </c:pt>
                <c:pt idx="71">
                  <c:v>16.448326000000002</c:v>
                </c:pt>
                <c:pt idx="72">
                  <c:v>16.284115</c:v>
                </c:pt>
                <c:pt idx="73">
                  <c:v>16.51454</c:v>
                </c:pt>
                <c:pt idx="74">
                  <c:v>16.523626</c:v>
                </c:pt>
                <c:pt idx="75">
                  <c:v>16.396017000000001</c:v>
                </c:pt>
                <c:pt idx="76">
                  <c:v>16.414082000000001</c:v>
                </c:pt>
                <c:pt idx="77">
                  <c:v>15.920655999999999</c:v>
                </c:pt>
                <c:pt idx="78">
                  <c:v>15.695326</c:v>
                </c:pt>
                <c:pt idx="79">
                  <c:v>16.130177</c:v>
                </c:pt>
                <c:pt idx="80">
                  <c:v>16.255265999999999</c:v>
                </c:pt>
                <c:pt idx="81">
                  <c:v>16.312708000000001</c:v>
                </c:pt>
                <c:pt idx="82">
                  <c:v>16.301994000000001</c:v>
                </c:pt>
                <c:pt idx="83">
                  <c:v>16.200296000000002</c:v>
                </c:pt>
                <c:pt idx="84">
                  <c:v>16.353283000000001</c:v>
                </c:pt>
                <c:pt idx="85">
                  <c:v>16.416841999999999</c:v>
                </c:pt>
                <c:pt idx="86">
                  <c:v>16.40869</c:v>
                </c:pt>
                <c:pt idx="87">
                  <c:v>16.543206999999999</c:v>
                </c:pt>
                <c:pt idx="88">
                  <c:v>16.332684</c:v>
                </c:pt>
                <c:pt idx="89">
                  <c:v>16.149277000000001</c:v>
                </c:pt>
                <c:pt idx="90">
                  <c:v>15.979753499999999</c:v>
                </c:pt>
                <c:pt idx="91">
                  <c:v>16.075787999999999</c:v>
                </c:pt>
                <c:pt idx="92">
                  <c:v>16.081676000000002</c:v>
                </c:pt>
                <c:pt idx="93">
                  <c:v>16.101714999999999</c:v>
                </c:pt>
                <c:pt idx="94">
                  <c:v>15.6780615</c:v>
                </c:pt>
                <c:pt idx="95">
                  <c:v>15.772249</c:v>
                </c:pt>
                <c:pt idx="96">
                  <c:v>15.855954000000001</c:v>
                </c:pt>
                <c:pt idx="97">
                  <c:v>16.001781000000001</c:v>
                </c:pt>
                <c:pt idx="98">
                  <c:v>16.133230000000001</c:v>
                </c:pt>
                <c:pt idx="99">
                  <c:v>16.226603000000001</c:v>
                </c:pt>
                <c:pt idx="100">
                  <c:v>16.251863</c:v>
                </c:pt>
                <c:pt idx="101">
                  <c:v>16.320663</c:v>
                </c:pt>
                <c:pt idx="102">
                  <c:v>16.539186000000001</c:v>
                </c:pt>
                <c:pt idx="103">
                  <c:v>16.692972000000001</c:v>
                </c:pt>
                <c:pt idx="104">
                  <c:v>16.905840000000001</c:v>
                </c:pt>
                <c:pt idx="105">
                  <c:v>17.029453</c:v>
                </c:pt>
                <c:pt idx="106">
                  <c:v>16.991855999999999</c:v>
                </c:pt>
                <c:pt idx="107">
                  <c:v>16.924520000000001</c:v>
                </c:pt>
                <c:pt idx="108">
                  <c:v>17.274483</c:v>
                </c:pt>
                <c:pt idx="109">
                  <c:v>17.43094</c:v>
                </c:pt>
                <c:pt idx="110">
                  <c:v>17.539995000000001</c:v>
                </c:pt>
                <c:pt idx="111">
                  <c:v>17.221308000000001</c:v>
                </c:pt>
                <c:pt idx="112">
                  <c:v>17.197737</c:v>
                </c:pt>
                <c:pt idx="113">
                  <c:v>17.34263</c:v>
                </c:pt>
                <c:pt idx="114">
                  <c:v>17.471378000000001</c:v>
                </c:pt>
                <c:pt idx="115">
                  <c:v>17.533894</c:v>
                </c:pt>
                <c:pt idx="116">
                  <c:v>17.321290999999999</c:v>
                </c:pt>
                <c:pt idx="117">
                  <c:v>17.378283</c:v>
                </c:pt>
                <c:pt idx="118">
                  <c:v>17.486522999999998</c:v>
                </c:pt>
                <c:pt idx="119">
                  <c:v>17.758934</c:v>
                </c:pt>
                <c:pt idx="120">
                  <c:v>17.950921999999998</c:v>
                </c:pt>
                <c:pt idx="121">
                  <c:v>17.965776000000002</c:v>
                </c:pt>
                <c:pt idx="122">
                  <c:v>18.004452000000001</c:v>
                </c:pt>
                <c:pt idx="123">
                  <c:v>18.011156</c:v>
                </c:pt>
                <c:pt idx="124">
                  <c:v>17.574829999999999</c:v>
                </c:pt>
                <c:pt idx="125">
                  <c:v>15.654954999999999</c:v>
                </c:pt>
                <c:pt idx="126">
                  <c:v>16.243382</c:v>
                </c:pt>
                <c:pt idx="127">
                  <c:v>16.842663000000002</c:v>
                </c:pt>
                <c:pt idx="128">
                  <c:v>16.899155</c:v>
                </c:pt>
                <c:pt idx="129">
                  <c:v>16.834282000000002</c:v>
                </c:pt>
                <c:pt idx="130">
                  <c:v>16.592252999999999</c:v>
                </c:pt>
                <c:pt idx="131">
                  <c:v>16.469207999999998</c:v>
                </c:pt>
                <c:pt idx="132">
                  <c:v>16.307713</c:v>
                </c:pt>
                <c:pt idx="133">
                  <c:v>16.407108000000001</c:v>
                </c:pt>
                <c:pt idx="134">
                  <c:v>16.418714999999999</c:v>
                </c:pt>
                <c:pt idx="135">
                  <c:v>16.203742999999999</c:v>
                </c:pt>
                <c:pt idx="136">
                  <c:v>16.328800000000001</c:v>
                </c:pt>
                <c:pt idx="137">
                  <c:v>16.151513999999999</c:v>
                </c:pt>
                <c:pt idx="138">
                  <c:v>16.138390000000001</c:v>
                </c:pt>
                <c:pt idx="139">
                  <c:v>16.361533999999999</c:v>
                </c:pt>
                <c:pt idx="140">
                  <c:v>16.44894</c:v>
                </c:pt>
                <c:pt idx="141">
                  <c:v>16.624292000000001</c:v>
                </c:pt>
                <c:pt idx="142">
                  <c:v>15.690117000000001</c:v>
                </c:pt>
                <c:pt idx="143">
                  <c:v>16.734542999999999</c:v>
                </c:pt>
                <c:pt idx="144">
                  <c:v>16.814572999999999</c:v>
                </c:pt>
                <c:pt idx="145">
                  <c:v>16.906023000000001</c:v>
                </c:pt>
                <c:pt idx="146">
                  <c:v>17.211559999999999</c:v>
                </c:pt>
                <c:pt idx="147">
                  <c:v>17.479026999999999</c:v>
                </c:pt>
                <c:pt idx="148">
                  <c:v>17.466100000000001</c:v>
                </c:pt>
                <c:pt idx="149">
                  <c:v>17.570067999999999</c:v>
                </c:pt>
                <c:pt idx="150">
                  <c:v>17.833279999999998</c:v>
                </c:pt>
                <c:pt idx="151">
                  <c:v>18.014970000000002</c:v>
                </c:pt>
                <c:pt idx="152">
                  <c:v>18.200620000000001</c:v>
                </c:pt>
                <c:pt idx="153">
                  <c:v>18.448226999999999</c:v>
                </c:pt>
                <c:pt idx="154">
                  <c:v>18.427574</c:v>
                </c:pt>
                <c:pt idx="155">
                  <c:v>18.671509</c:v>
                </c:pt>
                <c:pt idx="156">
                  <c:v>18.798037000000001</c:v>
                </c:pt>
                <c:pt idx="157">
                  <c:v>18.385603</c:v>
                </c:pt>
                <c:pt idx="158">
                  <c:v>18.347747999999999</c:v>
                </c:pt>
                <c:pt idx="159">
                  <c:v>18.115496</c:v>
                </c:pt>
                <c:pt idx="160">
                  <c:v>18.176894999999998</c:v>
                </c:pt>
                <c:pt idx="161">
                  <c:v>17.998443999999999</c:v>
                </c:pt>
                <c:pt idx="162">
                  <c:v>18.038547999999999</c:v>
                </c:pt>
                <c:pt idx="163">
                  <c:v>18.185037999999999</c:v>
                </c:pt>
                <c:pt idx="164">
                  <c:v>18.122084000000001</c:v>
                </c:pt>
                <c:pt idx="165">
                  <c:v>18.086583999999998</c:v>
                </c:pt>
                <c:pt idx="166">
                  <c:v>18.101272999999999</c:v>
                </c:pt>
                <c:pt idx="167">
                  <c:v>18.171782</c:v>
                </c:pt>
                <c:pt idx="168">
                  <c:v>18.314512000000001</c:v>
                </c:pt>
                <c:pt idx="169">
                  <c:v>18.419827999999999</c:v>
                </c:pt>
                <c:pt idx="170">
                  <c:v>18.563569999999999</c:v>
                </c:pt>
                <c:pt idx="171">
                  <c:v>18.696245000000001</c:v>
                </c:pt>
                <c:pt idx="172">
                  <c:v>19.004776</c:v>
                </c:pt>
                <c:pt idx="173">
                  <c:v>19.422989999999999</c:v>
                </c:pt>
                <c:pt idx="174">
                  <c:v>19.556473</c:v>
                </c:pt>
                <c:pt idx="175">
                  <c:v>19.740454</c:v>
                </c:pt>
                <c:pt idx="176">
                  <c:v>19.661788999999999</c:v>
                </c:pt>
                <c:pt idx="177">
                  <c:v>19.809229999999999</c:v>
                </c:pt>
                <c:pt idx="178">
                  <c:v>20.423480999999999</c:v>
                </c:pt>
                <c:pt idx="179">
                  <c:v>20.791969999999999</c:v>
                </c:pt>
                <c:pt idx="180">
                  <c:v>20.560300000000002</c:v>
                </c:pt>
                <c:pt idx="181">
                  <c:v>21.090084000000001</c:v>
                </c:pt>
                <c:pt idx="182">
                  <c:v>21.349423999999999</c:v>
                </c:pt>
                <c:pt idx="183">
                  <c:v>20.734425000000002</c:v>
                </c:pt>
                <c:pt idx="184">
                  <c:v>21.459956999999999</c:v>
                </c:pt>
                <c:pt idx="185">
                  <c:v>21.735561000000001</c:v>
                </c:pt>
                <c:pt idx="186">
                  <c:v>22.064955000000001</c:v>
                </c:pt>
                <c:pt idx="187">
                  <c:v>22.158176000000001</c:v>
                </c:pt>
                <c:pt idx="188">
                  <c:v>22.671938000000001</c:v>
                </c:pt>
                <c:pt idx="189">
                  <c:v>20.786588999999999</c:v>
                </c:pt>
                <c:pt idx="190">
                  <c:v>21.252144000000001</c:v>
                </c:pt>
                <c:pt idx="191">
                  <c:v>21.998459</c:v>
                </c:pt>
                <c:pt idx="192">
                  <c:v>22.426994000000001</c:v>
                </c:pt>
                <c:pt idx="193">
                  <c:v>22.992968000000001</c:v>
                </c:pt>
                <c:pt idx="194">
                  <c:v>23.109852</c:v>
                </c:pt>
                <c:pt idx="195">
                  <c:v>23.447659999999999</c:v>
                </c:pt>
                <c:pt idx="196">
                  <c:v>23.701979999999999</c:v>
                </c:pt>
                <c:pt idx="197">
                  <c:v>23.730160000000001</c:v>
                </c:pt>
                <c:pt idx="198">
                  <c:v>24.02234</c:v>
                </c:pt>
                <c:pt idx="199">
                  <c:v>24.196608000000001</c:v>
                </c:pt>
                <c:pt idx="200">
                  <c:v>24.119194</c:v>
                </c:pt>
                <c:pt idx="201">
                  <c:v>24.844169999999998</c:v>
                </c:pt>
                <c:pt idx="202">
                  <c:v>24.866135</c:v>
                </c:pt>
                <c:pt idx="203">
                  <c:v>24.361279</c:v>
                </c:pt>
                <c:pt idx="204">
                  <c:v>24.287966000000001</c:v>
                </c:pt>
                <c:pt idx="205">
                  <c:v>23.605062</c:v>
                </c:pt>
                <c:pt idx="206">
                  <c:v>23.695893999999999</c:v>
                </c:pt>
                <c:pt idx="207">
                  <c:v>23.127237000000001</c:v>
                </c:pt>
                <c:pt idx="208">
                  <c:v>23.909728999999999</c:v>
                </c:pt>
                <c:pt idx="209">
                  <c:v>22.875679000000002</c:v>
                </c:pt>
                <c:pt idx="210">
                  <c:v>23.215997999999999</c:v>
                </c:pt>
                <c:pt idx="211">
                  <c:v>23.384482999999999</c:v>
                </c:pt>
                <c:pt idx="212">
                  <c:v>23.085428</c:v>
                </c:pt>
                <c:pt idx="213">
                  <c:v>22.996701999999999</c:v>
                </c:pt>
                <c:pt idx="214">
                  <c:v>22.536673</c:v>
                </c:pt>
                <c:pt idx="215">
                  <c:v>22.298334000000001</c:v>
                </c:pt>
                <c:pt idx="216">
                  <c:v>22.145357000000001</c:v>
                </c:pt>
                <c:pt idx="217">
                  <c:v>22.327369999999998</c:v>
                </c:pt>
                <c:pt idx="218">
                  <c:v>22.657364000000001</c:v>
                </c:pt>
                <c:pt idx="219">
                  <c:v>25.162345999999999</c:v>
                </c:pt>
                <c:pt idx="220">
                  <c:v>25.106842</c:v>
                </c:pt>
                <c:pt idx="221">
                  <c:v>23.964375</c:v>
                </c:pt>
                <c:pt idx="222">
                  <c:v>24.330984000000001</c:v>
                </c:pt>
                <c:pt idx="223">
                  <c:v>24.509067999999999</c:v>
                </c:pt>
                <c:pt idx="224">
                  <c:v>24.595870999999999</c:v>
                </c:pt>
                <c:pt idx="225">
                  <c:v>25.056961000000001</c:v>
                </c:pt>
                <c:pt idx="226">
                  <c:v>25.432096000000001</c:v>
                </c:pt>
                <c:pt idx="227">
                  <c:v>25.566534000000001</c:v>
                </c:pt>
                <c:pt idx="228">
                  <c:v>25.352792999999998</c:v>
                </c:pt>
                <c:pt idx="229">
                  <c:v>26.533519999999999</c:v>
                </c:pt>
                <c:pt idx="230">
                  <c:v>27.552416000000001</c:v>
                </c:pt>
                <c:pt idx="231">
                  <c:v>28.277429999999999</c:v>
                </c:pt>
                <c:pt idx="232">
                  <c:v>29.089333</c:v>
                </c:pt>
                <c:pt idx="233">
                  <c:v>30.505690000000001</c:v>
                </c:pt>
                <c:pt idx="234">
                  <c:v>31.020223999999999</c:v>
                </c:pt>
                <c:pt idx="235">
                  <c:v>32.87574</c:v>
                </c:pt>
                <c:pt idx="236">
                  <c:v>34.227553999999998</c:v>
                </c:pt>
                <c:pt idx="237">
                  <c:v>34.828944999999997</c:v>
                </c:pt>
                <c:pt idx="238">
                  <c:v>34.594814</c:v>
                </c:pt>
                <c:pt idx="239">
                  <c:v>34.175826999999998</c:v>
                </c:pt>
                <c:pt idx="240">
                  <c:v>33.411839999999998</c:v>
                </c:pt>
                <c:pt idx="241">
                  <c:v>33.159959999999998</c:v>
                </c:pt>
                <c:pt idx="242">
                  <c:v>33.705573999999999</c:v>
                </c:pt>
                <c:pt idx="243">
                  <c:v>34.092039999999997</c:v>
                </c:pt>
                <c:pt idx="244">
                  <c:v>33.665947000000003</c:v>
                </c:pt>
                <c:pt idx="245">
                  <c:v>33.986904000000003</c:v>
                </c:pt>
                <c:pt idx="246">
                  <c:v>33.661619999999999</c:v>
                </c:pt>
                <c:pt idx="247">
                  <c:v>33.405273000000001</c:v>
                </c:pt>
                <c:pt idx="248">
                  <c:v>33.035800000000002</c:v>
                </c:pt>
                <c:pt idx="249">
                  <c:v>32.935029999999998</c:v>
                </c:pt>
                <c:pt idx="250">
                  <c:v>32.695070000000001</c:v>
                </c:pt>
                <c:pt idx="251">
                  <c:v>32.573810000000002</c:v>
                </c:pt>
                <c:pt idx="252">
                  <c:v>32.374156999999997</c:v>
                </c:pt>
                <c:pt idx="253">
                  <c:v>32.317999999999998</c:v>
                </c:pt>
                <c:pt idx="254">
                  <c:v>32.272663000000001</c:v>
                </c:pt>
                <c:pt idx="255">
                  <c:v>32.115105</c:v>
                </c:pt>
                <c:pt idx="256">
                  <c:v>31.779837000000001</c:v>
                </c:pt>
                <c:pt idx="257">
                  <c:v>31.762438</c:v>
                </c:pt>
                <c:pt idx="258">
                  <c:v>31.900043</c:v>
                </c:pt>
                <c:pt idx="259">
                  <c:v>31.51126</c:v>
                </c:pt>
                <c:pt idx="260">
                  <c:v>31.184028999999999</c:v>
                </c:pt>
                <c:pt idx="261">
                  <c:v>31.231217999999998</c:v>
                </c:pt>
                <c:pt idx="262">
                  <c:v>30.975552</c:v>
                </c:pt>
                <c:pt idx="263">
                  <c:v>30.652958000000002</c:v>
                </c:pt>
                <c:pt idx="264">
                  <c:v>30.650818000000001</c:v>
                </c:pt>
                <c:pt idx="265">
                  <c:v>30.983768000000001</c:v>
                </c:pt>
                <c:pt idx="266">
                  <c:v>31.057410000000001</c:v>
                </c:pt>
                <c:pt idx="267">
                  <c:v>31.847082</c:v>
                </c:pt>
                <c:pt idx="268">
                  <c:v>32.706944</c:v>
                </c:pt>
                <c:pt idx="269">
                  <c:v>33.507477000000002</c:v>
                </c:pt>
                <c:pt idx="270">
                  <c:v>34.268912999999998</c:v>
                </c:pt>
                <c:pt idx="271">
                  <c:v>34.555804999999999</c:v>
                </c:pt>
                <c:pt idx="272">
                  <c:v>35.018203999999997</c:v>
                </c:pt>
                <c:pt idx="273">
                  <c:v>35.130572999999998</c:v>
                </c:pt>
                <c:pt idx="274">
                  <c:v>35.383915000000002</c:v>
                </c:pt>
                <c:pt idx="275">
                  <c:v>35.579838000000002</c:v>
                </c:pt>
                <c:pt idx="276">
                  <c:v>35.349392000000002</c:v>
                </c:pt>
                <c:pt idx="277">
                  <c:v>34.527411999999998</c:v>
                </c:pt>
                <c:pt idx="278">
                  <c:v>34.50121</c:v>
                </c:pt>
                <c:pt idx="279">
                  <c:v>34.144703</c:v>
                </c:pt>
                <c:pt idx="280">
                  <c:v>34.097163999999999</c:v>
                </c:pt>
                <c:pt idx="281">
                  <c:v>33.829524999999997</c:v>
                </c:pt>
                <c:pt idx="282">
                  <c:v>34.743988000000002</c:v>
                </c:pt>
                <c:pt idx="283">
                  <c:v>34.669322999999999</c:v>
                </c:pt>
                <c:pt idx="284">
                  <c:v>34.453761999999998</c:v>
                </c:pt>
                <c:pt idx="285">
                  <c:v>34.265137000000003</c:v>
                </c:pt>
                <c:pt idx="286">
                  <c:v>34.597045999999999</c:v>
                </c:pt>
                <c:pt idx="287">
                  <c:v>34.7515</c:v>
                </c:pt>
                <c:pt idx="288">
                  <c:v>34.675148</c:v>
                </c:pt>
                <c:pt idx="289">
                  <c:v>34.154119999999999</c:v>
                </c:pt>
                <c:pt idx="290">
                  <c:v>34.40804</c:v>
                </c:pt>
                <c:pt idx="291">
                  <c:v>34.263126</c:v>
                </c:pt>
                <c:pt idx="292">
                  <c:v>34.327179999999998</c:v>
                </c:pt>
                <c:pt idx="293">
                  <c:v>34.631523000000001</c:v>
                </c:pt>
                <c:pt idx="294">
                  <c:v>34.819823999999997</c:v>
                </c:pt>
                <c:pt idx="295">
                  <c:v>35.18533</c:v>
                </c:pt>
                <c:pt idx="296">
                  <c:v>36.001933999999999</c:v>
                </c:pt>
                <c:pt idx="297">
                  <c:v>36.719498000000002</c:v>
                </c:pt>
                <c:pt idx="298">
                  <c:v>37.072780000000002</c:v>
                </c:pt>
                <c:pt idx="299">
                  <c:v>36.900359999999999</c:v>
                </c:pt>
                <c:pt idx="300">
                  <c:v>36.467773000000001</c:v>
                </c:pt>
                <c:pt idx="301">
                  <c:v>37.032093000000003</c:v>
                </c:pt>
                <c:pt idx="302">
                  <c:v>37.189059999999998</c:v>
                </c:pt>
                <c:pt idx="303">
                  <c:v>37.628309999999999</c:v>
                </c:pt>
                <c:pt idx="304">
                  <c:v>38.059269999999998</c:v>
                </c:pt>
                <c:pt idx="305">
                  <c:v>37.9803</c:v>
                </c:pt>
                <c:pt idx="306">
                  <c:v>38.209150000000001</c:v>
                </c:pt>
                <c:pt idx="307">
                  <c:v>38.357944000000003</c:v>
                </c:pt>
                <c:pt idx="308">
                  <c:v>38.051544</c:v>
                </c:pt>
                <c:pt idx="309">
                  <c:v>37.897640000000003</c:v>
                </c:pt>
                <c:pt idx="310">
                  <c:v>37.214146</c:v>
                </c:pt>
                <c:pt idx="311">
                  <c:v>37.106949999999998</c:v>
                </c:pt>
                <c:pt idx="312">
                  <c:v>36.879669999999997</c:v>
                </c:pt>
                <c:pt idx="313">
                  <c:v>37.057896</c:v>
                </c:pt>
                <c:pt idx="314">
                  <c:v>37.20937</c:v>
                </c:pt>
                <c:pt idx="315">
                  <c:v>37.040461999999998</c:v>
                </c:pt>
                <c:pt idx="316">
                  <c:v>37.217506</c:v>
                </c:pt>
                <c:pt idx="317">
                  <c:v>37.274329999999999</c:v>
                </c:pt>
                <c:pt idx="318">
                  <c:v>37.252903000000003</c:v>
                </c:pt>
                <c:pt idx="319">
                  <c:v>37.135722999999999</c:v>
                </c:pt>
                <c:pt idx="320">
                  <c:v>37.027194999999999</c:v>
                </c:pt>
                <c:pt idx="321">
                  <c:v>36.580719999999999</c:v>
                </c:pt>
                <c:pt idx="322">
                  <c:v>36.259014000000001</c:v>
                </c:pt>
                <c:pt idx="323">
                  <c:v>35.904297</c:v>
                </c:pt>
                <c:pt idx="324">
                  <c:v>35.823895</c:v>
                </c:pt>
                <c:pt idx="325">
                  <c:v>35.512486000000003</c:v>
                </c:pt>
                <c:pt idx="326">
                  <c:v>35.733387</c:v>
                </c:pt>
                <c:pt idx="327">
                  <c:v>36.004010000000001</c:v>
                </c:pt>
                <c:pt idx="328">
                  <c:v>36.067238000000003</c:v>
                </c:pt>
                <c:pt idx="329">
                  <c:v>36.436515999999997</c:v>
                </c:pt>
                <c:pt idx="330">
                  <c:v>36.371310000000001</c:v>
                </c:pt>
                <c:pt idx="331">
                  <c:v>36.577587000000001</c:v>
                </c:pt>
                <c:pt idx="332">
                  <c:v>37.025539999999999</c:v>
                </c:pt>
                <c:pt idx="333">
                  <c:v>37.028373999999999</c:v>
                </c:pt>
                <c:pt idx="334">
                  <c:v>35.691772</c:v>
                </c:pt>
                <c:pt idx="335">
                  <c:v>36.519604000000001</c:v>
                </c:pt>
                <c:pt idx="336">
                  <c:v>37.262585000000001</c:v>
                </c:pt>
                <c:pt idx="337">
                  <c:v>37.985267999999998</c:v>
                </c:pt>
                <c:pt idx="338">
                  <c:v>38.626170000000002</c:v>
                </c:pt>
                <c:pt idx="339">
                  <c:v>38.957123000000003</c:v>
                </c:pt>
                <c:pt idx="340">
                  <c:v>38.098315999999997</c:v>
                </c:pt>
                <c:pt idx="341">
                  <c:v>38.879555000000003</c:v>
                </c:pt>
                <c:pt idx="342">
                  <c:v>39.883774000000003</c:v>
                </c:pt>
                <c:pt idx="343">
                  <c:v>40.76464</c:v>
                </c:pt>
                <c:pt idx="344">
                  <c:v>41.346713999999999</c:v>
                </c:pt>
                <c:pt idx="345">
                  <c:v>40.495069999999998</c:v>
                </c:pt>
                <c:pt idx="346">
                  <c:v>41.349530000000001</c:v>
                </c:pt>
                <c:pt idx="347">
                  <c:v>41.324910000000003</c:v>
                </c:pt>
                <c:pt idx="348">
                  <c:v>41.955570000000002</c:v>
                </c:pt>
                <c:pt idx="349">
                  <c:v>42.417957000000001</c:v>
                </c:pt>
                <c:pt idx="350">
                  <c:v>38.925285000000002</c:v>
                </c:pt>
                <c:pt idx="351">
                  <c:v>39.588549999999998</c:v>
                </c:pt>
                <c:pt idx="352">
                  <c:v>39.939349999999997</c:v>
                </c:pt>
                <c:pt idx="353">
                  <c:v>41.945779999999999</c:v>
                </c:pt>
                <c:pt idx="354">
                  <c:v>42.376040000000003</c:v>
                </c:pt>
                <c:pt idx="355">
                  <c:v>42.654921999999999</c:v>
                </c:pt>
                <c:pt idx="356">
                  <c:v>42.696117000000001</c:v>
                </c:pt>
                <c:pt idx="357">
                  <c:v>42.763267999999997</c:v>
                </c:pt>
                <c:pt idx="358">
                  <c:v>42.198974999999997</c:v>
                </c:pt>
                <c:pt idx="359">
                  <c:v>42.072257999999998</c:v>
                </c:pt>
                <c:pt idx="360">
                  <c:v>42.135283999999999</c:v>
                </c:pt>
                <c:pt idx="361">
                  <c:v>42.06785</c:v>
                </c:pt>
                <c:pt idx="362">
                  <c:v>41.674210000000002</c:v>
                </c:pt>
                <c:pt idx="363">
                  <c:v>40.76182</c:v>
                </c:pt>
                <c:pt idx="364">
                  <c:v>40.806710000000002</c:v>
                </c:pt>
                <c:pt idx="365">
                  <c:v>40.131577</c:v>
                </c:pt>
                <c:pt idx="366">
                  <c:v>40.205722999999999</c:v>
                </c:pt>
                <c:pt idx="367">
                  <c:v>40.258200000000002</c:v>
                </c:pt>
                <c:pt idx="368">
                  <c:v>40.006844000000001</c:v>
                </c:pt>
                <c:pt idx="369">
                  <c:v>40.088627000000002</c:v>
                </c:pt>
                <c:pt idx="370">
                  <c:v>35.952747000000002</c:v>
                </c:pt>
                <c:pt idx="371">
                  <c:v>39.608066999999998</c:v>
                </c:pt>
                <c:pt idx="372">
                  <c:v>39.491881999999997</c:v>
                </c:pt>
                <c:pt idx="373">
                  <c:v>39.279857999999997</c:v>
                </c:pt>
                <c:pt idx="374">
                  <c:v>38.319996000000003</c:v>
                </c:pt>
                <c:pt idx="375">
                  <c:v>38.18853</c:v>
                </c:pt>
                <c:pt idx="376">
                  <c:v>38.525683999999998</c:v>
                </c:pt>
                <c:pt idx="377">
                  <c:v>38.752293000000002</c:v>
                </c:pt>
                <c:pt idx="378">
                  <c:v>38.471069999999997</c:v>
                </c:pt>
                <c:pt idx="379">
                  <c:v>38.36497</c:v>
                </c:pt>
                <c:pt idx="380">
                  <c:v>38.16816</c:v>
                </c:pt>
                <c:pt idx="381">
                  <c:v>38.385868000000002</c:v>
                </c:pt>
                <c:pt idx="382">
                  <c:v>38.573985999999998</c:v>
                </c:pt>
                <c:pt idx="383">
                  <c:v>38.622917000000001</c:v>
                </c:pt>
                <c:pt idx="384">
                  <c:v>38.866897999999999</c:v>
                </c:pt>
                <c:pt idx="385">
                  <c:v>38.962623999999998</c:v>
                </c:pt>
                <c:pt idx="386">
                  <c:v>39.121589999999998</c:v>
                </c:pt>
                <c:pt idx="387">
                  <c:v>38.382317</c:v>
                </c:pt>
                <c:pt idx="388">
                  <c:v>39.307921999999998</c:v>
                </c:pt>
                <c:pt idx="389">
                  <c:v>39.210715999999998</c:v>
                </c:pt>
                <c:pt idx="390">
                  <c:v>38.708964999999999</c:v>
                </c:pt>
                <c:pt idx="391">
                  <c:v>38.375779999999999</c:v>
                </c:pt>
                <c:pt idx="392">
                  <c:v>37.918118</c:v>
                </c:pt>
                <c:pt idx="393">
                  <c:v>37.574623000000003</c:v>
                </c:pt>
                <c:pt idx="394">
                  <c:v>37.788947999999998</c:v>
                </c:pt>
                <c:pt idx="395">
                  <c:v>37.760980000000004</c:v>
                </c:pt>
                <c:pt idx="396">
                  <c:v>37.885525000000001</c:v>
                </c:pt>
                <c:pt idx="397">
                  <c:v>37.822665999999998</c:v>
                </c:pt>
                <c:pt idx="398">
                  <c:v>37.869174999999998</c:v>
                </c:pt>
                <c:pt idx="399">
                  <c:v>37.938040000000001</c:v>
                </c:pt>
                <c:pt idx="400">
                  <c:v>38.114325999999998</c:v>
                </c:pt>
                <c:pt idx="401">
                  <c:v>38.234836999999999</c:v>
                </c:pt>
                <c:pt idx="402">
                  <c:v>38.517899999999997</c:v>
                </c:pt>
                <c:pt idx="403">
                  <c:v>37.586483000000001</c:v>
                </c:pt>
                <c:pt idx="404">
                  <c:v>37.327590000000001</c:v>
                </c:pt>
                <c:pt idx="405">
                  <c:v>37.096912000000003</c:v>
                </c:pt>
                <c:pt idx="406">
                  <c:v>37.307076000000002</c:v>
                </c:pt>
                <c:pt idx="407">
                  <c:v>37.217677999999999</c:v>
                </c:pt>
                <c:pt idx="408">
                  <c:v>37.408028000000002</c:v>
                </c:pt>
                <c:pt idx="409">
                  <c:v>37.189132999999998</c:v>
                </c:pt>
                <c:pt idx="410">
                  <c:v>37.092342000000002</c:v>
                </c:pt>
                <c:pt idx="411">
                  <c:v>35.757786000000003</c:v>
                </c:pt>
                <c:pt idx="412">
                  <c:v>35.63232</c:v>
                </c:pt>
                <c:pt idx="413">
                  <c:v>35.841144999999997</c:v>
                </c:pt>
                <c:pt idx="414">
                  <c:v>36.285072</c:v>
                </c:pt>
                <c:pt idx="415">
                  <c:v>36.859833000000002</c:v>
                </c:pt>
                <c:pt idx="416">
                  <c:v>36.549522000000003</c:v>
                </c:pt>
                <c:pt idx="417">
                  <c:v>36.514693999999999</c:v>
                </c:pt>
                <c:pt idx="418">
                  <c:v>36.454334000000003</c:v>
                </c:pt>
                <c:pt idx="419">
                  <c:v>36.904339999999998</c:v>
                </c:pt>
                <c:pt idx="420">
                  <c:v>32.729446000000003</c:v>
                </c:pt>
                <c:pt idx="421">
                  <c:v>39.071956999999998</c:v>
                </c:pt>
                <c:pt idx="422">
                  <c:v>40.509749999999997</c:v>
                </c:pt>
                <c:pt idx="423">
                  <c:v>41.949779999999997</c:v>
                </c:pt>
                <c:pt idx="424">
                  <c:v>40.590972999999998</c:v>
                </c:pt>
                <c:pt idx="425">
                  <c:v>43.2896</c:v>
                </c:pt>
                <c:pt idx="426">
                  <c:v>43.663449999999997</c:v>
                </c:pt>
                <c:pt idx="427">
                  <c:v>43.284846999999999</c:v>
                </c:pt>
                <c:pt idx="428">
                  <c:v>43.803150000000002</c:v>
                </c:pt>
                <c:pt idx="429">
                  <c:v>44.223694000000002</c:v>
                </c:pt>
                <c:pt idx="430">
                  <c:v>44.434314999999998</c:v>
                </c:pt>
                <c:pt idx="431">
                  <c:v>44.283493</c:v>
                </c:pt>
                <c:pt idx="432">
                  <c:v>44.199722000000001</c:v>
                </c:pt>
                <c:pt idx="433">
                  <c:v>43.904373</c:v>
                </c:pt>
                <c:pt idx="434">
                  <c:v>43.773581999999998</c:v>
                </c:pt>
                <c:pt idx="435">
                  <c:v>43.123317999999998</c:v>
                </c:pt>
                <c:pt idx="436">
                  <c:v>43.130215</c:v>
                </c:pt>
                <c:pt idx="437">
                  <c:v>42.609425000000002</c:v>
                </c:pt>
                <c:pt idx="438">
                  <c:v>42.710270000000001</c:v>
                </c:pt>
                <c:pt idx="439">
                  <c:v>42.530250000000002</c:v>
                </c:pt>
                <c:pt idx="440">
                  <c:v>42.527576000000003</c:v>
                </c:pt>
                <c:pt idx="441">
                  <c:v>42.745983000000003</c:v>
                </c:pt>
                <c:pt idx="442">
                  <c:v>43.165622999999997</c:v>
                </c:pt>
                <c:pt idx="443">
                  <c:v>42.772022</c:v>
                </c:pt>
                <c:pt idx="444">
                  <c:v>43.45702</c:v>
                </c:pt>
                <c:pt idx="445">
                  <c:v>44.091675000000002</c:v>
                </c:pt>
                <c:pt idx="446">
                  <c:v>42.636448000000001</c:v>
                </c:pt>
                <c:pt idx="447">
                  <c:v>42.479140000000001</c:v>
                </c:pt>
                <c:pt idx="448">
                  <c:v>42.396796999999999</c:v>
                </c:pt>
                <c:pt idx="449">
                  <c:v>42.362952999999997</c:v>
                </c:pt>
                <c:pt idx="450">
                  <c:v>42.128925000000002</c:v>
                </c:pt>
                <c:pt idx="451">
                  <c:v>41.724060000000001</c:v>
                </c:pt>
                <c:pt idx="452">
                  <c:v>40.724930000000001</c:v>
                </c:pt>
                <c:pt idx="453">
                  <c:v>39.896189999999997</c:v>
                </c:pt>
                <c:pt idx="454">
                  <c:v>40.353462</c:v>
                </c:pt>
                <c:pt idx="455">
                  <c:v>40.338863000000003</c:v>
                </c:pt>
                <c:pt idx="456">
                  <c:v>39.859479999999998</c:v>
                </c:pt>
                <c:pt idx="457">
                  <c:v>39.237560000000002</c:v>
                </c:pt>
                <c:pt idx="458">
                  <c:v>38.917037999999998</c:v>
                </c:pt>
                <c:pt idx="459">
                  <c:v>38.445675000000001</c:v>
                </c:pt>
                <c:pt idx="460">
                  <c:v>38.311596000000002</c:v>
                </c:pt>
                <c:pt idx="461">
                  <c:v>38.481174000000003</c:v>
                </c:pt>
                <c:pt idx="462">
                  <c:v>38.761246</c:v>
                </c:pt>
                <c:pt idx="463">
                  <c:v>39.035294</c:v>
                </c:pt>
                <c:pt idx="464">
                  <c:v>39.005595999999997</c:v>
                </c:pt>
                <c:pt idx="465">
                  <c:v>38.910800000000002</c:v>
                </c:pt>
                <c:pt idx="466">
                  <c:v>39.464149999999997</c:v>
                </c:pt>
                <c:pt idx="467">
                  <c:v>39.589866999999998</c:v>
                </c:pt>
                <c:pt idx="468">
                  <c:v>40.702376999999998</c:v>
                </c:pt>
                <c:pt idx="469">
                  <c:v>41.682499999999997</c:v>
                </c:pt>
                <c:pt idx="470">
                  <c:v>42.487250000000003</c:v>
                </c:pt>
                <c:pt idx="471">
                  <c:v>43.031390000000002</c:v>
                </c:pt>
                <c:pt idx="472">
                  <c:v>43.262566</c:v>
                </c:pt>
                <c:pt idx="473">
                  <c:v>42.756570000000004</c:v>
                </c:pt>
                <c:pt idx="474">
                  <c:v>42.667434999999998</c:v>
                </c:pt>
                <c:pt idx="475">
                  <c:v>42.513675999999997</c:v>
                </c:pt>
                <c:pt idx="476">
                  <c:v>42.154342999999997</c:v>
                </c:pt>
                <c:pt idx="477">
                  <c:v>41.778506999999998</c:v>
                </c:pt>
                <c:pt idx="478">
                  <c:v>41.700200000000002</c:v>
                </c:pt>
                <c:pt idx="479">
                  <c:v>41.737845999999998</c:v>
                </c:pt>
                <c:pt idx="480">
                  <c:v>41.497154000000002</c:v>
                </c:pt>
                <c:pt idx="481">
                  <c:v>42.158380000000001</c:v>
                </c:pt>
                <c:pt idx="482">
                  <c:v>40.689390000000003</c:v>
                </c:pt>
                <c:pt idx="483">
                  <c:v>40.380676000000001</c:v>
                </c:pt>
                <c:pt idx="484">
                  <c:v>40.520670000000003</c:v>
                </c:pt>
                <c:pt idx="485">
                  <c:v>42.27516</c:v>
                </c:pt>
                <c:pt idx="486">
                  <c:v>40.267952000000001</c:v>
                </c:pt>
                <c:pt idx="487">
                  <c:v>40.214657000000003</c:v>
                </c:pt>
                <c:pt idx="488">
                  <c:v>41.543888000000003</c:v>
                </c:pt>
                <c:pt idx="489">
                  <c:v>40.047854999999998</c:v>
                </c:pt>
                <c:pt idx="490">
                  <c:v>39.789695999999999</c:v>
                </c:pt>
                <c:pt idx="491">
                  <c:v>39.099110000000003</c:v>
                </c:pt>
                <c:pt idx="492">
                  <c:v>38.685369999999999</c:v>
                </c:pt>
                <c:pt idx="493">
                  <c:v>38.429447000000003</c:v>
                </c:pt>
                <c:pt idx="494">
                  <c:v>38.086309999999997</c:v>
                </c:pt>
                <c:pt idx="495">
                  <c:v>37.745967999999998</c:v>
                </c:pt>
                <c:pt idx="496">
                  <c:v>38.099209999999999</c:v>
                </c:pt>
                <c:pt idx="497">
                  <c:v>38.743690000000001</c:v>
                </c:pt>
                <c:pt idx="498">
                  <c:v>39.5687</c:v>
                </c:pt>
                <c:pt idx="499">
                  <c:v>40.288400000000003</c:v>
                </c:pt>
                <c:pt idx="500">
                  <c:v>40.553139999999999</c:v>
                </c:pt>
                <c:pt idx="501">
                  <c:v>41.020245000000003</c:v>
                </c:pt>
                <c:pt idx="502">
                  <c:v>41.330737999999997</c:v>
                </c:pt>
                <c:pt idx="503">
                  <c:v>41.617072999999998</c:v>
                </c:pt>
                <c:pt idx="504">
                  <c:v>41.796954999999997</c:v>
                </c:pt>
                <c:pt idx="505">
                  <c:v>42.11224</c:v>
                </c:pt>
                <c:pt idx="506">
                  <c:v>42.195270000000001</c:v>
                </c:pt>
                <c:pt idx="507">
                  <c:v>41.974598</c:v>
                </c:pt>
                <c:pt idx="508">
                  <c:v>41.925922</c:v>
                </c:pt>
                <c:pt idx="509">
                  <c:v>41.992750000000001</c:v>
                </c:pt>
                <c:pt idx="510">
                  <c:v>41.663116000000002</c:v>
                </c:pt>
                <c:pt idx="511">
                  <c:v>41.649540000000002</c:v>
                </c:pt>
                <c:pt idx="512">
                  <c:v>41.844723000000002</c:v>
                </c:pt>
                <c:pt idx="513">
                  <c:v>41.780059999999999</c:v>
                </c:pt>
                <c:pt idx="514">
                  <c:v>41.559800000000003</c:v>
                </c:pt>
                <c:pt idx="515">
                  <c:v>41.493679999999998</c:v>
                </c:pt>
                <c:pt idx="516">
                  <c:v>41.542743999999999</c:v>
                </c:pt>
                <c:pt idx="517">
                  <c:v>41.544476000000003</c:v>
                </c:pt>
                <c:pt idx="518">
                  <c:v>41.392901999999999</c:v>
                </c:pt>
                <c:pt idx="519">
                  <c:v>41.25938</c:v>
                </c:pt>
                <c:pt idx="520">
                  <c:v>40.757232999999999</c:v>
                </c:pt>
                <c:pt idx="521">
                  <c:v>40.389954000000003</c:v>
                </c:pt>
                <c:pt idx="522">
                  <c:v>40.114384000000001</c:v>
                </c:pt>
                <c:pt idx="523">
                  <c:v>39.652233000000003</c:v>
                </c:pt>
                <c:pt idx="524">
                  <c:v>39.142994000000002</c:v>
                </c:pt>
                <c:pt idx="525">
                  <c:v>38.59075</c:v>
                </c:pt>
                <c:pt idx="526">
                  <c:v>35.83802</c:v>
                </c:pt>
                <c:pt idx="527">
                  <c:v>35.842154999999998</c:v>
                </c:pt>
                <c:pt idx="528">
                  <c:v>37.563490000000002</c:v>
                </c:pt>
                <c:pt idx="529">
                  <c:v>39.123252999999998</c:v>
                </c:pt>
                <c:pt idx="530">
                  <c:v>40.522620000000003</c:v>
                </c:pt>
                <c:pt idx="531">
                  <c:v>42.043064000000001</c:v>
                </c:pt>
                <c:pt idx="532">
                  <c:v>43.146908000000003</c:v>
                </c:pt>
                <c:pt idx="533">
                  <c:v>44.084710000000001</c:v>
                </c:pt>
                <c:pt idx="534">
                  <c:v>44.240475000000004</c:v>
                </c:pt>
                <c:pt idx="535">
                  <c:v>44.445168000000002</c:v>
                </c:pt>
                <c:pt idx="536">
                  <c:v>44.092559999999999</c:v>
                </c:pt>
                <c:pt idx="537">
                  <c:v>43.75967</c:v>
                </c:pt>
                <c:pt idx="538">
                  <c:v>43.502834</c:v>
                </c:pt>
                <c:pt idx="539">
                  <c:v>43.500926999999997</c:v>
                </c:pt>
                <c:pt idx="540">
                  <c:v>43.381720000000001</c:v>
                </c:pt>
                <c:pt idx="541">
                  <c:v>43.241225999999997</c:v>
                </c:pt>
                <c:pt idx="542">
                  <c:v>43.128807000000002</c:v>
                </c:pt>
                <c:pt idx="543">
                  <c:v>43.163080000000001</c:v>
                </c:pt>
                <c:pt idx="544">
                  <c:v>43.497489999999999</c:v>
                </c:pt>
                <c:pt idx="545">
                  <c:v>43.131991999999997</c:v>
                </c:pt>
                <c:pt idx="546">
                  <c:v>43.292107000000001</c:v>
                </c:pt>
                <c:pt idx="547">
                  <c:v>43.246806999999997</c:v>
                </c:pt>
                <c:pt idx="548">
                  <c:v>43.136879999999998</c:v>
                </c:pt>
                <c:pt idx="549">
                  <c:v>42.919055999999998</c:v>
                </c:pt>
                <c:pt idx="550">
                  <c:v>43.009599999999999</c:v>
                </c:pt>
                <c:pt idx="551">
                  <c:v>42.890970000000003</c:v>
                </c:pt>
                <c:pt idx="552">
                  <c:v>42.00609</c:v>
                </c:pt>
                <c:pt idx="553">
                  <c:v>42.036696999999997</c:v>
                </c:pt>
                <c:pt idx="554">
                  <c:v>42.427906</c:v>
                </c:pt>
                <c:pt idx="555">
                  <c:v>41.115009999999998</c:v>
                </c:pt>
                <c:pt idx="556">
                  <c:v>40.827044999999998</c:v>
                </c:pt>
                <c:pt idx="557">
                  <c:v>40.648240000000001</c:v>
                </c:pt>
                <c:pt idx="558">
                  <c:v>39.396732</c:v>
                </c:pt>
                <c:pt idx="559">
                  <c:v>39.182949999999998</c:v>
                </c:pt>
                <c:pt idx="560">
                  <c:v>39.147117999999999</c:v>
                </c:pt>
                <c:pt idx="561">
                  <c:v>38.979331999999999</c:v>
                </c:pt>
                <c:pt idx="562">
                  <c:v>39.311478000000001</c:v>
                </c:pt>
                <c:pt idx="563">
                  <c:v>39.473056999999997</c:v>
                </c:pt>
                <c:pt idx="564">
                  <c:v>39.692534999999999</c:v>
                </c:pt>
                <c:pt idx="565">
                  <c:v>39.695366</c:v>
                </c:pt>
                <c:pt idx="566">
                  <c:v>39.709769999999999</c:v>
                </c:pt>
                <c:pt idx="567">
                  <c:v>39.856822999999999</c:v>
                </c:pt>
                <c:pt idx="568">
                  <c:v>40.045723000000002</c:v>
                </c:pt>
                <c:pt idx="569">
                  <c:v>40.233207999999998</c:v>
                </c:pt>
                <c:pt idx="570">
                  <c:v>34.882275</c:v>
                </c:pt>
                <c:pt idx="571">
                  <c:v>35.684019999999997</c:v>
                </c:pt>
                <c:pt idx="572">
                  <c:v>36.005626999999997</c:v>
                </c:pt>
                <c:pt idx="573">
                  <c:v>36.325670000000002</c:v>
                </c:pt>
                <c:pt idx="574">
                  <c:v>36.990569999999998</c:v>
                </c:pt>
                <c:pt idx="575">
                  <c:v>37.867854999999999</c:v>
                </c:pt>
                <c:pt idx="576">
                  <c:v>38.381419999999999</c:v>
                </c:pt>
                <c:pt idx="577">
                  <c:v>38.222476999999998</c:v>
                </c:pt>
                <c:pt idx="578">
                  <c:v>38.546967000000002</c:v>
                </c:pt>
                <c:pt idx="579">
                  <c:v>38.94867</c:v>
                </c:pt>
                <c:pt idx="580">
                  <c:v>39.283332999999999</c:v>
                </c:pt>
                <c:pt idx="581">
                  <c:v>39.822952000000001</c:v>
                </c:pt>
                <c:pt idx="582">
                  <c:v>39.274963</c:v>
                </c:pt>
                <c:pt idx="583">
                  <c:v>38.952232000000002</c:v>
                </c:pt>
                <c:pt idx="584">
                  <c:v>39.487568000000003</c:v>
                </c:pt>
                <c:pt idx="585">
                  <c:v>40.33502</c:v>
                </c:pt>
                <c:pt idx="586">
                  <c:v>41.091819999999998</c:v>
                </c:pt>
                <c:pt idx="587">
                  <c:v>41.810302999999998</c:v>
                </c:pt>
                <c:pt idx="588">
                  <c:v>37.92118</c:v>
                </c:pt>
                <c:pt idx="589">
                  <c:v>42.744667</c:v>
                </c:pt>
                <c:pt idx="590">
                  <c:v>42.947902999999997</c:v>
                </c:pt>
                <c:pt idx="591">
                  <c:v>42.432274</c:v>
                </c:pt>
                <c:pt idx="592">
                  <c:v>43.335529999999999</c:v>
                </c:pt>
                <c:pt idx="593">
                  <c:v>42.611885000000001</c:v>
                </c:pt>
                <c:pt idx="594">
                  <c:v>43.058501999999997</c:v>
                </c:pt>
                <c:pt idx="595">
                  <c:v>43.274734000000002</c:v>
                </c:pt>
                <c:pt idx="596">
                  <c:v>43.291946000000003</c:v>
                </c:pt>
                <c:pt idx="597">
                  <c:v>42.568759999999997</c:v>
                </c:pt>
                <c:pt idx="598">
                  <c:v>42.455883</c:v>
                </c:pt>
                <c:pt idx="599">
                  <c:v>41.371592999999997</c:v>
                </c:pt>
                <c:pt idx="600">
                  <c:v>40.92127</c:v>
                </c:pt>
                <c:pt idx="601">
                  <c:v>41.033447000000002</c:v>
                </c:pt>
                <c:pt idx="602">
                  <c:v>41.146479999999997</c:v>
                </c:pt>
                <c:pt idx="603">
                  <c:v>41.047939999999997</c:v>
                </c:pt>
                <c:pt idx="604">
                  <c:v>41.234299999999998</c:v>
                </c:pt>
                <c:pt idx="605">
                  <c:v>40.856124999999999</c:v>
                </c:pt>
                <c:pt idx="606">
                  <c:v>40.721890000000002</c:v>
                </c:pt>
                <c:pt idx="607">
                  <c:v>40.371160000000003</c:v>
                </c:pt>
                <c:pt idx="608">
                  <c:v>39.748170000000002</c:v>
                </c:pt>
                <c:pt idx="609">
                  <c:v>39.671129999999998</c:v>
                </c:pt>
                <c:pt idx="610">
                  <c:v>39.763607</c:v>
                </c:pt>
                <c:pt idx="611">
                  <c:v>40.075423999999998</c:v>
                </c:pt>
                <c:pt idx="612">
                  <c:v>40.107329999999997</c:v>
                </c:pt>
                <c:pt idx="613">
                  <c:v>40.133926000000002</c:v>
                </c:pt>
                <c:pt idx="614">
                  <c:v>39.561447000000001</c:v>
                </c:pt>
                <c:pt idx="615">
                  <c:v>38.934666</c:v>
                </c:pt>
                <c:pt idx="616">
                  <c:v>38.995792000000002</c:v>
                </c:pt>
                <c:pt idx="617">
                  <c:v>37.035544999999999</c:v>
                </c:pt>
                <c:pt idx="618">
                  <c:v>39.970610000000001</c:v>
                </c:pt>
                <c:pt idx="619">
                  <c:v>40.466495999999999</c:v>
                </c:pt>
                <c:pt idx="620">
                  <c:v>40.781364000000004</c:v>
                </c:pt>
                <c:pt idx="621">
                  <c:v>40.674281999999998</c:v>
                </c:pt>
                <c:pt idx="622">
                  <c:v>40.283110000000001</c:v>
                </c:pt>
                <c:pt idx="623">
                  <c:v>40.489536000000001</c:v>
                </c:pt>
                <c:pt idx="624">
                  <c:v>40.689785000000001</c:v>
                </c:pt>
                <c:pt idx="625">
                  <c:v>40.959000000000003</c:v>
                </c:pt>
                <c:pt idx="626">
                  <c:v>41.088200000000001</c:v>
                </c:pt>
                <c:pt idx="627">
                  <c:v>40.651245000000003</c:v>
                </c:pt>
                <c:pt idx="628">
                  <c:v>40.340829999999997</c:v>
                </c:pt>
                <c:pt idx="629">
                  <c:v>40.284930000000003</c:v>
                </c:pt>
                <c:pt idx="630">
                  <c:v>40.581142</c:v>
                </c:pt>
                <c:pt idx="631">
                  <c:v>40.519950000000001</c:v>
                </c:pt>
                <c:pt idx="632">
                  <c:v>40.576239999999999</c:v>
                </c:pt>
                <c:pt idx="633">
                  <c:v>40.324579999999997</c:v>
                </c:pt>
                <c:pt idx="634">
                  <c:v>39.925873000000003</c:v>
                </c:pt>
                <c:pt idx="635">
                  <c:v>38.69585</c:v>
                </c:pt>
                <c:pt idx="636">
                  <c:v>37.297783000000003</c:v>
                </c:pt>
                <c:pt idx="637">
                  <c:v>36.777065</c:v>
                </c:pt>
                <c:pt idx="638">
                  <c:v>36.332886000000002</c:v>
                </c:pt>
                <c:pt idx="639">
                  <c:v>36.363503000000001</c:v>
                </c:pt>
                <c:pt idx="640">
                  <c:v>36.632744000000002</c:v>
                </c:pt>
                <c:pt idx="641">
                  <c:v>36.823227000000003</c:v>
                </c:pt>
                <c:pt idx="642">
                  <c:v>36.677529999999997</c:v>
                </c:pt>
                <c:pt idx="643">
                  <c:v>35.864285000000002</c:v>
                </c:pt>
                <c:pt idx="644">
                  <c:v>37.108482000000002</c:v>
                </c:pt>
                <c:pt idx="645">
                  <c:v>37.579543999999999</c:v>
                </c:pt>
                <c:pt idx="646">
                  <c:v>37.939506999999999</c:v>
                </c:pt>
                <c:pt idx="647">
                  <c:v>38.067065999999997</c:v>
                </c:pt>
                <c:pt idx="648">
                  <c:v>38.411250000000003</c:v>
                </c:pt>
                <c:pt idx="649">
                  <c:v>38.721760000000003</c:v>
                </c:pt>
                <c:pt idx="650">
                  <c:v>38.993625999999999</c:v>
                </c:pt>
                <c:pt idx="651">
                  <c:v>39.232640000000004</c:v>
                </c:pt>
                <c:pt idx="652">
                  <c:v>39.350517000000004</c:v>
                </c:pt>
                <c:pt idx="653">
                  <c:v>39.002625000000002</c:v>
                </c:pt>
                <c:pt idx="654">
                  <c:v>38.68974</c:v>
                </c:pt>
                <c:pt idx="655">
                  <c:v>38.9754</c:v>
                </c:pt>
                <c:pt idx="656">
                  <c:v>38.692112000000002</c:v>
                </c:pt>
                <c:pt idx="657">
                  <c:v>38.789859999999997</c:v>
                </c:pt>
                <c:pt idx="658">
                  <c:v>38.677376000000002</c:v>
                </c:pt>
                <c:pt idx="659">
                  <c:v>38.860954</c:v>
                </c:pt>
                <c:pt idx="660">
                  <c:v>38.680176000000003</c:v>
                </c:pt>
                <c:pt idx="661">
                  <c:v>38.224266</c:v>
                </c:pt>
                <c:pt idx="662">
                  <c:v>37.622413999999999</c:v>
                </c:pt>
                <c:pt idx="663">
                  <c:v>37.719344999999997</c:v>
                </c:pt>
                <c:pt idx="664">
                  <c:v>37.600346000000002</c:v>
                </c:pt>
                <c:pt idx="665">
                  <c:v>37.741489999999999</c:v>
                </c:pt>
                <c:pt idx="666">
                  <c:v>37.461765</c:v>
                </c:pt>
                <c:pt idx="667">
                  <c:v>37.539046999999997</c:v>
                </c:pt>
                <c:pt idx="668">
                  <c:v>37.842199999999998</c:v>
                </c:pt>
                <c:pt idx="669">
                  <c:v>37.492587999999998</c:v>
                </c:pt>
                <c:pt idx="670">
                  <c:v>37.712679999999999</c:v>
                </c:pt>
                <c:pt idx="671">
                  <c:v>38.464959999999998</c:v>
                </c:pt>
                <c:pt idx="672">
                  <c:v>37.925567999999998</c:v>
                </c:pt>
                <c:pt idx="673">
                  <c:v>38.357047999999999</c:v>
                </c:pt>
                <c:pt idx="674">
                  <c:v>38.521107000000001</c:v>
                </c:pt>
                <c:pt idx="675">
                  <c:v>38.814315999999998</c:v>
                </c:pt>
                <c:pt idx="676">
                  <c:v>39.170850000000002</c:v>
                </c:pt>
                <c:pt idx="677">
                  <c:v>39.451929999999997</c:v>
                </c:pt>
                <c:pt idx="678">
                  <c:v>39.134216000000002</c:v>
                </c:pt>
                <c:pt idx="679">
                  <c:v>38.442770000000003</c:v>
                </c:pt>
                <c:pt idx="680">
                  <c:v>38.624957999999999</c:v>
                </c:pt>
                <c:pt idx="681">
                  <c:v>39.177039999999998</c:v>
                </c:pt>
                <c:pt idx="682">
                  <c:v>39.637405000000001</c:v>
                </c:pt>
                <c:pt idx="683">
                  <c:v>40.191290000000002</c:v>
                </c:pt>
                <c:pt idx="684">
                  <c:v>40.349766000000002</c:v>
                </c:pt>
                <c:pt idx="685">
                  <c:v>40.748539999999998</c:v>
                </c:pt>
                <c:pt idx="686">
                  <c:v>40.965240000000001</c:v>
                </c:pt>
                <c:pt idx="687">
                  <c:v>41.017952000000001</c:v>
                </c:pt>
                <c:pt idx="688">
                  <c:v>41.195346999999998</c:v>
                </c:pt>
                <c:pt idx="689">
                  <c:v>40.835050000000003</c:v>
                </c:pt>
                <c:pt idx="690">
                  <c:v>40.735798000000003</c:v>
                </c:pt>
                <c:pt idx="691">
                  <c:v>40.783684000000001</c:v>
                </c:pt>
                <c:pt idx="692">
                  <c:v>40.863160000000001</c:v>
                </c:pt>
                <c:pt idx="693">
                  <c:v>40.712757000000003</c:v>
                </c:pt>
                <c:pt idx="694">
                  <c:v>36.997444000000002</c:v>
                </c:pt>
                <c:pt idx="695">
                  <c:v>39.837269999999997</c:v>
                </c:pt>
                <c:pt idx="696">
                  <c:v>39.409602999999997</c:v>
                </c:pt>
                <c:pt idx="697">
                  <c:v>39.057130000000001</c:v>
                </c:pt>
                <c:pt idx="698">
                  <c:v>39.198456</c:v>
                </c:pt>
                <c:pt idx="699">
                  <c:v>39.384402999999999</c:v>
                </c:pt>
                <c:pt idx="700">
                  <c:v>39.699654000000002</c:v>
                </c:pt>
                <c:pt idx="701">
                  <c:v>39.628146999999998</c:v>
                </c:pt>
                <c:pt idx="702">
                  <c:v>39.857315</c:v>
                </c:pt>
                <c:pt idx="703">
                  <c:v>40.191273000000002</c:v>
                </c:pt>
                <c:pt idx="704">
                  <c:v>40.06953</c:v>
                </c:pt>
                <c:pt idx="705">
                  <c:v>39.78537</c:v>
                </c:pt>
                <c:pt idx="706">
                  <c:v>39.524726999999999</c:v>
                </c:pt>
                <c:pt idx="707">
                  <c:v>39.28539</c:v>
                </c:pt>
                <c:pt idx="708">
                  <c:v>39.017563000000003</c:v>
                </c:pt>
                <c:pt idx="709">
                  <c:v>38.778233</c:v>
                </c:pt>
                <c:pt idx="710">
                  <c:v>38.533607000000003</c:v>
                </c:pt>
                <c:pt idx="711">
                  <c:v>38.513171999999997</c:v>
                </c:pt>
                <c:pt idx="712">
                  <c:v>38.499496000000001</c:v>
                </c:pt>
                <c:pt idx="713">
                  <c:v>38.192574</c:v>
                </c:pt>
                <c:pt idx="714">
                  <c:v>37.92501</c:v>
                </c:pt>
                <c:pt idx="715">
                  <c:v>38.123432000000001</c:v>
                </c:pt>
                <c:pt idx="716">
                  <c:v>38.304360000000003</c:v>
                </c:pt>
                <c:pt idx="717">
                  <c:v>38.409953999999999</c:v>
                </c:pt>
                <c:pt idx="718">
                  <c:v>37.509729999999998</c:v>
                </c:pt>
                <c:pt idx="719">
                  <c:v>37.804253000000003</c:v>
                </c:pt>
                <c:pt idx="720">
                  <c:v>38.217174999999997</c:v>
                </c:pt>
                <c:pt idx="721">
                  <c:v>38.574814000000003</c:v>
                </c:pt>
                <c:pt idx="722">
                  <c:v>39.102207</c:v>
                </c:pt>
                <c:pt idx="723">
                  <c:v>39.414318000000002</c:v>
                </c:pt>
                <c:pt idx="724">
                  <c:v>39.712679999999999</c:v>
                </c:pt>
                <c:pt idx="725">
                  <c:v>39.591118000000002</c:v>
                </c:pt>
                <c:pt idx="726">
                  <c:v>39.399887</c:v>
                </c:pt>
                <c:pt idx="727">
                  <c:v>38.6218</c:v>
                </c:pt>
                <c:pt idx="728">
                  <c:v>38.136040000000001</c:v>
                </c:pt>
                <c:pt idx="729">
                  <c:v>37.520009999999999</c:v>
                </c:pt>
                <c:pt idx="730">
                  <c:v>37.027572999999997</c:v>
                </c:pt>
                <c:pt idx="731">
                  <c:v>36.842647999999997</c:v>
                </c:pt>
                <c:pt idx="732">
                  <c:v>36.134574999999998</c:v>
                </c:pt>
                <c:pt idx="733">
                  <c:v>35.979523</c:v>
                </c:pt>
                <c:pt idx="734">
                  <c:v>35.798020000000001</c:v>
                </c:pt>
                <c:pt idx="735">
                  <c:v>35.881557000000001</c:v>
                </c:pt>
                <c:pt idx="736">
                  <c:v>34.37415</c:v>
                </c:pt>
                <c:pt idx="737">
                  <c:v>35.807569999999998</c:v>
                </c:pt>
                <c:pt idx="738">
                  <c:v>35.114559999999997</c:v>
                </c:pt>
                <c:pt idx="739">
                  <c:v>36.184753000000001</c:v>
                </c:pt>
                <c:pt idx="740">
                  <c:v>36.787909999999997</c:v>
                </c:pt>
                <c:pt idx="741">
                  <c:v>36.90596</c:v>
                </c:pt>
                <c:pt idx="742">
                  <c:v>37.151949999999999</c:v>
                </c:pt>
                <c:pt idx="743">
                  <c:v>37.057169999999999</c:v>
                </c:pt>
                <c:pt idx="744">
                  <c:v>36.458379999999998</c:v>
                </c:pt>
                <c:pt idx="745">
                  <c:v>35.971519999999998</c:v>
                </c:pt>
                <c:pt idx="746">
                  <c:v>36.453212999999998</c:v>
                </c:pt>
                <c:pt idx="747">
                  <c:v>34.75949</c:v>
                </c:pt>
                <c:pt idx="748">
                  <c:v>37.159492</c:v>
                </c:pt>
                <c:pt idx="749">
                  <c:v>37.779305000000001</c:v>
                </c:pt>
                <c:pt idx="750">
                  <c:v>38.096736999999997</c:v>
                </c:pt>
                <c:pt idx="751">
                  <c:v>38.07931</c:v>
                </c:pt>
                <c:pt idx="752">
                  <c:v>38.176796000000003</c:v>
                </c:pt>
                <c:pt idx="753">
                  <c:v>38.416294000000001</c:v>
                </c:pt>
                <c:pt idx="754">
                  <c:v>38.450470000000003</c:v>
                </c:pt>
                <c:pt idx="755">
                  <c:v>38.349086999999997</c:v>
                </c:pt>
                <c:pt idx="756">
                  <c:v>38.443959999999997</c:v>
                </c:pt>
                <c:pt idx="757">
                  <c:v>38.41892</c:v>
                </c:pt>
                <c:pt idx="758">
                  <c:v>38.287308000000003</c:v>
                </c:pt>
                <c:pt idx="759">
                  <c:v>38.075519999999997</c:v>
                </c:pt>
                <c:pt idx="760">
                  <c:v>38.102158000000003</c:v>
                </c:pt>
                <c:pt idx="761">
                  <c:v>38.376038000000001</c:v>
                </c:pt>
                <c:pt idx="762">
                  <c:v>38.576065</c:v>
                </c:pt>
                <c:pt idx="763">
                  <c:v>38.732384000000003</c:v>
                </c:pt>
                <c:pt idx="764">
                  <c:v>38.749499999999998</c:v>
                </c:pt>
                <c:pt idx="765">
                  <c:v>38.844029999999997</c:v>
                </c:pt>
                <c:pt idx="766">
                  <c:v>38.775672999999998</c:v>
                </c:pt>
                <c:pt idx="767">
                  <c:v>38.767074999999998</c:v>
                </c:pt>
                <c:pt idx="768">
                  <c:v>38.644359999999999</c:v>
                </c:pt>
                <c:pt idx="769">
                  <c:v>38.555442999999997</c:v>
                </c:pt>
                <c:pt idx="770">
                  <c:v>38.736668000000002</c:v>
                </c:pt>
                <c:pt idx="771">
                  <c:v>38.101264999999998</c:v>
                </c:pt>
                <c:pt idx="772">
                  <c:v>38.591790000000003</c:v>
                </c:pt>
                <c:pt idx="773">
                  <c:v>38.747256999999998</c:v>
                </c:pt>
                <c:pt idx="774">
                  <c:v>38.924354999999998</c:v>
                </c:pt>
                <c:pt idx="775">
                  <c:v>39.155436999999999</c:v>
                </c:pt>
                <c:pt idx="776">
                  <c:v>39.376021999999999</c:v>
                </c:pt>
                <c:pt idx="777">
                  <c:v>39.512225999999998</c:v>
                </c:pt>
                <c:pt idx="778">
                  <c:v>39.535755000000002</c:v>
                </c:pt>
                <c:pt idx="779">
                  <c:v>38.874447000000004</c:v>
                </c:pt>
                <c:pt idx="780">
                  <c:v>37.231929999999998</c:v>
                </c:pt>
                <c:pt idx="781">
                  <c:v>39.127968000000003</c:v>
                </c:pt>
                <c:pt idx="782">
                  <c:v>38.831237999999999</c:v>
                </c:pt>
                <c:pt idx="783">
                  <c:v>38.352400000000003</c:v>
                </c:pt>
                <c:pt idx="784">
                  <c:v>38.728520000000003</c:v>
                </c:pt>
                <c:pt idx="785">
                  <c:v>38.711350000000003</c:v>
                </c:pt>
                <c:pt idx="786">
                  <c:v>37.810547</c:v>
                </c:pt>
                <c:pt idx="787">
                  <c:v>37.828650000000003</c:v>
                </c:pt>
                <c:pt idx="788">
                  <c:v>37.598739999999999</c:v>
                </c:pt>
                <c:pt idx="789">
                  <c:v>37.688552999999999</c:v>
                </c:pt>
                <c:pt idx="790">
                  <c:v>37.762135000000001</c:v>
                </c:pt>
                <c:pt idx="791">
                  <c:v>38.071525999999999</c:v>
                </c:pt>
                <c:pt idx="792">
                  <c:v>38.022841999999997</c:v>
                </c:pt>
                <c:pt idx="793">
                  <c:v>38.185772</c:v>
                </c:pt>
                <c:pt idx="794">
                  <c:v>38.114407</c:v>
                </c:pt>
                <c:pt idx="795">
                  <c:v>38.224873000000002</c:v>
                </c:pt>
                <c:pt idx="796">
                  <c:v>37.812690000000003</c:v>
                </c:pt>
                <c:pt idx="797">
                  <c:v>37.662120000000002</c:v>
                </c:pt>
                <c:pt idx="798">
                  <c:v>37.860779999999998</c:v>
                </c:pt>
                <c:pt idx="799">
                  <c:v>38.242145999999998</c:v>
                </c:pt>
                <c:pt idx="800">
                  <c:v>38.463090000000001</c:v>
                </c:pt>
                <c:pt idx="801">
                  <c:v>38.786613000000003</c:v>
                </c:pt>
                <c:pt idx="802">
                  <c:v>38.501873000000003</c:v>
                </c:pt>
                <c:pt idx="803">
                  <c:v>37.357993999999998</c:v>
                </c:pt>
                <c:pt idx="804">
                  <c:v>37.146763</c:v>
                </c:pt>
                <c:pt idx="805">
                  <c:v>36.880656999999999</c:v>
                </c:pt>
                <c:pt idx="806">
                  <c:v>36.902813000000002</c:v>
                </c:pt>
                <c:pt idx="807">
                  <c:v>37.140464999999999</c:v>
                </c:pt>
                <c:pt idx="808">
                  <c:v>36.721912000000003</c:v>
                </c:pt>
                <c:pt idx="809">
                  <c:v>37.108986000000002</c:v>
                </c:pt>
                <c:pt idx="810">
                  <c:v>33.447986999999998</c:v>
                </c:pt>
                <c:pt idx="811">
                  <c:v>37.305602999999998</c:v>
                </c:pt>
                <c:pt idx="812">
                  <c:v>37.415325000000003</c:v>
                </c:pt>
                <c:pt idx="813">
                  <c:v>37.444510000000001</c:v>
                </c:pt>
                <c:pt idx="814">
                  <c:v>37.764763000000002</c:v>
                </c:pt>
                <c:pt idx="815">
                  <c:v>38.178055000000001</c:v>
                </c:pt>
                <c:pt idx="816">
                  <c:v>38.485819999999997</c:v>
                </c:pt>
                <c:pt idx="817">
                  <c:v>38.217827</c:v>
                </c:pt>
                <c:pt idx="818">
                  <c:v>38.29242</c:v>
                </c:pt>
                <c:pt idx="819">
                  <c:v>38.237278000000003</c:v>
                </c:pt>
                <c:pt idx="820">
                  <c:v>38.074620000000003</c:v>
                </c:pt>
                <c:pt idx="821">
                  <c:v>38.330868000000002</c:v>
                </c:pt>
                <c:pt idx="822">
                  <c:v>38.564216999999999</c:v>
                </c:pt>
                <c:pt idx="823">
                  <c:v>38.196162999999999</c:v>
                </c:pt>
                <c:pt idx="824">
                  <c:v>39.288414000000003</c:v>
                </c:pt>
                <c:pt idx="825">
                  <c:v>39.605705</c:v>
                </c:pt>
                <c:pt idx="826">
                  <c:v>39.808729999999997</c:v>
                </c:pt>
                <c:pt idx="827">
                  <c:v>39.978282999999998</c:v>
                </c:pt>
                <c:pt idx="828">
                  <c:v>40.036636000000001</c:v>
                </c:pt>
                <c:pt idx="829">
                  <c:v>39.969326000000002</c:v>
                </c:pt>
                <c:pt idx="830">
                  <c:v>40.169193</c:v>
                </c:pt>
                <c:pt idx="831">
                  <c:v>40.321964000000001</c:v>
                </c:pt>
                <c:pt idx="832">
                  <c:v>39.816139999999997</c:v>
                </c:pt>
                <c:pt idx="833">
                  <c:v>39.629640000000002</c:v>
                </c:pt>
                <c:pt idx="834">
                  <c:v>39.230007000000001</c:v>
                </c:pt>
                <c:pt idx="835">
                  <c:v>39.264904000000001</c:v>
                </c:pt>
                <c:pt idx="836">
                  <c:v>39.332949999999997</c:v>
                </c:pt>
                <c:pt idx="837">
                  <c:v>39.359059999999999</c:v>
                </c:pt>
                <c:pt idx="838">
                  <c:v>39.177245999999997</c:v>
                </c:pt>
                <c:pt idx="839">
                  <c:v>38.710949999999997</c:v>
                </c:pt>
                <c:pt idx="840">
                  <c:v>35.602694999999997</c:v>
                </c:pt>
                <c:pt idx="841">
                  <c:v>37.96266</c:v>
                </c:pt>
                <c:pt idx="842">
                  <c:v>37.532234000000003</c:v>
                </c:pt>
                <c:pt idx="843">
                  <c:v>37.813457</c:v>
                </c:pt>
                <c:pt idx="844">
                  <c:v>38.053899999999999</c:v>
                </c:pt>
                <c:pt idx="845">
                  <c:v>38.451332000000001</c:v>
                </c:pt>
                <c:pt idx="846">
                  <c:v>36.098323999999998</c:v>
                </c:pt>
                <c:pt idx="847">
                  <c:v>36.534602999999997</c:v>
                </c:pt>
                <c:pt idx="848">
                  <c:v>35.906734</c:v>
                </c:pt>
                <c:pt idx="849">
                  <c:v>35.924003999999996</c:v>
                </c:pt>
                <c:pt idx="850">
                  <c:v>36.206028000000003</c:v>
                </c:pt>
                <c:pt idx="851">
                  <c:v>36.960906999999999</c:v>
                </c:pt>
                <c:pt idx="852">
                  <c:v>37.464362999999999</c:v>
                </c:pt>
                <c:pt idx="853">
                  <c:v>38.130659999999999</c:v>
                </c:pt>
                <c:pt idx="854">
                  <c:v>38.056716999999999</c:v>
                </c:pt>
                <c:pt idx="855">
                  <c:v>38.464592000000003</c:v>
                </c:pt>
                <c:pt idx="856">
                  <c:v>38.723987999999999</c:v>
                </c:pt>
                <c:pt idx="857">
                  <c:v>39.008130000000001</c:v>
                </c:pt>
                <c:pt idx="858">
                  <c:v>38.365475000000004</c:v>
                </c:pt>
                <c:pt idx="859">
                  <c:v>38.511665000000001</c:v>
                </c:pt>
                <c:pt idx="860">
                  <c:v>38.650573999999999</c:v>
                </c:pt>
                <c:pt idx="861">
                  <c:v>39.306995000000001</c:v>
                </c:pt>
                <c:pt idx="862">
                  <c:v>39.948307</c:v>
                </c:pt>
                <c:pt idx="863">
                  <c:v>40.619976000000001</c:v>
                </c:pt>
                <c:pt idx="864">
                  <c:v>40.792490000000001</c:v>
                </c:pt>
                <c:pt idx="865">
                  <c:v>39.280110000000001</c:v>
                </c:pt>
                <c:pt idx="866">
                  <c:v>40.833579999999998</c:v>
                </c:pt>
                <c:pt idx="867">
                  <c:v>39.572575000000001</c:v>
                </c:pt>
                <c:pt idx="868">
                  <c:v>41.735252000000003</c:v>
                </c:pt>
                <c:pt idx="869">
                  <c:v>42.201636999999998</c:v>
                </c:pt>
                <c:pt idx="870">
                  <c:v>42.685524000000001</c:v>
                </c:pt>
                <c:pt idx="871">
                  <c:v>42.725338000000001</c:v>
                </c:pt>
                <c:pt idx="872">
                  <c:v>42.892952000000001</c:v>
                </c:pt>
                <c:pt idx="873">
                  <c:v>42.093451999999999</c:v>
                </c:pt>
                <c:pt idx="874">
                  <c:v>42.737200000000001</c:v>
                </c:pt>
                <c:pt idx="875">
                  <c:v>42.966709999999999</c:v>
                </c:pt>
                <c:pt idx="876">
                  <c:v>41.579844999999999</c:v>
                </c:pt>
                <c:pt idx="877">
                  <c:v>41.882686999999997</c:v>
                </c:pt>
                <c:pt idx="878">
                  <c:v>41.692455000000002</c:v>
                </c:pt>
                <c:pt idx="879">
                  <c:v>41.721138000000003</c:v>
                </c:pt>
                <c:pt idx="880">
                  <c:v>41.729590000000002</c:v>
                </c:pt>
                <c:pt idx="881">
                  <c:v>41.929650000000002</c:v>
                </c:pt>
                <c:pt idx="882">
                  <c:v>41.937984</c:v>
                </c:pt>
                <c:pt idx="883">
                  <c:v>41.685997</c:v>
                </c:pt>
                <c:pt idx="884">
                  <c:v>41.382686999999997</c:v>
                </c:pt>
                <c:pt idx="885">
                  <c:v>41.479255999999999</c:v>
                </c:pt>
                <c:pt idx="886">
                  <c:v>41.415782999999998</c:v>
                </c:pt>
                <c:pt idx="887">
                  <c:v>41.486409999999999</c:v>
                </c:pt>
                <c:pt idx="888">
                  <c:v>41.441130000000001</c:v>
                </c:pt>
                <c:pt idx="889">
                  <c:v>41.421689999999998</c:v>
                </c:pt>
                <c:pt idx="890">
                  <c:v>41.426837999999996</c:v>
                </c:pt>
                <c:pt idx="891">
                  <c:v>41.385596999999997</c:v>
                </c:pt>
                <c:pt idx="892">
                  <c:v>42.185993000000003</c:v>
                </c:pt>
                <c:pt idx="893">
                  <c:v>40.661205000000002</c:v>
                </c:pt>
                <c:pt idx="894">
                  <c:v>39.95552</c:v>
                </c:pt>
                <c:pt idx="895">
                  <c:v>39.961643000000002</c:v>
                </c:pt>
                <c:pt idx="896">
                  <c:v>40.216675000000002</c:v>
                </c:pt>
                <c:pt idx="897">
                  <c:v>40.469810000000003</c:v>
                </c:pt>
                <c:pt idx="898">
                  <c:v>39.897056999999997</c:v>
                </c:pt>
                <c:pt idx="899">
                  <c:v>39.978949999999998</c:v>
                </c:pt>
                <c:pt idx="900">
                  <c:v>39.828364999999998</c:v>
                </c:pt>
                <c:pt idx="901">
                  <c:v>39.474310000000003</c:v>
                </c:pt>
                <c:pt idx="902">
                  <c:v>39.322685</c:v>
                </c:pt>
                <c:pt idx="903">
                  <c:v>39.324565999999997</c:v>
                </c:pt>
                <c:pt idx="904">
                  <c:v>39.435715000000002</c:v>
                </c:pt>
                <c:pt idx="905">
                  <c:v>39.240130000000001</c:v>
                </c:pt>
                <c:pt idx="906">
                  <c:v>39.518462999999997</c:v>
                </c:pt>
                <c:pt idx="907">
                  <c:v>39.711081999999998</c:v>
                </c:pt>
                <c:pt idx="908">
                  <c:v>39.56991</c:v>
                </c:pt>
                <c:pt idx="909">
                  <c:v>39.71848</c:v>
                </c:pt>
                <c:pt idx="910">
                  <c:v>40.099705</c:v>
                </c:pt>
                <c:pt idx="911">
                  <c:v>40.145110000000003</c:v>
                </c:pt>
                <c:pt idx="912">
                  <c:v>40.430835999999999</c:v>
                </c:pt>
                <c:pt idx="913">
                  <c:v>40.600883000000003</c:v>
                </c:pt>
                <c:pt idx="914">
                  <c:v>40.202419999999996</c:v>
                </c:pt>
                <c:pt idx="915">
                  <c:v>40.223624999999998</c:v>
                </c:pt>
                <c:pt idx="916">
                  <c:v>40.045684999999999</c:v>
                </c:pt>
                <c:pt idx="917">
                  <c:v>39.835445</c:v>
                </c:pt>
                <c:pt idx="918">
                  <c:v>40.108555000000003</c:v>
                </c:pt>
                <c:pt idx="919">
                  <c:v>40.325026999999999</c:v>
                </c:pt>
                <c:pt idx="920">
                  <c:v>40.490611999999999</c:v>
                </c:pt>
                <c:pt idx="921">
                  <c:v>40.475487000000001</c:v>
                </c:pt>
                <c:pt idx="922">
                  <c:v>40.066288</c:v>
                </c:pt>
                <c:pt idx="923">
                  <c:v>39.923949999999998</c:v>
                </c:pt>
                <c:pt idx="924">
                  <c:v>39.122703999999999</c:v>
                </c:pt>
                <c:pt idx="925">
                  <c:v>39.013500000000001</c:v>
                </c:pt>
                <c:pt idx="926">
                  <c:v>39.254710000000003</c:v>
                </c:pt>
                <c:pt idx="927">
                  <c:v>39.054360000000003</c:v>
                </c:pt>
                <c:pt idx="928">
                  <c:v>38.621346000000003</c:v>
                </c:pt>
                <c:pt idx="929">
                  <c:v>38.093822000000003</c:v>
                </c:pt>
                <c:pt idx="930">
                  <c:v>38.079234999999997</c:v>
                </c:pt>
                <c:pt idx="931">
                  <c:v>38.430149999999998</c:v>
                </c:pt>
                <c:pt idx="932">
                  <c:v>39.336889999999997</c:v>
                </c:pt>
                <c:pt idx="933">
                  <c:v>38.732174000000001</c:v>
                </c:pt>
                <c:pt idx="934">
                  <c:v>38.987349999999999</c:v>
                </c:pt>
                <c:pt idx="935">
                  <c:v>39.21425</c:v>
                </c:pt>
                <c:pt idx="936">
                  <c:v>39.488543999999997</c:v>
                </c:pt>
                <c:pt idx="937">
                  <c:v>39.397219999999997</c:v>
                </c:pt>
                <c:pt idx="938">
                  <c:v>39.596103999999997</c:v>
                </c:pt>
                <c:pt idx="939">
                  <c:v>39.699359999999999</c:v>
                </c:pt>
                <c:pt idx="940">
                  <c:v>39.697795999999997</c:v>
                </c:pt>
                <c:pt idx="941">
                  <c:v>39.643355999999997</c:v>
                </c:pt>
                <c:pt idx="942">
                  <c:v>39.822654999999997</c:v>
                </c:pt>
                <c:pt idx="943">
                  <c:v>39.794795999999998</c:v>
                </c:pt>
                <c:pt idx="944">
                  <c:v>40.967834000000003</c:v>
                </c:pt>
                <c:pt idx="945">
                  <c:v>39.859549999999999</c:v>
                </c:pt>
                <c:pt idx="946">
                  <c:v>40.575180000000003</c:v>
                </c:pt>
                <c:pt idx="947">
                  <c:v>41.025185</c:v>
                </c:pt>
                <c:pt idx="948">
                  <c:v>39.698880000000003</c:v>
                </c:pt>
                <c:pt idx="949">
                  <c:v>39.776229999999998</c:v>
                </c:pt>
                <c:pt idx="950">
                  <c:v>39.895004</c:v>
                </c:pt>
                <c:pt idx="951">
                  <c:v>39.871250000000003</c:v>
                </c:pt>
                <c:pt idx="952">
                  <c:v>40.420650000000002</c:v>
                </c:pt>
                <c:pt idx="953">
                  <c:v>40.747160000000001</c:v>
                </c:pt>
                <c:pt idx="954">
                  <c:v>40.755276000000002</c:v>
                </c:pt>
                <c:pt idx="955">
                  <c:v>43.061816999999998</c:v>
                </c:pt>
                <c:pt idx="956">
                  <c:v>41.477707000000002</c:v>
                </c:pt>
                <c:pt idx="957">
                  <c:v>41.333680000000001</c:v>
                </c:pt>
                <c:pt idx="958">
                  <c:v>41.188890000000001</c:v>
                </c:pt>
                <c:pt idx="959">
                  <c:v>41.16516</c:v>
                </c:pt>
                <c:pt idx="960">
                  <c:v>41.318237000000003</c:v>
                </c:pt>
                <c:pt idx="961">
                  <c:v>41.476295</c:v>
                </c:pt>
                <c:pt idx="962">
                  <c:v>41.22728</c:v>
                </c:pt>
                <c:pt idx="963">
                  <c:v>41.334507000000002</c:v>
                </c:pt>
                <c:pt idx="964">
                  <c:v>41.154167000000001</c:v>
                </c:pt>
                <c:pt idx="965">
                  <c:v>41.055557</c:v>
                </c:pt>
                <c:pt idx="966">
                  <c:v>41.269219999999997</c:v>
                </c:pt>
                <c:pt idx="967">
                  <c:v>41.497590000000002</c:v>
                </c:pt>
                <c:pt idx="968">
                  <c:v>41.541200000000003</c:v>
                </c:pt>
                <c:pt idx="969">
                  <c:v>41.377160000000003</c:v>
                </c:pt>
                <c:pt idx="970">
                  <c:v>41.664160000000003</c:v>
                </c:pt>
                <c:pt idx="971">
                  <c:v>41.974240000000002</c:v>
                </c:pt>
                <c:pt idx="972">
                  <c:v>42.333137999999998</c:v>
                </c:pt>
                <c:pt idx="973">
                  <c:v>42.660156000000001</c:v>
                </c:pt>
                <c:pt idx="974">
                  <c:v>43.035820000000001</c:v>
                </c:pt>
                <c:pt idx="975">
                  <c:v>43.379832999999998</c:v>
                </c:pt>
                <c:pt idx="976">
                  <c:v>43.458469999999998</c:v>
                </c:pt>
                <c:pt idx="977">
                  <c:v>43.526974000000003</c:v>
                </c:pt>
                <c:pt idx="978">
                  <c:v>42.750205999999999</c:v>
                </c:pt>
                <c:pt idx="979">
                  <c:v>42.549216999999999</c:v>
                </c:pt>
                <c:pt idx="980">
                  <c:v>42.470165000000001</c:v>
                </c:pt>
                <c:pt idx="981">
                  <c:v>42.425049999999999</c:v>
                </c:pt>
                <c:pt idx="982">
                  <c:v>42.15419</c:v>
                </c:pt>
                <c:pt idx="983">
                  <c:v>42.229170000000003</c:v>
                </c:pt>
                <c:pt idx="984">
                  <c:v>42.071438000000001</c:v>
                </c:pt>
                <c:pt idx="985">
                  <c:v>41.991849999999999</c:v>
                </c:pt>
                <c:pt idx="986">
                  <c:v>42.574027999999998</c:v>
                </c:pt>
                <c:pt idx="987">
                  <c:v>42.351086000000002</c:v>
                </c:pt>
                <c:pt idx="988">
                  <c:v>42.411110000000001</c:v>
                </c:pt>
                <c:pt idx="989">
                  <c:v>42.485106999999999</c:v>
                </c:pt>
                <c:pt idx="990">
                  <c:v>42.656734</c:v>
                </c:pt>
                <c:pt idx="991">
                  <c:v>42.678814000000003</c:v>
                </c:pt>
                <c:pt idx="992">
                  <c:v>42.754063000000002</c:v>
                </c:pt>
                <c:pt idx="993">
                  <c:v>42.828727999999998</c:v>
                </c:pt>
                <c:pt idx="994">
                  <c:v>42.921084999999998</c:v>
                </c:pt>
                <c:pt idx="995">
                  <c:v>42.478099999999998</c:v>
                </c:pt>
                <c:pt idx="996">
                  <c:v>41.159239999999997</c:v>
                </c:pt>
                <c:pt idx="997">
                  <c:v>40.108260000000001</c:v>
                </c:pt>
                <c:pt idx="998">
                  <c:v>39.665923999999997</c:v>
                </c:pt>
                <c:pt idx="999">
                  <c:v>39.650855999999997</c:v>
                </c:pt>
                <c:pt idx="1000">
                  <c:v>39.697315000000003</c:v>
                </c:pt>
                <c:pt idx="1001">
                  <c:v>39.919670000000004</c:v>
                </c:pt>
                <c:pt idx="1002">
                  <c:v>40.280242999999999</c:v>
                </c:pt>
                <c:pt idx="1003">
                  <c:v>40.350110000000001</c:v>
                </c:pt>
                <c:pt idx="1004">
                  <c:v>41.804879999999997</c:v>
                </c:pt>
                <c:pt idx="1005">
                  <c:v>42.199874999999999</c:v>
                </c:pt>
                <c:pt idx="1006">
                  <c:v>41.469746000000001</c:v>
                </c:pt>
                <c:pt idx="1007">
                  <c:v>41.755282999999999</c:v>
                </c:pt>
                <c:pt idx="1008">
                  <c:v>42.294617000000002</c:v>
                </c:pt>
                <c:pt idx="1009">
                  <c:v>41.989113000000003</c:v>
                </c:pt>
                <c:pt idx="1010">
                  <c:v>42.204524999999997</c:v>
                </c:pt>
                <c:pt idx="1011">
                  <c:v>42.564945000000002</c:v>
                </c:pt>
                <c:pt idx="1012">
                  <c:v>42.928049999999999</c:v>
                </c:pt>
                <c:pt idx="1013">
                  <c:v>43.131630000000001</c:v>
                </c:pt>
                <c:pt idx="1014">
                  <c:v>43.354750000000003</c:v>
                </c:pt>
                <c:pt idx="1015">
                  <c:v>43.656959999999998</c:v>
                </c:pt>
                <c:pt idx="1016">
                  <c:v>43.971397000000003</c:v>
                </c:pt>
                <c:pt idx="1017">
                  <c:v>44.160274999999999</c:v>
                </c:pt>
                <c:pt idx="1018">
                  <c:v>44.111412000000001</c:v>
                </c:pt>
                <c:pt idx="1019">
                  <c:v>44.007213999999998</c:v>
                </c:pt>
                <c:pt idx="1020">
                  <c:v>43.960650000000001</c:v>
                </c:pt>
                <c:pt idx="1021">
                  <c:v>43.476030000000002</c:v>
                </c:pt>
                <c:pt idx="1022">
                  <c:v>43.633366000000002</c:v>
                </c:pt>
                <c:pt idx="1023">
                  <c:v>43.735100000000003</c:v>
                </c:pt>
                <c:pt idx="1024">
                  <c:v>43.450718000000002</c:v>
                </c:pt>
                <c:pt idx="1025">
                  <c:v>43.399914000000003</c:v>
                </c:pt>
                <c:pt idx="1026">
                  <c:v>43.146180000000001</c:v>
                </c:pt>
                <c:pt idx="1027">
                  <c:v>42.732661999999998</c:v>
                </c:pt>
                <c:pt idx="1028">
                  <c:v>41.987209999999997</c:v>
                </c:pt>
                <c:pt idx="1029">
                  <c:v>41.904471999999998</c:v>
                </c:pt>
                <c:pt idx="1030">
                  <c:v>41.552810000000001</c:v>
                </c:pt>
                <c:pt idx="1031">
                  <c:v>40.561570000000003</c:v>
                </c:pt>
                <c:pt idx="1032">
                  <c:v>41.421726</c:v>
                </c:pt>
                <c:pt idx="1033">
                  <c:v>41.110109999999999</c:v>
                </c:pt>
                <c:pt idx="1034">
                  <c:v>40.301163000000003</c:v>
                </c:pt>
                <c:pt idx="1035">
                  <c:v>40.92409</c:v>
                </c:pt>
                <c:pt idx="1036">
                  <c:v>42.463650000000001</c:v>
                </c:pt>
                <c:pt idx="1037">
                  <c:v>41.326385000000002</c:v>
                </c:pt>
                <c:pt idx="1038">
                  <c:v>41.637599999999999</c:v>
                </c:pt>
                <c:pt idx="1039">
                  <c:v>41.622062999999997</c:v>
                </c:pt>
                <c:pt idx="1040">
                  <c:v>41.942540000000001</c:v>
                </c:pt>
                <c:pt idx="1041">
                  <c:v>42.377879999999998</c:v>
                </c:pt>
                <c:pt idx="1042">
                  <c:v>42.238483000000002</c:v>
                </c:pt>
                <c:pt idx="1043">
                  <c:v>42.280749999999998</c:v>
                </c:pt>
                <c:pt idx="1044">
                  <c:v>42.676025000000003</c:v>
                </c:pt>
                <c:pt idx="1045">
                  <c:v>43.040443000000003</c:v>
                </c:pt>
                <c:pt idx="1046">
                  <c:v>41.701183</c:v>
                </c:pt>
                <c:pt idx="1047">
                  <c:v>43.005004999999997</c:v>
                </c:pt>
                <c:pt idx="1048">
                  <c:v>42.626446000000001</c:v>
                </c:pt>
                <c:pt idx="1049">
                  <c:v>42.11544</c:v>
                </c:pt>
                <c:pt idx="1050">
                  <c:v>42.658000000000001</c:v>
                </c:pt>
                <c:pt idx="1051">
                  <c:v>42.456164999999999</c:v>
                </c:pt>
                <c:pt idx="1052">
                  <c:v>40.243862</c:v>
                </c:pt>
                <c:pt idx="1053">
                  <c:v>43.258389999999999</c:v>
                </c:pt>
                <c:pt idx="1054">
                  <c:v>43.375599999999999</c:v>
                </c:pt>
                <c:pt idx="1055">
                  <c:v>43.470066000000003</c:v>
                </c:pt>
                <c:pt idx="1056">
                  <c:v>43.600124000000001</c:v>
                </c:pt>
                <c:pt idx="1057">
                  <c:v>43.683052000000004</c:v>
                </c:pt>
                <c:pt idx="1058">
                  <c:v>42.458281999999997</c:v>
                </c:pt>
                <c:pt idx="1059">
                  <c:v>41.683933000000003</c:v>
                </c:pt>
                <c:pt idx="1060">
                  <c:v>41.460835000000003</c:v>
                </c:pt>
                <c:pt idx="1061">
                  <c:v>40.930584000000003</c:v>
                </c:pt>
                <c:pt idx="1062">
                  <c:v>41.356290000000001</c:v>
                </c:pt>
                <c:pt idx="1063">
                  <c:v>41.664406</c:v>
                </c:pt>
                <c:pt idx="1064">
                  <c:v>41.929729999999999</c:v>
                </c:pt>
                <c:pt idx="1065">
                  <c:v>42.096733</c:v>
                </c:pt>
                <c:pt idx="1066">
                  <c:v>39.968563000000003</c:v>
                </c:pt>
                <c:pt idx="1067">
                  <c:v>41.699240000000003</c:v>
                </c:pt>
                <c:pt idx="1068">
                  <c:v>41.835884</c:v>
                </c:pt>
                <c:pt idx="1069">
                  <c:v>42.229312999999998</c:v>
                </c:pt>
                <c:pt idx="1070">
                  <c:v>42.513503999999998</c:v>
                </c:pt>
                <c:pt idx="1071">
                  <c:v>42.776511999999997</c:v>
                </c:pt>
                <c:pt idx="1072">
                  <c:v>42.832653000000001</c:v>
                </c:pt>
                <c:pt idx="1073">
                  <c:v>42.883426999999998</c:v>
                </c:pt>
                <c:pt idx="1074">
                  <c:v>42.973407999999999</c:v>
                </c:pt>
                <c:pt idx="1075">
                  <c:v>43.293419999999998</c:v>
                </c:pt>
                <c:pt idx="1076">
                  <c:v>43.756320000000002</c:v>
                </c:pt>
                <c:pt idx="1077">
                  <c:v>44.141314999999999</c:v>
                </c:pt>
                <c:pt idx="1078">
                  <c:v>44.359805999999999</c:v>
                </c:pt>
                <c:pt idx="1079">
                  <c:v>44.481254999999997</c:v>
                </c:pt>
                <c:pt idx="1080">
                  <c:v>44.589959999999998</c:v>
                </c:pt>
                <c:pt idx="1081">
                  <c:v>44.791550000000001</c:v>
                </c:pt>
                <c:pt idx="1082">
                  <c:v>45.060924999999997</c:v>
                </c:pt>
                <c:pt idx="1083">
                  <c:v>45.017173999999997</c:v>
                </c:pt>
                <c:pt idx="1084">
                  <c:v>45.402377999999999</c:v>
                </c:pt>
                <c:pt idx="1085">
                  <c:v>44.565598000000001</c:v>
                </c:pt>
                <c:pt idx="1086">
                  <c:v>45.217883999999998</c:v>
                </c:pt>
                <c:pt idx="1087">
                  <c:v>45.176043999999997</c:v>
                </c:pt>
                <c:pt idx="1088">
                  <c:v>45.086177999999997</c:v>
                </c:pt>
                <c:pt idx="1089">
                  <c:v>44.834755000000001</c:v>
                </c:pt>
                <c:pt idx="1090">
                  <c:v>44.944220000000001</c:v>
                </c:pt>
                <c:pt idx="1091">
                  <c:v>44.707317000000003</c:v>
                </c:pt>
                <c:pt idx="1092">
                  <c:v>45.320663000000003</c:v>
                </c:pt>
                <c:pt idx="1093">
                  <c:v>45.275959999999998</c:v>
                </c:pt>
                <c:pt idx="1094">
                  <c:v>45.508119999999998</c:v>
                </c:pt>
                <c:pt idx="1095">
                  <c:v>45.49286</c:v>
                </c:pt>
                <c:pt idx="1096">
                  <c:v>45.728996000000002</c:v>
                </c:pt>
                <c:pt idx="1097">
                  <c:v>45.32779</c:v>
                </c:pt>
                <c:pt idx="1098">
                  <c:v>44.625304999999997</c:v>
                </c:pt>
                <c:pt idx="1099">
                  <c:v>44.754989999999999</c:v>
                </c:pt>
                <c:pt idx="1100">
                  <c:v>44.873919999999998</c:v>
                </c:pt>
                <c:pt idx="1101">
                  <c:v>45.073624000000002</c:v>
                </c:pt>
                <c:pt idx="1102">
                  <c:v>44.997208000000001</c:v>
                </c:pt>
                <c:pt idx="1103">
                  <c:v>46.992686999999997</c:v>
                </c:pt>
                <c:pt idx="1104">
                  <c:v>45.225439999999999</c:v>
                </c:pt>
                <c:pt idx="1105">
                  <c:v>45.328789999999998</c:v>
                </c:pt>
                <c:pt idx="1106">
                  <c:v>45.138466000000001</c:v>
                </c:pt>
                <c:pt idx="1107">
                  <c:v>45.066580000000002</c:v>
                </c:pt>
                <c:pt idx="1108">
                  <c:v>45.190097999999999</c:v>
                </c:pt>
                <c:pt idx="1109">
                  <c:v>45.324897999999997</c:v>
                </c:pt>
                <c:pt idx="1110">
                  <c:v>45.153179999999999</c:v>
                </c:pt>
                <c:pt idx="1111">
                  <c:v>45.228233000000003</c:v>
                </c:pt>
                <c:pt idx="1112">
                  <c:v>45.441719999999997</c:v>
                </c:pt>
                <c:pt idx="1113">
                  <c:v>45.713790000000003</c:v>
                </c:pt>
                <c:pt idx="1114">
                  <c:v>45.934269999999998</c:v>
                </c:pt>
                <c:pt idx="1115">
                  <c:v>46.022143999999997</c:v>
                </c:pt>
                <c:pt idx="1116">
                  <c:v>46.162247000000001</c:v>
                </c:pt>
                <c:pt idx="1117">
                  <c:v>46.325389999999999</c:v>
                </c:pt>
                <c:pt idx="1118">
                  <c:v>46.430120000000002</c:v>
                </c:pt>
                <c:pt idx="1119">
                  <c:v>46.588500000000003</c:v>
                </c:pt>
                <c:pt idx="1120">
                  <c:v>46.691589999999998</c:v>
                </c:pt>
                <c:pt idx="1121">
                  <c:v>45.567390000000003</c:v>
                </c:pt>
                <c:pt idx="1122">
                  <c:v>45.892204</c:v>
                </c:pt>
                <c:pt idx="1123">
                  <c:v>45.840159999999997</c:v>
                </c:pt>
                <c:pt idx="1124">
                  <c:v>45.928739999999998</c:v>
                </c:pt>
                <c:pt idx="1125">
                  <c:v>46.070552999999997</c:v>
                </c:pt>
                <c:pt idx="1126">
                  <c:v>46.314087000000001</c:v>
                </c:pt>
                <c:pt idx="1127">
                  <c:v>46.636069999999997</c:v>
                </c:pt>
                <c:pt idx="1128">
                  <c:v>46.941242000000003</c:v>
                </c:pt>
                <c:pt idx="1129">
                  <c:v>47.038550000000001</c:v>
                </c:pt>
                <c:pt idx="1130">
                  <c:v>47.050773999999997</c:v>
                </c:pt>
                <c:pt idx="1131">
                  <c:v>46.874954000000002</c:v>
                </c:pt>
                <c:pt idx="1132">
                  <c:v>46.75947</c:v>
                </c:pt>
                <c:pt idx="1133">
                  <c:v>46.976813999999997</c:v>
                </c:pt>
                <c:pt idx="1134">
                  <c:v>47.149566999999998</c:v>
                </c:pt>
                <c:pt idx="1135">
                  <c:v>47.229495999999997</c:v>
                </c:pt>
                <c:pt idx="1136">
                  <c:v>42.898345999999997</c:v>
                </c:pt>
                <c:pt idx="1137">
                  <c:v>46.372577999999997</c:v>
                </c:pt>
                <c:pt idx="1138">
                  <c:v>46.381866000000002</c:v>
                </c:pt>
                <c:pt idx="1139">
                  <c:v>46.543900000000001</c:v>
                </c:pt>
                <c:pt idx="1140">
                  <c:v>46.284700000000001</c:v>
                </c:pt>
                <c:pt idx="1141">
                  <c:v>46.071309999999997</c:v>
                </c:pt>
                <c:pt idx="1142">
                  <c:v>45.466009999999997</c:v>
                </c:pt>
                <c:pt idx="1143">
                  <c:v>45.295853000000001</c:v>
                </c:pt>
                <c:pt idx="1144">
                  <c:v>45.35866</c:v>
                </c:pt>
                <c:pt idx="1145">
                  <c:v>45.447290000000002</c:v>
                </c:pt>
                <c:pt idx="1146">
                  <c:v>45.720039999999997</c:v>
                </c:pt>
                <c:pt idx="1147">
                  <c:v>45.934947999999999</c:v>
                </c:pt>
                <c:pt idx="1148">
                  <c:v>45.670001999999997</c:v>
                </c:pt>
                <c:pt idx="1149">
                  <c:v>45.371220000000001</c:v>
                </c:pt>
                <c:pt idx="1150">
                  <c:v>45.440890000000003</c:v>
                </c:pt>
                <c:pt idx="1151">
                  <c:v>45.617244999999997</c:v>
                </c:pt>
                <c:pt idx="1152">
                  <c:v>45.539879999999997</c:v>
                </c:pt>
                <c:pt idx="1153">
                  <c:v>45.550727999999999</c:v>
                </c:pt>
                <c:pt idx="1154">
                  <c:v>45.446330000000003</c:v>
                </c:pt>
                <c:pt idx="1155">
                  <c:v>45.49868</c:v>
                </c:pt>
                <c:pt idx="1156">
                  <c:v>44.551375999999998</c:v>
                </c:pt>
                <c:pt idx="1157">
                  <c:v>44.637894000000003</c:v>
                </c:pt>
                <c:pt idx="1158">
                  <c:v>44.547739999999997</c:v>
                </c:pt>
                <c:pt idx="1159">
                  <c:v>44.675879999999999</c:v>
                </c:pt>
                <c:pt idx="1160">
                  <c:v>44.701476999999997</c:v>
                </c:pt>
                <c:pt idx="1161">
                  <c:v>44.824916999999999</c:v>
                </c:pt>
                <c:pt idx="1162">
                  <c:v>44.837485999999998</c:v>
                </c:pt>
                <c:pt idx="1163">
                  <c:v>44.979979999999998</c:v>
                </c:pt>
                <c:pt idx="1164">
                  <c:v>45.032887000000002</c:v>
                </c:pt>
                <c:pt idx="1165">
                  <c:v>44.835540000000002</c:v>
                </c:pt>
                <c:pt idx="1166">
                  <c:v>44.535263</c:v>
                </c:pt>
                <c:pt idx="1167">
                  <c:v>44.774624000000003</c:v>
                </c:pt>
                <c:pt idx="1168">
                  <c:v>44.701866000000003</c:v>
                </c:pt>
                <c:pt idx="1169">
                  <c:v>44.261401999999997</c:v>
                </c:pt>
                <c:pt idx="1170">
                  <c:v>44.55453</c:v>
                </c:pt>
                <c:pt idx="1171">
                  <c:v>44.862769999999998</c:v>
                </c:pt>
                <c:pt idx="1172">
                  <c:v>45.259253999999999</c:v>
                </c:pt>
                <c:pt idx="1173">
                  <c:v>45.023766000000002</c:v>
                </c:pt>
                <c:pt idx="1174">
                  <c:v>45.093131999999997</c:v>
                </c:pt>
                <c:pt idx="1175">
                  <c:v>45.454783999999997</c:v>
                </c:pt>
                <c:pt idx="1176">
                  <c:v>45.848509999999997</c:v>
                </c:pt>
                <c:pt idx="1177">
                  <c:v>46.230840000000001</c:v>
                </c:pt>
                <c:pt idx="1178">
                  <c:v>46.628962999999999</c:v>
                </c:pt>
                <c:pt idx="1179">
                  <c:v>47.100729999999999</c:v>
                </c:pt>
                <c:pt idx="1180">
                  <c:v>47.04804</c:v>
                </c:pt>
                <c:pt idx="1181">
                  <c:v>47.338196000000003</c:v>
                </c:pt>
                <c:pt idx="1182">
                  <c:v>47.647457000000003</c:v>
                </c:pt>
                <c:pt idx="1183">
                  <c:v>47.91404</c:v>
                </c:pt>
                <c:pt idx="1184">
                  <c:v>48.032947999999998</c:v>
                </c:pt>
                <c:pt idx="1185">
                  <c:v>47.456837</c:v>
                </c:pt>
                <c:pt idx="1186">
                  <c:v>47.28069</c:v>
                </c:pt>
                <c:pt idx="1187">
                  <c:v>47.245159999999998</c:v>
                </c:pt>
                <c:pt idx="1188">
                  <c:v>47.354239999999997</c:v>
                </c:pt>
                <c:pt idx="1189">
                  <c:v>47.472411999999998</c:v>
                </c:pt>
                <c:pt idx="1190">
                  <c:v>47.789529999999999</c:v>
                </c:pt>
                <c:pt idx="1191">
                  <c:v>48.765929999999997</c:v>
                </c:pt>
                <c:pt idx="1192">
                  <c:v>48.746254</c:v>
                </c:pt>
                <c:pt idx="1193">
                  <c:v>48.358547000000002</c:v>
                </c:pt>
                <c:pt idx="1194">
                  <c:v>48.616399999999999</c:v>
                </c:pt>
                <c:pt idx="1195">
                  <c:v>48.822727</c:v>
                </c:pt>
                <c:pt idx="1196">
                  <c:v>49.062134</c:v>
                </c:pt>
                <c:pt idx="1197">
                  <c:v>49.354939999999999</c:v>
                </c:pt>
                <c:pt idx="1198">
                  <c:v>49.650722999999999</c:v>
                </c:pt>
                <c:pt idx="1199">
                  <c:v>49.557963999999998</c:v>
                </c:pt>
                <c:pt idx="1200">
                  <c:v>49.548133999999997</c:v>
                </c:pt>
                <c:pt idx="1201">
                  <c:v>49.686965999999998</c:v>
                </c:pt>
                <c:pt idx="1202">
                  <c:v>50.704783999999997</c:v>
                </c:pt>
                <c:pt idx="1203">
                  <c:v>50.040092000000001</c:v>
                </c:pt>
                <c:pt idx="1204">
                  <c:v>50.198546999999998</c:v>
                </c:pt>
                <c:pt idx="1205">
                  <c:v>50.417746999999999</c:v>
                </c:pt>
                <c:pt idx="1206">
                  <c:v>50.515712999999998</c:v>
                </c:pt>
                <c:pt idx="1207">
                  <c:v>50.613112999999998</c:v>
                </c:pt>
                <c:pt idx="1208">
                  <c:v>50.351080000000003</c:v>
                </c:pt>
                <c:pt idx="1209">
                  <c:v>50.297485000000002</c:v>
                </c:pt>
                <c:pt idx="1210">
                  <c:v>50.248356000000001</c:v>
                </c:pt>
                <c:pt idx="1211">
                  <c:v>50.072265999999999</c:v>
                </c:pt>
                <c:pt idx="1212">
                  <c:v>50.149450000000002</c:v>
                </c:pt>
                <c:pt idx="1213">
                  <c:v>50.329414</c:v>
                </c:pt>
                <c:pt idx="1214">
                  <c:v>50.53302</c:v>
                </c:pt>
                <c:pt idx="1215">
                  <c:v>50.761462999999999</c:v>
                </c:pt>
                <c:pt idx="1216">
                  <c:v>51.005614999999999</c:v>
                </c:pt>
                <c:pt idx="1217">
                  <c:v>51.21181</c:v>
                </c:pt>
                <c:pt idx="1218">
                  <c:v>51.350920000000002</c:v>
                </c:pt>
                <c:pt idx="1219">
                  <c:v>51.310886000000004</c:v>
                </c:pt>
                <c:pt idx="1220">
                  <c:v>51.011947999999997</c:v>
                </c:pt>
                <c:pt idx="1221">
                  <c:v>51.166759999999996</c:v>
                </c:pt>
                <c:pt idx="1222">
                  <c:v>51.320540000000001</c:v>
                </c:pt>
                <c:pt idx="1223">
                  <c:v>51.273445000000002</c:v>
                </c:pt>
                <c:pt idx="1224">
                  <c:v>51.055283000000003</c:v>
                </c:pt>
                <c:pt idx="1225">
                  <c:v>51.189846000000003</c:v>
                </c:pt>
                <c:pt idx="1226">
                  <c:v>51.289479999999998</c:v>
                </c:pt>
                <c:pt idx="1227">
                  <c:v>51.361763000000003</c:v>
                </c:pt>
                <c:pt idx="1228">
                  <c:v>51.513973</c:v>
                </c:pt>
                <c:pt idx="1229">
                  <c:v>50.994433999999998</c:v>
                </c:pt>
                <c:pt idx="1230">
                  <c:v>51.029719999999998</c:v>
                </c:pt>
                <c:pt idx="1231">
                  <c:v>50.988480000000003</c:v>
                </c:pt>
                <c:pt idx="1232">
                  <c:v>51.062004000000002</c:v>
                </c:pt>
                <c:pt idx="1233">
                  <c:v>51.247635000000002</c:v>
                </c:pt>
                <c:pt idx="1234">
                  <c:v>51.357486999999999</c:v>
                </c:pt>
                <c:pt idx="1235">
                  <c:v>51.442259999999997</c:v>
                </c:pt>
                <c:pt idx="1236">
                  <c:v>51.225729999999999</c:v>
                </c:pt>
                <c:pt idx="1237">
                  <c:v>53.719161999999997</c:v>
                </c:pt>
                <c:pt idx="1238">
                  <c:v>50.680639999999997</c:v>
                </c:pt>
                <c:pt idx="1239">
                  <c:v>50.678127000000003</c:v>
                </c:pt>
                <c:pt idx="1240">
                  <c:v>50.947547999999998</c:v>
                </c:pt>
                <c:pt idx="1241">
                  <c:v>51.117170000000002</c:v>
                </c:pt>
                <c:pt idx="1242">
                  <c:v>51.240437</c:v>
                </c:pt>
                <c:pt idx="1243">
                  <c:v>51.343753999999997</c:v>
                </c:pt>
                <c:pt idx="1244">
                  <c:v>51.435250000000003</c:v>
                </c:pt>
                <c:pt idx="1245">
                  <c:v>50.54813</c:v>
                </c:pt>
                <c:pt idx="1246">
                  <c:v>48.892982000000003</c:v>
                </c:pt>
                <c:pt idx="1247">
                  <c:v>48.69491</c:v>
                </c:pt>
                <c:pt idx="1248">
                  <c:v>48.054189999999998</c:v>
                </c:pt>
                <c:pt idx="1249">
                  <c:v>47.621810000000004</c:v>
                </c:pt>
                <c:pt idx="1250">
                  <c:v>47.757820000000002</c:v>
                </c:pt>
                <c:pt idx="1251">
                  <c:v>46.887028000000001</c:v>
                </c:pt>
                <c:pt idx="1252">
                  <c:v>45.985751999999998</c:v>
                </c:pt>
                <c:pt idx="1253">
                  <c:v>44.922992999999998</c:v>
                </c:pt>
                <c:pt idx="1254">
                  <c:v>44.336060000000003</c:v>
                </c:pt>
                <c:pt idx="1255">
                  <c:v>43.230246999999999</c:v>
                </c:pt>
                <c:pt idx="1256">
                  <c:v>41.949733999999999</c:v>
                </c:pt>
                <c:pt idx="1257">
                  <c:v>40.960662999999997</c:v>
                </c:pt>
                <c:pt idx="1258">
                  <c:v>40.223660000000002</c:v>
                </c:pt>
                <c:pt idx="1259">
                  <c:v>40.03651</c:v>
                </c:pt>
                <c:pt idx="1260">
                  <c:v>40.051639999999999</c:v>
                </c:pt>
                <c:pt idx="1261">
                  <c:v>40.426684999999999</c:v>
                </c:pt>
                <c:pt idx="1262">
                  <c:v>40.60407</c:v>
                </c:pt>
                <c:pt idx="1263">
                  <c:v>40.798670000000001</c:v>
                </c:pt>
                <c:pt idx="1264">
                  <c:v>40.728700000000003</c:v>
                </c:pt>
                <c:pt idx="1265">
                  <c:v>41.904476000000003</c:v>
                </c:pt>
                <c:pt idx="1266">
                  <c:v>42.314228</c:v>
                </c:pt>
                <c:pt idx="1267">
                  <c:v>43.447356999999997</c:v>
                </c:pt>
                <c:pt idx="1268">
                  <c:v>43.953346000000003</c:v>
                </c:pt>
                <c:pt idx="1269">
                  <c:v>44.272205</c:v>
                </c:pt>
                <c:pt idx="1270">
                  <c:v>46.005769999999998</c:v>
                </c:pt>
                <c:pt idx="1271">
                  <c:v>44.520659999999999</c:v>
                </c:pt>
                <c:pt idx="1272">
                  <c:v>45.055218000000004</c:v>
                </c:pt>
                <c:pt idx="1273">
                  <c:v>45.668520000000001</c:v>
                </c:pt>
                <c:pt idx="1274">
                  <c:v>46.421939999999999</c:v>
                </c:pt>
                <c:pt idx="1275">
                  <c:v>47.969161999999997</c:v>
                </c:pt>
                <c:pt idx="1276">
                  <c:v>49.117190000000001</c:v>
                </c:pt>
                <c:pt idx="1277">
                  <c:v>49.807360000000003</c:v>
                </c:pt>
                <c:pt idx="1278">
                  <c:v>50.145659999999999</c:v>
                </c:pt>
                <c:pt idx="1279">
                  <c:v>50.323819999999998</c:v>
                </c:pt>
                <c:pt idx="1280">
                  <c:v>50.624189999999999</c:v>
                </c:pt>
                <c:pt idx="1281">
                  <c:v>50.609540000000003</c:v>
                </c:pt>
                <c:pt idx="1282">
                  <c:v>50.528336000000003</c:v>
                </c:pt>
                <c:pt idx="1283">
                  <c:v>50.791176</c:v>
                </c:pt>
                <c:pt idx="1284">
                  <c:v>50.771034</c:v>
                </c:pt>
                <c:pt idx="1285">
                  <c:v>50.347842999999997</c:v>
                </c:pt>
                <c:pt idx="1286">
                  <c:v>50.090775000000001</c:v>
                </c:pt>
                <c:pt idx="1287">
                  <c:v>50.308956000000002</c:v>
                </c:pt>
                <c:pt idx="1288">
                  <c:v>50.278849999999998</c:v>
                </c:pt>
                <c:pt idx="1289">
                  <c:v>50.120883999999997</c:v>
                </c:pt>
                <c:pt idx="1290">
                  <c:v>49.750754999999998</c:v>
                </c:pt>
                <c:pt idx="1291">
                  <c:v>49.476272999999999</c:v>
                </c:pt>
                <c:pt idx="1292">
                  <c:v>49.436813000000001</c:v>
                </c:pt>
                <c:pt idx="1293">
                  <c:v>49.518459999999997</c:v>
                </c:pt>
                <c:pt idx="1294">
                  <c:v>49.227535000000003</c:v>
                </c:pt>
                <c:pt idx="1295">
                  <c:v>49.691949999999999</c:v>
                </c:pt>
                <c:pt idx="1296">
                  <c:v>49.616419999999998</c:v>
                </c:pt>
                <c:pt idx="1297">
                  <c:v>49.051636000000002</c:v>
                </c:pt>
                <c:pt idx="1298">
                  <c:v>48.490450000000003</c:v>
                </c:pt>
                <c:pt idx="1299">
                  <c:v>48.288640000000001</c:v>
                </c:pt>
                <c:pt idx="1300">
                  <c:v>48.325653000000003</c:v>
                </c:pt>
                <c:pt idx="1301">
                  <c:v>48.4726</c:v>
                </c:pt>
                <c:pt idx="1302">
                  <c:v>48.40793</c:v>
                </c:pt>
                <c:pt idx="1303">
                  <c:v>48.043742999999999</c:v>
                </c:pt>
                <c:pt idx="1304">
                  <c:v>47.868797000000001</c:v>
                </c:pt>
                <c:pt idx="1305">
                  <c:v>47.794204999999998</c:v>
                </c:pt>
                <c:pt idx="1306">
                  <c:v>47.793619999999997</c:v>
                </c:pt>
                <c:pt idx="1307">
                  <c:v>47.729796999999998</c:v>
                </c:pt>
                <c:pt idx="1308">
                  <c:v>47.416820000000001</c:v>
                </c:pt>
                <c:pt idx="1309">
                  <c:v>45.769913000000003</c:v>
                </c:pt>
                <c:pt idx="1310">
                  <c:v>45.133347000000001</c:v>
                </c:pt>
                <c:pt idx="1311">
                  <c:v>44.632205999999996</c:v>
                </c:pt>
                <c:pt idx="1312">
                  <c:v>44.255400000000002</c:v>
                </c:pt>
                <c:pt idx="1313">
                  <c:v>43.605193999999997</c:v>
                </c:pt>
                <c:pt idx="1314">
                  <c:v>43.628635000000003</c:v>
                </c:pt>
                <c:pt idx="1315">
                  <c:v>42.970954999999996</c:v>
                </c:pt>
                <c:pt idx="1316">
                  <c:v>42.780354000000003</c:v>
                </c:pt>
                <c:pt idx="1317">
                  <c:v>42.089255999999999</c:v>
                </c:pt>
                <c:pt idx="1318">
                  <c:v>41.391506</c:v>
                </c:pt>
                <c:pt idx="1319">
                  <c:v>40.815314999999998</c:v>
                </c:pt>
                <c:pt idx="1320">
                  <c:v>40.283234</c:v>
                </c:pt>
                <c:pt idx="1321">
                  <c:v>40.243713</c:v>
                </c:pt>
                <c:pt idx="1322">
                  <c:v>38.849795999999998</c:v>
                </c:pt>
                <c:pt idx="1323">
                  <c:v>39.451644999999999</c:v>
                </c:pt>
                <c:pt idx="1324">
                  <c:v>39.231453000000002</c:v>
                </c:pt>
                <c:pt idx="1325">
                  <c:v>38.952601999999999</c:v>
                </c:pt>
                <c:pt idx="1326">
                  <c:v>39.754635</c:v>
                </c:pt>
                <c:pt idx="1327">
                  <c:v>40.181420000000003</c:v>
                </c:pt>
                <c:pt idx="1328">
                  <c:v>40.802452000000002</c:v>
                </c:pt>
                <c:pt idx="1329">
                  <c:v>41.254379999999998</c:v>
                </c:pt>
                <c:pt idx="1330">
                  <c:v>41.345393999999999</c:v>
                </c:pt>
                <c:pt idx="1331">
                  <c:v>41.54128</c:v>
                </c:pt>
                <c:pt idx="1332">
                  <c:v>41.928240000000002</c:v>
                </c:pt>
                <c:pt idx="1333">
                  <c:v>41.889740000000003</c:v>
                </c:pt>
                <c:pt idx="1334">
                  <c:v>41.936024000000003</c:v>
                </c:pt>
                <c:pt idx="1335">
                  <c:v>41.975160000000002</c:v>
                </c:pt>
                <c:pt idx="1336">
                  <c:v>42.027557000000002</c:v>
                </c:pt>
                <c:pt idx="1337">
                  <c:v>42.055816999999998</c:v>
                </c:pt>
                <c:pt idx="1338">
                  <c:v>42.641907000000003</c:v>
                </c:pt>
                <c:pt idx="1339">
                  <c:v>43.758674999999997</c:v>
                </c:pt>
                <c:pt idx="1340">
                  <c:v>43.602566000000003</c:v>
                </c:pt>
                <c:pt idx="1341">
                  <c:v>43.534644999999998</c:v>
                </c:pt>
                <c:pt idx="1342">
                  <c:v>43.220225999999997</c:v>
                </c:pt>
                <c:pt idx="1343">
                  <c:v>43.321370000000002</c:v>
                </c:pt>
                <c:pt idx="1344">
                  <c:v>43.045853000000001</c:v>
                </c:pt>
                <c:pt idx="1345">
                  <c:v>42.977046999999999</c:v>
                </c:pt>
                <c:pt idx="1346">
                  <c:v>42.935549999999999</c:v>
                </c:pt>
                <c:pt idx="1347">
                  <c:v>43.319839999999999</c:v>
                </c:pt>
                <c:pt idx="1348">
                  <c:v>43.705440000000003</c:v>
                </c:pt>
                <c:pt idx="1349">
                  <c:v>43.523384</c:v>
                </c:pt>
                <c:pt idx="1350">
                  <c:v>43.106395999999997</c:v>
                </c:pt>
                <c:pt idx="1351">
                  <c:v>42.693330000000003</c:v>
                </c:pt>
                <c:pt idx="1352">
                  <c:v>42.446776999999997</c:v>
                </c:pt>
                <c:pt idx="1353">
                  <c:v>42.173653000000002</c:v>
                </c:pt>
                <c:pt idx="1354">
                  <c:v>41.694457999999997</c:v>
                </c:pt>
                <c:pt idx="1355">
                  <c:v>41.668292999999998</c:v>
                </c:pt>
                <c:pt idx="1356">
                  <c:v>41.487487999999999</c:v>
                </c:pt>
                <c:pt idx="1357">
                  <c:v>41.496502</c:v>
                </c:pt>
                <c:pt idx="1358">
                  <c:v>41.473655999999998</c:v>
                </c:pt>
                <c:pt idx="1359">
                  <c:v>41.441853000000002</c:v>
                </c:pt>
                <c:pt idx="1360">
                  <c:v>41.613129999999998</c:v>
                </c:pt>
                <c:pt idx="1361">
                  <c:v>39.025759999999998</c:v>
                </c:pt>
                <c:pt idx="1362">
                  <c:v>37.525145999999999</c:v>
                </c:pt>
                <c:pt idx="1363">
                  <c:v>36.652625999999998</c:v>
                </c:pt>
                <c:pt idx="1364">
                  <c:v>36.142757000000003</c:v>
                </c:pt>
                <c:pt idx="1365">
                  <c:v>35.75647</c:v>
                </c:pt>
                <c:pt idx="1366">
                  <c:v>34.905050000000003</c:v>
                </c:pt>
                <c:pt idx="1367">
                  <c:v>34.759686000000002</c:v>
                </c:pt>
                <c:pt idx="1368">
                  <c:v>34.53593</c:v>
                </c:pt>
                <c:pt idx="1369">
                  <c:v>35.119320000000002</c:v>
                </c:pt>
                <c:pt idx="1370">
                  <c:v>34.624893</c:v>
                </c:pt>
                <c:pt idx="1371">
                  <c:v>34.364353000000001</c:v>
                </c:pt>
                <c:pt idx="1372">
                  <c:v>33.432724</c:v>
                </c:pt>
                <c:pt idx="1373">
                  <c:v>32.775455000000001</c:v>
                </c:pt>
                <c:pt idx="1374">
                  <c:v>32.670830000000002</c:v>
                </c:pt>
                <c:pt idx="1375">
                  <c:v>32.595779999999998</c:v>
                </c:pt>
                <c:pt idx="1376">
                  <c:v>32.422260000000001</c:v>
                </c:pt>
                <c:pt idx="1377">
                  <c:v>32.371986</c:v>
                </c:pt>
                <c:pt idx="1378">
                  <c:v>32.59055</c:v>
                </c:pt>
                <c:pt idx="1379">
                  <c:v>33.016663000000001</c:v>
                </c:pt>
                <c:pt idx="1380">
                  <c:v>33.021866000000003</c:v>
                </c:pt>
                <c:pt idx="1381">
                  <c:v>33.199393999999998</c:v>
                </c:pt>
                <c:pt idx="1382">
                  <c:v>33.495967999999998</c:v>
                </c:pt>
                <c:pt idx="1383">
                  <c:v>33.356876</c:v>
                </c:pt>
                <c:pt idx="1384">
                  <c:v>33.505913</c:v>
                </c:pt>
                <c:pt idx="1385">
                  <c:v>33.730907000000002</c:v>
                </c:pt>
                <c:pt idx="1386">
                  <c:v>33.845170000000003</c:v>
                </c:pt>
                <c:pt idx="1387">
                  <c:v>34.009636</c:v>
                </c:pt>
                <c:pt idx="1388">
                  <c:v>34.061301999999998</c:v>
                </c:pt>
                <c:pt idx="1389">
                  <c:v>33.745964000000001</c:v>
                </c:pt>
                <c:pt idx="1390">
                  <c:v>33.751649999999998</c:v>
                </c:pt>
                <c:pt idx="1391">
                  <c:v>35.128239999999998</c:v>
                </c:pt>
                <c:pt idx="1392">
                  <c:v>35.356513999999997</c:v>
                </c:pt>
                <c:pt idx="1393">
                  <c:v>36.107697000000002</c:v>
                </c:pt>
                <c:pt idx="1394">
                  <c:v>35.477670000000003</c:v>
                </c:pt>
                <c:pt idx="1395">
                  <c:v>35.168520000000001</c:v>
                </c:pt>
                <c:pt idx="1396">
                  <c:v>35.543349999999997</c:v>
                </c:pt>
                <c:pt idx="1397">
                  <c:v>35.444175999999999</c:v>
                </c:pt>
                <c:pt idx="1398">
                  <c:v>35.606740000000002</c:v>
                </c:pt>
                <c:pt idx="1399">
                  <c:v>35.362130000000001</c:v>
                </c:pt>
                <c:pt idx="1400">
                  <c:v>34.944122</c:v>
                </c:pt>
                <c:pt idx="1401">
                  <c:v>34.860619999999997</c:v>
                </c:pt>
                <c:pt idx="1402">
                  <c:v>35.589280000000002</c:v>
                </c:pt>
                <c:pt idx="1403">
                  <c:v>35.97231</c:v>
                </c:pt>
                <c:pt idx="1404">
                  <c:v>35.843997999999999</c:v>
                </c:pt>
                <c:pt idx="1405">
                  <c:v>35.636417000000002</c:v>
                </c:pt>
                <c:pt idx="1406">
                  <c:v>35.847782000000002</c:v>
                </c:pt>
                <c:pt idx="1407">
                  <c:v>36.833714000000001</c:v>
                </c:pt>
                <c:pt idx="1408">
                  <c:v>35.779539999999997</c:v>
                </c:pt>
                <c:pt idx="1409">
                  <c:v>35.427284</c:v>
                </c:pt>
                <c:pt idx="1410">
                  <c:v>35.165286999999999</c:v>
                </c:pt>
                <c:pt idx="1411">
                  <c:v>34.624687000000002</c:v>
                </c:pt>
                <c:pt idx="1412">
                  <c:v>33.580227000000001</c:v>
                </c:pt>
                <c:pt idx="1413">
                  <c:v>33.210217</c:v>
                </c:pt>
                <c:pt idx="1414">
                  <c:v>32.671379999999999</c:v>
                </c:pt>
                <c:pt idx="1415">
                  <c:v>32.437854999999999</c:v>
                </c:pt>
                <c:pt idx="1416">
                  <c:v>32.381466000000003</c:v>
                </c:pt>
                <c:pt idx="1417">
                  <c:v>31.890930000000001</c:v>
                </c:pt>
                <c:pt idx="1418">
                  <c:v>31.776824999999999</c:v>
                </c:pt>
                <c:pt idx="1419">
                  <c:v>31.780441</c:v>
                </c:pt>
                <c:pt idx="1420">
                  <c:v>31.626121999999999</c:v>
                </c:pt>
                <c:pt idx="1421">
                  <c:v>31.446396</c:v>
                </c:pt>
                <c:pt idx="1422">
                  <c:v>30.936465999999999</c:v>
                </c:pt>
                <c:pt idx="1423">
                  <c:v>30.619371000000001</c:v>
                </c:pt>
                <c:pt idx="1424">
                  <c:v>29.690270999999999</c:v>
                </c:pt>
                <c:pt idx="1425">
                  <c:v>29.510563000000001</c:v>
                </c:pt>
                <c:pt idx="1426">
                  <c:v>27.718554999999999</c:v>
                </c:pt>
                <c:pt idx="1427">
                  <c:v>27.700294</c:v>
                </c:pt>
                <c:pt idx="1428">
                  <c:v>27.965402999999998</c:v>
                </c:pt>
                <c:pt idx="1429">
                  <c:v>28.335815</c:v>
                </c:pt>
                <c:pt idx="1430">
                  <c:v>27.388104999999999</c:v>
                </c:pt>
                <c:pt idx="1431">
                  <c:v>28.741040999999999</c:v>
                </c:pt>
                <c:pt idx="1432">
                  <c:v>29.102777</c:v>
                </c:pt>
                <c:pt idx="1433">
                  <c:v>30.120253000000002</c:v>
                </c:pt>
                <c:pt idx="1434">
                  <c:v>30.657885</c:v>
                </c:pt>
                <c:pt idx="1435">
                  <c:v>31.138489</c:v>
                </c:pt>
                <c:pt idx="1436">
                  <c:v>31.73912</c:v>
                </c:pt>
                <c:pt idx="1437">
                  <c:v>32.838320000000003</c:v>
                </c:pt>
                <c:pt idx="1438">
                  <c:v>33.937719999999999</c:v>
                </c:pt>
                <c:pt idx="1439">
                  <c:v>34.746859999999998</c:v>
                </c:pt>
                <c:pt idx="1440">
                  <c:v>35.662517999999999</c:v>
                </c:pt>
                <c:pt idx="1441">
                  <c:v>35.795741999999997</c:v>
                </c:pt>
                <c:pt idx="1442">
                  <c:v>35.832140000000003</c:v>
                </c:pt>
                <c:pt idx="1443">
                  <c:v>35.925780000000003</c:v>
                </c:pt>
                <c:pt idx="1444">
                  <c:v>35.898018</c:v>
                </c:pt>
                <c:pt idx="1445">
                  <c:v>35.82161</c:v>
                </c:pt>
                <c:pt idx="1446">
                  <c:v>35.696606000000003</c:v>
                </c:pt>
                <c:pt idx="1447">
                  <c:v>35.475372</c:v>
                </c:pt>
                <c:pt idx="1448">
                  <c:v>34.892310000000002</c:v>
                </c:pt>
                <c:pt idx="1449">
                  <c:v>34.308365000000002</c:v>
                </c:pt>
                <c:pt idx="1450">
                  <c:v>34.034213999999999</c:v>
                </c:pt>
                <c:pt idx="1451">
                  <c:v>32.450316999999998</c:v>
                </c:pt>
                <c:pt idx="1452">
                  <c:v>33.040219999999998</c:v>
                </c:pt>
                <c:pt idx="1453">
                  <c:v>32.576458000000002</c:v>
                </c:pt>
                <c:pt idx="1454">
                  <c:v>32.319409999999998</c:v>
                </c:pt>
                <c:pt idx="1455">
                  <c:v>32.173195</c:v>
                </c:pt>
                <c:pt idx="1456">
                  <c:v>32.363888000000003</c:v>
                </c:pt>
                <c:pt idx="1457">
                  <c:v>32.394010000000002</c:v>
                </c:pt>
                <c:pt idx="1458">
                  <c:v>32.451459999999997</c:v>
                </c:pt>
                <c:pt idx="1459">
                  <c:v>32.636336999999997</c:v>
                </c:pt>
                <c:pt idx="1460">
                  <c:v>32.867657000000001</c:v>
                </c:pt>
                <c:pt idx="1461">
                  <c:v>32.645083999999997</c:v>
                </c:pt>
                <c:pt idx="1462">
                  <c:v>32.701439999999998</c:v>
                </c:pt>
                <c:pt idx="1463">
                  <c:v>32.104984000000002</c:v>
                </c:pt>
                <c:pt idx="1464">
                  <c:v>31.878754000000001</c:v>
                </c:pt>
                <c:pt idx="1465">
                  <c:v>31.302685</c:v>
                </c:pt>
                <c:pt idx="1466">
                  <c:v>31.392779999999998</c:v>
                </c:pt>
                <c:pt idx="1467">
                  <c:v>32.392740000000003</c:v>
                </c:pt>
                <c:pt idx="1468">
                  <c:v>31.964413</c:v>
                </c:pt>
                <c:pt idx="1469">
                  <c:v>32.035699999999999</c:v>
                </c:pt>
                <c:pt idx="1470">
                  <c:v>32.198956000000003</c:v>
                </c:pt>
                <c:pt idx="1471">
                  <c:v>32.495269999999998</c:v>
                </c:pt>
                <c:pt idx="1472">
                  <c:v>32.790092000000001</c:v>
                </c:pt>
                <c:pt idx="1473">
                  <c:v>34.307400000000001</c:v>
                </c:pt>
                <c:pt idx="1474">
                  <c:v>33.547683999999997</c:v>
                </c:pt>
                <c:pt idx="1475">
                  <c:v>33.679023999999998</c:v>
                </c:pt>
                <c:pt idx="1476">
                  <c:v>34.369377</c:v>
                </c:pt>
                <c:pt idx="1477">
                  <c:v>35.033085</c:v>
                </c:pt>
                <c:pt idx="1478">
                  <c:v>35.636360000000003</c:v>
                </c:pt>
                <c:pt idx="1479">
                  <c:v>35.712519999999998</c:v>
                </c:pt>
                <c:pt idx="1480">
                  <c:v>36.707664000000001</c:v>
                </c:pt>
                <c:pt idx="1481">
                  <c:v>34.236130000000003</c:v>
                </c:pt>
                <c:pt idx="1482">
                  <c:v>37.530586</c:v>
                </c:pt>
                <c:pt idx="1483">
                  <c:v>36.528514999999999</c:v>
                </c:pt>
                <c:pt idx="1484">
                  <c:v>36.71987</c:v>
                </c:pt>
                <c:pt idx="1485">
                  <c:v>37.298965000000003</c:v>
                </c:pt>
                <c:pt idx="1486">
                  <c:v>35.806553000000001</c:v>
                </c:pt>
                <c:pt idx="1487">
                  <c:v>36.230133000000002</c:v>
                </c:pt>
                <c:pt idx="1488">
                  <c:v>36.244987000000002</c:v>
                </c:pt>
                <c:pt idx="1489">
                  <c:v>36.352310000000003</c:v>
                </c:pt>
                <c:pt idx="1490">
                  <c:v>36.682586999999998</c:v>
                </c:pt>
                <c:pt idx="1491">
                  <c:v>36.712975</c:v>
                </c:pt>
                <c:pt idx="1492">
                  <c:v>37.021434999999997</c:v>
                </c:pt>
                <c:pt idx="1493">
                  <c:v>37.539143000000003</c:v>
                </c:pt>
                <c:pt idx="1494">
                  <c:v>36.776670000000003</c:v>
                </c:pt>
                <c:pt idx="1495">
                  <c:v>33.604545999999999</c:v>
                </c:pt>
                <c:pt idx="1496">
                  <c:v>34.449509999999997</c:v>
                </c:pt>
                <c:pt idx="1497">
                  <c:v>33.795050000000003</c:v>
                </c:pt>
                <c:pt idx="1498">
                  <c:v>32.733252999999998</c:v>
                </c:pt>
                <c:pt idx="1499">
                  <c:v>32.422545999999997</c:v>
                </c:pt>
                <c:pt idx="1500">
                  <c:v>32.406067</c:v>
                </c:pt>
                <c:pt idx="1501">
                  <c:v>32.388396999999998</c:v>
                </c:pt>
                <c:pt idx="1502">
                  <c:v>32.461199999999998</c:v>
                </c:pt>
                <c:pt idx="1503">
                  <c:v>32.275939999999999</c:v>
                </c:pt>
                <c:pt idx="1504">
                  <c:v>32.39217</c:v>
                </c:pt>
                <c:pt idx="1505">
                  <c:v>32.580494000000002</c:v>
                </c:pt>
                <c:pt idx="1506">
                  <c:v>32.747177000000001</c:v>
                </c:pt>
                <c:pt idx="1507">
                  <c:v>33.076275000000003</c:v>
                </c:pt>
                <c:pt idx="1508">
                  <c:v>33.435389999999998</c:v>
                </c:pt>
                <c:pt idx="1509">
                  <c:v>33.622272000000002</c:v>
                </c:pt>
                <c:pt idx="1510">
                  <c:v>32.898739999999997</c:v>
                </c:pt>
                <c:pt idx="1511">
                  <c:v>34.223984000000002</c:v>
                </c:pt>
                <c:pt idx="1512">
                  <c:v>33.979557</c:v>
                </c:pt>
                <c:pt idx="1513">
                  <c:v>32.829605000000001</c:v>
                </c:pt>
                <c:pt idx="1514">
                  <c:v>34.030900000000003</c:v>
                </c:pt>
                <c:pt idx="1515">
                  <c:v>34.122844999999998</c:v>
                </c:pt>
                <c:pt idx="1516">
                  <c:v>34.345300000000002</c:v>
                </c:pt>
                <c:pt idx="1517">
                  <c:v>34.077553000000002</c:v>
                </c:pt>
                <c:pt idx="1518">
                  <c:v>33.865490000000001</c:v>
                </c:pt>
                <c:pt idx="1519">
                  <c:v>33.900100000000002</c:v>
                </c:pt>
                <c:pt idx="1520">
                  <c:v>33.7682</c:v>
                </c:pt>
                <c:pt idx="1521">
                  <c:v>33.611645000000003</c:v>
                </c:pt>
                <c:pt idx="1522">
                  <c:v>33.530087000000002</c:v>
                </c:pt>
                <c:pt idx="1523">
                  <c:v>34.419322999999999</c:v>
                </c:pt>
                <c:pt idx="1524">
                  <c:v>33.632719999999999</c:v>
                </c:pt>
                <c:pt idx="1525">
                  <c:v>33.819878000000003</c:v>
                </c:pt>
                <c:pt idx="1526">
                  <c:v>34.065240000000003</c:v>
                </c:pt>
                <c:pt idx="1527">
                  <c:v>29.153607999999998</c:v>
                </c:pt>
                <c:pt idx="1528">
                  <c:v>34.187950000000001</c:v>
                </c:pt>
                <c:pt idx="1529">
                  <c:v>33.744746999999997</c:v>
                </c:pt>
                <c:pt idx="1530">
                  <c:v>33.566963000000001</c:v>
                </c:pt>
                <c:pt idx="1531">
                  <c:v>33.124924</c:v>
                </c:pt>
                <c:pt idx="1532">
                  <c:v>32.90222</c:v>
                </c:pt>
                <c:pt idx="1533">
                  <c:v>32.810749999999999</c:v>
                </c:pt>
                <c:pt idx="1534">
                  <c:v>32.580620000000003</c:v>
                </c:pt>
                <c:pt idx="1535">
                  <c:v>33.055079999999997</c:v>
                </c:pt>
                <c:pt idx="1536">
                  <c:v>29.276095999999999</c:v>
                </c:pt>
                <c:pt idx="1537">
                  <c:v>32.163963000000003</c:v>
                </c:pt>
                <c:pt idx="1538">
                  <c:v>29.972313</c:v>
                </c:pt>
                <c:pt idx="1539">
                  <c:v>32.445819999999998</c:v>
                </c:pt>
                <c:pt idx="1540">
                  <c:v>32.251475999999997</c:v>
                </c:pt>
                <c:pt idx="1541">
                  <c:v>31.705147</c:v>
                </c:pt>
                <c:pt idx="1542">
                  <c:v>26.703880000000002</c:v>
                </c:pt>
                <c:pt idx="1543">
                  <c:v>31.532755000000002</c:v>
                </c:pt>
                <c:pt idx="1544">
                  <c:v>30.95149</c:v>
                </c:pt>
                <c:pt idx="1545">
                  <c:v>30.971706000000001</c:v>
                </c:pt>
                <c:pt idx="1546">
                  <c:v>30.467089999999999</c:v>
                </c:pt>
                <c:pt idx="1547">
                  <c:v>29.919615</c:v>
                </c:pt>
                <c:pt idx="1548">
                  <c:v>31.080749999999998</c:v>
                </c:pt>
                <c:pt idx="1549">
                  <c:v>32.328896</c:v>
                </c:pt>
                <c:pt idx="1550">
                  <c:v>30.629211000000002</c:v>
                </c:pt>
                <c:pt idx="1551">
                  <c:v>32.840313000000002</c:v>
                </c:pt>
                <c:pt idx="1552">
                  <c:v>30.223516</c:v>
                </c:pt>
                <c:pt idx="1553">
                  <c:v>31.083901999999998</c:v>
                </c:pt>
                <c:pt idx="1554">
                  <c:v>31.083518999999999</c:v>
                </c:pt>
                <c:pt idx="1555">
                  <c:v>31.412849999999999</c:v>
                </c:pt>
                <c:pt idx="1556">
                  <c:v>31.696183999999999</c:v>
                </c:pt>
                <c:pt idx="1557">
                  <c:v>32.172530000000002</c:v>
                </c:pt>
                <c:pt idx="1558">
                  <c:v>32.660072</c:v>
                </c:pt>
                <c:pt idx="1559">
                  <c:v>33.896923000000001</c:v>
                </c:pt>
                <c:pt idx="1560">
                  <c:v>32.466102999999997</c:v>
                </c:pt>
                <c:pt idx="1561">
                  <c:v>32.575980000000001</c:v>
                </c:pt>
                <c:pt idx="1562">
                  <c:v>32.498736999999998</c:v>
                </c:pt>
                <c:pt idx="1563">
                  <c:v>33.042515000000002</c:v>
                </c:pt>
                <c:pt idx="1564">
                  <c:v>32.456223000000001</c:v>
                </c:pt>
                <c:pt idx="1565">
                  <c:v>32.395744000000001</c:v>
                </c:pt>
                <c:pt idx="1566">
                  <c:v>32.519035000000002</c:v>
                </c:pt>
                <c:pt idx="1567">
                  <c:v>32.157299999999999</c:v>
                </c:pt>
                <c:pt idx="1568">
                  <c:v>32.137627000000002</c:v>
                </c:pt>
                <c:pt idx="1569">
                  <c:v>32.338287000000001</c:v>
                </c:pt>
                <c:pt idx="1570">
                  <c:v>32.620907000000003</c:v>
                </c:pt>
                <c:pt idx="1571">
                  <c:v>32.616565999999999</c:v>
                </c:pt>
                <c:pt idx="1572">
                  <c:v>32.968674</c:v>
                </c:pt>
                <c:pt idx="1573">
                  <c:v>31.691963000000001</c:v>
                </c:pt>
                <c:pt idx="1574">
                  <c:v>34.516069999999999</c:v>
                </c:pt>
                <c:pt idx="1575">
                  <c:v>34.834553</c:v>
                </c:pt>
                <c:pt idx="1576">
                  <c:v>34.672114999999998</c:v>
                </c:pt>
                <c:pt idx="1577">
                  <c:v>34.977215000000001</c:v>
                </c:pt>
                <c:pt idx="1578">
                  <c:v>35.100364999999996</c:v>
                </c:pt>
                <c:pt idx="1579">
                  <c:v>34.324669999999998</c:v>
                </c:pt>
                <c:pt idx="1580">
                  <c:v>34.495987</c:v>
                </c:pt>
                <c:pt idx="1581">
                  <c:v>31.494444000000001</c:v>
                </c:pt>
                <c:pt idx="1582">
                  <c:v>33.951571999999999</c:v>
                </c:pt>
                <c:pt idx="1583">
                  <c:v>33.937412000000002</c:v>
                </c:pt>
                <c:pt idx="1584">
                  <c:v>33.588209999999997</c:v>
                </c:pt>
                <c:pt idx="1585">
                  <c:v>32.076860000000003</c:v>
                </c:pt>
                <c:pt idx="1586">
                  <c:v>33.02608</c:v>
                </c:pt>
                <c:pt idx="1587">
                  <c:v>32.711582</c:v>
                </c:pt>
                <c:pt idx="1588">
                  <c:v>32.798054</c:v>
                </c:pt>
                <c:pt idx="1589">
                  <c:v>33.541460000000001</c:v>
                </c:pt>
                <c:pt idx="1590">
                  <c:v>34.143143000000002</c:v>
                </c:pt>
                <c:pt idx="1591">
                  <c:v>34.086765</c:v>
                </c:pt>
                <c:pt idx="1592">
                  <c:v>34.232062999999997</c:v>
                </c:pt>
                <c:pt idx="1593">
                  <c:v>33.649349999999998</c:v>
                </c:pt>
                <c:pt idx="1594">
                  <c:v>33.482264999999998</c:v>
                </c:pt>
                <c:pt idx="1595">
                  <c:v>33.677574</c:v>
                </c:pt>
                <c:pt idx="1596">
                  <c:v>33.806220000000003</c:v>
                </c:pt>
                <c:pt idx="1597">
                  <c:v>33.921770000000002</c:v>
                </c:pt>
                <c:pt idx="1598">
                  <c:v>33.552773000000002</c:v>
                </c:pt>
                <c:pt idx="1599">
                  <c:v>32.891551999999997</c:v>
                </c:pt>
                <c:pt idx="1600">
                  <c:v>32.270614999999999</c:v>
                </c:pt>
                <c:pt idx="1601">
                  <c:v>30.681217</c:v>
                </c:pt>
                <c:pt idx="1602">
                  <c:v>32.005830000000003</c:v>
                </c:pt>
                <c:pt idx="1603">
                  <c:v>32.048943000000001</c:v>
                </c:pt>
                <c:pt idx="1604">
                  <c:v>31.947792</c:v>
                </c:pt>
                <c:pt idx="1605">
                  <c:v>33.323677000000004</c:v>
                </c:pt>
                <c:pt idx="1606">
                  <c:v>32.409793999999998</c:v>
                </c:pt>
                <c:pt idx="1607">
                  <c:v>31.881533000000001</c:v>
                </c:pt>
                <c:pt idx="1608">
                  <c:v>32.359270000000002</c:v>
                </c:pt>
                <c:pt idx="1609">
                  <c:v>32.550902999999998</c:v>
                </c:pt>
                <c:pt idx="1610">
                  <c:v>32.311160000000001</c:v>
                </c:pt>
                <c:pt idx="1611">
                  <c:v>31.420200000000001</c:v>
                </c:pt>
                <c:pt idx="1612">
                  <c:v>31.412082999999999</c:v>
                </c:pt>
                <c:pt idx="1613">
                  <c:v>29.991212999999998</c:v>
                </c:pt>
                <c:pt idx="1614">
                  <c:v>31.513048000000001</c:v>
                </c:pt>
                <c:pt idx="1615">
                  <c:v>31.017786000000001</c:v>
                </c:pt>
                <c:pt idx="1616">
                  <c:v>31.038795</c:v>
                </c:pt>
                <c:pt idx="1617">
                  <c:v>31.219313</c:v>
                </c:pt>
                <c:pt idx="1618">
                  <c:v>31.286821</c:v>
                </c:pt>
                <c:pt idx="1619">
                  <c:v>31.268630000000002</c:v>
                </c:pt>
                <c:pt idx="1620">
                  <c:v>31.280497</c:v>
                </c:pt>
                <c:pt idx="1621">
                  <c:v>30.354979</c:v>
                </c:pt>
                <c:pt idx="1622">
                  <c:v>28.739391000000001</c:v>
                </c:pt>
                <c:pt idx="1623">
                  <c:v>29.880780999999999</c:v>
                </c:pt>
                <c:pt idx="1624">
                  <c:v>28.157667</c:v>
                </c:pt>
                <c:pt idx="1625">
                  <c:v>29.370735</c:v>
                </c:pt>
                <c:pt idx="1626">
                  <c:v>29.155441</c:v>
                </c:pt>
                <c:pt idx="1627">
                  <c:v>28.944320000000001</c:v>
                </c:pt>
                <c:pt idx="1628">
                  <c:v>29.031008</c:v>
                </c:pt>
                <c:pt idx="1629">
                  <c:v>28.843903000000001</c:v>
                </c:pt>
                <c:pt idx="1630">
                  <c:v>29.091225000000001</c:v>
                </c:pt>
                <c:pt idx="1631">
                  <c:v>29.242906999999999</c:v>
                </c:pt>
                <c:pt idx="1632">
                  <c:v>27.137253000000001</c:v>
                </c:pt>
                <c:pt idx="1633">
                  <c:v>29.793365000000001</c:v>
                </c:pt>
                <c:pt idx="1634">
                  <c:v>29.712349</c:v>
                </c:pt>
                <c:pt idx="1635">
                  <c:v>29.371469999999999</c:v>
                </c:pt>
                <c:pt idx="1636">
                  <c:v>29.053297000000001</c:v>
                </c:pt>
                <c:pt idx="1637">
                  <c:v>28.905868999999999</c:v>
                </c:pt>
                <c:pt idx="1638">
                  <c:v>28.991657</c:v>
                </c:pt>
                <c:pt idx="1639">
                  <c:v>29.055937</c:v>
                </c:pt>
                <c:pt idx="1640">
                  <c:v>29.121943000000002</c:v>
                </c:pt>
                <c:pt idx="1641">
                  <c:v>29.278100999999999</c:v>
                </c:pt>
                <c:pt idx="1642">
                  <c:v>29.426400999999998</c:v>
                </c:pt>
                <c:pt idx="1643">
                  <c:v>29.313278</c:v>
                </c:pt>
                <c:pt idx="1644">
                  <c:v>29.462319999999998</c:v>
                </c:pt>
                <c:pt idx="1645">
                  <c:v>29.553804</c:v>
                </c:pt>
                <c:pt idx="1646">
                  <c:v>29.544167000000002</c:v>
                </c:pt>
                <c:pt idx="1647">
                  <c:v>29.676359999999999</c:v>
                </c:pt>
                <c:pt idx="1648">
                  <c:v>29.888414000000001</c:v>
                </c:pt>
                <c:pt idx="1649">
                  <c:v>29.903482</c:v>
                </c:pt>
                <c:pt idx="1650">
                  <c:v>30.415572999999998</c:v>
                </c:pt>
                <c:pt idx="1651">
                  <c:v>30.012999000000001</c:v>
                </c:pt>
                <c:pt idx="1652">
                  <c:v>29.997703999999999</c:v>
                </c:pt>
                <c:pt idx="1653">
                  <c:v>30.480464999999999</c:v>
                </c:pt>
                <c:pt idx="1654">
                  <c:v>29.655428000000001</c:v>
                </c:pt>
                <c:pt idx="1655">
                  <c:v>28.653513</c:v>
                </c:pt>
                <c:pt idx="1656">
                  <c:v>29.222919999999998</c:v>
                </c:pt>
                <c:pt idx="1657">
                  <c:v>27.41695</c:v>
                </c:pt>
                <c:pt idx="1658">
                  <c:v>29.251401999999999</c:v>
                </c:pt>
                <c:pt idx="1659">
                  <c:v>28.098099000000001</c:v>
                </c:pt>
                <c:pt idx="1660">
                  <c:v>28.185392</c:v>
                </c:pt>
                <c:pt idx="1661">
                  <c:v>28.375978</c:v>
                </c:pt>
                <c:pt idx="1662">
                  <c:v>28.485353</c:v>
                </c:pt>
                <c:pt idx="1663">
                  <c:v>28.691544</c:v>
                </c:pt>
                <c:pt idx="1664">
                  <c:v>28.842497000000002</c:v>
                </c:pt>
                <c:pt idx="1665">
                  <c:v>28.941293999999999</c:v>
                </c:pt>
                <c:pt idx="1666">
                  <c:v>29.116667</c:v>
                </c:pt>
                <c:pt idx="1667">
                  <c:v>28.725525000000001</c:v>
                </c:pt>
                <c:pt idx="1668">
                  <c:v>28.868366000000002</c:v>
                </c:pt>
                <c:pt idx="1669">
                  <c:v>28.867446999999999</c:v>
                </c:pt>
                <c:pt idx="1670">
                  <c:v>28.419619999999998</c:v>
                </c:pt>
                <c:pt idx="1671">
                  <c:v>28.447187</c:v>
                </c:pt>
                <c:pt idx="1672">
                  <c:v>28.709271999999999</c:v>
                </c:pt>
                <c:pt idx="1673">
                  <c:v>28.894044999999998</c:v>
                </c:pt>
                <c:pt idx="1674">
                  <c:v>29.368334000000001</c:v>
                </c:pt>
                <c:pt idx="1675">
                  <c:v>28.913699999999999</c:v>
                </c:pt>
                <c:pt idx="1676">
                  <c:v>28.634823000000001</c:v>
                </c:pt>
                <c:pt idx="1677">
                  <c:v>29.099325</c:v>
                </c:pt>
                <c:pt idx="1678">
                  <c:v>29.403531999999998</c:v>
                </c:pt>
                <c:pt idx="1679">
                  <c:v>29.390272</c:v>
                </c:pt>
                <c:pt idx="1680">
                  <c:v>29.341515000000001</c:v>
                </c:pt>
                <c:pt idx="1681">
                  <c:v>29.243164</c:v>
                </c:pt>
                <c:pt idx="1682">
                  <c:v>29.204923999999998</c:v>
                </c:pt>
                <c:pt idx="1683">
                  <c:v>29.088379</c:v>
                </c:pt>
                <c:pt idx="1684">
                  <c:v>29.899080000000001</c:v>
                </c:pt>
                <c:pt idx="1685">
                  <c:v>27.461210000000001</c:v>
                </c:pt>
                <c:pt idx="1686">
                  <c:v>27.994364000000001</c:v>
                </c:pt>
                <c:pt idx="1687">
                  <c:v>27.648993000000001</c:v>
                </c:pt>
                <c:pt idx="1688">
                  <c:v>27.509872000000001</c:v>
                </c:pt>
                <c:pt idx="1689">
                  <c:v>28.097920999999999</c:v>
                </c:pt>
                <c:pt idx="1690">
                  <c:v>27.590112999999999</c:v>
                </c:pt>
                <c:pt idx="1691">
                  <c:v>27.685905000000002</c:v>
                </c:pt>
                <c:pt idx="1692">
                  <c:v>27.84526</c:v>
                </c:pt>
                <c:pt idx="1693">
                  <c:v>28.114298000000002</c:v>
                </c:pt>
                <c:pt idx="1694">
                  <c:v>28.36054</c:v>
                </c:pt>
                <c:pt idx="1695">
                  <c:v>28.619620999999999</c:v>
                </c:pt>
                <c:pt idx="1696">
                  <c:v>28.799938000000001</c:v>
                </c:pt>
                <c:pt idx="1697">
                  <c:v>28.931805000000001</c:v>
                </c:pt>
                <c:pt idx="1698">
                  <c:v>29.115814</c:v>
                </c:pt>
                <c:pt idx="1699">
                  <c:v>30.809950000000001</c:v>
                </c:pt>
                <c:pt idx="1700">
                  <c:v>28.826395000000002</c:v>
                </c:pt>
                <c:pt idx="1701">
                  <c:v>28.879835</c:v>
                </c:pt>
                <c:pt idx="1702">
                  <c:v>29.01247</c:v>
                </c:pt>
                <c:pt idx="1703">
                  <c:v>29.515101999999999</c:v>
                </c:pt>
                <c:pt idx="1704">
                  <c:v>28.957025999999999</c:v>
                </c:pt>
                <c:pt idx="1705">
                  <c:v>28.697935000000001</c:v>
                </c:pt>
                <c:pt idx="1706">
                  <c:v>28.652199</c:v>
                </c:pt>
                <c:pt idx="1707">
                  <c:v>28.720466999999999</c:v>
                </c:pt>
                <c:pt idx="1708">
                  <c:v>28.869046999999998</c:v>
                </c:pt>
                <c:pt idx="1709">
                  <c:v>28.863457</c:v>
                </c:pt>
                <c:pt idx="1710">
                  <c:v>28.96011</c:v>
                </c:pt>
                <c:pt idx="1711">
                  <c:v>29.036959</c:v>
                </c:pt>
                <c:pt idx="1712">
                  <c:v>29.746282999999998</c:v>
                </c:pt>
                <c:pt idx="1713">
                  <c:v>28.719393</c:v>
                </c:pt>
                <c:pt idx="1714">
                  <c:v>27.837050000000001</c:v>
                </c:pt>
                <c:pt idx="1715">
                  <c:v>28.683487</c:v>
                </c:pt>
                <c:pt idx="1716">
                  <c:v>28.493297999999999</c:v>
                </c:pt>
                <c:pt idx="1717">
                  <c:v>28.395327000000002</c:v>
                </c:pt>
                <c:pt idx="1718">
                  <c:v>27.533110000000001</c:v>
                </c:pt>
                <c:pt idx="1719">
                  <c:v>28.187913999999999</c:v>
                </c:pt>
                <c:pt idx="1720">
                  <c:v>29.033377000000002</c:v>
                </c:pt>
                <c:pt idx="1721">
                  <c:v>27.906407999999999</c:v>
                </c:pt>
                <c:pt idx="1722">
                  <c:v>27.84083</c:v>
                </c:pt>
                <c:pt idx="1723">
                  <c:v>27.845852000000001</c:v>
                </c:pt>
                <c:pt idx="1724">
                  <c:v>27.901108000000001</c:v>
                </c:pt>
                <c:pt idx="1725">
                  <c:v>27.92577</c:v>
                </c:pt>
                <c:pt idx="1726">
                  <c:v>27.745259999999998</c:v>
                </c:pt>
                <c:pt idx="1727">
                  <c:v>27.663385000000002</c:v>
                </c:pt>
                <c:pt idx="1728">
                  <c:v>27.852267999999999</c:v>
                </c:pt>
                <c:pt idx="1729">
                  <c:v>27.908169000000001</c:v>
                </c:pt>
                <c:pt idx="1730">
                  <c:v>27.881834000000001</c:v>
                </c:pt>
                <c:pt idx="1731">
                  <c:v>27.424925000000002</c:v>
                </c:pt>
                <c:pt idx="1732">
                  <c:v>27.565574999999999</c:v>
                </c:pt>
                <c:pt idx="1733">
                  <c:v>27.640879999999999</c:v>
                </c:pt>
                <c:pt idx="1734">
                  <c:v>27.522316</c:v>
                </c:pt>
                <c:pt idx="1735">
                  <c:v>27.44547</c:v>
                </c:pt>
                <c:pt idx="1736">
                  <c:v>27.549543</c:v>
                </c:pt>
                <c:pt idx="1737">
                  <c:v>27.635313</c:v>
                </c:pt>
                <c:pt idx="1738">
                  <c:v>27.765927999999999</c:v>
                </c:pt>
                <c:pt idx="1739">
                  <c:v>27.875698</c:v>
                </c:pt>
                <c:pt idx="1740">
                  <c:v>28.082253999999999</c:v>
                </c:pt>
                <c:pt idx="1741">
                  <c:v>28.237304999999999</c:v>
                </c:pt>
                <c:pt idx="1742">
                  <c:v>28.309263000000001</c:v>
                </c:pt>
                <c:pt idx="1743">
                  <c:v>28.394069999999999</c:v>
                </c:pt>
                <c:pt idx="1744">
                  <c:v>28.515509999999999</c:v>
                </c:pt>
                <c:pt idx="1745">
                  <c:v>28.097116</c:v>
                </c:pt>
                <c:pt idx="1746">
                  <c:v>28.927229000000001</c:v>
                </c:pt>
                <c:pt idx="1747">
                  <c:v>28.159455999999999</c:v>
                </c:pt>
                <c:pt idx="1748">
                  <c:v>27.697247999999998</c:v>
                </c:pt>
                <c:pt idx="1749">
                  <c:v>28.085782999999999</c:v>
                </c:pt>
                <c:pt idx="1750">
                  <c:v>27.005903</c:v>
                </c:pt>
                <c:pt idx="1751">
                  <c:v>26.346530000000001</c:v>
                </c:pt>
                <c:pt idx="1752">
                  <c:v>25.356283000000001</c:v>
                </c:pt>
                <c:pt idx="1753">
                  <c:v>25.800270000000001</c:v>
                </c:pt>
                <c:pt idx="1754">
                  <c:v>25.589625999999999</c:v>
                </c:pt>
                <c:pt idx="1755">
                  <c:v>24.408086999999998</c:v>
                </c:pt>
                <c:pt idx="1756">
                  <c:v>25.678038000000001</c:v>
                </c:pt>
                <c:pt idx="1757">
                  <c:v>25.745173999999999</c:v>
                </c:pt>
                <c:pt idx="1758">
                  <c:v>25.685500999999999</c:v>
                </c:pt>
                <c:pt idx="1759">
                  <c:v>25.587267000000001</c:v>
                </c:pt>
                <c:pt idx="1760">
                  <c:v>25.486173999999998</c:v>
                </c:pt>
                <c:pt idx="1761">
                  <c:v>25.416150999999999</c:v>
                </c:pt>
                <c:pt idx="1762">
                  <c:v>25.333805000000002</c:v>
                </c:pt>
                <c:pt idx="1763">
                  <c:v>25.385432999999999</c:v>
                </c:pt>
                <c:pt idx="1764">
                  <c:v>25.513553999999999</c:v>
                </c:pt>
                <c:pt idx="1765">
                  <c:v>25.473516</c:v>
                </c:pt>
                <c:pt idx="1766">
                  <c:v>25.416388000000001</c:v>
                </c:pt>
                <c:pt idx="1767">
                  <c:v>25.339559999999999</c:v>
                </c:pt>
                <c:pt idx="1768">
                  <c:v>24.369543</c:v>
                </c:pt>
                <c:pt idx="1769">
                  <c:v>24.115528000000001</c:v>
                </c:pt>
                <c:pt idx="1770">
                  <c:v>23.424683000000002</c:v>
                </c:pt>
                <c:pt idx="1771">
                  <c:v>20.994415</c:v>
                </c:pt>
                <c:pt idx="1772">
                  <c:v>21.813547</c:v>
                </c:pt>
                <c:pt idx="1773">
                  <c:v>21.708002</c:v>
                </c:pt>
                <c:pt idx="1774">
                  <c:v>17.478339999999999</c:v>
                </c:pt>
                <c:pt idx="1775">
                  <c:v>17.760439000000002</c:v>
                </c:pt>
                <c:pt idx="1776">
                  <c:v>19.712463</c:v>
                </c:pt>
                <c:pt idx="1777">
                  <c:v>12.860929</c:v>
                </c:pt>
                <c:pt idx="1778">
                  <c:v>18.024685000000002</c:v>
                </c:pt>
                <c:pt idx="1779">
                  <c:v>14.231832499999999</c:v>
                </c:pt>
                <c:pt idx="1780">
                  <c:v>14.536156</c:v>
                </c:pt>
                <c:pt idx="1781">
                  <c:v>15.812842</c:v>
                </c:pt>
                <c:pt idx="1782">
                  <c:v>14.748338</c:v>
                </c:pt>
                <c:pt idx="1783">
                  <c:v>14.958996000000001</c:v>
                </c:pt>
                <c:pt idx="1784">
                  <c:v>12.414021</c:v>
                </c:pt>
                <c:pt idx="1785">
                  <c:v>11.639597999999999</c:v>
                </c:pt>
                <c:pt idx="1786">
                  <c:v>10.585277</c:v>
                </c:pt>
                <c:pt idx="1787">
                  <c:v>14.826587</c:v>
                </c:pt>
                <c:pt idx="1788">
                  <c:v>12.242556</c:v>
                </c:pt>
                <c:pt idx="1789">
                  <c:v>12.823541000000001</c:v>
                </c:pt>
                <c:pt idx="1790">
                  <c:v>13.076556</c:v>
                </c:pt>
                <c:pt idx="1791">
                  <c:v>13.232900000000001</c:v>
                </c:pt>
                <c:pt idx="1792">
                  <c:v>12.468823</c:v>
                </c:pt>
                <c:pt idx="1793">
                  <c:v>10.283232999999999</c:v>
                </c:pt>
                <c:pt idx="1794">
                  <c:v>9.6231860000000005</c:v>
                </c:pt>
                <c:pt idx="1795">
                  <c:v>10.054074</c:v>
                </c:pt>
                <c:pt idx="1796">
                  <c:v>10.256675</c:v>
                </c:pt>
                <c:pt idx="1797">
                  <c:v>10.452253000000001</c:v>
                </c:pt>
                <c:pt idx="1798">
                  <c:v>13.048825000000001</c:v>
                </c:pt>
                <c:pt idx="1799">
                  <c:v>13.179522499999999</c:v>
                </c:pt>
                <c:pt idx="1800">
                  <c:v>11.1262455</c:v>
                </c:pt>
                <c:pt idx="1801">
                  <c:v>11.844782</c:v>
                </c:pt>
                <c:pt idx="1802">
                  <c:v>11.091346</c:v>
                </c:pt>
                <c:pt idx="1803">
                  <c:v>11.138031</c:v>
                </c:pt>
                <c:pt idx="1804">
                  <c:v>12.210804</c:v>
                </c:pt>
                <c:pt idx="1805">
                  <c:v>11.854203999999999</c:v>
                </c:pt>
                <c:pt idx="1806">
                  <c:v>11.846608</c:v>
                </c:pt>
                <c:pt idx="1807">
                  <c:v>9.9098260000000007</c:v>
                </c:pt>
                <c:pt idx="1808">
                  <c:v>9.8755609999999994</c:v>
                </c:pt>
                <c:pt idx="1809">
                  <c:v>12.236305</c:v>
                </c:pt>
                <c:pt idx="1810">
                  <c:v>11.900175000000001</c:v>
                </c:pt>
                <c:pt idx="1811">
                  <c:v>12.147454</c:v>
                </c:pt>
                <c:pt idx="1812">
                  <c:v>12.65686</c:v>
                </c:pt>
                <c:pt idx="1813">
                  <c:v>12.795698</c:v>
                </c:pt>
                <c:pt idx="1814">
                  <c:v>11.531121000000001</c:v>
                </c:pt>
                <c:pt idx="1815">
                  <c:v>11.010179000000001</c:v>
                </c:pt>
                <c:pt idx="1816">
                  <c:v>13.851350999999999</c:v>
                </c:pt>
                <c:pt idx="1817">
                  <c:v>11.905511000000001</c:v>
                </c:pt>
                <c:pt idx="1818">
                  <c:v>11.429988</c:v>
                </c:pt>
                <c:pt idx="1819">
                  <c:v>10.270377</c:v>
                </c:pt>
                <c:pt idx="1820">
                  <c:v>10.466455</c:v>
                </c:pt>
                <c:pt idx="1821">
                  <c:v>10.438254000000001</c:v>
                </c:pt>
                <c:pt idx="1822">
                  <c:v>10.264657</c:v>
                </c:pt>
                <c:pt idx="1823">
                  <c:v>9.9394679999999997</c:v>
                </c:pt>
                <c:pt idx="1824">
                  <c:v>10.178865</c:v>
                </c:pt>
                <c:pt idx="1825">
                  <c:v>10.53307</c:v>
                </c:pt>
                <c:pt idx="1826">
                  <c:v>9.7717705000000006</c:v>
                </c:pt>
                <c:pt idx="1827">
                  <c:v>10.995657</c:v>
                </c:pt>
                <c:pt idx="1828">
                  <c:v>9.2737990000000003</c:v>
                </c:pt>
                <c:pt idx="1829">
                  <c:v>11.537668999999999</c:v>
                </c:pt>
                <c:pt idx="1830">
                  <c:v>11.167535000000001</c:v>
                </c:pt>
                <c:pt idx="1831">
                  <c:v>10.623796</c:v>
                </c:pt>
                <c:pt idx="1832">
                  <c:v>11.95843</c:v>
                </c:pt>
                <c:pt idx="1833">
                  <c:v>11.540215999999999</c:v>
                </c:pt>
                <c:pt idx="1834">
                  <c:v>12.045384</c:v>
                </c:pt>
                <c:pt idx="1835">
                  <c:v>11.850064</c:v>
                </c:pt>
                <c:pt idx="1836">
                  <c:v>11.64678</c:v>
                </c:pt>
                <c:pt idx="1837">
                  <c:v>10.031451000000001</c:v>
                </c:pt>
                <c:pt idx="1838">
                  <c:v>13.832286</c:v>
                </c:pt>
                <c:pt idx="1839">
                  <c:v>18.603169999999999</c:v>
                </c:pt>
                <c:pt idx="1840">
                  <c:v>19.928068</c:v>
                </c:pt>
                <c:pt idx="1841">
                  <c:v>18.660699999999999</c:v>
                </c:pt>
                <c:pt idx="1842">
                  <c:v>16.884312000000001</c:v>
                </c:pt>
                <c:pt idx="1843">
                  <c:v>16.611886999999999</c:v>
                </c:pt>
                <c:pt idx="1844">
                  <c:v>15.394582</c:v>
                </c:pt>
                <c:pt idx="1845">
                  <c:v>16.361124</c:v>
                </c:pt>
                <c:pt idx="1846">
                  <c:v>14.6946125</c:v>
                </c:pt>
                <c:pt idx="1847">
                  <c:v>14.601959000000001</c:v>
                </c:pt>
                <c:pt idx="1848">
                  <c:v>13.382555999999999</c:v>
                </c:pt>
                <c:pt idx="1849">
                  <c:v>12.827394999999999</c:v>
                </c:pt>
                <c:pt idx="1850">
                  <c:v>13.050165</c:v>
                </c:pt>
                <c:pt idx="1851">
                  <c:v>12.320835000000001</c:v>
                </c:pt>
                <c:pt idx="1852">
                  <c:v>15.300278</c:v>
                </c:pt>
                <c:pt idx="1853">
                  <c:v>14.534943</c:v>
                </c:pt>
                <c:pt idx="1854">
                  <c:v>14.046400999999999</c:v>
                </c:pt>
                <c:pt idx="1855">
                  <c:v>13.513184000000001</c:v>
                </c:pt>
                <c:pt idx="1856">
                  <c:v>11.413119999999999</c:v>
                </c:pt>
                <c:pt idx="1857">
                  <c:v>11.242219</c:v>
                </c:pt>
                <c:pt idx="1858">
                  <c:v>11.228488</c:v>
                </c:pt>
                <c:pt idx="1859">
                  <c:v>10.859366</c:v>
                </c:pt>
                <c:pt idx="1860">
                  <c:v>10.837921</c:v>
                </c:pt>
                <c:pt idx="1861">
                  <c:v>10.876965500000001</c:v>
                </c:pt>
                <c:pt idx="1862">
                  <c:v>11.526388000000001</c:v>
                </c:pt>
                <c:pt idx="1863">
                  <c:v>10.792949999999999</c:v>
                </c:pt>
                <c:pt idx="1864">
                  <c:v>11.21096</c:v>
                </c:pt>
                <c:pt idx="1865">
                  <c:v>11.2802305</c:v>
                </c:pt>
                <c:pt idx="1866">
                  <c:v>10.472556000000001</c:v>
                </c:pt>
                <c:pt idx="1867">
                  <c:v>12.387022999999999</c:v>
                </c:pt>
                <c:pt idx="1868">
                  <c:v>12.721034</c:v>
                </c:pt>
                <c:pt idx="1869">
                  <c:v>12.549255</c:v>
                </c:pt>
                <c:pt idx="1870">
                  <c:v>11.423766000000001</c:v>
                </c:pt>
                <c:pt idx="1871">
                  <c:v>11.825362</c:v>
                </c:pt>
                <c:pt idx="1872">
                  <c:v>11.204556999999999</c:v>
                </c:pt>
                <c:pt idx="1873">
                  <c:v>12.493636</c:v>
                </c:pt>
                <c:pt idx="1874">
                  <c:v>10.806535</c:v>
                </c:pt>
                <c:pt idx="1875">
                  <c:v>11.743528</c:v>
                </c:pt>
                <c:pt idx="1876">
                  <c:v>11.585194</c:v>
                </c:pt>
                <c:pt idx="1877">
                  <c:v>11.457642</c:v>
                </c:pt>
                <c:pt idx="1878">
                  <c:v>10.526771</c:v>
                </c:pt>
                <c:pt idx="1879">
                  <c:v>11.519265000000001</c:v>
                </c:pt>
                <c:pt idx="1880">
                  <c:v>11.649762000000001</c:v>
                </c:pt>
                <c:pt idx="1881">
                  <c:v>11.956163</c:v>
                </c:pt>
                <c:pt idx="1882">
                  <c:v>13.340255000000001</c:v>
                </c:pt>
                <c:pt idx="1883">
                  <c:v>14.00563</c:v>
                </c:pt>
                <c:pt idx="1884">
                  <c:v>13.071937999999999</c:v>
                </c:pt>
                <c:pt idx="1885">
                  <c:v>14.080727</c:v>
                </c:pt>
                <c:pt idx="1886">
                  <c:v>14.340109</c:v>
                </c:pt>
                <c:pt idx="1887">
                  <c:v>13.666771000000001</c:v>
                </c:pt>
                <c:pt idx="1888">
                  <c:v>13.056547</c:v>
                </c:pt>
                <c:pt idx="1889">
                  <c:v>12.102802000000001</c:v>
                </c:pt>
                <c:pt idx="1890">
                  <c:v>13.012172</c:v>
                </c:pt>
                <c:pt idx="1891">
                  <c:v>13.915549</c:v>
                </c:pt>
                <c:pt idx="1892">
                  <c:v>13.074971</c:v>
                </c:pt>
                <c:pt idx="1893">
                  <c:v>12.742564</c:v>
                </c:pt>
                <c:pt idx="1894">
                  <c:v>12.837892999999999</c:v>
                </c:pt>
                <c:pt idx="1895">
                  <c:v>14.226736000000001</c:v>
                </c:pt>
                <c:pt idx="1896">
                  <c:v>13.079742</c:v>
                </c:pt>
                <c:pt idx="1897">
                  <c:v>13.731624</c:v>
                </c:pt>
                <c:pt idx="1898">
                  <c:v>14.921574</c:v>
                </c:pt>
                <c:pt idx="1899">
                  <c:v>14.312260999999999</c:v>
                </c:pt>
                <c:pt idx="1900">
                  <c:v>14.948793</c:v>
                </c:pt>
                <c:pt idx="1901">
                  <c:v>14.926501</c:v>
                </c:pt>
                <c:pt idx="1902">
                  <c:v>14.780984999999999</c:v>
                </c:pt>
                <c:pt idx="1903">
                  <c:v>15.132804999999999</c:v>
                </c:pt>
                <c:pt idx="1904">
                  <c:v>14.6683235</c:v>
                </c:pt>
                <c:pt idx="1905">
                  <c:v>14.496748</c:v>
                </c:pt>
                <c:pt idx="1906">
                  <c:v>14.394439</c:v>
                </c:pt>
                <c:pt idx="1907">
                  <c:v>13.707834999999999</c:v>
                </c:pt>
                <c:pt idx="1908">
                  <c:v>13.297090000000001</c:v>
                </c:pt>
                <c:pt idx="1909">
                  <c:v>13.147142000000001</c:v>
                </c:pt>
                <c:pt idx="1910">
                  <c:v>13.160894000000001</c:v>
                </c:pt>
                <c:pt idx="1911">
                  <c:v>13.819846999999999</c:v>
                </c:pt>
                <c:pt idx="1912">
                  <c:v>13.409852000000001</c:v>
                </c:pt>
                <c:pt idx="1913">
                  <c:v>12.82671</c:v>
                </c:pt>
                <c:pt idx="1914">
                  <c:v>13.221598</c:v>
                </c:pt>
                <c:pt idx="1915">
                  <c:v>12.198915</c:v>
                </c:pt>
                <c:pt idx="1916">
                  <c:v>12.579853999999999</c:v>
                </c:pt>
                <c:pt idx="1917">
                  <c:v>12.492308</c:v>
                </c:pt>
                <c:pt idx="1918">
                  <c:v>12.476542999999999</c:v>
                </c:pt>
                <c:pt idx="1919">
                  <c:v>13.045881</c:v>
                </c:pt>
                <c:pt idx="1920">
                  <c:v>12.710022</c:v>
                </c:pt>
                <c:pt idx="1921">
                  <c:v>13.150123000000001</c:v>
                </c:pt>
                <c:pt idx="1922">
                  <c:v>12.849004000000001</c:v>
                </c:pt>
                <c:pt idx="1923">
                  <c:v>13.228673000000001</c:v>
                </c:pt>
                <c:pt idx="1924">
                  <c:v>11.804722999999999</c:v>
                </c:pt>
                <c:pt idx="1925">
                  <c:v>14.032500000000001</c:v>
                </c:pt>
                <c:pt idx="1926">
                  <c:v>13.510564</c:v>
                </c:pt>
                <c:pt idx="1927">
                  <c:v>12.734448</c:v>
                </c:pt>
                <c:pt idx="1928">
                  <c:v>14.09273</c:v>
                </c:pt>
                <c:pt idx="1929">
                  <c:v>13.578486</c:v>
                </c:pt>
                <c:pt idx="1930">
                  <c:v>14.268079999999999</c:v>
                </c:pt>
                <c:pt idx="1931">
                  <c:v>13.910584999999999</c:v>
                </c:pt>
                <c:pt idx="1932">
                  <c:v>13.833456999999999</c:v>
                </c:pt>
                <c:pt idx="1933">
                  <c:v>13.856477</c:v>
                </c:pt>
                <c:pt idx="1934">
                  <c:v>14.854146999999999</c:v>
                </c:pt>
                <c:pt idx="1935">
                  <c:v>14.004407</c:v>
                </c:pt>
                <c:pt idx="1936">
                  <c:v>12.871039</c:v>
                </c:pt>
                <c:pt idx="1937">
                  <c:v>14.774717000000001</c:v>
                </c:pt>
                <c:pt idx="1938">
                  <c:v>14.972170999999999</c:v>
                </c:pt>
                <c:pt idx="1939">
                  <c:v>14.421032</c:v>
                </c:pt>
                <c:pt idx="1940">
                  <c:v>14.56826</c:v>
                </c:pt>
                <c:pt idx="1941">
                  <c:v>13.126182</c:v>
                </c:pt>
                <c:pt idx="1942">
                  <c:v>13.17503</c:v>
                </c:pt>
                <c:pt idx="1943">
                  <c:v>12.9584875</c:v>
                </c:pt>
                <c:pt idx="1944">
                  <c:v>12.660398000000001</c:v>
                </c:pt>
                <c:pt idx="1945">
                  <c:v>12.795773000000001</c:v>
                </c:pt>
                <c:pt idx="1946">
                  <c:v>13.140984</c:v>
                </c:pt>
                <c:pt idx="1947">
                  <c:v>13.742917</c:v>
                </c:pt>
                <c:pt idx="1948">
                  <c:v>13.780336</c:v>
                </c:pt>
                <c:pt idx="1949">
                  <c:v>16.985240000000001</c:v>
                </c:pt>
                <c:pt idx="1950">
                  <c:v>16.085287000000001</c:v>
                </c:pt>
                <c:pt idx="1951">
                  <c:v>15.699066</c:v>
                </c:pt>
                <c:pt idx="1952">
                  <c:v>15.536208</c:v>
                </c:pt>
                <c:pt idx="1953">
                  <c:v>15.284309</c:v>
                </c:pt>
                <c:pt idx="1954">
                  <c:v>16.136289999999999</c:v>
                </c:pt>
                <c:pt idx="1955">
                  <c:v>15.434856</c:v>
                </c:pt>
                <c:pt idx="1956">
                  <c:v>16.988613000000001</c:v>
                </c:pt>
                <c:pt idx="1957">
                  <c:v>15.596501999999999</c:v>
                </c:pt>
                <c:pt idx="1958">
                  <c:v>15.938340999999999</c:v>
                </c:pt>
                <c:pt idx="1959">
                  <c:v>16.164995000000001</c:v>
                </c:pt>
                <c:pt idx="1960">
                  <c:v>17.183388000000001</c:v>
                </c:pt>
                <c:pt idx="1961">
                  <c:v>16.605167000000002</c:v>
                </c:pt>
                <c:pt idx="1962">
                  <c:v>16.148909</c:v>
                </c:pt>
                <c:pt idx="1963">
                  <c:v>16.562674999999999</c:v>
                </c:pt>
                <c:pt idx="1964">
                  <c:v>16.347128000000001</c:v>
                </c:pt>
                <c:pt idx="1965">
                  <c:v>16.405622000000001</c:v>
                </c:pt>
                <c:pt idx="1966">
                  <c:v>19.112089999999998</c:v>
                </c:pt>
                <c:pt idx="1967">
                  <c:v>17.289179000000001</c:v>
                </c:pt>
                <c:pt idx="1968">
                  <c:v>18.712140999999999</c:v>
                </c:pt>
                <c:pt idx="1969">
                  <c:v>18.559664000000001</c:v>
                </c:pt>
                <c:pt idx="1970">
                  <c:v>17.705137000000001</c:v>
                </c:pt>
                <c:pt idx="1971">
                  <c:v>17.026610999999999</c:v>
                </c:pt>
                <c:pt idx="1972">
                  <c:v>17.258682</c:v>
                </c:pt>
                <c:pt idx="1973">
                  <c:v>16.95674</c:v>
                </c:pt>
                <c:pt idx="1974">
                  <c:v>16.983788000000001</c:v>
                </c:pt>
                <c:pt idx="1975">
                  <c:v>16.602679999999999</c:v>
                </c:pt>
                <c:pt idx="1976">
                  <c:v>16.510453999999999</c:v>
                </c:pt>
                <c:pt idx="1977">
                  <c:v>17.166584</c:v>
                </c:pt>
                <c:pt idx="1978">
                  <c:v>17.124966000000001</c:v>
                </c:pt>
                <c:pt idx="1979">
                  <c:v>17.77328</c:v>
                </c:pt>
                <c:pt idx="1980">
                  <c:v>16.806448</c:v>
                </c:pt>
                <c:pt idx="1981">
                  <c:v>16.398508</c:v>
                </c:pt>
                <c:pt idx="1982">
                  <c:v>17.317426999999999</c:v>
                </c:pt>
                <c:pt idx="1983">
                  <c:v>17.928276</c:v>
                </c:pt>
                <c:pt idx="1984">
                  <c:v>16.612095</c:v>
                </c:pt>
                <c:pt idx="1985">
                  <c:v>16.869212999999998</c:v>
                </c:pt>
                <c:pt idx="1986">
                  <c:v>17.043645999999999</c:v>
                </c:pt>
                <c:pt idx="1987">
                  <c:v>16.843119000000002</c:v>
                </c:pt>
                <c:pt idx="1988">
                  <c:v>17.061516000000001</c:v>
                </c:pt>
                <c:pt idx="1989">
                  <c:v>17.019877999999999</c:v>
                </c:pt>
                <c:pt idx="1990">
                  <c:v>17.32413</c:v>
                </c:pt>
                <c:pt idx="1991">
                  <c:v>17.231193999999999</c:v>
                </c:pt>
                <c:pt idx="1992">
                  <c:v>17.210545</c:v>
                </c:pt>
                <c:pt idx="1993">
                  <c:v>17.443773</c:v>
                </c:pt>
                <c:pt idx="1994">
                  <c:v>18.112179999999999</c:v>
                </c:pt>
                <c:pt idx="1995">
                  <c:v>17.675894</c:v>
                </c:pt>
                <c:pt idx="1996">
                  <c:v>17.494942000000002</c:v>
                </c:pt>
                <c:pt idx="1997">
                  <c:v>17.679559999999999</c:v>
                </c:pt>
                <c:pt idx="1998">
                  <c:v>18.340167999999998</c:v>
                </c:pt>
                <c:pt idx="1999">
                  <c:v>17.881381999999999</c:v>
                </c:pt>
                <c:pt idx="2000">
                  <c:v>18.28491</c:v>
                </c:pt>
                <c:pt idx="2001">
                  <c:v>18.112217000000001</c:v>
                </c:pt>
                <c:pt idx="2002">
                  <c:v>18.424757</c:v>
                </c:pt>
                <c:pt idx="2003">
                  <c:v>21.076910000000002</c:v>
                </c:pt>
                <c:pt idx="2004">
                  <c:v>18.755434000000001</c:v>
                </c:pt>
                <c:pt idx="2005">
                  <c:v>17.876842</c:v>
                </c:pt>
                <c:pt idx="2006">
                  <c:v>17.758922999999999</c:v>
                </c:pt>
                <c:pt idx="2007">
                  <c:v>18.075057999999999</c:v>
                </c:pt>
                <c:pt idx="2008">
                  <c:v>17.876528</c:v>
                </c:pt>
                <c:pt idx="2009">
                  <c:v>18.280313</c:v>
                </c:pt>
                <c:pt idx="2010">
                  <c:v>18.399602999999999</c:v>
                </c:pt>
                <c:pt idx="2011">
                  <c:v>18.387732</c:v>
                </c:pt>
                <c:pt idx="2012">
                  <c:v>18.413618</c:v>
                </c:pt>
                <c:pt idx="2013">
                  <c:v>18.682886</c:v>
                </c:pt>
                <c:pt idx="2014">
                  <c:v>18.702587000000001</c:v>
                </c:pt>
                <c:pt idx="2015">
                  <c:v>18.920245999999999</c:v>
                </c:pt>
                <c:pt idx="2016">
                  <c:v>17.560925000000001</c:v>
                </c:pt>
                <c:pt idx="2017">
                  <c:v>18.986440000000002</c:v>
                </c:pt>
                <c:pt idx="2018">
                  <c:v>19.325569999999999</c:v>
                </c:pt>
                <c:pt idx="2019">
                  <c:v>19.919301999999998</c:v>
                </c:pt>
                <c:pt idx="2020">
                  <c:v>19.513262000000001</c:v>
                </c:pt>
                <c:pt idx="2021">
                  <c:v>19.408548</c:v>
                </c:pt>
                <c:pt idx="2022">
                  <c:v>19.130552000000002</c:v>
                </c:pt>
                <c:pt idx="2023">
                  <c:v>18.679575</c:v>
                </c:pt>
                <c:pt idx="2024">
                  <c:v>18.760193000000001</c:v>
                </c:pt>
                <c:pt idx="2025">
                  <c:v>18.554673999999999</c:v>
                </c:pt>
                <c:pt idx="2026">
                  <c:v>18.774054</c:v>
                </c:pt>
                <c:pt idx="2027">
                  <c:v>18.762953</c:v>
                </c:pt>
                <c:pt idx="2028">
                  <c:v>18.768698000000001</c:v>
                </c:pt>
                <c:pt idx="2029">
                  <c:v>18.410658000000002</c:v>
                </c:pt>
                <c:pt idx="2030">
                  <c:v>17.039494000000001</c:v>
                </c:pt>
                <c:pt idx="2031">
                  <c:v>17.514127999999999</c:v>
                </c:pt>
                <c:pt idx="2032">
                  <c:v>18.795952</c:v>
                </c:pt>
                <c:pt idx="2033">
                  <c:v>19.654339</c:v>
                </c:pt>
                <c:pt idx="2034">
                  <c:v>20.15316</c:v>
                </c:pt>
                <c:pt idx="2035">
                  <c:v>19.261085999999999</c:v>
                </c:pt>
                <c:pt idx="2036">
                  <c:v>19.190511999999998</c:v>
                </c:pt>
                <c:pt idx="2037">
                  <c:v>19.457280999999998</c:v>
                </c:pt>
                <c:pt idx="2038">
                  <c:v>19.396644999999999</c:v>
                </c:pt>
                <c:pt idx="2039">
                  <c:v>19.342299000000001</c:v>
                </c:pt>
                <c:pt idx="2040">
                  <c:v>19.498709000000002</c:v>
                </c:pt>
                <c:pt idx="2041">
                  <c:v>19.301642999999999</c:v>
                </c:pt>
                <c:pt idx="2042">
                  <c:v>19.352765999999999</c:v>
                </c:pt>
                <c:pt idx="2043">
                  <c:v>19.305720999999998</c:v>
                </c:pt>
                <c:pt idx="2044">
                  <c:v>19.349284999999998</c:v>
                </c:pt>
                <c:pt idx="2045">
                  <c:v>20.606905000000001</c:v>
                </c:pt>
                <c:pt idx="2046">
                  <c:v>19.292079999999999</c:v>
                </c:pt>
                <c:pt idx="2047">
                  <c:v>19.440194999999999</c:v>
                </c:pt>
                <c:pt idx="2048">
                  <c:v>19.791933</c:v>
                </c:pt>
                <c:pt idx="2049">
                  <c:v>19.970575</c:v>
                </c:pt>
                <c:pt idx="2050">
                  <c:v>21.478249000000002</c:v>
                </c:pt>
                <c:pt idx="2051">
                  <c:v>20.149899000000001</c:v>
                </c:pt>
                <c:pt idx="2052">
                  <c:v>20.429485</c:v>
                </c:pt>
                <c:pt idx="2053">
                  <c:v>19.160608</c:v>
                </c:pt>
                <c:pt idx="2054">
                  <c:v>21.014959999999999</c:v>
                </c:pt>
                <c:pt idx="2055">
                  <c:v>21.223572000000001</c:v>
                </c:pt>
                <c:pt idx="2056">
                  <c:v>21.022303000000001</c:v>
                </c:pt>
                <c:pt idx="2057">
                  <c:v>21.069148999999999</c:v>
                </c:pt>
                <c:pt idx="2058">
                  <c:v>21.196764000000002</c:v>
                </c:pt>
                <c:pt idx="2059">
                  <c:v>21.462374000000001</c:v>
                </c:pt>
                <c:pt idx="2060">
                  <c:v>19.247637000000001</c:v>
                </c:pt>
                <c:pt idx="2061">
                  <c:v>21.605093</c:v>
                </c:pt>
                <c:pt idx="2062">
                  <c:v>21.240507000000001</c:v>
                </c:pt>
                <c:pt idx="2063">
                  <c:v>21.225103000000001</c:v>
                </c:pt>
                <c:pt idx="2064">
                  <c:v>21.108376</c:v>
                </c:pt>
                <c:pt idx="2065">
                  <c:v>21.191772</c:v>
                </c:pt>
                <c:pt idx="2066">
                  <c:v>21.468252</c:v>
                </c:pt>
                <c:pt idx="2067">
                  <c:v>21.503026999999999</c:v>
                </c:pt>
                <c:pt idx="2068">
                  <c:v>21.535375999999999</c:v>
                </c:pt>
                <c:pt idx="2069">
                  <c:v>21.666916000000001</c:v>
                </c:pt>
                <c:pt idx="2070">
                  <c:v>21.584301</c:v>
                </c:pt>
                <c:pt idx="2071">
                  <c:v>21.632952</c:v>
                </c:pt>
                <c:pt idx="2072">
                  <c:v>21.839206999999998</c:v>
                </c:pt>
                <c:pt idx="2073">
                  <c:v>21.871616</c:v>
                </c:pt>
                <c:pt idx="2074">
                  <c:v>19.80612</c:v>
                </c:pt>
                <c:pt idx="2075">
                  <c:v>20.805665999999999</c:v>
                </c:pt>
                <c:pt idx="2076">
                  <c:v>21.609621000000001</c:v>
                </c:pt>
                <c:pt idx="2077">
                  <c:v>21.669454999999999</c:v>
                </c:pt>
                <c:pt idx="2078">
                  <c:v>21.679136</c:v>
                </c:pt>
                <c:pt idx="2079">
                  <c:v>20.909594999999999</c:v>
                </c:pt>
                <c:pt idx="2080">
                  <c:v>21.490283999999999</c:v>
                </c:pt>
                <c:pt idx="2081">
                  <c:v>21.494033999999999</c:v>
                </c:pt>
                <c:pt idx="2082">
                  <c:v>21.459278000000001</c:v>
                </c:pt>
                <c:pt idx="2083">
                  <c:v>22.493368</c:v>
                </c:pt>
                <c:pt idx="2084">
                  <c:v>21.87397</c:v>
                </c:pt>
                <c:pt idx="2085">
                  <c:v>21.658881999999998</c:v>
                </c:pt>
                <c:pt idx="2086">
                  <c:v>21.791498000000001</c:v>
                </c:pt>
                <c:pt idx="2087">
                  <c:v>21.790324999999999</c:v>
                </c:pt>
                <c:pt idx="2088">
                  <c:v>21.89564</c:v>
                </c:pt>
                <c:pt idx="2089">
                  <c:v>22.143256999999998</c:v>
                </c:pt>
                <c:pt idx="2090">
                  <c:v>21.84104</c:v>
                </c:pt>
                <c:pt idx="2091">
                  <c:v>21.837569999999999</c:v>
                </c:pt>
                <c:pt idx="2092">
                  <c:v>21.869795</c:v>
                </c:pt>
                <c:pt idx="2093">
                  <c:v>22.047915</c:v>
                </c:pt>
                <c:pt idx="2094">
                  <c:v>22.059419999999999</c:v>
                </c:pt>
                <c:pt idx="2095">
                  <c:v>23.254974000000001</c:v>
                </c:pt>
                <c:pt idx="2096">
                  <c:v>22.728424</c:v>
                </c:pt>
                <c:pt idx="2097">
                  <c:v>22.597152999999999</c:v>
                </c:pt>
                <c:pt idx="2098">
                  <c:v>22.385822000000001</c:v>
                </c:pt>
                <c:pt idx="2099">
                  <c:v>22.456216999999999</c:v>
                </c:pt>
                <c:pt idx="2100">
                  <c:v>22.608494</c:v>
                </c:pt>
                <c:pt idx="2101">
                  <c:v>23.697417999999999</c:v>
                </c:pt>
                <c:pt idx="2102">
                  <c:v>23.504242000000001</c:v>
                </c:pt>
                <c:pt idx="2103">
                  <c:v>22.463464999999999</c:v>
                </c:pt>
                <c:pt idx="2104">
                  <c:v>22.481767999999999</c:v>
                </c:pt>
                <c:pt idx="2105">
                  <c:v>22.642354999999998</c:v>
                </c:pt>
                <c:pt idx="2106">
                  <c:v>22.707664000000001</c:v>
                </c:pt>
                <c:pt idx="2107">
                  <c:v>23.103750000000002</c:v>
                </c:pt>
                <c:pt idx="2108">
                  <c:v>23.590755000000001</c:v>
                </c:pt>
                <c:pt idx="2109">
                  <c:v>23.589770000000001</c:v>
                </c:pt>
              </c:numCache>
            </c:numRef>
          </c:val>
          <c:smooth val="0"/>
          <c:extLst>
            <c:ext xmlns:c16="http://schemas.microsoft.com/office/drawing/2014/chart" uri="{C3380CC4-5D6E-409C-BE32-E72D297353CC}">
              <c16:uniqueId val="{00000001-B998-C442-B095-CD8526EFFC4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60"/>
          <c:min val="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min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732811210122191E-2"/>
          <c:y val="3.4909703755316636E-2"/>
          <c:w val="0.9282671887898778"/>
          <c:h val="0.9199180263261606"/>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1115</c:f>
              <c:numCache>
                <c:formatCode>m/d/yy</c:formatCode>
                <c:ptCount val="1114"/>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B$2:$B$1115</c:f>
              <c:numCache>
                <c:formatCode>General</c:formatCode>
                <c:ptCount val="1114"/>
                <c:pt idx="0">
                  <c:v>105.00306999999999</c:v>
                </c:pt>
                <c:pt idx="1">
                  <c:v>105.65424</c:v>
                </c:pt>
                <c:pt idx="2">
                  <c:v>105.510605</c:v>
                </c:pt>
                <c:pt idx="3">
                  <c:v>106.01814</c:v>
                </c:pt>
                <c:pt idx="4">
                  <c:v>105.39567599999999</c:v>
                </c:pt>
                <c:pt idx="5">
                  <c:v>105.34781</c:v>
                </c:pt>
                <c:pt idx="6">
                  <c:v>105.45314</c:v>
                </c:pt>
                <c:pt idx="7">
                  <c:v>105.07966999999999</c:v>
                </c:pt>
                <c:pt idx="8">
                  <c:v>105.64467</c:v>
                </c:pt>
                <c:pt idx="9">
                  <c:v>105.55847</c:v>
                </c:pt>
                <c:pt idx="10">
                  <c:v>105.42440999999999</c:v>
                </c:pt>
                <c:pt idx="11">
                  <c:v>106.33414999999999</c:v>
                </c:pt>
                <c:pt idx="12">
                  <c:v>105.90322</c:v>
                </c:pt>
                <c:pt idx="13">
                  <c:v>106.525665</c:v>
                </c:pt>
                <c:pt idx="14">
                  <c:v>105.97983600000001</c:v>
                </c:pt>
                <c:pt idx="15">
                  <c:v>106.16177</c:v>
                </c:pt>
                <c:pt idx="16">
                  <c:v>106.142624</c:v>
                </c:pt>
                <c:pt idx="17">
                  <c:v>106.32458</c:v>
                </c:pt>
                <c:pt idx="18">
                  <c:v>106.21924</c:v>
                </c:pt>
                <c:pt idx="19">
                  <c:v>106.79380999999999</c:v>
                </c:pt>
                <c:pt idx="20">
                  <c:v>107.55032</c:v>
                </c:pt>
                <c:pt idx="21">
                  <c:v>107.128975</c:v>
                </c:pt>
                <c:pt idx="22">
                  <c:v>106.97575000000001</c:v>
                </c:pt>
                <c:pt idx="23">
                  <c:v>107.023636</c:v>
                </c:pt>
                <c:pt idx="24">
                  <c:v>107.93337</c:v>
                </c:pt>
                <c:pt idx="25">
                  <c:v>107.01406</c:v>
                </c:pt>
                <c:pt idx="26">
                  <c:v>107.33008</c:v>
                </c:pt>
                <c:pt idx="27">
                  <c:v>107.4833</c:v>
                </c:pt>
                <c:pt idx="28">
                  <c:v>107.387535</c:v>
                </c:pt>
                <c:pt idx="29">
                  <c:v>107.617355</c:v>
                </c:pt>
                <c:pt idx="30">
                  <c:v>108.25897000000001</c:v>
                </c:pt>
                <c:pt idx="31">
                  <c:v>107.76101</c:v>
                </c:pt>
                <c:pt idx="32">
                  <c:v>108.38345</c:v>
                </c:pt>
                <c:pt idx="33">
                  <c:v>108.584564</c:v>
                </c:pt>
                <c:pt idx="34">
                  <c:v>108.40260000000001</c:v>
                </c:pt>
                <c:pt idx="35">
                  <c:v>108.24939000000001</c:v>
                </c:pt>
                <c:pt idx="36">
                  <c:v>108.21109</c:v>
                </c:pt>
                <c:pt idx="37">
                  <c:v>108.25897000000001</c:v>
                </c:pt>
                <c:pt idx="38">
                  <c:v>107.80888</c:v>
                </c:pt>
                <c:pt idx="39">
                  <c:v>107.665245</c:v>
                </c:pt>
                <c:pt idx="40">
                  <c:v>108.27812</c:v>
                </c:pt>
                <c:pt idx="41">
                  <c:v>108.24939000000001</c:v>
                </c:pt>
                <c:pt idx="42">
                  <c:v>108.40260000000001</c:v>
                </c:pt>
                <c:pt idx="43">
                  <c:v>108.95802999999999</c:v>
                </c:pt>
                <c:pt idx="44">
                  <c:v>109.35066</c:v>
                </c:pt>
                <c:pt idx="45">
                  <c:v>108.91016</c:v>
                </c:pt>
                <c:pt idx="46">
                  <c:v>109.92523</c:v>
                </c:pt>
                <c:pt idx="47">
                  <c:v>109.59005999999999</c:v>
                </c:pt>
                <c:pt idx="48">
                  <c:v>108.881424</c:v>
                </c:pt>
                <c:pt idx="49">
                  <c:v>110.298706</c:v>
                </c:pt>
                <c:pt idx="50">
                  <c:v>110.68174999999999</c:v>
                </c:pt>
                <c:pt idx="51">
                  <c:v>110.930725</c:v>
                </c:pt>
                <c:pt idx="52">
                  <c:v>110.7009</c:v>
                </c:pt>
                <c:pt idx="53">
                  <c:v>109.86777499999999</c:v>
                </c:pt>
                <c:pt idx="54">
                  <c:v>109.52303000000001</c:v>
                </c:pt>
                <c:pt idx="55">
                  <c:v>106.88958</c:v>
                </c:pt>
                <c:pt idx="56">
                  <c:v>106.45864</c:v>
                </c:pt>
                <c:pt idx="57">
                  <c:v>107.24387</c:v>
                </c:pt>
                <c:pt idx="58">
                  <c:v>106.698044</c:v>
                </c:pt>
                <c:pt idx="59">
                  <c:v>107.3205</c:v>
                </c:pt>
                <c:pt idx="60">
                  <c:v>105.01264</c:v>
                </c:pt>
                <c:pt idx="61">
                  <c:v>104.936035</c:v>
                </c:pt>
                <c:pt idx="62">
                  <c:v>105.04137</c:v>
                </c:pt>
                <c:pt idx="63">
                  <c:v>104.5051</c:v>
                </c:pt>
                <c:pt idx="64">
                  <c:v>103.40383</c:v>
                </c:pt>
                <c:pt idx="65">
                  <c:v>101.80459999999999</c:v>
                </c:pt>
                <c:pt idx="66">
                  <c:v>102.15893</c:v>
                </c:pt>
                <c:pt idx="67">
                  <c:v>102.963326</c:v>
                </c:pt>
                <c:pt idx="68">
                  <c:v>103.06867</c:v>
                </c:pt>
                <c:pt idx="69">
                  <c:v>102.48451</c:v>
                </c:pt>
                <c:pt idx="70">
                  <c:v>103.14527</c:v>
                </c:pt>
                <c:pt idx="71">
                  <c:v>102.72392000000001</c:v>
                </c:pt>
                <c:pt idx="72">
                  <c:v>103.81560500000001</c:v>
                </c:pt>
                <c:pt idx="73">
                  <c:v>103.74857</c:v>
                </c:pt>
                <c:pt idx="74">
                  <c:v>103.36553000000001</c:v>
                </c:pt>
                <c:pt idx="75">
                  <c:v>103.624084</c:v>
                </c:pt>
                <c:pt idx="76">
                  <c:v>102.63773</c:v>
                </c:pt>
                <c:pt idx="77">
                  <c:v>102.00570999999999</c:v>
                </c:pt>
                <c:pt idx="78">
                  <c:v>101.02894000000001</c:v>
                </c:pt>
                <c:pt idx="79">
                  <c:v>101.43113</c:v>
                </c:pt>
                <c:pt idx="80">
                  <c:v>99.898949999999999</c:v>
                </c:pt>
                <c:pt idx="81">
                  <c:v>101.143845</c:v>
                </c:pt>
                <c:pt idx="82">
                  <c:v>102.50367</c:v>
                </c:pt>
                <c:pt idx="83">
                  <c:v>102.04402</c:v>
                </c:pt>
                <c:pt idx="84">
                  <c:v>101.64181499999999</c:v>
                </c:pt>
                <c:pt idx="85">
                  <c:v>101.48860000000001</c:v>
                </c:pt>
                <c:pt idx="86">
                  <c:v>101.03852000000001</c:v>
                </c:pt>
                <c:pt idx="87">
                  <c:v>100.90445</c:v>
                </c:pt>
                <c:pt idx="88">
                  <c:v>99.535049999999998</c:v>
                </c:pt>
                <c:pt idx="89">
                  <c:v>100.3586</c:v>
                </c:pt>
                <c:pt idx="90">
                  <c:v>99.803190000000001</c:v>
                </c:pt>
                <c:pt idx="91">
                  <c:v>99.937250000000006</c:v>
                </c:pt>
                <c:pt idx="92">
                  <c:v>101.09598</c:v>
                </c:pt>
                <c:pt idx="93">
                  <c:v>100.94276000000001</c:v>
                </c:pt>
                <c:pt idx="94">
                  <c:v>102.33131</c:v>
                </c:pt>
                <c:pt idx="95">
                  <c:v>101.230034</c:v>
                </c:pt>
                <c:pt idx="96">
                  <c:v>101.74715399999999</c:v>
                </c:pt>
                <c:pt idx="97">
                  <c:v>102.90587600000001</c:v>
                </c:pt>
                <c:pt idx="98">
                  <c:v>101.15342</c:v>
                </c:pt>
                <c:pt idx="99">
                  <c:v>99.706310000000002</c:v>
                </c:pt>
                <c:pt idx="100">
                  <c:v>99.677359999999993</c:v>
                </c:pt>
                <c:pt idx="101">
                  <c:v>99.937849999999997</c:v>
                </c:pt>
                <c:pt idx="102">
                  <c:v>100.17901999999999</c:v>
                </c:pt>
                <c:pt idx="103">
                  <c:v>100.7</c:v>
                </c:pt>
                <c:pt idx="104">
                  <c:v>100.613174</c:v>
                </c:pt>
                <c:pt idx="105">
                  <c:v>101.384964</c:v>
                </c:pt>
                <c:pt idx="106">
                  <c:v>101.095535</c:v>
                </c:pt>
                <c:pt idx="107">
                  <c:v>102.02169000000001</c:v>
                </c:pt>
                <c:pt idx="108">
                  <c:v>103.05396</c:v>
                </c:pt>
                <c:pt idx="109">
                  <c:v>103.57495</c:v>
                </c:pt>
                <c:pt idx="110">
                  <c:v>103.31444500000001</c:v>
                </c:pt>
                <c:pt idx="111">
                  <c:v>103.22763</c:v>
                </c:pt>
                <c:pt idx="112">
                  <c:v>102.66807</c:v>
                </c:pt>
                <c:pt idx="113">
                  <c:v>103.16974</c:v>
                </c:pt>
                <c:pt idx="114">
                  <c:v>106.12186</c:v>
                </c:pt>
                <c:pt idx="115">
                  <c:v>106.08327</c:v>
                </c:pt>
                <c:pt idx="116">
                  <c:v>106.05432</c:v>
                </c:pt>
                <c:pt idx="117">
                  <c:v>106.71035999999999</c:v>
                </c:pt>
                <c:pt idx="118">
                  <c:v>104.838745</c:v>
                </c:pt>
                <c:pt idx="119">
                  <c:v>105.27289</c:v>
                </c:pt>
                <c:pt idx="120">
                  <c:v>103.8933</c:v>
                </c:pt>
                <c:pt idx="121">
                  <c:v>102.60053000000001</c:v>
                </c:pt>
                <c:pt idx="122">
                  <c:v>103.20833</c:v>
                </c:pt>
                <c:pt idx="123">
                  <c:v>99.204639999999998</c:v>
                </c:pt>
                <c:pt idx="124">
                  <c:v>97.776820000000001</c:v>
                </c:pt>
                <c:pt idx="125">
                  <c:v>98.394260000000003</c:v>
                </c:pt>
                <c:pt idx="126">
                  <c:v>97.825059999999993</c:v>
                </c:pt>
                <c:pt idx="127">
                  <c:v>97.931174999999996</c:v>
                </c:pt>
                <c:pt idx="128">
                  <c:v>98.596850000000003</c:v>
                </c:pt>
                <c:pt idx="129">
                  <c:v>97.805760000000006</c:v>
                </c:pt>
                <c:pt idx="130">
                  <c:v>97.149730000000005</c:v>
                </c:pt>
                <c:pt idx="131">
                  <c:v>97.603160000000003</c:v>
                </c:pt>
                <c:pt idx="132">
                  <c:v>99.146749999999997</c:v>
                </c:pt>
                <c:pt idx="133">
                  <c:v>97.921530000000004</c:v>
                </c:pt>
                <c:pt idx="134">
                  <c:v>97.940830000000005</c:v>
                </c:pt>
                <c:pt idx="135">
                  <c:v>98.799449999999993</c:v>
                </c:pt>
                <c:pt idx="136">
                  <c:v>98.944149999999993</c:v>
                </c:pt>
                <c:pt idx="137">
                  <c:v>98.953804000000005</c:v>
                </c:pt>
                <c:pt idx="138">
                  <c:v>99.243229999999997</c:v>
                </c:pt>
                <c:pt idx="139">
                  <c:v>97.632109999999997</c:v>
                </c:pt>
                <c:pt idx="140">
                  <c:v>97.921530000000004</c:v>
                </c:pt>
                <c:pt idx="141">
                  <c:v>98.018005000000002</c:v>
                </c:pt>
                <c:pt idx="142">
                  <c:v>97.921530000000004</c:v>
                </c:pt>
                <c:pt idx="143">
                  <c:v>93.638069999999999</c:v>
                </c:pt>
                <c:pt idx="144">
                  <c:v>93.647710000000004</c:v>
                </c:pt>
                <c:pt idx="145">
                  <c:v>93.667010000000005</c:v>
                </c:pt>
                <c:pt idx="146">
                  <c:v>94.438805000000002</c:v>
                </c:pt>
                <c:pt idx="147">
                  <c:v>95.336010000000002</c:v>
                </c:pt>
                <c:pt idx="148">
                  <c:v>94.448455999999993</c:v>
                </c:pt>
                <c:pt idx="149">
                  <c:v>95.046589999999995</c:v>
                </c:pt>
                <c:pt idx="150">
                  <c:v>94.641396</c:v>
                </c:pt>
                <c:pt idx="151">
                  <c:v>94.959760000000003</c:v>
                </c:pt>
                <c:pt idx="152">
                  <c:v>95.712265000000002</c:v>
                </c:pt>
                <c:pt idx="153">
                  <c:v>95.403549999999996</c:v>
                </c:pt>
                <c:pt idx="154">
                  <c:v>95.123769999999993</c:v>
                </c:pt>
                <c:pt idx="155">
                  <c:v>96.059579999999997</c:v>
                </c:pt>
                <c:pt idx="156">
                  <c:v>95.152709999999999</c:v>
                </c:pt>
                <c:pt idx="157">
                  <c:v>95.741209999999995</c:v>
                </c:pt>
                <c:pt idx="158">
                  <c:v>94.593159999999997</c:v>
                </c:pt>
                <c:pt idx="159">
                  <c:v>95.094830000000002</c:v>
                </c:pt>
                <c:pt idx="160">
                  <c:v>96.339354999999998</c:v>
                </c:pt>
                <c:pt idx="161">
                  <c:v>97.236564999999999</c:v>
                </c:pt>
                <c:pt idx="162">
                  <c:v>97.005030000000005</c:v>
                </c:pt>
                <c:pt idx="163">
                  <c:v>96.580535999999995</c:v>
                </c:pt>
                <c:pt idx="164">
                  <c:v>96.541939999999997</c:v>
                </c:pt>
                <c:pt idx="165">
                  <c:v>96.059579999999997</c:v>
                </c:pt>
                <c:pt idx="166">
                  <c:v>96.069230000000005</c:v>
                </c:pt>
                <c:pt idx="167">
                  <c:v>95.075540000000004</c:v>
                </c:pt>
                <c:pt idx="168">
                  <c:v>93.512649999999994</c:v>
                </c:pt>
                <c:pt idx="169">
                  <c:v>93.946785000000006</c:v>
                </c:pt>
                <c:pt idx="170">
                  <c:v>94.670333999999997</c:v>
                </c:pt>
                <c:pt idx="171">
                  <c:v>94.892240000000001</c:v>
                </c:pt>
                <c:pt idx="172">
                  <c:v>94.786119999999997</c:v>
                </c:pt>
                <c:pt idx="173">
                  <c:v>95.519329999999997</c:v>
                </c:pt>
                <c:pt idx="174">
                  <c:v>95.895579999999995</c:v>
                </c:pt>
                <c:pt idx="175">
                  <c:v>95.220245000000006</c:v>
                </c:pt>
                <c:pt idx="176">
                  <c:v>94.824700000000007</c:v>
                </c:pt>
                <c:pt idx="177">
                  <c:v>94.351973999999998</c:v>
                </c:pt>
                <c:pt idx="178">
                  <c:v>95.085179999999994</c:v>
                </c:pt>
                <c:pt idx="179">
                  <c:v>94.843999999999994</c:v>
                </c:pt>
                <c:pt idx="180">
                  <c:v>94.583510000000004</c:v>
                </c:pt>
                <c:pt idx="181">
                  <c:v>94.361626000000001</c:v>
                </c:pt>
                <c:pt idx="182">
                  <c:v>95.538605000000004</c:v>
                </c:pt>
                <c:pt idx="183">
                  <c:v>94.882589999999993</c:v>
                </c:pt>
                <c:pt idx="184">
                  <c:v>95.162369999999996</c:v>
                </c:pt>
                <c:pt idx="185">
                  <c:v>97.091849999999994</c:v>
                </c:pt>
                <c:pt idx="186">
                  <c:v>98.027659999999997</c:v>
                </c:pt>
                <c:pt idx="187">
                  <c:v>97.612809999999996</c:v>
                </c:pt>
                <c:pt idx="188">
                  <c:v>99.059920000000005</c:v>
                </c:pt>
                <c:pt idx="189">
                  <c:v>101.08589000000001</c:v>
                </c:pt>
                <c:pt idx="190">
                  <c:v>101.04730000000001</c:v>
                </c:pt>
                <c:pt idx="191">
                  <c:v>99.532650000000004</c:v>
                </c:pt>
                <c:pt idx="192">
                  <c:v>100.03431999999999</c:v>
                </c:pt>
                <c:pt idx="193">
                  <c:v>99.947495000000004</c:v>
                </c:pt>
                <c:pt idx="194">
                  <c:v>99.793130000000005</c:v>
                </c:pt>
                <c:pt idx="195">
                  <c:v>99.127459999999999</c:v>
                </c:pt>
                <c:pt idx="196">
                  <c:v>99.368645000000001</c:v>
                </c:pt>
                <c:pt idx="197">
                  <c:v>99.117810000000006</c:v>
                </c:pt>
                <c:pt idx="198">
                  <c:v>99.021330000000006</c:v>
                </c:pt>
                <c:pt idx="199">
                  <c:v>99.166045999999994</c:v>
                </c:pt>
                <c:pt idx="200">
                  <c:v>99.764200000000002</c:v>
                </c:pt>
                <c:pt idx="201">
                  <c:v>101.52967</c:v>
                </c:pt>
                <c:pt idx="202">
                  <c:v>101.12447</c:v>
                </c:pt>
                <c:pt idx="203">
                  <c:v>101.53932</c:v>
                </c:pt>
                <c:pt idx="204">
                  <c:v>106.33409</c:v>
                </c:pt>
                <c:pt idx="205">
                  <c:v>103.43986</c:v>
                </c:pt>
                <c:pt idx="206">
                  <c:v>101.74191</c:v>
                </c:pt>
                <c:pt idx="207">
                  <c:v>101.54897</c:v>
                </c:pt>
                <c:pt idx="208">
                  <c:v>101.364204</c:v>
                </c:pt>
                <c:pt idx="209">
                  <c:v>103.89270999999999</c:v>
                </c:pt>
                <c:pt idx="210">
                  <c:v>104.476204</c:v>
                </c:pt>
                <c:pt idx="211">
                  <c:v>104.65125999999999</c:v>
                </c:pt>
                <c:pt idx="212">
                  <c:v>107.52988000000001</c:v>
                </c:pt>
                <c:pt idx="213">
                  <c:v>108.21062499999999</c:v>
                </c:pt>
                <c:pt idx="214">
                  <c:v>107.97723000000001</c:v>
                </c:pt>
                <c:pt idx="215">
                  <c:v>108.73578000000001</c:v>
                </c:pt>
                <c:pt idx="216">
                  <c:v>106.67407</c:v>
                </c:pt>
                <c:pt idx="217">
                  <c:v>106.557365</c:v>
                </c:pt>
                <c:pt idx="218">
                  <c:v>105.68210999999999</c:v>
                </c:pt>
                <c:pt idx="219">
                  <c:v>105.14724</c:v>
                </c:pt>
                <c:pt idx="220">
                  <c:v>104.680435</c:v>
                </c:pt>
                <c:pt idx="221">
                  <c:v>104.80686</c:v>
                </c:pt>
                <c:pt idx="222">
                  <c:v>104.55401000000001</c:v>
                </c:pt>
                <c:pt idx="223">
                  <c:v>104.55401000000001</c:v>
                </c:pt>
                <c:pt idx="224">
                  <c:v>108.72607000000001</c:v>
                </c:pt>
                <c:pt idx="225">
                  <c:v>108.72607000000001</c:v>
                </c:pt>
                <c:pt idx="226">
                  <c:v>109.19285600000001</c:v>
                </c:pt>
                <c:pt idx="227">
                  <c:v>109.14424</c:v>
                </c:pt>
                <c:pt idx="228">
                  <c:v>108.551</c:v>
                </c:pt>
                <c:pt idx="229">
                  <c:v>106.994995</c:v>
                </c:pt>
                <c:pt idx="230">
                  <c:v>106.91719000000001</c:v>
                </c:pt>
                <c:pt idx="231">
                  <c:v>106.46011</c:v>
                </c:pt>
                <c:pt idx="232">
                  <c:v>107.93832399999999</c:v>
                </c:pt>
                <c:pt idx="233">
                  <c:v>109.37763</c:v>
                </c:pt>
                <c:pt idx="234">
                  <c:v>107.646576</c:v>
                </c:pt>
                <c:pt idx="235">
                  <c:v>108.89138</c:v>
                </c:pt>
                <c:pt idx="236">
                  <c:v>107.384</c:v>
                </c:pt>
                <c:pt idx="237">
                  <c:v>107.54931999999999</c:v>
                </c:pt>
                <c:pt idx="238">
                  <c:v>108.04529599999999</c:v>
                </c:pt>
                <c:pt idx="239">
                  <c:v>107.37428</c:v>
                </c:pt>
                <c:pt idx="240">
                  <c:v>107.46178999999999</c:v>
                </c:pt>
                <c:pt idx="241">
                  <c:v>107.51042</c:v>
                </c:pt>
                <c:pt idx="242">
                  <c:v>109.10533</c:v>
                </c:pt>
                <c:pt idx="243">
                  <c:v>108.473206</c:v>
                </c:pt>
                <c:pt idx="244">
                  <c:v>107.08252</c:v>
                </c:pt>
                <c:pt idx="245">
                  <c:v>105.68210999999999</c:v>
                </c:pt>
                <c:pt idx="246">
                  <c:v>107.45207000000001</c:v>
                </c:pt>
                <c:pt idx="247">
                  <c:v>105.71129000000001</c:v>
                </c:pt>
                <c:pt idx="248">
                  <c:v>101.82126599999999</c:v>
                </c:pt>
                <c:pt idx="249">
                  <c:v>103.250854</c:v>
                </c:pt>
                <c:pt idx="250">
                  <c:v>101.87962</c:v>
                </c:pt>
                <c:pt idx="251">
                  <c:v>98.563379999999995</c:v>
                </c:pt>
                <c:pt idx="252">
                  <c:v>100.25552999999999</c:v>
                </c:pt>
                <c:pt idx="253">
                  <c:v>100.54729</c:v>
                </c:pt>
                <c:pt idx="254">
                  <c:v>101.25722</c:v>
                </c:pt>
                <c:pt idx="255">
                  <c:v>101.724014</c:v>
                </c:pt>
                <c:pt idx="256">
                  <c:v>102.28807</c:v>
                </c:pt>
                <c:pt idx="257">
                  <c:v>103.60095</c:v>
                </c:pt>
                <c:pt idx="258">
                  <c:v>103.06608</c:v>
                </c:pt>
                <c:pt idx="259">
                  <c:v>102.16164999999999</c:v>
                </c:pt>
                <c:pt idx="260">
                  <c:v>102.34641999999999</c:v>
                </c:pt>
                <c:pt idx="261">
                  <c:v>104.30115499999999</c:v>
                </c:pt>
                <c:pt idx="262">
                  <c:v>106.79076999999999</c:v>
                </c:pt>
                <c:pt idx="263">
                  <c:v>101.98659499999999</c:v>
                </c:pt>
                <c:pt idx="264">
                  <c:v>100.323616</c:v>
                </c:pt>
                <c:pt idx="265">
                  <c:v>99.749830000000003</c:v>
                </c:pt>
                <c:pt idx="266">
                  <c:v>100.15828999999999</c:v>
                </c:pt>
                <c:pt idx="267">
                  <c:v>100.56674</c:v>
                </c:pt>
                <c:pt idx="268">
                  <c:v>102.05468</c:v>
                </c:pt>
                <c:pt idx="269">
                  <c:v>100.74178999999999</c:v>
                </c:pt>
                <c:pt idx="270">
                  <c:v>101.169685</c:v>
                </c:pt>
                <c:pt idx="271">
                  <c:v>101.85045</c:v>
                </c:pt>
                <c:pt idx="272">
                  <c:v>102.27834</c:v>
                </c:pt>
                <c:pt idx="273">
                  <c:v>100.87794</c:v>
                </c:pt>
                <c:pt idx="274">
                  <c:v>101.04327000000001</c:v>
                </c:pt>
                <c:pt idx="275">
                  <c:v>100.401405</c:v>
                </c:pt>
                <c:pt idx="276">
                  <c:v>100.04159</c:v>
                </c:pt>
                <c:pt idx="277">
                  <c:v>98.689803999999995</c:v>
                </c:pt>
                <c:pt idx="278">
                  <c:v>98.563379999999995</c:v>
                </c:pt>
                <c:pt idx="279">
                  <c:v>99.020454000000001</c:v>
                </c:pt>
                <c:pt idx="280">
                  <c:v>97.834000000000003</c:v>
                </c:pt>
                <c:pt idx="281">
                  <c:v>95.830640000000002</c:v>
                </c:pt>
                <c:pt idx="282">
                  <c:v>97.882620000000003</c:v>
                </c:pt>
                <c:pt idx="283">
                  <c:v>96.62809</c:v>
                </c:pt>
                <c:pt idx="284">
                  <c:v>95.830640000000002</c:v>
                </c:pt>
                <c:pt idx="285">
                  <c:v>97.678399999999996</c:v>
                </c:pt>
                <c:pt idx="286">
                  <c:v>95.947339999999997</c:v>
                </c:pt>
                <c:pt idx="287">
                  <c:v>96.686440000000005</c:v>
                </c:pt>
                <c:pt idx="288">
                  <c:v>98.174379999999999</c:v>
                </c:pt>
                <c:pt idx="289">
                  <c:v>99.302480000000003</c:v>
                </c:pt>
                <c:pt idx="290">
                  <c:v>97.590869999999995</c:v>
                </c:pt>
                <c:pt idx="291">
                  <c:v>96.958749999999995</c:v>
                </c:pt>
                <c:pt idx="292">
                  <c:v>98.582830000000001</c:v>
                </c:pt>
                <c:pt idx="293">
                  <c:v>98.028499999999994</c:v>
                </c:pt>
                <c:pt idx="294">
                  <c:v>97.629769999999994</c:v>
                </c:pt>
                <c:pt idx="295">
                  <c:v>97.590869999999995</c:v>
                </c:pt>
                <c:pt idx="296">
                  <c:v>97.483894000000006</c:v>
                </c:pt>
                <c:pt idx="297">
                  <c:v>99.360825000000006</c:v>
                </c:pt>
                <c:pt idx="298">
                  <c:v>98.427220000000005</c:v>
                </c:pt>
                <c:pt idx="299">
                  <c:v>98.116020000000006</c:v>
                </c:pt>
                <c:pt idx="300">
                  <c:v>97.483894000000006</c:v>
                </c:pt>
                <c:pt idx="301">
                  <c:v>97.396370000000005</c:v>
                </c:pt>
                <c:pt idx="302">
                  <c:v>96.725340000000003</c:v>
                </c:pt>
                <c:pt idx="303">
                  <c:v>98.368870000000001</c:v>
                </c:pt>
                <c:pt idx="304">
                  <c:v>97.094893999999996</c:v>
                </c:pt>
                <c:pt idx="305">
                  <c:v>96.501660000000001</c:v>
                </c:pt>
                <c:pt idx="306">
                  <c:v>97.571430000000007</c:v>
                </c:pt>
                <c:pt idx="307">
                  <c:v>97.308846000000003</c:v>
                </c:pt>
                <c:pt idx="308">
                  <c:v>96.880939999999995</c:v>
                </c:pt>
                <c:pt idx="309">
                  <c:v>96.044589999999999</c:v>
                </c:pt>
                <c:pt idx="310">
                  <c:v>98.368870000000001</c:v>
                </c:pt>
                <c:pt idx="311">
                  <c:v>99.662310000000005</c:v>
                </c:pt>
                <c:pt idx="312">
                  <c:v>98.991280000000003</c:v>
                </c:pt>
                <c:pt idx="313">
                  <c:v>97.221320000000006</c:v>
                </c:pt>
                <c:pt idx="314">
                  <c:v>98.884309999999999</c:v>
                </c:pt>
                <c:pt idx="315">
                  <c:v>99.263580000000005</c:v>
                </c:pt>
                <c:pt idx="316">
                  <c:v>99.623410000000007</c:v>
                </c:pt>
                <c:pt idx="317">
                  <c:v>100.0902</c:v>
                </c:pt>
                <c:pt idx="318">
                  <c:v>102.15192399999999</c:v>
                </c:pt>
                <c:pt idx="319">
                  <c:v>101.47117</c:v>
                </c:pt>
                <c:pt idx="320">
                  <c:v>101.07244</c:v>
                </c:pt>
                <c:pt idx="321">
                  <c:v>101.19886</c:v>
                </c:pt>
                <c:pt idx="322">
                  <c:v>101.20859</c:v>
                </c:pt>
                <c:pt idx="323">
                  <c:v>100.06104000000001</c:v>
                </c:pt>
                <c:pt idx="324">
                  <c:v>99.302480000000003</c:v>
                </c:pt>
                <c:pt idx="325">
                  <c:v>99.39</c:v>
                </c:pt>
                <c:pt idx="326">
                  <c:v>96.949020000000004</c:v>
                </c:pt>
                <c:pt idx="327">
                  <c:v>97.231049999999996</c:v>
                </c:pt>
                <c:pt idx="328">
                  <c:v>96.735069999999993</c:v>
                </c:pt>
                <c:pt idx="329">
                  <c:v>96.62809</c:v>
                </c:pt>
                <c:pt idx="330">
                  <c:v>97.483894000000006</c:v>
                </c:pt>
                <c:pt idx="331">
                  <c:v>97.192149999999998</c:v>
                </c:pt>
                <c:pt idx="332">
                  <c:v>99.107979999999998</c:v>
                </c:pt>
                <c:pt idx="333">
                  <c:v>99.65258</c:v>
                </c:pt>
                <c:pt idx="334">
                  <c:v>101.12107</c:v>
                </c:pt>
                <c:pt idx="335">
                  <c:v>101.480896</c:v>
                </c:pt>
                <c:pt idx="336">
                  <c:v>101.46145</c:v>
                </c:pt>
                <c:pt idx="337">
                  <c:v>103.387</c:v>
                </c:pt>
                <c:pt idx="338">
                  <c:v>105.75991999999999</c:v>
                </c:pt>
                <c:pt idx="339">
                  <c:v>105.85717</c:v>
                </c:pt>
                <c:pt idx="340">
                  <c:v>104.11638000000001</c:v>
                </c:pt>
                <c:pt idx="341">
                  <c:v>103.18277999999999</c:v>
                </c:pt>
                <c:pt idx="342">
                  <c:v>104.2039</c:v>
                </c:pt>
                <c:pt idx="343">
                  <c:v>102.97854599999999</c:v>
                </c:pt>
                <c:pt idx="344">
                  <c:v>103.41616999999999</c:v>
                </c:pt>
                <c:pt idx="345">
                  <c:v>101.57814</c:v>
                </c:pt>
                <c:pt idx="346">
                  <c:v>101.39337</c:v>
                </c:pt>
                <c:pt idx="347">
                  <c:v>101.10161600000001</c:v>
                </c:pt>
                <c:pt idx="348">
                  <c:v>101.88934999999999</c:v>
                </c:pt>
                <c:pt idx="349">
                  <c:v>101.928246</c:v>
                </c:pt>
                <c:pt idx="350">
                  <c:v>102.43394499999999</c:v>
                </c:pt>
                <c:pt idx="351">
                  <c:v>101.17941999999999</c:v>
                </c:pt>
                <c:pt idx="352">
                  <c:v>102.44367</c:v>
                </c:pt>
                <c:pt idx="353">
                  <c:v>102.71817</c:v>
                </c:pt>
                <c:pt idx="354">
                  <c:v>103.93376000000001</c:v>
                </c:pt>
                <c:pt idx="355">
                  <c:v>103.94356500000001</c:v>
                </c:pt>
                <c:pt idx="356">
                  <c:v>105.91401999999999</c:v>
                </c:pt>
                <c:pt idx="357">
                  <c:v>106.11989</c:v>
                </c:pt>
                <c:pt idx="358">
                  <c:v>107.83544999999999</c:v>
                </c:pt>
                <c:pt idx="359">
                  <c:v>108.03149999999999</c:v>
                </c:pt>
                <c:pt idx="360">
                  <c:v>108.12954999999999</c:v>
                </c:pt>
                <c:pt idx="361">
                  <c:v>108.51187</c:v>
                </c:pt>
                <c:pt idx="362">
                  <c:v>109.92354</c:v>
                </c:pt>
                <c:pt idx="363">
                  <c:v>109.28633000000001</c:v>
                </c:pt>
                <c:pt idx="364">
                  <c:v>108.90398999999999</c:v>
                </c:pt>
                <c:pt idx="365">
                  <c:v>108.52167</c:v>
                </c:pt>
                <c:pt idx="366">
                  <c:v>108.99223000000001</c:v>
                </c:pt>
                <c:pt idx="367">
                  <c:v>111.276375</c:v>
                </c:pt>
                <c:pt idx="368">
                  <c:v>110.40389</c:v>
                </c:pt>
                <c:pt idx="369">
                  <c:v>110.41370000000001</c:v>
                </c:pt>
                <c:pt idx="370">
                  <c:v>111.3254</c:v>
                </c:pt>
                <c:pt idx="371">
                  <c:v>110.74701</c:v>
                </c:pt>
                <c:pt idx="372">
                  <c:v>110.53133</c:v>
                </c:pt>
                <c:pt idx="373">
                  <c:v>111.84496</c:v>
                </c:pt>
                <c:pt idx="374">
                  <c:v>113.65857</c:v>
                </c:pt>
                <c:pt idx="375">
                  <c:v>114.26636000000001</c:v>
                </c:pt>
                <c:pt idx="376">
                  <c:v>111.73712999999999</c:v>
                </c:pt>
                <c:pt idx="377">
                  <c:v>111.9136</c:v>
                </c:pt>
                <c:pt idx="378">
                  <c:v>110.462715</c:v>
                </c:pt>
                <c:pt idx="379">
                  <c:v>109.91373400000001</c:v>
                </c:pt>
                <c:pt idx="380">
                  <c:v>110.53133</c:v>
                </c:pt>
                <c:pt idx="381">
                  <c:v>110.629364</c:v>
                </c:pt>
                <c:pt idx="382">
                  <c:v>110.26665</c:v>
                </c:pt>
                <c:pt idx="383">
                  <c:v>110.26665</c:v>
                </c:pt>
                <c:pt idx="384">
                  <c:v>109.78628</c:v>
                </c:pt>
                <c:pt idx="385">
                  <c:v>110.17841</c:v>
                </c:pt>
                <c:pt idx="386">
                  <c:v>109.737274</c:v>
                </c:pt>
                <c:pt idx="387">
                  <c:v>109.79609000000001</c:v>
                </c:pt>
                <c:pt idx="388">
                  <c:v>109.72748</c:v>
                </c:pt>
                <c:pt idx="389">
                  <c:v>110.11960000000001</c:v>
                </c:pt>
                <c:pt idx="390">
                  <c:v>110.36468000000001</c:v>
                </c:pt>
                <c:pt idx="391">
                  <c:v>110.23723</c:v>
                </c:pt>
                <c:pt idx="392">
                  <c:v>109.71767</c:v>
                </c:pt>
                <c:pt idx="393">
                  <c:v>109.81569</c:v>
                </c:pt>
                <c:pt idx="394">
                  <c:v>108.66871999999999</c:v>
                </c:pt>
                <c:pt idx="395">
                  <c:v>107.70801</c:v>
                </c:pt>
                <c:pt idx="396">
                  <c:v>108.09032999999999</c:v>
                </c:pt>
                <c:pt idx="397">
                  <c:v>108.78636</c:v>
                </c:pt>
                <c:pt idx="398">
                  <c:v>108.50207</c:v>
                </c:pt>
                <c:pt idx="399">
                  <c:v>107.44331</c:v>
                </c:pt>
                <c:pt idx="400">
                  <c:v>107.30607000000001</c:v>
                </c:pt>
                <c:pt idx="401">
                  <c:v>108.49226</c:v>
                </c:pt>
                <c:pt idx="402">
                  <c:v>107.110016</c:v>
                </c:pt>
                <c:pt idx="403">
                  <c:v>107.20804</c:v>
                </c:pt>
                <c:pt idx="404">
                  <c:v>107.374695</c:v>
                </c:pt>
                <c:pt idx="405">
                  <c:v>107.62958</c:v>
                </c:pt>
                <c:pt idx="406">
                  <c:v>109.42357</c:v>
                </c:pt>
                <c:pt idx="407">
                  <c:v>108.22758</c:v>
                </c:pt>
                <c:pt idx="408">
                  <c:v>110.550934</c:v>
                </c:pt>
                <c:pt idx="409">
                  <c:v>111.39400999999999</c:v>
                </c:pt>
                <c:pt idx="410">
                  <c:v>112.942924</c:v>
                </c:pt>
                <c:pt idx="411">
                  <c:v>113.75660000000001</c:v>
                </c:pt>
                <c:pt idx="412">
                  <c:v>114.638885</c:v>
                </c:pt>
                <c:pt idx="413">
                  <c:v>113.95265999999999</c:v>
                </c:pt>
                <c:pt idx="414">
                  <c:v>115.34471000000001</c:v>
                </c:pt>
                <c:pt idx="415">
                  <c:v>114.60947400000001</c:v>
                </c:pt>
                <c:pt idx="416">
                  <c:v>113.84482</c:v>
                </c:pt>
                <c:pt idx="417">
                  <c:v>112.52139</c:v>
                </c:pt>
                <c:pt idx="418">
                  <c:v>113.73698400000001</c:v>
                </c:pt>
                <c:pt idx="419">
                  <c:v>114.58987</c:v>
                </c:pt>
                <c:pt idx="420">
                  <c:v>110.63917499999999</c:v>
                </c:pt>
                <c:pt idx="421">
                  <c:v>108.96281999999999</c:v>
                </c:pt>
                <c:pt idx="422">
                  <c:v>110.39409000000001</c:v>
                </c:pt>
                <c:pt idx="423">
                  <c:v>111.207756</c:v>
                </c:pt>
                <c:pt idx="424">
                  <c:v>113.90364</c:v>
                </c:pt>
                <c:pt idx="425">
                  <c:v>114.82514999999999</c:v>
                </c:pt>
                <c:pt idx="426">
                  <c:v>113.89384</c:v>
                </c:pt>
                <c:pt idx="427">
                  <c:v>116.56032</c:v>
                </c:pt>
                <c:pt idx="428">
                  <c:v>115.94271000000001</c:v>
                </c:pt>
                <c:pt idx="429">
                  <c:v>115.530975</c:v>
                </c:pt>
                <c:pt idx="430">
                  <c:v>109.413765</c:v>
                </c:pt>
                <c:pt idx="431">
                  <c:v>111.9136</c:v>
                </c:pt>
                <c:pt idx="432">
                  <c:v>110.96268000000001</c:v>
                </c:pt>
                <c:pt idx="433">
                  <c:v>110.81563</c:v>
                </c:pt>
                <c:pt idx="434">
                  <c:v>112.501785</c:v>
                </c:pt>
                <c:pt idx="435">
                  <c:v>112.570404</c:v>
                </c:pt>
                <c:pt idx="436">
                  <c:v>113.81541</c:v>
                </c:pt>
                <c:pt idx="437">
                  <c:v>112.91352000000001</c:v>
                </c:pt>
                <c:pt idx="438">
                  <c:v>113.1782</c:v>
                </c:pt>
                <c:pt idx="439">
                  <c:v>114.413414</c:v>
                </c:pt>
                <c:pt idx="440">
                  <c:v>114.74672</c:v>
                </c:pt>
                <c:pt idx="441">
                  <c:v>113.717384</c:v>
                </c:pt>
                <c:pt idx="442">
                  <c:v>115.67802399999999</c:v>
                </c:pt>
                <c:pt idx="443">
                  <c:v>114.40361</c:v>
                </c:pt>
                <c:pt idx="444">
                  <c:v>114.55065</c:v>
                </c:pt>
                <c:pt idx="445">
                  <c:v>114.81535</c:v>
                </c:pt>
                <c:pt idx="446">
                  <c:v>114.80555</c:v>
                </c:pt>
                <c:pt idx="447">
                  <c:v>113.90364</c:v>
                </c:pt>
                <c:pt idx="448">
                  <c:v>113.14879000000001</c:v>
                </c:pt>
                <c:pt idx="449">
                  <c:v>109.668655</c:v>
                </c:pt>
                <c:pt idx="450">
                  <c:v>110.805824</c:v>
                </c:pt>
                <c:pt idx="451">
                  <c:v>109.87452</c:v>
                </c:pt>
                <c:pt idx="452">
                  <c:v>110.33526999999999</c:v>
                </c:pt>
                <c:pt idx="453">
                  <c:v>111.65871</c:v>
                </c:pt>
                <c:pt idx="454">
                  <c:v>113.81541</c:v>
                </c:pt>
                <c:pt idx="455">
                  <c:v>114.31538</c:v>
                </c:pt>
                <c:pt idx="456">
                  <c:v>113.217415</c:v>
                </c:pt>
                <c:pt idx="457">
                  <c:v>113.46249</c:v>
                </c:pt>
                <c:pt idx="458">
                  <c:v>110.64897999999999</c:v>
                </c:pt>
                <c:pt idx="459">
                  <c:v>112.080246</c:v>
                </c:pt>
                <c:pt idx="460">
                  <c:v>110.628</c:v>
                </c:pt>
                <c:pt idx="461">
                  <c:v>110.50944</c:v>
                </c:pt>
                <c:pt idx="462">
                  <c:v>110.61812</c:v>
                </c:pt>
                <c:pt idx="463">
                  <c:v>110.85522</c:v>
                </c:pt>
                <c:pt idx="464">
                  <c:v>112.020966</c:v>
                </c:pt>
                <c:pt idx="465">
                  <c:v>110.84533999999999</c:v>
                </c:pt>
                <c:pt idx="466">
                  <c:v>109.28442</c:v>
                </c:pt>
                <c:pt idx="467">
                  <c:v>108.12853</c:v>
                </c:pt>
                <c:pt idx="468">
                  <c:v>107.90132</c:v>
                </c:pt>
                <c:pt idx="469">
                  <c:v>105.70811999999999</c:v>
                </c:pt>
                <c:pt idx="470">
                  <c:v>102.96169</c:v>
                </c:pt>
                <c:pt idx="471">
                  <c:v>99.138409999999993</c:v>
                </c:pt>
                <c:pt idx="472">
                  <c:v>104.55225</c:v>
                </c:pt>
                <c:pt idx="473">
                  <c:v>105.23390999999999</c:v>
                </c:pt>
                <c:pt idx="474">
                  <c:v>106.00449999999999</c:v>
                </c:pt>
                <c:pt idx="475">
                  <c:v>108.326126</c:v>
                </c:pt>
                <c:pt idx="476">
                  <c:v>108.326126</c:v>
                </c:pt>
                <c:pt idx="477">
                  <c:v>107.65434</c:v>
                </c:pt>
                <c:pt idx="478">
                  <c:v>107.65434</c:v>
                </c:pt>
                <c:pt idx="479">
                  <c:v>105.04621</c:v>
                </c:pt>
                <c:pt idx="480">
                  <c:v>108.28660600000001</c:v>
                </c:pt>
                <c:pt idx="481">
                  <c:v>109.22513600000001</c:v>
                </c:pt>
                <c:pt idx="482">
                  <c:v>110.07474999999999</c:v>
                </c:pt>
                <c:pt idx="483">
                  <c:v>111.30965999999999</c:v>
                </c:pt>
                <c:pt idx="484">
                  <c:v>111.438095</c:v>
                </c:pt>
                <c:pt idx="485">
                  <c:v>111.28991000000001</c:v>
                </c:pt>
                <c:pt idx="486">
                  <c:v>111.06268</c:v>
                </c:pt>
                <c:pt idx="487">
                  <c:v>110.41065</c:v>
                </c:pt>
                <c:pt idx="488">
                  <c:v>109.570915</c:v>
                </c:pt>
                <c:pt idx="489">
                  <c:v>109.66970999999999</c:v>
                </c:pt>
                <c:pt idx="490">
                  <c:v>109.69935</c:v>
                </c:pt>
                <c:pt idx="491">
                  <c:v>109.264656</c:v>
                </c:pt>
                <c:pt idx="492">
                  <c:v>109.77838</c:v>
                </c:pt>
                <c:pt idx="493">
                  <c:v>109.21526</c:v>
                </c:pt>
                <c:pt idx="494">
                  <c:v>109.74872999999999</c:v>
                </c:pt>
                <c:pt idx="495">
                  <c:v>109.472115</c:v>
                </c:pt>
                <c:pt idx="496">
                  <c:v>109.561035</c:v>
                </c:pt>
                <c:pt idx="497">
                  <c:v>108.80033</c:v>
                </c:pt>
                <c:pt idx="498">
                  <c:v>110.17355000000001</c:v>
                </c:pt>
                <c:pt idx="499">
                  <c:v>109.95621</c:v>
                </c:pt>
                <c:pt idx="500">
                  <c:v>110.45017</c:v>
                </c:pt>
                <c:pt idx="501">
                  <c:v>111.29979</c:v>
                </c:pt>
                <c:pt idx="502">
                  <c:v>110.06488</c:v>
                </c:pt>
                <c:pt idx="503">
                  <c:v>109.61042</c:v>
                </c:pt>
                <c:pt idx="504">
                  <c:v>110.16367</c:v>
                </c:pt>
                <c:pt idx="505">
                  <c:v>108.11866999999999</c:v>
                </c:pt>
                <c:pt idx="506">
                  <c:v>107.88155</c:v>
                </c:pt>
                <c:pt idx="507">
                  <c:v>108.86948</c:v>
                </c:pt>
                <c:pt idx="508">
                  <c:v>109.32393</c:v>
                </c:pt>
                <c:pt idx="509">
                  <c:v>111.23062</c:v>
                </c:pt>
                <c:pt idx="510">
                  <c:v>112.13952</c:v>
                </c:pt>
                <c:pt idx="511">
                  <c:v>112.30746499999999</c:v>
                </c:pt>
                <c:pt idx="512">
                  <c:v>112.9101</c:v>
                </c:pt>
                <c:pt idx="513">
                  <c:v>113.85851</c:v>
                </c:pt>
                <c:pt idx="514">
                  <c:v>112.21854999999999</c:v>
                </c:pt>
                <c:pt idx="515">
                  <c:v>112.12963999999999</c:v>
                </c:pt>
                <c:pt idx="516">
                  <c:v>111.418335</c:v>
                </c:pt>
                <c:pt idx="517">
                  <c:v>111.47761</c:v>
                </c:pt>
                <c:pt idx="518">
                  <c:v>112.633484</c:v>
                </c:pt>
                <c:pt idx="519">
                  <c:v>112.94962</c:v>
                </c:pt>
                <c:pt idx="520">
                  <c:v>112.623604</c:v>
                </c:pt>
                <c:pt idx="521">
                  <c:v>113.46334</c:v>
                </c:pt>
                <c:pt idx="522">
                  <c:v>112.633484</c:v>
                </c:pt>
                <c:pt idx="523">
                  <c:v>112.4359</c:v>
                </c:pt>
                <c:pt idx="524">
                  <c:v>113.36454999999999</c:v>
                </c:pt>
                <c:pt idx="525">
                  <c:v>113.344795</c:v>
                </c:pt>
                <c:pt idx="526">
                  <c:v>112.71252</c:v>
                </c:pt>
                <c:pt idx="527">
                  <c:v>113.09782</c:v>
                </c:pt>
                <c:pt idx="528">
                  <c:v>113.572014</c:v>
                </c:pt>
                <c:pt idx="529">
                  <c:v>111.754234</c:v>
                </c:pt>
                <c:pt idx="530">
                  <c:v>108.67189999999999</c:v>
                </c:pt>
                <c:pt idx="531">
                  <c:v>108.66202</c:v>
                </c:pt>
                <c:pt idx="532">
                  <c:v>107.34808</c:v>
                </c:pt>
                <c:pt idx="533">
                  <c:v>106.92328000000001</c:v>
                </c:pt>
                <c:pt idx="534">
                  <c:v>106.48859</c:v>
                </c:pt>
                <c:pt idx="535">
                  <c:v>108.81021</c:v>
                </c:pt>
                <c:pt idx="536">
                  <c:v>108.94852</c:v>
                </c:pt>
                <c:pt idx="537">
                  <c:v>109.37333</c:v>
                </c:pt>
                <c:pt idx="538">
                  <c:v>109.68946</c:v>
                </c:pt>
                <c:pt idx="539">
                  <c:v>111.151596</c:v>
                </c:pt>
                <c:pt idx="540">
                  <c:v>110.60824</c:v>
                </c:pt>
                <c:pt idx="541">
                  <c:v>111.16146999999999</c:v>
                </c:pt>
                <c:pt idx="542">
                  <c:v>113.36454999999999</c:v>
                </c:pt>
                <c:pt idx="543">
                  <c:v>113.61153</c:v>
                </c:pt>
                <c:pt idx="544">
                  <c:v>113.572014</c:v>
                </c:pt>
                <c:pt idx="545">
                  <c:v>115.44907000000001</c:v>
                </c:pt>
                <c:pt idx="546">
                  <c:v>115.74547</c:v>
                </c:pt>
                <c:pt idx="547">
                  <c:v>115.192215</c:v>
                </c:pt>
                <c:pt idx="548">
                  <c:v>128.4897</c:v>
                </c:pt>
                <c:pt idx="549">
                  <c:v>130.44578999999999</c:v>
                </c:pt>
                <c:pt idx="550">
                  <c:v>128.33161999999999</c:v>
                </c:pt>
                <c:pt idx="551">
                  <c:v>130.1593</c:v>
                </c:pt>
                <c:pt idx="552">
                  <c:v>130.85085000000001</c:v>
                </c:pt>
                <c:pt idx="553">
                  <c:v>130.09012999999999</c:v>
                </c:pt>
                <c:pt idx="554">
                  <c:v>131.74986000000001</c:v>
                </c:pt>
                <c:pt idx="555">
                  <c:v>133.46886000000001</c:v>
                </c:pt>
                <c:pt idx="556">
                  <c:v>135.58301</c:v>
                </c:pt>
                <c:pt idx="557">
                  <c:v>138.23067</c:v>
                </c:pt>
                <c:pt idx="558">
                  <c:v>137.61815000000001</c:v>
                </c:pt>
                <c:pt idx="559">
                  <c:v>135.31627</c:v>
                </c:pt>
                <c:pt idx="560">
                  <c:v>134.73339999999999</c:v>
                </c:pt>
                <c:pt idx="561">
                  <c:v>132.52046000000001</c:v>
                </c:pt>
                <c:pt idx="562">
                  <c:v>132.70815999999999</c:v>
                </c:pt>
                <c:pt idx="563">
                  <c:v>133.37006</c:v>
                </c:pt>
                <c:pt idx="564">
                  <c:v>131.82889</c:v>
                </c:pt>
                <c:pt idx="565">
                  <c:v>133.36018000000001</c:v>
                </c:pt>
                <c:pt idx="566">
                  <c:v>131.97708</c:v>
                </c:pt>
                <c:pt idx="567">
                  <c:v>132.42165</c:v>
                </c:pt>
                <c:pt idx="568">
                  <c:v>129.75424000000001</c:v>
                </c:pt>
                <c:pt idx="569">
                  <c:v>131.59178</c:v>
                </c:pt>
                <c:pt idx="570">
                  <c:v>133.05391</c:v>
                </c:pt>
                <c:pt idx="571">
                  <c:v>133.86401000000001</c:v>
                </c:pt>
                <c:pt idx="572">
                  <c:v>133.40958000000001</c:v>
                </c:pt>
                <c:pt idx="573">
                  <c:v>132.29322999999999</c:v>
                </c:pt>
                <c:pt idx="574">
                  <c:v>132.47103999999999</c:v>
                </c:pt>
                <c:pt idx="575">
                  <c:v>132.23394999999999</c:v>
                </c:pt>
                <c:pt idx="576">
                  <c:v>131.12746999999999</c:v>
                </c:pt>
                <c:pt idx="577">
                  <c:v>131.18672000000001</c:v>
                </c:pt>
                <c:pt idx="578">
                  <c:v>131.01877999999999</c:v>
                </c:pt>
                <c:pt idx="579">
                  <c:v>129.98149000000001</c:v>
                </c:pt>
                <c:pt idx="580">
                  <c:v>130.60384999999999</c:v>
                </c:pt>
                <c:pt idx="581">
                  <c:v>130.44578999999999</c:v>
                </c:pt>
                <c:pt idx="582">
                  <c:v>130.87064000000001</c:v>
                </c:pt>
                <c:pt idx="583">
                  <c:v>133.19225</c:v>
                </c:pt>
                <c:pt idx="584">
                  <c:v>134.29872</c:v>
                </c:pt>
                <c:pt idx="585">
                  <c:v>135.55339000000001</c:v>
                </c:pt>
                <c:pt idx="586">
                  <c:v>136.37334999999999</c:v>
                </c:pt>
                <c:pt idx="587">
                  <c:v>135.41506999999999</c:v>
                </c:pt>
                <c:pt idx="588">
                  <c:v>133.44909999999999</c:v>
                </c:pt>
                <c:pt idx="589">
                  <c:v>134.08138</c:v>
                </c:pt>
                <c:pt idx="590">
                  <c:v>140.02869000000001</c:v>
                </c:pt>
                <c:pt idx="591">
                  <c:v>139.93977000000001</c:v>
                </c:pt>
                <c:pt idx="592">
                  <c:v>139.26796999999999</c:v>
                </c:pt>
                <c:pt idx="593">
                  <c:v>137.55887000000001</c:v>
                </c:pt>
                <c:pt idx="594">
                  <c:v>139.21858</c:v>
                </c:pt>
                <c:pt idx="595">
                  <c:v>140.30529999999999</c:v>
                </c:pt>
                <c:pt idx="596">
                  <c:v>138.5369</c:v>
                </c:pt>
                <c:pt idx="597">
                  <c:v>137.53910999999999</c:v>
                </c:pt>
                <c:pt idx="598">
                  <c:v>138.25040999999999</c:v>
                </c:pt>
                <c:pt idx="599">
                  <c:v>138.70484999999999</c:v>
                </c:pt>
                <c:pt idx="600">
                  <c:v>137.61815000000001</c:v>
                </c:pt>
                <c:pt idx="601">
                  <c:v>137.95402999999999</c:v>
                </c:pt>
                <c:pt idx="602">
                  <c:v>139.93977000000001</c:v>
                </c:pt>
                <c:pt idx="603">
                  <c:v>140.80914000000001</c:v>
                </c:pt>
                <c:pt idx="604">
                  <c:v>141.25371000000001</c:v>
                </c:pt>
                <c:pt idx="605">
                  <c:v>141.60162</c:v>
                </c:pt>
                <c:pt idx="606">
                  <c:v>140.18015</c:v>
                </c:pt>
                <c:pt idx="607">
                  <c:v>140.76662999999999</c:v>
                </c:pt>
                <c:pt idx="608">
                  <c:v>142.68512999999999</c:v>
                </c:pt>
                <c:pt idx="609">
                  <c:v>142.70501999999999</c:v>
                </c:pt>
                <c:pt idx="610">
                  <c:v>144.01716999999999</c:v>
                </c:pt>
                <c:pt idx="611">
                  <c:v>144.19607999999999</c:v>
                </c:pt>
                <c:pt idx="612">
                  <c:v>143.44060999999999</c:v>
                </c:pt>
                <c:pt idx="613">
                  <c:v>141.72092000000001</c:v>
                </c:pt>
                <c:pt idx="614">
                  <c:v>140.78650999999999</c:v>
                </c:pt>
                <c:pt idx="615">
                  <c:v>139.01712000000001</c:v>
                </c:pt>
                <c:pt idx="616">
                  <c:v>140.00120000000001</c:v>
                </c:pt>
                <c:pt idx="617">
                  <c:v>140.41872000000001</c:v>
                </c:pt>
                <c:pt idx="618">
                  <c:v>140.44853000000001</c:v>
                </c:pt>
                <c:pt idx="619">
                  <c:v>142.3571</c:v>
                </c:pt>
                <c:pt idx="620">
                  <c:v>143.78851</c:v>
                </c:pt>
                <c:pt idx="621">
                  <c:v>145.51815999999999</c:v>
                </c:pt>
                <c:pt idx="622">
                  <c:v>144.06684999999999</c:v>
                </c:pt>
                <c:pt idx="623">
                  <c:v>142.1583</c:v>
                </c:pt>
                <c:pt idx="624">
                  <c:v>141.0052</c:v>
                </c:pt>
                <c:pt idx="625">
                  <c:v>140.86604</c:v>
                </c:pt>
                <c:pt idx="626">
                  <c:v>137.47635</c:v>
                </c:pt>
                <c:pt idx="627">
                  <c:v>141.02507</c:v>
                </c:pt>
                <c:pt idx="628">
                  <c:v>134.05683999999999</c:v>
                </c:pt>
                <c:pt idx="629">
                  <c:v>137.06879000000001</c:v>
                </c:pt>
                <c:pt idx="630">
                  <c:v>137.69504000000001</c:v>
                </c:pt>
                <c:pt idx="631">
                  <c:v>134.94153</c:v>
                </c:pt>
                <c:pt idx="632">
                  <c:v>136.19401999999999</c:v>
                </c:pt>
                <c:pt idx="633">
                  <c:v>132.05879999999999</c:v>
                </c:pt>
                <c:pt idx="634">
                  <c:v>132.61546000000001</c:v>
                </c:pt>
                <c:pt idx="635">
                  <c:v>134.3948</c:v>
                </c:pt>
                <c:pt idx="636">
                  <c:v>134.48427000000001</c:v>
                </c:pt>
                <c:pt idx="637">
                  <c:v>134.32523</c:v>
                </c:pt>
                <c:pt idx="638">
                  <c:v>134.95146</c:v>
                </c:pt>
                <c:pt idx="639">
                  <c:v>135.26956000000001</c:v>
                </c:pt>
                <c:pt idx="640">
                  <c:v>130.88583</c:v>
                </c:pt>
                <c:pt idx="641">
                  <c:v>133.80833000000001</c:v>
                </c:pt>
                <c:pt idx="642">
                  <c:v>133.68904000000001</c:v>
                </c:pt>
                <c:pt idx="643">
                  <c:v>135.73679000000001</c:v>
                </c:pt>
                <c:pt idx="644">
                  <c:v>137.01907</c:v>
                </c:pt>
                <c:pt idx="645">
                  <c:v>136.44254000000001</c:v>
                </c:pt>
                <c:pt idx="646">
                  <c:v>135.4982</c:v>
                </c:pt>
                <c:pt idx="647">
                  <c:v>137.06879000000001</c:v>
                </c:pt>
                <c:pt idx="648">
                  <c:v>138.01311999999999</c:v>
                </c:pt>
                <c:pt idx="649">
                  <c:v>138.71889999999999</c:v>
                </c:pt>
                <c:pt idx="650">
                  <c:v>138.00318999999999</c:v>
                </c:pt>
                <c:pt idx="651">
                  <c:v>134.9813</c:v>
                </c:pt>
                <c:pt idx="652">
                  <c:v>135.37889999999999</c:v>
                </c:pt>
                <c:pt idx="653">
                  <c:v>136.68111999999999</c:v>
                </c:pt>
                <c:pt idx="654">
                  <c:v>137.19801000000001</c:v>
                </c:pt>
                <c:pt idx="655">
                  <c:v>134.99124</c:v>
                </c:pt>
                <c:pt idx="656">
                  <c:v>135.4982</c:v>
                </c:pt>
                <c:pt idx="657">
                  <c:v>135.98527999999999</c:v>
                </c:pt>
                <c:pt idx="658">
                  <c:v>132.50612000000001</c:v>
                </c:pt>
                <c:pt idx="659">
                  <c:v>131.48224999999999</c:v>
                </c:pt>
                <c:pt idx="660">
                  <c:v>131.67113000000001</c:v>
                </c:pt>
                <c:pt idx="661">
                  <c:v>131.18404000000001</c:v>
                </c:pt>
                <c:pt idx="662">
                  <c:v>132.29736</c:v>
                </c:pt>
                <c:pt idx="663">
                  <c:v>130.48822000000001</c:v>
                </c:pt>
                <c:pt idx="664">
                  <c:v>129.18602000000001</c:v>
                </c:pt>
                <c:pt idx="665">
                  <c:v>129.54387</c:v>
                </c:pt>
                <c:pt idx="666">
                  <c:v>128.77846</c:v>
                </c:pt>
                <c:pt idx="667">
                  <c:v>128.37090000000001</c:v>
                </c:pt>
                <c:pt idx="668">
                  <c:v>127.38678</c:v>
                </c:pt>
                <c:pt idx="669">
                  <c:v>129.49417</c:v>
                </c:pt>
                <c:pt idx="670">
                  <c:v>130.12039999999999</c:v>
                </c:pt>
                <c:pt idx="671">
                  <c:v>127.70489000000001</c:v>
                </c:pt>
                <c:pt idx="672">
                  <c:v>128.55976999999999</c:v>
                </c:pt>
                <c:pt idx="673">
                  <c:v>128.56970000000001</c:v>
                </c:pt>
                <c:pt idx="674">
                  <c:v>129.24566999999999</c:v>
                </c:pt>
                <c:pt idx="675">
                  <c:v>128.92755</c:v>
                </c:pt>
                <c:pt idx="676">
                  <c:v>128.9872</c:v>
                </c:pt>
                <c:pt idx="677">
                  <c:v>130.08065999999999</c:v>
                </c:pt>
                <c:pt idx="678">
                  <c:v>131.58165</c:v>
                </c:pt>
                <c:pt idx="679">
                  <c:v>130.11046999999999</c:v>
                </c:pt>
                <c:pt idx="680">
                  <c:v>129.48421999999999</c:v>
                </c:pt>
                <c:pt idx="681">
                  <c:v>131.61148</c:v>
                </c:pt>
                <c:pt idx="682">
                  <c:v>130.34904</c:v>
                </c:pt>
                <c:pt idx="683">
                  <c:v>129.48421999999999</c:v>
                </c:pt>
                <c:pt idx="684">
                  <c:v>130.12039999999999</c:v>
                </c:pt>
                <c:pt idx="685">
                  <c:v>129.75262000000001</c:v>
                </c:pt>
                <c:pt idx="686">
                  <c:v>128.70887999999999</c:v>
                </c:pt>
                <c:pt idx="687">
                  <c:v>128.82817</c:v>
                </c:pt>
                <c:pt idx="688">
                  <c:v>129.14626000000001</c:v>
                </c:pt>
                <c:pt idx="689">
                  <c:v>131.95939999999999</c:v>
                </c:pt>
                <c:pt idx="690">
                  <c:v>132.12839</c:v>
                </c:pt>
                <c:pt idx="691">
                  <c:v>130.66712999999999</c:v>
                </c:pt>
                <c:pt idx="692">
                  <c:v>130.48822000000001</c:v>
                </c:pt>
                <c:pt idx="693">
                  <c:v>132.16815</c:v>
                </c:pt>
                <c:pt idx="694">
                  <c:v>137.13838000000001</c:v>
                </c:pt>
                <c:pt idx="695">
                  <c:v>135.92563999999999</c:v>
                </c:pt>
                <c:pt idx="696">
                  <c:v>137.75468000000001</c:v>
                </c:pt>
                <c:pt idx="697">
                  <c:v>147.83429000000001</c:v>
                </c:pt>
                <c:pt idx="698">
                  <c:v>146.27364</c:v>
                </c:pt>
                <c:pt idx="699">
                  <c:v>143.80841000000001</c:v>
                </c:pt>
                <c:pt idx="700">
                  <c:v>146.77065999999999</c:v>
                </c:pt>
                <c:pt idx="701">
                  <c:v>147.49632</c:v>
                </c:pt>
                <c:pt idx="702">
                  <c:v>146.05494999999999</c:v>
                </c:pt>
                <c:pt idx="703">
                  <c:v>146.02512999999999</c:v>
                </c:pt>
                <c:pt idx="704">
                  <c:v>147.40684999999999</c:v>
                </c:pt>
                <c:pt idx="705">
                  <c:v>148.79850999999999</c:v>
                </c:pt>
                <c:pt idx="706">
                  <c:v>150.73689999999999</c:v>
                </c:pt>
                <c:pt idx="707">
                  <c:v>150.57785000000001</c:v>
                </c:pt>
                <c:pt idx="708">
                  <c:v>150.67728</c:v>
                </c:pt>
                <c:pt idx="709">
                  <c:v>149.72296</c:v>
                </c:pt>
                <c:pt idx="710">
                  <c:v>147.69514000000001</c:v>
                </c:pt>
                <c:pt idx="711">
                  <c:v>147.39693</c:v>
                </c:pt>
                <c:pt idx="712">
                  <c:v>146.56191999999999</c:v>
                </c:pt>
                <c:pt idx="713">
                  <c:v>146.78061</c:v>
                </c:pt>
                <c:pt idx="714">
                  <c:v>145.33926</c:v>
                </c:pt>
                <c:pt idx="715">
                  <c:v>145.22989000000001</c:v>
                </c:pt>
                <c:pt idx="716">
                  <c:v>146.71102999999999</c:v>
                </c:pt>
                <c:pt idx="717">
                  <c:v>146.88</c:v>
                </c:pt>
                <c:pt idx="718">
                  <c:v>146.38</c:v>
                </c:pt>
                <c:pt idx="719">
                  <c:v>148.46001999999999</c:v>
                </c:pt>
                <c:pt idx="720">
                  <c:v>147.73000999999999</c:v>
                </c:pt>
                <c:pt idx="721">
                  <c:v>146.26</c:v>
                </c:pt>
                <c:pt idx="722">
                  <c:v>146.15</c:v>
                </c:pt>
                <c:pt idx="723">
                  <c:v>146.88</c:v>
                </c:pt>
                <c:pt idx="724">
                  <c:v>144.68</c:v>
                </c:pt>
                <c:pt idx="725">
                  <c:v>145.29</c:v>
                </c:pt>
                <c:pt idx="726">
                  <c:v>145.69999999999999</c:v>
                </c:pt>
                <c:pt idx="727">
                  <c:v>145.75</c:v>
                </c:pt>
                <c:pt idx="728">
                  <c:v>143.77000000000001</c:v>
                </c:pt>
                <c:pt idx="729">
                  <c:v>143.77000000000001</c:v>
                </c:pt>
                <c:pt idx="730">
                  <c:v>144.63002</c:v>
                </c:pt>
                <c:pt idx="731">
                  <c:v>144.63002</c:v>
                </c:pt>
                <c:pt idx="732">
                  <c:v>148.19999999999999</c:v>
                </c:pt>
                <c:pt idx="733">
                  <c:v>148.19999999999999</c:v>
                </c:pt>
                <c:pt idx="734">
                  <c:v>146.5</c:v>
                </c:pt>
                <c:pt idx="735">
                  <c:v>145.65</c:v>
                </c:pt>
                <c:pt idx="736">
                  <c:v>145.69999999999999</c:v>
                </c:pt>
                <c:pt idx="737">
                  <c:v>145.4</c:v>
                </c:pt>
                <c:pt idx="738">
                  <c:v>144.83000000000001</c:v>
                </c:pt>
                <c:pt idx="739">
                  <c:v>144.62001000000001</c:v>
                </c:pt>
                <c:pt idx="740">
                  <c:v>143.88</c:v>
                </c:pt>
                <c:pt idx="741">
                  <c:v>145.20000999999999</c:v>
                </c:pt>
                <c:pt idx="742">
                  <c:v>144.32</c:v>
                </c:pt>
                <c:pt idx="743">
                  <c:v>145.12</c:v>
                </c:pt>
                <c:pt idx="744">
                  <c:v>144.33001999999999</c:v>
                </c:pt>
                <c:pt idx="745">
                  <c:v>143.56</c:v>
                </c:pt>
                <c:pt idx="746">
                  <c:v>144.01</c:v>
                </c:pt>
                <c:pt idx="747">
                  <c:v>142.19999999999999</c:v>
                </c:pt>
                <c:pt idx="748">
                  <c:v>140.08000000000001</c:v>
                </c:pt>
                <c:pt idx="749">
                  <c:v>135.9</c:v>
                </c:pt>
                <c:pt idx="750">
                  <c:v>138.37</c:v>
                </c:pt>
                <c:pt idx="751">
                  <c:v>136.06</c:v>
                </c:pt>
                <c:pt idx="752">
                  <c:v>137.81001000000001</c:v>
                </c:pt>
                <c:pt idx="753">
                  <c:v>138.31</c:v>
                </c:pt>
                <c:pt idx="754">
                  <c:v>141.32</c:v>
                </c:pt>
                <c:pt idx="755">
                  <c:v>144.72999999999999</c:v>
                </c:pt>
                <c:pt idx="756">
                  <c:v>141.37</c:v>
                </c:pt>
                <c:pt idx="757">
                  <c:v>142.69999999999999</c:v>
                </c:pt>
                <c:pt idx="758">
                  <c:v>141.02000000000001</c:v>
                </c:pt>
                <c:pt idx="759">
                  <c:v>142.59</c:v>
                </c:pt>
                <c:pt idx="760">
                  <c:v>141.01</c:v>
                </c:pt>
                <c:pt idx="761">
                  <c:v>141.85</c:v>
                </c:pt>
                <c:pt idx="762">
                  <c:v>140.9</c:v>
                </c:pt>
                <c:pt idx="763">
                  <c:v>139.54</c:v>
                </c:pt>
                <c:pt idx="764">
                  <c:v>139.13999999999999</c:v>
                </c:pt>
                <c:pt idx="765">
                  <c:v>141.30000000000001</c:v>
                </c:pt>
                <c:pt idx="766">
                  <c:v>140.37</c:v>
                </c:pt>
                <c:pt idx="767">
                  <c:v>138.97002000000001</c:v>
                </c:pt>
                <c:pt idx="768">
                  <c:v>133.01</c:v>
                </c:pt>
                <c:pt idx="769">
                  <c:v>128.19</c:v>
                </c:pt>
                <c:pt idx="770">
                  <c:v>123.36</c:v>
                </c:pt>
                <c:pt idx="771">
                  <c:v>118.04</c:v>
                </c:pt>
                <c:pt idx="772">
                  <c:v>117.65</c:v>
                </c:pt>
                <c:pt idx="773">
                  <c:v>119.98</c:v>
                </c:pt>
                <c:pt idx="774">
                  <c:v>116.44999</c:v>
                </c:pt>
                <c:pt idx="775">
                  <c:v>119.18</c:v>
                </c:pt>
                <c:pt idx="776">
                  <c:v>113.98</c:v>
                </c:pt>
                <c:pt idx="777">
                  <c:v>115.27</c:v>
                </c:pt>
                <c:pt idx="778">
                  <c:v>104.35</c:v>
                </c:pt>
                <c:pt idx="779">
                  <c:v>111.46</c:v>
                </c:pt>
                <c:pt idx="780">
                  <c:v>105.51</c:v>
                </c:pt>
                <c:pt idx="781">
                  <c:v>91.81</c:v>
                </c:pt>
                <c:pt idx="782">
                  <c:v>102.52</c:v>
                </c:pt>
                <c:pt idx="783">
                  <c:v>95.01</c:v>
                </c:pt>
                <c:pt idx="784">
                  <c:v>93.53</c:v>
                </c:pt>
                <c:pt idx="785">
                  <c:v>88.8</c:v>
                </c:pt>
                <c:pt idx="786">
                  <c:v>94.93</c:v>
                </c:pt>
                <c:pt idx="787">
                  <c:v>85.98</c:v>
                </c:pt>
                <c:pt idx="788">
                  <c:v>85.76</c:v>
                </c:pt>
                <c:pt idx="789">
                  <c:v>98.12</c:v>
                </c:pt>
                <c:pt idx="790">
                  <c:v>100.73</c:v>
                </c:pt>
                <c:pt idx="791">
                  <c:v>105.36</c:v>
                </c:pt>
                <c:pt idx="792">
                  <c:v>96.4</c:v>
                </c:pt>
                <c:pt idx="793">
                  <c:v>99.8</c:v>
                </c:pt>
                <c:pt idx="794">
                  <c:v>96.6</c:v>
                </c:pt>
                <c:pt idx="795">
                  <c:v>94.92</c:v>
                </c:pt>
                <c:pt idx="796">
                  <c:v>96.97</c:v>
                </c:pt>
                <c:pt idx="797">
                  <c:v>93.88</c:v>
                </c:pt>
                <c:pt idx="798">
                  <c:v>99.58</c:v>
                </c:pt>
                <c:pt idx="799">
                  <c:v>101.24</c:v>
                </c:pt>
                <c:pt idx="800">
                  <c:v>101.07</c:v>
                </c:pt>
                <c:pt idx="801">
                  <c:v>104.5</c:v>
                </c:pt>
                <c:pt idx="802">
                  <c:v>103.5</c:v>
                </c:pt>
                <c:pt idx="803">
                  <c:v>106.03</c:v>
                </c:pt>
                <c:pt idx="804">
                  <c:v>103.37</c:v>
                </c:pt>
                <c:pt idx="805">
                  <c:v>102.02</c:v>
                </c:pt>
                <c:pt idx="806">
                  <c:v>106.63</c:v>
                </c:pt>
                <c:pt idx="807">
                  <c:v>102.26</c:v>
                </c:pt>
                <c:pt idx="808">
                  <c:v>100.54</c:v>
                </c:pt>
                <c:pt idx="809">
                  <c:v>100.99</c:v>
                </c:pt>
                <c:pt idx="810">
                  <c:v>101</c:v>
                </c:pt>
                <c:pt idx="811">
                  <c:v>101.19</c:v>
                </c:pt>
                <c:pt idx="812">
                  <c:v>106.06</c:v>
                </c:pt>
                <c:pt idx="813">
                  <c:v>106.21</c:v>
                </c:pt>
                <c:pt idx="814">
                  <c:v>112.25</c:v>
                </c:pt>
                <c:pt idx="815">
                  <c:v>108.15</c:v>
                </c:pt>
                <c:pt idx="816">
                  <c:v>105.5</c:v>
                </c:pt>
                <c:pt idx="817">
                  <c:v>103.18</c:v>
                </c:pt>
                <c:pt idx="818">
                  <c:v>101.06</c:v>
                </c:pt>
                <c:pt idx="819">
                  <c:v>100.88</c:v>
                </c:pt>
                <c:pt idx="820">
                  <c:v>105.57</c:v>
                </c:pt>
                <c:pt idx="821">
                  <c:v>109.16</c:v>
                </c:pt>
                <c:pt idx="822">
                  <c:v>107.77</c:v>
                </c:pt>
                <c:pt idx="823">
                  <c:v>104.56</c:v>
                </c:pt>
                <c:pt idx="824">
                  <c:v>102.92</c:v>
                </c:pt>
                <c:pt idx="825">
                  <c:v>105.91</c:v>
                </c:pt>
                <c:pt idx="826">
                  <c:v>109.05</c:v>
                </c:pt>
                <c:pt idx="827">
                  <c:v>116.84999000000001</c:v>
                </c:pt>
                <c:pt idx="828">
                  <c:v>114.37</c:v>
                </c:pt>
                <c:pt idx="829">
                  <c:v>119.91999</c:v>
                </c:pt>
                <c:pt idx="830">
                  <c:v>117.83</c:v>
                </c:pt>
                <c:pt idx="831">
                  <c:v>118.02</c:v>
                </c:pt>
                <c:pt idx="832">
                  <c:v>120.95</c:v>
                </c:pt>
                <c:pt idx="833">
                  <c:v>121.53</c:v>
                </c:pt>
                <c:pt idx="834">
                  <c:v>116.75</c:v>
                </c:pt>
                <c:pt idx="835">
                  <c:v>117.30001</c:v>
                </c:pt>
                <c:pt idx="836">
                  <c:v>118.77</c:v>
                </c:pt>
                <c:pt idx="837">
                  <c:v>118.75001</c:v>
                </c:pt>
                <c:pt idx="838">
                  <c:v>122.18001</c:v>
                </c:pt>
                <c:pt idx="839">
                  <c:v>123.689995</c:v>
                </c:pt>
                <c:pt idx="840">
                  <c:v>124.82</c:v>
                </c:pt>
                <c:pt idx="841">
                  <c:v>127.28</c:v>
                </c:pt>
                <c:pt idx="842">
                  <c:v>123.89001</c:v>
                </c:pt>
                <c:pt idx="843">
                  <c:v>122.18001</c:v>
                </c:pt>
                <c:pt idx="844">
                  <c:v>112.64</c:v>
                </c:pt>
                <c:pt idx="845">
                  <c:v>115.49</c:v>
                </c:pt>
                <c:pt idx="846">
                  <c:v>117.08001</c:v>
                </c:pt>
                <c:pt idx="847">
                  <c:v>118.44</c:v>
                </c:pt>
                <c:pt idx="848">
                  <c:v>117.65</c:v>
                </c:pt>
                <c:pt idx="849">
                  <c:v>118.369995</c:v>
                </c:pt>
                <c:pt idx="850">
                  <c:v>114.35</c:v>
                </c:pt>
                <c:pt idx="851">
                  <c:v>115.92</c:v>
                </c:pt>
                <c:pt idx="852">
                  <c:v>116.58999</c:v>
                </c:pt>
                <c:pt idx="853">
                  <c:v>112.07</c:v>
                </c:pt>
                <c:pt idx="854">
                  <c:v>111.36</c:v>
                </c:pt>
                <c:pt idx="855">
                  <c:v>109.1</c:v>
                </c:pt>
                <c:pt idx="856">
                  <c:v>111.52</c:v>
                </c:pt>
                <c:pt idx="857">
                  <c:v>111.51</c:v>
                </c:pt>
                <c:pt idx="858">
                  <c:v>113.01</c:v>
                </c:pt>
                <c:pt idx="859">
                  <c:v>112.18</c:v>
                </c:pt>
                <c:pt idx="860">
                  <c:v>114.43</c:v>
                </c:pt>
                <c:pt idx="861">
                  <c:v>113.63</c:v>
                </c:pt>
                <c:pt idx="862">
                  <c:v>116.66001</c:v>
                </c:pt>
                <c:pt idx="863">
                  <c:v>116.80999</c:v>
                </c:pt>
                <c:pt idx="864">
                  <c:v>119.33999</c:v>
                </c:pt>
                <c:pt idx="865">
                  <c:v>116.22001</c:v>
                </c:pt>
                <c:pt idx="866">
                  <c:v>118.66</c:v>
                </c:pt>
                <c:pt idx="867">
                  <c:v>120.90000999999999</c:v>
                </c:pt>
                <c:pt idx="868">
                  <c:v>119.43001</c:v>
                </c:pt>
                <c:pt idx="869">
                  <c:v>118.65000999999999</c:v>
                </c:pt>
                <c:pt idx="870">
                  <c:v>117.78999</c:v>
                </c:pt>
                <c:pt idx="871">
                  <c:v>118.62</c:v>
                </c:pt>
                <c:pt idx="872">
                  <c:v>119.03001</c:v>
                </c:pt>
                <c:pt idx="873">
                  <c:v>118.12</c:v>
                </c:pt>
                <c:pt idx="874">
                  <c:v>117.60999</c:v>
                </c:pt>
                <c:pt idx="875">
                  <c:v>116.31</c:v>
                </c:pt>
                <c:pt idx="876">
                  <c:v>116.18001</c:v>
                </c:pt>
                <c:pt idx="877">
                  <c:v>115.61</c:v>
                </c:pt>
                <c:pt idx="878">
                  <c:v>115.66</c:v>
                </c:pt>
                <c:pt idx="879">
                  <c:v>116.94001</c:v>
                </c:pt>
                <c:pt idx="880">
                  <c:v>116.35</c:v>
                </c:pt>
                <c:pt idx="881">
                  <c:v>117.29</c:v>
                </c:pt>
                <c:pt idx="882">
                  <c:v>127.61</c:v>
                </c:pt>
                <c:pt idx="883">
                  <c:v>130.82</c:v>
                </c:pt>
                <c:pt idx="884">
                  <c:v>129.93</c:v>
                </c:pt>
                <c:pt idx="885">
                  <c:v>128.79</c:v>
                </c:pt>
                <c:pt idx="886">
                  <c:v>130.49</c:v>
                </c:pt>
                <c:pt idx="887">
                  <c:v>131.79</c:v>
                </c:pt>
                <c:pt idx="888">
                  <c:v>130.96</c:v>
                </c:pt>
                <c:pt idx="889">
                  <c:v>130.53</c:v>
                </c:pt>
                <c:pt idx="890">
                  <c:v>129.37</c:v>
                </c:pt>
                <c:pt idx="891">
                  <c:v>128.91999999999999</c:v>
                </c:pt>
                <c:pt idx="892">
                  <c:v>127.770004</c:v>
                </c:pt>
                <c:pt idx="893">
                  <c:v>128.12001000000001</c:v>
                </c:pt>
                <c:pt idx="894">
                  <c:v>127.44001</c:v>
                </c:pt>
                <c:pt idx="895">
                  <c:v>130.69</c:v>
                </c:pt>
                <c:pt idx="896">
                  <c:v>129.79</c:v>
                </c:pt>
                <c:pt idx="897">
                  <c:v>132.18</c:v>
                </c:pt>
                <c:pt idx="898">
                  <c:v>133.72999999999999</c:v>
                </c:pt>
                <c:pt idx="899">
                  <c:v>135.54</c:v>
                </c:pt>
                <c:pt idx="900">
                  <c:v>131.87</c:v>
                </c:pt>
                <c:pt idx="901">
                  <c:v>133.55000000000001</c:v>
                </c:pt>
                <c:pt idx="902">
                  <c:v>135.38999999999999</c:v>
                </c:pt>
                <c:pt idx="903">
                  <c:v>133.24</c:v>
                </c:pt>
                <c:pt idx="904">
                  <c:v>131.99</c:v>
                </c:pt>
                <c:pt idx="905">
                  <c:v>134.19999999999999</c:v>
                </c:pt>
                <c:pt idx="906">
                  <c:v>133.36000000000001</c:v>
                </c:pt>
                <c:pt idx="907">
                  <c:v>133.22</c:v>
                </c:pt>
                <c:pt idx="908">
                  <c:v>131.75</c:v>
                </c:pt>
                <c:pt idx="909">
                  <c:v>131.25</c:v>
                </c:pt>
                <c:pt idx="910">
                  <c:v>131.24</c:v>
                </c:pt>
                <c:pt idx="911">
                  <c:v>132.09</c:v>
                </c:pt>
                <c:pt idx="912">
                  <c:v>130.22</c:v>
                </c:pt>
                <c:pt idx="913">
                  <c:v>128.63</c:v>
                </c:pt>
                <c:pt idx="914">
                  <c:v>125.41001</c:v>
                </c:pt>
                <c:pt idx="915">
                  <c:v>127.21</c:v>
                </c:pt>
                <c:pt idx="916">
                  <c:v>123.28</c:v>
                </c:pt>
                <c:pt idx="917">
                  <c:v>122.490005</c:v>
                </c:pt>
                <c:pt idx="918">
                  <c:v>124</c:v>
                </c:pt>
                <c:pt idx="919">
                  <c:v>125.99</c:v>
                </c:pt>
                <c:pt idx="920">
                  <c:v>125.4</c:v>
                </c:pt>
                <c:pt idx="921">
                  <c:v>124.08</c:v>
                </c:pt>
                <c:pt idx="922">
                  <c:v>123.310005</c:v>
                </c:pt>
                <c:pt idx="923">
                  <c:v>122.55</c:v>
                </c:pt>
                <c:pt idx="924">
                  <c:v>123.369995</c:v>
                </c:pt>
                <c:pt idx="925">
                  <c:v>120.93</c:v>
                </c:pt>
                <c:pt idx="926">
                  <c:v>122.91</c:v>
                </c:pt>
                <c:pt idx="927">
                  <c:v>123.09000399999999</c:v>
                </c:pt>
                <c:pt idx="928">
                  <c:v>124.98</c:v>
                </c:pt>
                <c:pt idx="929">
                  <c:v>124.97001</c:v>
                </c:pt>
                <c:pt idx="930">
                  <c:v>128.96</c:v>
                </c:pt>
                <c:pt idx="931">
                  <c:v>126.58999</c:v>
                </c:pt>
                <c:pt idx="932">
                  <c:v>127.36001</c:v>
                </c:pt>
                <c:pt idx="933">
                  <c:v>126.81</c:v>
                </c:pt>
                <c:pt idx="934">
                  <c:v>124.23000999999999</c:v>
                </c:pt>
                <c:pt idx="935">
                  <c:v>124.95</c:v>
                </c:pt>
                <c:pt idx="936">
                  <c:v>126.63</c:v>
                </c:pt>
                <c:pt idx="937">
                  <c:v>127.56</c:v>
                </c:pt>
                <c:pt idx="938">
                  <c:v>128.35</c:v>
                </c:pt>
                <c:pt idx="939">
                  <c:v>124.06</c:v>
                </c:pt>
                <c:pt idx="940">
                  <c:v>123.310005</c:v>
                </c:pt>
                <c:pt idx="941">
                  <c:v>118.47001</c:v>
                </c:pt>
                <c:pt idx="942">
                  <c:v>121.54001</c:v>
                </c:pt>
                <c:pt idx="943">
                  <c:v>121.25</c:v>
                </c:pt>
                <c:pt idx="944">
                  <c:v>120.13</c:v>
                </c:pt>
                <c:pt idx="945">
                  <c:v>124.01999000000001</c:v>
                </c:pt>
                <c:pt idx="946">
                  <c:v>125.07</c:v>
                </c:pt>
                <c:pt idx="947">
                  <c:v>126.96001</c:v>
                </c:pt>
                <c:pt idx="948">
                  <c:v>127.46</c:v>
                </c:pt>
                <c:pt idx="949">
                  <c:v>142.59</c:v>
                </c:pt>
                <c:pt idx="950">
                  <c:v>142.11000000000001</c:v>
                </c:pt>
                <c:pt idx="951">
                  <c:v>137.82</c:v>
                </c:pt>
                <c:pt idx="952">
                  <c:v>135.52000000000001</c:v>
                </c:pt>
                <c:pt idx="953">
                  <c:v>138.36000000000001</c:v>
                </c:pt>
                <c:pt idx="954">
                  <c:v>144.66999999999999</c:v>
                </c:pt>
                <c:pt idx="955">
                  <c:v>144.5</c:v>
                </c:pt>
                <c:pt idx="956">
                  <c:v>143.90001000000001</c:v>
                </c:pt>
                <c:pt idx="957">
                  <c:v>141.72</c:v>
                </c:pt>
                <c:pt idx="958">
                  <c:v>141.07</c:v>
                </c:pt>
                <c:pt idx="959">
                  <c:v>145.97999999999999</c:v>
                </c:pt>
                <c:pt idx="960">
                  <c:v>151.49</c:v>
                </c:pt>
                <c:pt idx="961">
                  <c:v>149.09</c:v>
                </c:pt>
                <c:pt idx="962">
                  <c:v>147.13</c:v>
                </c:pt>
                <c:pt idx="963">
                  <c:v>148.01</c:v>
                </c:pt>
                <c:pt idx="964">
                  <c:v>149.44</c:v>
                </c:pt>
                <c:pt idx="965">
                  <c:v>153.61001999999999</c:v>
                </c:pt>
                <c:pt idx="966">
                  <c:v>153.24001999999999</c:v>
                </c:pt>
                <c:pt idx="967">
                  <c:v>154.13999999999999</c:v>
                </c:pt>
                <c:pt idx="968">
                  <c:v>153.68001000000001</c:v>
                </c:pt>
                <c:pt idx="969">
                  <c:v>153.72</c:v>
                </c:pt>
                <c:pt idx="970">
                  <c:v>154.43</c:v>
                </c:pt>
                <c:pt idx="971">
                  <c:v>154.69002</c:v>
                </c:pt>
                <c:pt idx="972">
                  <c:v>175.72</c:v>
                </c:pt>
                <c:pt idx="973">
                  <c:v>169.3</c:v>
                </c:pt>
                <c:pt idx="974">
                  <c:v>173.94</c:v>
                </c:pt>
                <c:pt idx="975">
                  <c:v>173.12</c:v>
                </c:pt>
                <c:pt idx="976">
                  <c:v>173.55</c:v>
                </c:pt>
                <c:pt idx="977">
                  <c:v>172.89</c:v>
                </c:pt>
                <c:pt idx="978">
                  <c:v>170.69</c:v>
                </c:pt>
                <c:pt idx="979">
                  <c:v>170.45</c:v>
                </c:pt>
                <c:pt idx="980">
                  <c:v>173.55</c:v>
                </c:pt>
                <c:pt idx="981">
                  <c:v>173.73</c:v>
                </c:pt>
                <c:pt idx="982">
                  <c:v>178.86</c:v>
                </c:pt>
                <c:pt idx="983">
                  <c:v>177.3</c:v>
                </c:pt>
                <c:pt idx="984">
                  <c:v>177.3</c:v>
                </c:pt>
                <c:pt idx="985">
                  <c:v>181.17</c:v>
                </c:pt>
                <c:pt idx="986">
                  <c:v>181.17</c:v>
                </c:pt>
                <c:pt idx="987">
                  <c:v>181.18</c:v>
                </c:pt>
                <c:pt idx="988">
                  <c:v>181.18</c:v>
                </c:pt>
                <c:pt idx="989">
                  <c:v>177.68</c:v>
                </c:pt>
                <c:pt idx="990">
                  <c:v>178.44</c:v>
                </c:pt>
                <c:pt idx="991">
                  <c:v>179.12</c:v>
                </c:pt>
                <c:pt idx="992">
                  <c:v>178.58</c:v>
                </c:pt>
                <c:pt idx="993">
                  <c:v>178.69</c:v>
                </c:pt>
                <c:pt idx="994">
                  <c:v>179.09</c:v>
                </c:pt>
                <c:pt idx="995">
                  <c:v>175.99001999999999</c:v>
                </c:pt>
                <c:pt idx="996">
                  <c:v>176.12</c:v>
                </c:pt>
                <c:pt idx="997">
                  <c:v>173.43</c:v>
                </c:pt>
                <c:pt idx="998">
                  <c:v>171.44</c:v>
                </c:pt>
                <c:pt idx="999">
                  <c:v>172.26</c:v>
                </c:pt>
                <c:pt idx="1000">
                  <c:v>173.64</c:v>
                </c:pt>
                <c:pt idx="1001">
                  <c:v>171.28001</c:v>
                </c:pt>
                <c:pt idx="1002">
                  <c:v>172.78</c:v>
                </c:pt>
                <c:pt idx="1003">
                  <c:v>171.89</c:v>
                </c:pt>
                <c:pt idx="1004">
                  <c:v>169.56</c:v>
                </c:pt>
                <c:pt idx="1005">
                  <c:v>163.03</c:v>
                </c:pt>
                <c:pt idx="1006">
                  <c:v>171.88</c:v>
                </c:pt>
                <c:pt idx="1007">
                  <c:v>168.17</c:v>
                </c:pt>
                <c:pt idx="1008">
                  <c:v>170.97</c:v>
                </c:pt>
                <c:pt idx="1009">
                  <c:v>176.96</c:v>
                </c:pt>
                <c:pt idx="1010">
                  <c:v>176.43</c:v>
                </c:pt>
                <c:pt idx="1011">
                  <c:v>180.23</c:v>
                </c:pt>
                <c:pt idx="1012">
                  <c:v>181.16</c:v>
                </c:pt>
                <c:pt idx="1013">
                  <c:v>190</c:v>
                </c:pt>
                <c:pt idx="1014">
                  <c:v>188.21</c:v>
                </c:pt>
                <c:pt idx="1015">
                  <c:v>189.63</c:v>
                </c:pt>
                <c:pt idx="1016">
                  <c:v>190.91002</c:v>
                </c:pt>
                <c:pt idx="1017">
                  <c:v>187.67</c:v>
                </c:pt>
                <c:pt idx="1018">
                  <c:v>186.35002</c:v>
                </c:pt>
                <c:pt idx="1019">
                  <c:v>186.44</c:v>
                </c:pt>
                <c:pt idx="1020">
                  <c:v>183</c:v>
                </c:pt>
                <c:pt idx="1021">
                  <c:v>183.65</c:v>
                </c:pt>
                <c:pt idx="1022">
                  <c:v>191.76</c:v>
                </c:pt>
                <c:pt idx="1023">
                  <c:v>197.09</c:v>
                </c:pt>
                <c:pt idx="1024">
                  <c:v>197.51</c:v>
                </c:pt>
                <c:pt idx="1025">
                  <c:v>190.98000999999999</c:v>
                </c:pt>
                <c:pt idx="1026">
                  <c:v>189.04</c:v>
                </c:pt>
                <c:pt idx="1027">
                  <c:v>194.98</c:v>
                </c:pt>
                <c:pt idx="1028">
                  <c:v>193.94</c:v>
                </c:pt>
                <c:pt idx="1029">
                  <c:v>192.26</c:v>
                </c:pt>
                <c:pt idx="1030">
                  <c:v>188.03</c:v>
                </c:pt>
                <c:pt idx="1031">
                  <c:v>189.99</c:v>
                </c:pt>
                <c:pt idx="1032">
                  <c:v>201.91</c:v>
                </c:pt>
                <c:pt idx="1033">
                  <c:v>194.51</c:v>
                </c:pt>
                <c:pt idx="1034">
                  <c:v>195.06</c:v>
                </c:pt>
                <c:pt idx="1035">
                  <c:v>196.75</c:v>
                </c:pt>
                <c:pt idx="1036">
                  <c:v>197.16</c:v>
                </c:pt>
                <c:pt idx="1037">
                  <c:v>196.76</c:v>
                </c:pt>
                <c:pt idx="1038">
                  <c:v>194.24001999999999</c:v>
                </c:pt>
                <c:pt idx="1039">
                  <c:v>195.24</c:v>
                </c:pt>
                <c:pt idx="1040">
                  <c:v>192.28001</c:v>
                </c:pt>
                <c:pt idx="1041">
                  <c:v>191.14</c:v>
                </c:pt>
                <c:pt idx="1042">
                  <c:v>192.86001999999999</c:v>
                </c:pt>
                <c:pt idx="1043">
                  <c:v>188.73000999999999</c:v>
                </c:pt>
                <c:pt idx="1044">
                  <c:v>184.72</c:v>
                </c:pt>
                <c:pt idx="1045">
                  <c:v>186.91</c:v>
                </c:pt>
                <c:pt idx="1046">
                  <c:v>185.92</c:v>
                </c:pt>
                <c:pt idx="1047">
                  <c:v>184.85</c:v>
                </c:pt>
                <c:pt idx="1048">
                  <c:v>185.53</c:v>
                </c:pt>
                <c:pt idx="1049">
                  <c:v>184.52</c:v>
                </c:pt>
                <c:pt idx="1050">
                  <c:v>188.97</c:v>
                </c:pt>
                <c:pt idx="1051">
                  <c:v>188.5</c:v>
                </c:pt>
                <c:pt idx="1052">
                  <c:v>189.73</c:v>
                </c:pt>
                <c:pt idx="1053">
                  <c:v>187.56</c:v>
                </c:pt>
                <c:pt idx="1054">
                  <c:v>187.32</c:v>
                </c:pt>
                <c:pt idx="1055">
                  <c:v>187.89</c:v>
                </c:pt>
                <c:pt idx="1056">
                  <c:v>186.49001999999999</c:v>
                </c:pt>
                <c:pt idx="1057">
                  <c:v>185.49</c:v>
                </c:pt>
                <c:pt idx="1058">
                  <c:v>187.46</c:v>
                </c:pt>
                <c:pt idx="1059">
                  <c:v>185.93001000000001</c:v>
                </c:pt>
                <c:pt idx="1060">
                  <c:v>187.26</c:v>
                </c:pt>
                <c:pt idx="1061">
                  <c:v>187.43001000000001</c:v>
                </c:pt>
                <c:pt idx="1062">
                  <c:v>182.79001</c:v>
                </c:pt>
                <c:pt idx="1063">
                  <c:v>183.11</c:v>
                </c:pt>
                <c:pt idx="1064">
                  <c:v>182.76</c:v>
                </c:pt>
                <c:pt idx="1065">
                  <c:v>183.02</c:v>
                </c:pt>
                <c:pt idx="1066">
                  <c:v>184.27</c:v>
                </c:pt>
                <c:pt idx="1067">
                  <c:v>184.64</c:v>
                </c:pt>
                <c:pt idx="1068">
                  <c:v>183.39</c:v>
                </c:pt>
                <c:pt idx="1069">
                  <c:v>185.33</c:v>
                </c:pt>
                <c:pt idx="1070">
                  <c:v>186.02</c:v>
                </c:pt>
                <c:pt idx="1071">
                  <c:v>185.51</c:v>
                </c:pt>
                <c:pt idx="1072">
                  <c:v>184.25002000000001</c:v>
                </c:pt>
                <c:pt idx="1073">
                  <c:v>181.51000999999999</c:v>
                </c:pt>
                <c:pt idx="1074">
                  <c:v>181.79001</c:v>
                </c:pt>
                <c:pt idx="1075">
                  <c:v>184.84001000000001</c:v>
                </c:pt>
                <c:pt idx="1076">
                  <c:v>184.3</c:v>
                </c:pt>
                <c:pt idx="1077">
                  <c:v>181.67</c:v>
                </c:pt>
                <c:pt idx="1078">
                  <c:v>177.84998999999999</c:v>
                </c:pt>
                <c:pt idx="1079">
                  <c:v>178.34</c:v>
                </c:pt>
                <c:pt idx="1080">
                  <c:v>173.7</c:v>
                </c:pt>
                <c:pt idx="1081">
                  <c:v>170.08</c:v>
                </c:pt>
                <c:pt idx="1082">
                  <c:v>169.68001000000001</c:v>
                </c:pt>
                <c:pt idx="1083">
                  <c:v>169.27</c:v>
                </c:pt>
                <c:pt idx="1084">
                  <c:v>171.36</c:v>
                </c:pt>
                <c:pt idx="1085">
                  <c:v>172.40001000000001</c:v>
                </c:pt>
                <c:pt idx="1086">
                  <c:v>174.31</c:v>
                </c:pt>
                <c:pt idx="1087">
                  <c:v>176.17</c:v>
                </c:pt>
                <c:pt idx="1088">
                  <c:v>176.47</c:v>
                </c:pt>
                <c:pt idx="1089">
                  <c:v>179.04001</c:v>
                </c:pt>
                <c:pt idx="1090">
                  <c:v>178.65</c:v>
                </c:pt>
                <c:pt idx="1091">
                  <c:v>178.84</c:v>
                </c:pt>
                <c:pt idx="1092">
                  <c:v>177.00002000000001</c:v>
                </c:pt>
                <c:pt idx="1093">
                  <c:v>176.24</c:v>
                </c:pt>
                <c:pt idx="1094">
                  <c:v>177.18001000000001</c:v>
                </c:pt>
                <c:pt idx="1095">
                  <c:v>176.99</c:v>
                </c:pt>
                <c:pt idx="1096">
                  <c:v>176.33</c:v>
                </c:pt>
                <c:pt idx="1097">
                  <c:v>176.04</c:v>
                </c:pt>
                <c:pt idx="1098">
                  <c:v>176.57</c:v>
                </c:pt>
                <c:pt idx="1099">
                  <c:v>177.38</c:v>
                </c:pt>
                <c:pt idx="1100">
                  <c:v>178.18001000000001</c:v>
                </c:pt>
                <c:pt idx="1101">
                  <c:v>175.86</c:v>
                </c:pt>
                <c:pt idx="1102">
                  <c:v>174.66</c:v>
                </c:pt>
                <c:pt idx="1103">
                  <c:v>174.65</c:v>
                </c:pt>
                <c:pt idx="1104">
                  <c:v>172.42</c:v>
                </c:pt>
                <c:pt idx="1105">
                  <c:v>173.97</c:v>
                </c:pt>
                <c:pt idx="1106">
                  <c:v>173.5</c:v>
                </c:pt>
                <c:pt idx="1107">
                  <c:v>175.33001999999999</c:v>
                </c:pt>
                <c:pt idx="1108">
                  <c:v>177.93</c:v>
                </c:pt>
                <c:pt idx="1109">
                  <c:v>178.35</c:v>
                </c:pt>
                <c:pt idx="1110">
                  <c:v>176.57</c:v>
                </c:pt>
                <c:pt idx="1111">
                  <c:v>173.93</c:v>
                </c:pt>
                <c:pt idx="1112">
                  <c:v>175.77</c:v>
                </c:pt>
                <c:pt idx="1113">
                  <c:v>177.26</c:v>
                </c:pt>
              </c:numCache>
            </c:numRef>
          </c:val>
          <c:smooth val="0"/>
          <c:extLst>
            <c:ext xmlns:c16="http://schemas.microsoft.com/office/drawing/2014/chart" uri="{C3380CC4-5D6E-409C-BE32-E72D297353CC}">
              <c16:uniqueId val="{00000000-460D-6F4E-9400-DC4F135CD3A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1115</c:f>
              <c:numCache>
                <c:formatCode>m/d/yy</c:formatCode>
                <c:ptCount val="1114"/>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C$2:$C$1115</c:f>
              <c:numCache>
                <c:formatCode>General</c:formatCode>
                <c:ptCount val="1114"/>
                <c:pt idx="0">
                  <c:v>107.50566000000001</c:v>
                </c:pt>
                <c:pt idx="1">
                  <c:v>104.90492999999999</c:v>
                </c:pt>
                <c:pt idx="2">
                  <c:v>105.24027</c:v>
                </c:pt>
                <c:pt idx="3">
                  <c:v>106.36853000000001</c:v>
                </c:pt>
                <c:pt idx="4">
                  <c:v>105.23179</c:v>
                </c:pt>
                <c:pt idx="5">
                  <c:v>106.05988000000001</c:v>
                </c:pt>
                <c:pt idx="6">
                  <c:v>105.21294399999999</c:v>
                </c:pt>
                <c:pt idx="7">
                  <c:v>105.66036</c:v>
                </c:pt>
                <c:pt idx="8">
                  <c:v>105.71398000000001</c:v>
                </c:pt>
                <c:pt idx="9">
                  <c:v>106.20468</c:v>
                </c:pt>
                <c:pt idx="10">
                  <c:v>105.86351000000001</c:v>
                </c:pt>
                <c:pt idx="11">
                  <c:v>106.29715</c:v>
                </c:pt>
                <c:pt idx="12">
                  <c:v>107.36527</c:v>
                </c:pt>
                <c:pt idx="13">
                  <c:v>108.167046</c:v>
                </c:pt>
                <c:pt idx="14">
                  <c:v>107.260544</c:v>
                </c:pt>
                <c:pt idx="15">
                  <c:v>106.09766399999999</c:v>
                </c:pt>
                <c:pt idx="16">
                  <c:v>107.56701</c:v>
                </c:pt>
                <c:pt idx="17">
                  <c:v>107.64407</c:v>
                </c:pt>
                <c:pt idx="18">
                  <c:v>108.44799999999999</c:v>
                </c:pt>
                <c:pt idx="19">
                  <c:v>108.71232999999999</c:v>
                </c:pt>
                <c:pt idx="20">
                  <c:v>108.604614</c:v>
                </c:pt>
                <c:pt idx="21">
                  <c:v>109.01011</c:v>
                </c:pt>
                <c:pt idx="22">
                  <c:v>109.001434</c:v>
                </c:pt>
                <c:pt idx="23">
                  <c:v>110.00646</c:v>
                </c:pt>
                <c:pt idx="24">
                  <c:v>109.835335</c:v>
                </c:pt>
                <c:pt idx="25">
                  <c:v>109.969925</c:v>
                </c:pt>
                <c:pt idx="26">
                  <c:v>109.74669</c:v>
                </c:pt>
                <c:pt idx="27">
                  <c:v>109.10158</c:v>
                </c:pt>
                <c:pt idx="28">
                  <c:v>108.14113999999999</c:v>
                </c:pt>
                <c:pt idx="29">
                  <c:v>109.39149</c:v>
                </c:pt>
                <c:pt idx="30">
                  <c:v>108.24697</c:v>
                </c:pt>
                <c:pt idx="31">
                  <c:v>108.388954</c:v>
                </c:pt>
                <c:pt idx="32">
                  <c:v>109.51343</c:v>
                </c:pt>
                <c:pt idx="33">
                  <c:v>104.52325999999999</c:v>
                </c:pt>
                <c:pt idx="34">
                  <c:v>104.37772</c:v>
                </c:pt>
                <c:pt idx="35">
                  <c:v>105.06609</c:v>
                </c:pt>
                <c:pt idx="36">
                  <c:v>104.77196499999999</c:v>
                </c:pt>
                <c:pt idx="37">
                  <c:v>106.86344</c:v>
                </c:pt>
                <c:pt idx="38">
                  <c:v>106.805466</c:v>
                </c:pt>
                <c:pt idx="39">
                  <c:v>107.954384</c:v>
                </c:pt>
                <c:pt idx="40">
                  <c:v>107.50354</c:v>
                </c:pt>
                <c:pt idx="41">
                  <c:v>108.19661000000001</c:v>
                </c:pt>
                <c:pt idx="42">
                  <c:v>106.87054999999999</c:v>
                </c:pt>
                <c:pt idx="43">
                  <c:v>108.594025</c:v>
                </c:pt>
                <c:pt idx="44">
                  <c:v>107.76472</c:v>
                </c:pt>
                <c:pt idx="45">
                  <c:v>108.82156000000001</c:v>
                </c:pt>
                <c:pt idx="46">
                  <c:v>108.57738999999999</c:v>
                </c:pt>
                <c:pt idx="47">
                  <c:v>108.432755</c:v>
                </c:pt>
                <c:pt idx="48">
                  <c:v>107.84198000000001</c:v>
                </c:pt>
                <c:pt idx="49">
                  <c:v>109.87743</c:v>
                </c:pt>
                <c:pt idx="50">
                  <c:v>108.17</c:v>
                </c:pt>
                <c:pt idx="51">
                  <c:v>109.23874000000001</c:v>
                </c:pt>
                <c:pt idx="52">
                  <c:v>109.87169</c:v>
                </c:pt>
                <c:pt idx="53">
                  <c:v>110.046295</c:v>
                </c:pt>
                <c:pt idx="54">
                  <c:v>109.42107</c:v>
                </c:pt>
                <c:pt idx="55">
                  <c:v>108.35697</c:v>
                </c:pt>
                <c:pt idx="56">
                  <c:v>109.720856</c:v>
                </c:pt>
                <c:pt idx="57">
                  <c:v>109.350365</c:v>
                </c:pt>
                <c:pt idx="58">
                  <c:v>108.87326</c:v>
                </c:pt>
                <c:pt idx="59">
                  <c:v>107.33195499999999</c:v>
                </c:pt>
                <c:pt idx="60">
                  <c:v>107.74840500000001</c:v>
                </c:pt>
                <c:pt idx="61">
                  <c:v>106.16642</c:v>
                </c:pt>
                <c:pt idx="62">
                  <c:v>104.65725999999999</c:v>
                </c:pt>
                <c:pt idx="63">
                  <c:v>105.13245999999999</c:v>
                </c:pt>
                <c:pt idx="64">
                  <c:v>103.11348</c:v>
                </c:pt>
                <c:pt idx="65">
                  <c:v>104.05837</c:v>
                </c:pt>
                <c:pt idx="66">
                  <c:v>101.910065</c:v>
                </c:pt>
                <c:pt idx="67">
                  <c:v>100.34440600000001</c:v>
                </c:pt>
                <c:pt idx="68">
                  <c:v>100.344154</c:v>
                </c:pt>
                <c:pt idx="69">
                  <c:v>102.16308600000001</c:v>
                </c:pt>
                <c:pt idx="70">
                  <c:v>101.62441</c:v>
                </c:pt>
                <c:pt idx="71">
                  <c:v>100.11089</c:v>
                </c:pt>
                <c:pt idx="72">
                  <c:v>102.20949</c:v>
                </c:pt>
                <c:pt idx="73">
                  <c:v>100.1627</c:v>
                </c:pt>
                <c:pt idx="74">
                  <c:v>103.60593</c:v>
                </c:pt>
                <c:pt idx="75">
                  <c:v>104.605316</c:v>
                </c:pt>
                <c:pt idx="76">
                  <c:v>100.33805</c:v>
                </c:pt>
                <c:pt idx="77">
                  <c:v>103.26978</c:v>
                </c:pt>
                <c:pt idx="78">
                  <c:v>101.55007000000001</c:v>
                </c:pt>
                <c:pt idx="79">
                  <c:v>101.07082</c:v>
                </c:pt>
                <c:pt idx="80">
                  <c:v>100.63291</c:v>
                </c:pt>
                <c:pt idx="81">
                  <c:v>102.38061</c:v>
                </c:pt>
                <c:pt idx="82">
                  <c:v>99.585260000000005</c:v>
                </c:pt>
                <c:pt idx="83">
                  <c:v>101.58693</c:v>
                </c:pt>
                <c:pt idx="84">
                  <c:v>101.48197</c:v>
                </c:pt>
                <c:pt idx="85">
                  <c:v>101.37287999999999</c:v>
                </c:pt>
                <c:pt idx="86">
                  <c:v>101.02880999999999</c:v>
                </c:pt>
                <c:pt idx="87">
                  <c:v>100.59631</c:v>
                </c:pt>
                <c:pt idx="88">
                  <c:v>100.45416</c:v>
                </c:pt>
                <c:pt idx="89">
                  <c:v>100.31057</c:v>
                </c:pt>
                <c:pt idx="90">
                  <c:v>100.59784999999999</c:v>
                </c:pt>
                <c:pt idx="91">
                  <c:v>103.72864</c:v>
                </c:pt>
                <c:pt idx="92">
                  <c:v>102.04295999999999</c:v>
                </c:pt>
                <c:pt idx="93">
                  <c:v>99.427300000000002</c:v>
                </c:pt>
                <c:pt idx="94">
                  <c:v>100.05072</c:v>
                </c:pt>
                <c:pt idx="95">
                  <c:v>100.58731</c:v>
                </c:pt>
                <c:pt idx="96">
                  <c:v>98.85163</c:v>
                </c:pt>
                <c:pt idx="97">
                  <c:v>99.531090000000006</c:v>
                </c:pt>
                <c:pt idx="98">
                  <c:v>100.06072</c:v>
                </c:pt>
                <c:pt idx="99">
                  <c:v>100.22514</c:v>
                </c:pt>
                <c:pt idx="100">
                  <c:v>101.22423999999999</c:v>
                </c:pt>
                <c:pt idx="101">
                  <c:v>100.194435</c:v>
                </c:pt>
                <c:pt idx="102">
                  <c:v>99.129480000000001</c:v>
                </c:pt>
                <c:pt idx="103">
                  <c:v>100.65506000000001</c:v>
                </c:pt>
                <c:pt idx="104">
                  <c:v>99.656040000000004</c:v>
                </c:pt>
                <c:pt idx="105">
                  <c:v>100.65827</c:v>
                </c:pt>
                <c:pt idx="106">
                  <c:v>100.89091000000001</c:v>
                </c:pt>
                <c:pt idx="107">
                  <c:v>102.58271999999999</c:v>
                </c:pt>
                <c:pt idx="108">
                  <c:v>104.15801999999999</c:v>
                </c:pt>
                <c:pt idx="109">
                  <c:v>105.67203000000001</c:v>
                </c:pt>
                <c:pt idx="110">
                  <c:v>103.55573</c:v>
                </c:pt>
                <c:pt idx="111">
                  <c:v>104.93534</c:v>
                </c:pt>
                <c:pt idx="112">
                  <c:v>102.53897000000001</c:v>
                </c:pt>
                <c:pt idx="113">
                  <c:v>101.1798</c:v>
                </c:pt>
                <c:pt idx="114">
                  <c:v>102.7351</c:v>
                </c:pt>
                <c:pt idx="115">
                  <c:v>104.19492</c:v>
                </c:pt>
                <c:pt idx="116">
                  <c:v>103.9928</c:v>
                </c:pt>
                <c:pt idx="117">
                  <c:v>103.75037399999999</c:v>
                </c:pt>
                <c:pt idx="118">
                  <c:v>102.96532999999999</c:v>
                </c:pt>
                <c:pt idx="119">
                  <c:v>103.82364</c:v>
                </c:pt>
                <c:pt idx="120">
                  <c:v>102.09726000000001</c:v>
                </c:pt>
                <c:pt idx="121">
                  <c:v>102.14748400000001</c:v>
                </c:pt>
                <c:pt idx="122">
                  <c:v>101.077354</c:v>
                </c:pt>
                <c:pt idx="123">
                  <c:v>103.67270000000001</c:v>
                </c:pt>
                <c:pt idx="124">
                  <c:v>101.926025</c:v>
                </c:pt>
                <c:pt idx="125">
                  <c:v>102.01759</c:v>
                </c:pt>
                <c:pt idx="126">
                  <c:v>99.671620000000004</c:v>
                </c:pt>
                <c:pt idx="127">
                  <c:v>100.565636</c:v>
                </c:pt>
                <c:pt idx="128">
                  <c:v>99.161540000000002</c:v>
                </c:pt>
                <c:pt idx="129">
                  <c:v>98.890110000000007</c:v>
                </c:pt>
                <c:pt idx="130">
                  <c:v>99.580089999999998</c:v>
                </c:pt>
                <c:pt idx="131">
                  <c:v>97.584649999999996</c:v>
                </c:pt>
                <c:pt idx="132">
                  <c:v>98.410079999999994</c:v>
                </c:pt>
                <c:pt idx="133">
                  <c:v>99.206469999999996</c:v>
                </c:pt>
                <c:pt idx="134">
                  <c:v>97.868449999999996</c:v>
                </c:pt>
                <c:pt idx="135">
                  <c:v>99.862759999999994</c:v>
                </c:pt>
                <c:pt idx="136">
                  <c:v>100.93289</c:v>
                </c:pt>
                <c:pt idx="137">
                  <c:v>101.372765</c:v>
                </c:pt>
                <c:pt idx="138">
                  <c:v>101.683075</c:v>
                </c:pt>
                <c:pt idx="139">
                  <c:v>100.95328499999999</c:v>
                </c:pt>
                <c:pt idx="140">
                  <c:v>100.67564</c:v>
                </c:pt>
                <c:pt idx="141">
                  <c:v>100.524704</c:v>
                </c:pt>
                <c:pt idx="142">
                  <c:v>100.091446</c:v>
                </c:pt>
                <c:pt idx="143">
                  <c:v>100.65713</c:v>
                </c:pt>
                <c:pt idx="144">
                  <c:v>100.93129999999999</c:v>
                </c:pt>
                <c:pt idx="145">
                  <c:v>98.126959999999997</c:v>
                </c:pt>
                <c:pt idx="146">
                  <c:v>98.804599999999994</c:v>
                </c:pt>
                <c:pt idx="147">
                  <c:v>99.027050000000003</c:v>
                </c:pt>
                <c:pt idx="148">
                  <c:v>98.872829999999993</c:v>
                </c:pt>
                <c:pt idx="149">
                  <c:v>98.110919999999993</c:v>
                </c:pt>
                <c:pt idx="150">
                  <c:v>99.47278</c:v>
                </c:pt>
                <c:pt idx="151">
                  <c:v>97.017880000000005</c:v>
                </c:pt>
                <c:pt idx="152">
                  <c:v>98.597520000000003</c:v>
                </c:pt>
                <c:pt idx="153">
                  <c:v>99.64452</c:v>
                </c:pt>
                <c:pt idx="154">
                  <c:v>99.958320000000001</c:v>
                </c:pt>
                <c:pt idx="155">
                  <c:v>99.867720000000006</c:v>
                </c:pt>
                <c:pt idx="156">
                  <c:v>100.29484600000001</c:v>
                </c:pt>
                <c:pt idx="157">
                  <c:v>100.07311</c:v>
                </c:pt>
                <c:pt idx="158">
                  <c:v>100.371185</c:v>
                </c:pt>
                <c:pt idx="159">
                  <c:v>101.13439</c:v>
                </c:pt>
                <c:pt idx="160">
                  <c:v>96.109290000000001</c:v>
                </c:pt>
                <c:pt idx="161">
                  <c:v>96.089110000000005</c:v>
                </c:pt>
                <c:pt idx="162">
                  <c:v>96.021979999999999</c:v>
                </c:pt>
                <c:pt idx="163">
                  <c:v>96.263080000000002</c:v>
                </c:pt>
                <c:pt idx="164">
                  <c:v>96.335179999999994</c:v>
                </c:pt>
                <c:pt idx="165">
                  <c:v>98.990486000000004</c:v>
                </c:pt>
                <c:pt idx="166">
                  <c:v>97.074380000000005</c:v>
                </c:pt>
                <c:pt idx="167">
                  <c:v>96.822550000000007</c:v>
                </c:pt>
                <c:pt idx="168">
                  <c:v>97.472046000000006</c:v>
                </c:pt>
                <c:pt idx="169">
                  <c:v>97.071709999999996</c:v>
                </c:pt>
                <c:pt idx="170">
                  <c:v>97.411670000000001</c:v>
                </c:pt>
                <c:pt idx="171">
                  <c:v>96.743930000000006</c:v>
                </c:pt>
                <c:pt idx="172">
                  <c:v>97.816230000000004</c:v>
                </c:pt>
                <c:pt idx="173">
                  <c:v>97.226569999999995</c:v>
                </c:pt>
                <c:pt idx="174">
                  <c:v>96.471149999999994</c:v>
                </c:pt>
                <c:pt idx="175">
                  <c:v>98.373980000000003</c:v>
                </c:pt>
                <c:pt idx="176">
                  <c:v>99.300399999999996</c:v>
                </c:pt>
                <c:pt idx="177">
                  <c:v>98.665276000000006</c:v>
                </c:pt>
                <c:pt idx="178">
                  <c:v>98.473749999999995</c:v>
                </c:pt>
                <c:pt idx="179">
                  <c:v>99.88279</c:v>
                </c:pt>
                <c:pt idx="180">
                  <c:v>98.752364999999998</c:v>
                </c:pt>
                <c:pt idx="181">
                  <c:v>98.376609999999999</c:v>
                </c:pt>
                <c:pt idx="182">
                  <c:v>97.890739999999994</c:v>
                </c:pt>
                <c:pt idx="183">
                  <c:v>98.559455999999997</c:v>
                </c:pt>
                <c:pt idx="184">
                  <c:v>98.643159999999995</c:v>
                </c:pt>
                <c:pt idx="185">
                  <c:v>97.651110000000003</c:v>
                </c:pt>
                <c:pt idx="186">
                  <c:v>97.109160000000003</c:v>
                </c:pt>
                <c:pt idx="187">
                  <c:v>97.389610000000005</c:v>
                </c:pt>
                <c:pt idx="188">
                  <c:v>97.115600000000001</c:v>
                </c:pt>
                <c:pt idx="189">
                  <c:v>99.861710000000002</c:v>
                </c:pt>
                <c:pt idx="190">
                  <c:v>98.536079999999998</c:v>
                </c:pt>
                <c:pt idx="191">
                  <c:v>96.311295000000001</c:v>
                </c:pt>
                <c:pt idx="192">
                  <c:v>97.089860000000002</c:v>
                </c:pt>
                <c:pt idx="193">
                  <c:v>98.680899999999994</c:v>
                </c:pt>
                <c:pt idx="194">
                  <c:v>99.192019999999999</c:v>
                </c:pt>
                <c:pt idx="195">
                  <c:v>99.249399999999994</c:v>
                </c:pt>
                <c:pt idx="196">
                  <c:v>98.393485999999996</c:v>
                </c:pt>
                <c:pt idx="197">
                  <c:v>98.781400000000005</c:v>
                </c:pt>
                <c:pt idx="198">
                  <c:v>97.87482</c:v>
                </c:pt>
                <c:pt idx="199">
                  <c:v>98.971180000000004</c:v>
                </c:pt>
                <c:pt idx="200">
                  <c:v>99.45532</c:v>
                </c:pt>
                <c:pt idx="201">
                  <c:v>100.65748600000001</c:v>
                </c:pt>
                <c:pt idx="202">
                  <c:v>100.76371</c:v>
                </c:pt>
                <c:pt idx="203">
                  <c:v>101.66965</c:v>
                </c:pt>
                <c:pt idx="204">
                  <c:v>99.866560000000007</c:v>
                </c:pt>
                <c:pt idx="205">
                  <c:v>100.59593</c:v>
                </c:pt>
                <c:pt idx="206">
                  <c:v>99.585840000000005</c:v>
                </c:pt>
                <c:pt idx="207">
                  <c:v>101.29415</c:v>
                </c:pt>
                <c:pt idx="208">
                  <c:v>99.968180000000004</c:v>
                </c:pt>
                <c:pt idx="209">
                  <c:v>101.22798</c:v>
                </c:pt>
                <c:pt idx="210">
                  <c:v>99.567440000000005</c:v>
                </c:pt>
                <c:pt idx="211">
                  <c:v>100.29263</c:v>
                </c:pt>
                <c:pt idx="212">
                  <c:v>100.704926</c:v>
                </c:pt>
                <c:pt idx="213">
                  <c:v>103.79289</c:v>
                </c:pt>
                <c:pt idx="214">
                  <c:v>100.8177</c:v>
                </c:pt>
                <c:pt idx="215">
                  <c:v>101.260345</c:v>
                </c:pt>
                <c:pt idx="216">
                  <c:v>100.77187000000001</c:v>
                </c:pt>
                <c:pt idx="217">
                  <c:v>100.62770999999999</c:v>
                </c:pt>
                <c:pt idx="218">
                  <c:v>99.482474999999994</c:v>
                </c:pt>
                <c:pt idx="219">
                  <c:v>100.98099999999999</c:v>
                </c:pt>
                <c:pt idx="220">
                  <c:v>97.895775</c:v>
                </c:pt>
                <c:pt idx="221">
                  <c:v>100.901955</c:v>
                </c:pt>
                <c:pt idx="222">
                  <c:v>101.07684</c:v>
                </c:pt>
                <c:pt idx="223">
                  <c:v>100.57535</c:v>
                </c:pt>
                <c:pt idx="224">
                  <c:v>107.14291</c:v>
                </c:pt>
                <c:pt idx="225">
                  <c:v>104.1763</c:v>
                </c:pt>
                <c:pt idx="226">
                  <c:v>106.52301</c:v>
                </c:pt>
                <c:pt idx="227">
                  <c:v>107.02649</c:v>
                </c:pt>
                <c:pt idx="228">
                  <c:v>107.05971</c:v>
                </c:pt>
                <c:pt idx="229">
                  <c:v>107.48990000000001</c:v>
                </c:pt>
                <c:pt idx="230">
                  <c:v>104.56466</c:v>
                </c:pt>
                <c:pt idx="231">
                  <c:v>106.08425</c:v>
                </c:pt>
                <c:pt idx="232">
                  <c:v>108.05408</c:v>
                </c:pt>
                <c:pt idx="233">
                  <c:v>107.77538</c:v>
                </c:pt>
                <c:pt idx="234">
                  <c:v>105.987144</c:v>
                </c:pt>
                <c:pt idx="235">
                  <c:v>104.08125</c:v>
                </c:pt>
                <c:pt idx="236">
                  <c:v>108.99948000000001</c:v>
                </c:pt>
                <c:pt idx="237">
                  <c:v>109.066864</c:v>
                </c:pt>
                <c:pt idx="238">
                  <c:v>108.535225</c:v>
                </c:pt>
                <c:pt idx="239">
                  <c:v>107.01963000000001</c:v>
                </c:pt>
                <c:pt idx="240">
                  <c:v>106.19835</c:v>
                </c:pt>
                <c:pt idx="241">
                  <c:v>109.07375</c:v>
                </c:pt>
                <c:pt idx="242">
                  <c:v>107.79509</c:v>
                </c:pt>
                <c:pt idx="243">
                  <c:v>109.74827999999999</c:v>
                </c:pt>
                <c:pt idx="244">
                  <c:v>108.31294</c:v>
                </c:pt>
                <c:pt idx="245">
                  <c:v>106.95938</c:v>
                </c:pt>
                <c:pt idx="246">
                  <c:v>108.19540000000001</c:v>
                </c:pt>
                <c:pt idx="247">
                  <c:v>109.83232</c:v>
                </c:pt>
                <c:pt idx="248">
                  <c:v>107.24096</c:v>
                </c:pt>
                <c:pt idx="249">
                  <c:v>104.71102999999999</c:v>
                </c:pt>
                <c:pt idx="250">
                  <c:v>106.39021</c:v>
                </c:pt>
                <c:pt idx="251">
                  <c:v>103.536804</c:v>
                </c:pt>
                <c:pt idx="252">
                  <c:v>104.33189400000001</c:v>
                </c:pt>
                <c:pt idx="253">
                  <c:v>101.771286</c:v>
                </c:pt>
                <c:pt idx="254">
                  <c:v>103.13481</c:v>
                </c:pt>
                <c:pt idx="255">
                  <c:v>103.54177</c:v>
                </c:pt>
                <c:pt idx="256">
                  <c:v>103.099045</c:v>
                </c:pt>
                <c:pt idx="257">
                  <c:v>105.47403</c:v>
                </c:pt>
                <c:pt idx="258">
                  <c:v>107.176025</c:v>
                </c:pt>
                <c:pt idx="259">
                  <c:v>105.28899</c:v>
                </c:pt>
                <c:pt idx="260">
                  <c:v>105.41234</c:v>
                </c:pt>
                <c:pt idx="261">
                  <c:v>105.25623</c:v>
                </c:pt>
                <c:pt idx="262">
                  <c:v>105.32102999999999</c:v>
                </c:pt>
                <c:pt idx="263">
                  <c:v>107.10993999999999</c:v>
                </c:pt>
                <c:pt idx="264">
                  <c:v>105.89009</c:v>
                </c:pt>
                <c:pt idx="265">
                  <c:v>105.37777</c:v>
                </c:pt>
                <c:pt idx="266">
                  <c:v>108.65376999999999</c:v>
                </c:pt>
                <c:pt idx="267">
                  <c:v>105.29091</c:v>
                </c:pt>
                <c:pt idx="268">
                  <c:v>104.36655</c:v>
                </c:pt>
                <c:pt idx="269">
                  <c:v>106.63804</c:v>
                </c:pt>
                <c:pt idx="270">
                  <c:v>104.49335499999999</c:v>
                </c:pt>
                <c:pt idx="271">
                  <c:v>104.66481</c:v>
                </c:pt>
                <c:pt idx="272">
                  <c:v>107.05603000000001</c:v>
                </c:pt>
                <c:pt idx="273">
                  <c:v>106.917046</c:v>
                </c:pt>
                <c:pt idx="274">
                  <c:v>107.90875</c:v>
                </c:pt>
                <c:pt idx="275">
                  <c:v>106.92364000000001</c:v>
                </c:pt>
                <c:pt idx="276">
                  <c:v>107.19404</c:v>
                </c:pt>
                <c:pt idx="277">
                  <c:v>107.70541</c:v>
                </c:pt>
                <c:pt idx="278">
                  <c:v>105.43279</c:v>
                </c:pt>
                <c:pt idx="279">
                  <c:v>106.10178000000001</c:v>
                </c:pt>
                <c:pt idx="280">
                  <c:v>105.71015</c:v>
                </c:pt>
                <c:pt idx="281">
                  <c:v>105.72378999999999</c:v>
                </c:pt>
                <c:pt idx="282">
                  <c:v>104.74747499999999</c:v>
                </c:pt>
                <c:pt idx="283">
                  <c:v>104.58420599999999</c:v>
                </c:pt>
                <c:pt idx="284">
                  <c:v>103.74934399999999</c:v>
                </c:pt>
                <c:pt idx="285">
                  <c:v>105.28552999999999</c:v>
                </c:pt>
                <c:pt idx="286">
                  <c:v>101.25508000000001</c:v>
                </c:pt>
                <c:pt idx="287">
                  <c:v>101.341736</c:v>
                </c:pt>
                <c:pt idx="288">
                  <c:v>101.76151</c:v>
                </c:pt>
                <c:pt idx="289">
                  <c:v>102.18626399999999</c:v>
                </c:pt>
                <c:pt idx="290">
                  <c:v>101.87306</c:v>
                </c:pt>
                <c:pt idx="291">
                  <c:v>102.49934399999999</c:v>
                </c:pt>
                <c:pt idx="292">
                  <c:v>101.85308999999999</c:v>
                </c:pt>
                <c:pt idx="293">
                  <c:v>101.27274</c:v>
                </c:pt>
                <c:pt idx="294">
                  <c:v>101.06855</c:v>
                </c:pt>
                <c:pt idx="295">
                  <c:v>103.34146</c:v>
                </c:pt>
                <c:pt idx="296">
                  <c:v>103.87263</c:v>
                </c:pt>
                <c:pt idx="297">
                  <c:v>102.69346</c:v>
                </c:pt>
                <c:pt idx="298">
                  <c:v>101.09702</c:v>
                </c:pt>
                <c:pt idx="299">
                  <c:v>102.75848999999999</c:v>
                </c:pt>
                <c:pt idx="300">
                  <c:v>100.45931</c:v>
                </c:pt>
                <c:pt idx="301">
                  <c:v>101.67744999999999</c:v>
                </c:pt>
                <c:pt idx="302">
                  <c:v>102.1913</c:v>
                </c:pt>
                <c:pt idx="303">
                  <c:v>102.21671000000001</c:v>
                </c:pt>
                <c:pt idx="304">
                  <c:v>104.22843</c:v>
                </c:pt>
                <c:pt idx="305">
                  <c:v>103.7889</c:v>
                </c:pt>
                <c:pt idx="306">
                  <c:v>105.20905</c:v>
                </c:pt>
                <c:pt idx="307">
                  <c:v>102.80058</c:v>
                </c:pt>
                <c:pt idx="308">
                  <c:v>100.38355</c:v>
                </c:pt>
                <c:pt idx="309">
                  <c:v>101.921684</c:v>
                </c:pt>
                <c:pt idx="310">
                  <c:v>101.81862</c:v>
                </c:pt>
                <c:pt idx="311">
                  <c:v>102.382614</c:v>
                </c:pt>
                <c:pt idx="312">
                  <c:v>100.75633000000001</c:v>
                </c:pt>
                <c:pt idx="313">
                  <c:v>103.74159</c:v>
                </c:pt>
                <c:pt idx="314">
                  <c:v>105.57923</c:v>
                </c:pt>
                <c:pt idx="315">
                  <c:v>102.42591</c:v>
                </c:pt>
                <c:pt idx="316">
                  <c:v>102.00632</c:v>
                </c:pt>
                <c:pt idx="317">
                  <c:v>102.0051</c:v>
                </c:pt>
                <c:pt idx="318">
                  <c:v>105.956245</c:v>
                </c:pt>
                <c:pt idx="319">
                  <c:v>104.72797</c:v>
                </c:pt>
                <c:pt idx="320">
                  <c:v>105.560036</c:v>
                </c:pt>
                <c:pt idx="321">
                  <c:v>105.25398</c:v>
                </c:pt>
                <c:pt idx="322">
                  <c:v>103.77266</c:v>
                </c:pt>
                <c:pt idx="323">
                  <c:v>103.54563</c:v>
                </c:pt>
                <c:pt idx="324">
                  <c:v>102.47911999999999</c:v>
                </c:pt>
                <c:pt idx="325">
                  <c:v>105.21324</c:v>
                </c:pt>
                <c:pt idx="326">
                  <c:v>104.072075</c:v>
                </c:pt>
                <c:pt idx="327">
                  <c:v>104.29080999999999</c:v>
                </c:pt>
                <c:pt idx="328">
                  <c:v>104.450096</c:v>
                </c:pt>
                <c:pt idx="329">
                  <c:v>105.83248</c:v>
                </c:pt>
                <c:pt idx="330">
                  <c:v>104.14694</c:v>
                </c:pt>
                <c:pt idx="331">
                  <c:v>103.70903</c:v>
                </c:pt>
                <c:pt idx="332">
                  <c:v>104.05815</c:v>
                </c:pt>
                <c:pt idx="333">
                  <c:v>105.305984</c:v>
                </c:pt>
                <c:pt idx="334">
                  <c:v>105.74545999999999</c:v>
                </c:pt>
                <c:pt idx="335">
                  <c:v>106.059296</c:v>
                </c:pt>
                <c:pt idx="336">
                  <c:v>106.69501</c:v>
                </c:pt>
                <c:pt idx="337">
                  <c:v>106.93929</c:v>
                </c:pt>
                <c:pt idx="338">
                  <c:v>106.16826</c:v>
                </c:pt>
                <c:pt idx="339">
                  <c:v>107.64212000000001</c:v>
                </c:pt>
                <c:pt idx="340">
                  <c:v>108.18486</c:v>
                </c:pt>
                <c:pt idx="341">
                  <c:v>107.019615</c:v>
                </c:pt>
                <c:pt idx="342">
                  <c:v>103.15349999999999</c:v>
                </c:pt>
                <c:pt idx="343">
                  <c:v>106.25716</c:v>
                </c:pt>
                <c:pt idx="344">
                  <c:v>105.219505</c:v>
                </c:pt>
                <c:pt idx="345">
                  <c:v>105.21393999999999</c:v>
                </c:pt>
                <c:pt idx="346">
                  <c:v>105.68093</c:v>
                </c:pt>
                <c:pt idx="347">
                  <c:v>104.93832</c:v>
                </c:pt>
                <c:pt idx="348">
                  <c:v>102.08996999999999</c:v>
                </c:pt>
                <c:pt idx="349">
                  <c:v>104.88273</c:v>
                </c:pt>
                <c:pt idx="350">
                  <c:v>102.877144</c:v>
                </c:pt>
                <c:pt idx="351">
                  <c:v>104.67207000000001</c:v>
                </c:pt>
                <c:pt idx="352">
                  <c:v>102.28841</c:v>
                </c:pt>
                <c:pt idx="353">
                  <c:v>104.80866</c:v>
                </c:pt>
                <c:pt idx="354">
                  <c:v>104.13561</c:v>
                </c:pt>
                <c:pt idx="355">
                  <c:v>105.41988000000001</c:v>
                </c:pt>
                <c:pt idx="356">
                  <c:v>105.62287000000001</c:v>
                </c:pt>
                <c:pt idx="357">
                  <c:v>106.575836</c:v>
                </c:pt>
                <c:pt idx="358">
                  <c:v>107.44018</c:v>
                </c:pt>
                <c:pt idx="359">
                  <c:v>107.36971</c:v>
                </c:pt>
                <c:pt idx="360">
                  <c:v>107.46086</c:v>
                </c:pt>
                <c:pt idx="361">
                  <c:v>107.651146</c:v>
                </c:pt>
                <c:pt idx="362">
                  <c:v>107.70278</c:v>
                </c:pt>
                <c:pt idx="363">
                  <c:v>109.45487</c:v>
                </c:pt>
                <c:pt idx="364">
                  <c:v>110.044304</c:v>
                </c:pt>
                <c:pt idx="365">
                  <c:v>108.91764000000001</c:v>
                </c:pt>
                <c:pt idx="366">
                  <c:v>108.755264</c:v>
                </c:pt>
                <c:pt idx="367">
                  <c:v>109.572395</c:v>
                </c:pt>
                <c:pt idx="368">
                  <c:v>110.54759</c:v>
                </c:pt>
                <c:pt idx="369">
                  <c:v>109.88151000000001</c:v>
                </c:pt>
                <c:pt idx="370">
                  <c:v>109.589134</c:v>
                </c:pt>
                <c:pt idx="371">
                  <c:v>109.63411000000001</c:v>
                </c:pt>
                <c:pt idx="372">
                  <c:v>109.5416</c:v>
                </c:pt>
                <c:pt idx="373">
                  <c:v>109.11918</c:v>
                </c:pt>
                <c:pt idx="374">
                  <c:v>108.07437</c:v>
                </c:pt>
                <c:pt idx="375">
                  <c:v>112.58440400000001</c:v>
                </c:pt>
                <c:pt idx="376">
                  <c:v>112.16858000000001</c:v>
                </c:pt>
                <c:pt idx="377">
                  <c:v>109.93662</c:v>
                </c:pt>
                <c:pt idx="378">
                  <c:v>111.87309999999999</c:v>
                </c:pt>
                <c:pt idx="379">
                  <c:v>110.77083</c:v>
                </c:pt>
                <c:pt idx="380">
                  <c:v>111.10580400000001</c:v>
                </c:pt>
                <c:pt idx="381">
                  <c:v>110.59468</c:v>
                </c:pt>
                <c:pt idx="382">
                  <c:v>111.61561</c:v>
                </c:pt>
                <c:pt idx="383">
                  <c:v>110.0419</c:v>
                </c:pt>
                <c:pt idx="384">
                  <c:v>112.60187000000001</c:v>
                </c:pt>
                <c:pt idx="385">
                  <c:v>111.79754</c:v>
                </c:pt>
                <c:pt idx="386">
                  <c:v>113.15315</c:v>
                </c:pt>
                <c:pt idx="387">
                  <c:v>112.5646</c:v>
                </c:pt>
                <c:pt idx="388">
                  <c:v>113.01881400000001</c:v>
                </c:pt>
                <c:pt idx="389">
                  <c:v>111.41103</c:v>
                </c:pt>
                <c:pt idx="390">
                  <c:v>111.652916</c:v>
                </c:pt>
                <c:pt idx="391">
                  <c:v>110.31682000000001</c:v>
                </c:pt>
                <c:pt idx="392">
                  <c:v>111.055565</c:v>
                </c:pt>
                <c:pt idx="393">
                  <c:v>112.018456</c:v>
                </c:pt>
                <c:pt idx="394">
                  <c:v>109.74249</c:v>
                </c:pt>
                <c:pt idx="395">
                  <c:v>109.01358</c:v>
                </c:pt>
                <c:pt idx="396">
                  <c:v>108.31811500000001</c:v>
                </c:pt>
                <c:pt idx="397">
                  <c:v>110.137794</c:v>
                </c:pt>
                <c:pt idx="398">
                  <c:v>107.44087</c:v>
                </c:pt>
                <c:pt idx="399">
                  <c:v>107.82506600000001</c:v>
                </c:pt>
                <c:pt idx="400">
                  <c:v>106.29988</c:v>
                </c:pt>
                <c:pt idx="401">
                  <c:v>107.18097</c:v>
                </c:pt>
                <c:pt idx="402">
                  <c:v>105.95055000000001</c:v>
                </c:pt>
                <c:pt idx="403">
                  <c:v>106.65197999999999</c:v>
                </c:pt>
                <c:pt idx="404">
                  <c:v>104.88639000000001</c:v>
                </c:pt>
                <c:pt idx="405">
                  <c:v>106.52267000000001</c:v>
                </c:pt>
                <c:pt idx="406">
                  <c:v>110.24267999999999</c:v>
                </c:pt>
                <c:pt idx="407">
                  <c:v>112.33935</c:v>
                </c:pt>
                <c:pt idx="408">
                  <c:v>113.54013</c:v>
                </c:pt>
                <c:pt idx="409">
                  <c:v>111.210014</c:v>
                </c:pt>
                <c:pt idx="410">
                  <c:v>115.36612</c:v>
                </c:pt>
                <c:pt idx="411">
                  <c:v>114.92091000000001</c:v>
                </c:pt>
                <c:pt idx="412">
                  <c:v>115.9504</c:v>
                </c:pt>
                <c:pt idx="413">
                  <c:v>112.532196</c:v>
                </c:pt>
                <c:pt idx="414">
                  <c:v>112.25532</c:v>
                </c:pt>
                <c:pt idx="415">
                  <c:v>114.98209</c:v>
                </c:pt>
                <c:pt idx="416">
                  <c:v>109.64052</c:v>
                </c:pt>
                <c:pt idx="417">
                  <c:v>117.70423</c:v>
                </c:pt>
                <c:pt idx="418">
                  <c:v>114.36521999999999</c:v>
                </c:pt>
                <c:pt idx="419">
                  <c:v>111.60173</c:v>
                </c:pt>
                <c:pt idx="420">
                  <c:v>110.632835</c:v>
                </c:pt>
                <c:pt idx="421">
                  <c:v>113.208725</c:v>
                </c:pt>
                <c:pt idx="422">
                  <c:v>113.364296</c:v>
                </c:pt>
                <c:pt idx="423">
                  <c:v>114.90173</c:v>
                </c:pt>
                <c:pt idx="424">
                  <c:v>117.00454999999999</c:v>
                </c:pt>
                <c:pt idx="425">
                  <c:v>116.47702</c:v>
                </c:pt>
                <c:pt idx="426">
                  <c:v>114.06560500000001</c:v>
                </c:pt>
                <c:pt idx="427">
                  <c:v>116.17822</c:v>
                </c:pt>
                <c:pt idx="428">
                  <c:v>114.67404999999999</c:v>
                </c:pt>
                <c:pt idx="429">
                  <c:v>117.72054</c:v>
                </c:pt>
                <c:pt idx="430">
                  <c:v>114.614525</c:v>
                </c:pt>
                <c:pt idx="431">
                  <c:v>114.74818</c:v>
                </c:pt>
                <c:pt idx="432">
                  <c:v>115.4404</c:v>
                </c:pt>
                <c:pt idx="433">
                  <c:v>113.16289500000001</c:v>
                </c:pt>
                <c:pt idx="434">
                  <c:v>111.99132</c:v>
                </c:pt>
                <c:pt idx="435">
                  <c:v>114.260445</c:v>
                </c:pt>
                <c:pt idx="436">
                  <c:v>116.347435</c:v>
                </c:pt>
                <c:pt idx="437">
                  <c:v>116.63891</c:v>
                </c:pt>
                <c:pt idx="438">
                  <c:v>114.93496</c:v>
                </c:pt>
                <c:pt idx="439">
                  <c:v>112.83611999999999</c:v>
                </c:pt>
                <c:pt idx="440">
                  <c:v>111.57137</c:v>
                </c:pt>
                <c:pt idx="441">
                  <c:v>114.802505</c:v>
                </c:pt>
                <c:pt idx="442">
                  <c:v>113.61534</c:v>
                </c:pt>
                <c:pt idx="443">
                  <c:v>111.86617</c:v>
                </c:pt>
                <c:pt idx="444">
                  <c:v>109.01211499999999</c:v>
                </c:pt>
                <c:pt idx="445">
                  <c:v>107.83553000000001</c:v>
                </c:pt>
                <c:pt idx="446">
                  <c:v>105.88627</c:v>
                </c:pt>
                <c:pt idx="447">
                  <c:v>106.7561</c:v>
                </c:pt>
                <c:pt idx="448">
                  <c:v>105.007645</c:v>
                </c:pt>
                <c:pt idx="449">
                  <c:v>105.34735999999999</c:v>
                </c:pt>
                <c:pt idx="450">
                  <c:v>107.182304</c:v>
                </c:pt>
                <c:pt idx="451">
                  <c:v>103.393845</c:v>
                </c:pt>
                <c:pt idx="452">
                  <c:v>105.44934000000001</c:v>
                </c:pt>
                <c:pt idx="453">
                  <c:v>103.83232</c:v>
                </c:pt>
                <c:pt idx="454">
                  <c:v>102.79951</c:v>
                </c:pt>
                <c:pt idx="455">
                  <c:v>104.256714</c:v>
                </c:pt>
                <c:pt idx="456">
                  <c:v>104.80082</c:v>
                </c:pt>
                <c:pt idx="457">
                  <c:v>104.85947</c:v>
                </c:pt>
                <c:pt idx="458">
                  <c:v>105.53179</c:v>
                </c:pt>
                <c:pt idx="459">
                  <c:v>106.29191</c:v>
                </c:pt>
                <c:pt idx="460">
                  <c:v>104.69736</c:v>
                </c:pt>
                <c:pt idx="461">
                  <c:v>102.53967</c:v>
                </c:pt>
                <c:pt idx="462">
                  <c:v>100.79714</c:v>
                </c:pt>
                <c:pt idx="463">
                  <c:v>104.34676</c:v>
                </c:pt>
                <c:pt idx="464">
                  <c:v>102.93485</c:v>
                </c:pt>
                <c:pt idx="465">
                  <c:v>103.80421</c:v>
                </c:pt>
                <c:pt idx="466">
                  <c:v>104.34867</c:v>
                </c:pt>
                <c:pt idx="467">
                  <c:v>101.60441</c:v>
                </c:pt>
                <c:pt idx="468">
                  <c:v>102.14489</c:v>
                </c:pt>
                <c:pt idx="469">
                  <c:v>101.65454</c:v>
                </c:pt>
                <c:pt idx="470">
                  <c:v>102.95569</c:v>
                </c:pt>
                <c:pt idx="471">
                  <c:v>100.62919599999999</c:v>
                </c:pt>
                <c:pt idx="472">
                  <c:v>100.46581</c:v>
                </c:pt>
                <c:pt idx="473">
                  <c:v>101.80962</c:v>
                </c:pt>
                <c:pt idx="474">
                  <c:v>102.836716</c:v>
                </c:pt>
                <c:pt idx="475">
                  <c:v>105.026825</c:v>
                </c:pt>
                <c:pt idx="476">
                  <c:v>105.43467</c:v>
                </c:pt>
                <c:pt idx="477">
                  <c:v>101.90130000000001</c:v>
                </c:pt>
                <c:pt idx="478">
                  <c:v>102.69992999999999</c:v>
                </c:pt>
                <c:pt idx="479">
                  <c:v>104.43815600000001</c:v>
                </c:pt>
                <c:pt idx="480">
                  <c:v>104.472176</c:v>
                </c:pt>
                <c:pt idx="481">
                  <c:v>103.340965</c:v>
                </c:pt>
                <c:pt idx="482">
                  <c:v>100.94594600000001</c:v>
                </c:pt>
                <c:pt idx="483">
                  <c:v>102.6284</c:v>
                </c:pt>
                <c:pt idx="484">
                  <c:v>103.655334</c:v>
                </c:pt>
                <c:pt idx="485">
                  <c:v>103.73182</c:v>
                </c:pt>
                <c:pt idx="486">
                  <c:v>103.9494</c:v>
                </c:pt>
                <c:pt idx="487">
                  <c:v>103.70704000000001</c:v>
                </c:pt>
                <c:pt idx="488">
                  <c:v>102.62685399999999</c:v>
                </c:pt>
                <c:pt idx="489">
                  <c:v>102.44564</c:v>
                </c:pt>
                <c:pt idx="490">
                  <c:v>105.15688</c:v>
                </c:pt>
                <c:pt idx="491">
                  <c:v>105.48537399999999</c:v>
                </c:pt>
                <c:pt idx="492">
                  <c:v>103.95489000000001</c:v>
                </c:pt>
                <c:pt idx="493">
                  <c:v>105.45669599999999</c:v>
                </c:pt>
                <c:pt idx="494">
                  <c:v>105.29603</c:v>
                </c:pt>
                <c:pt idx="495">
                  <c:v>105.20849</c:v>
                </c:pt>
                <c:pt idx="496">
                  <c:v>105.21858</c:v>
                </c:pt>
                <c:pt idx="497">
                  <c:v>107.982315</c:v>
                </c:pt>
                <c:pt idx="498">
                  <c:v>106.65116</c:v>
                </c:pt>
                <c:pt idx="499">
                  <c:v>106.28181499999999</c:v>
                </c:pt>
                <c:pt idx="500">
                  <c:v>104.39554</c:v>
                </c:pt>
                <c:pt idx="501">
                  <c:v>104.9267</c:v>
                </c:pt>
                <c:pt idx="502">
                  <c:v>104.77668</c:v>
                </c:pt>
                <c:pt idx="503">
                  <c:v>104.53886</c:v>
                </c:pt>
                <c:pt idx="504">
                  <c:v>109.53283999999999</c:v>
                </c:pt>
                <c:pt idx="505">
                  <c:v>106.676</c:v>
                </c:pt>
                <c:pt idx="506">
                  <c:v>107.55656399999999</c:v>
                </c:pt>
                <c:pt idx="507">
                  <c:v>106.71379</c:v>
                </c:pt>
                <c:pt idx="508">
                  <c:v>106.95618</c:v>
                </c:pt>
                <c:pt idx="509">
                  <c:v>107.51631999999999</c:v>
                </c:pt>
                <c:pt idx="510">
                  <c:v>106.352356</c:v>
                </c:pt>
                <c:pt idx="511">
                  <c:v>106.93422</c:v>
                </c:pt>
                <c:pt idx="512">
                  <c:v>109.03622</c:v>
                </c:pt>
                <c:pt idx="513">
                  <c:v>108.661995</c:v>
                </c:pt>
                <c:pt idx="514">
                  <c:v>108.05240000000001</c:v>
                </c:pt>
                <c:pt idx="515">
                  <c:v>106.061295</c:v>
                </c:pt>
                <c:pt idx="516">
                  <c:v>105.72486000000001</c:v>
                </c:pt>
                <c:pt idx="517">
                  <c:v>109.04877</c:v>
                </c:pt>
                <c:pt idx="518">
                  <c:v>110.05653</c:v>
                </c:pt>
                <c:pt idx="519">
                  <c:v>108.45106</c:v>
                </c:pt>
                <c:pt idx="520">
                  <c:v>107.173</c:v>
                </c:pt>
                <c:pt idx="521">
                  <c:v>107.421104</c:v>
                </c:pt>
                <c:pt idx="522">
                  <c:v>107.56729</c:v>
                </c:pt>
                <c:pt idx="523">
                  <c:v>108.53225999999999</c:v>
                </c:pt>
                <c:pt idx="524">
                  <c:v>108.55965</c:v>
                </c:pt>
                <c:pt idx="525">
                  <c:v>109.46939</c:v>
                </c:pt>
                <c:pt idx="526">
                  <c:v>109.51089</c:v>
                </c:pt>
                <c:pt idx="527">
                  <c:v>110.1538</c:v>
                </c:pt>
                <c:pt idx="528">
                  <c:v>108.425026</c:v>
                </c:pt>
                <c:pt idx="529">
                  <c:v>109.87548</c:v>
                </c:pt>
                <c:pt idx="530">
                  <c:v>109.25971</c:v>
                </c:pt>
                <c:pt idx="531">
                  <c:v>109.832115</c:v>
                </c:pt>
                <c:pt idx="532">
                  <c:v>110.81806</c:v>
                </c:pt>
                <c:pt idx="533">
                  <c:v>107.91038500000001</c:v>
                </c:pt>
                <c:pt idx="534">
                  <c:v>108.74044000000001</c:v>
                </c:pt>
                <c:pt idx="535">
                  <c:v>110.099594</c:v>
                </c:pt>
                <c:pt idx="536">
                  <c:v>107.32925400000001</c:v>
                </c:pt>
                <c:pt idx="537">
                  <c:v>106.4846</c:v>
                </c:pt>
                <c:pt idx="538">
                  <c:v>107.5608</c:v>
                </c:pt>
                <c:pt idx="539">
                  <c:v>109.68874</c:v>
                </c:pt>
                <c:pt idx="540">
                  <c:v>107.93968</c:v>
                </c:pt>
                <c:pt idx="541">
                  <c:v>109.90234</c:v>
                </c:pt>
                <c:pt idx="542">
                  <c:v>112.3708</c:v>
                </c:pt>
                <c:pt idx="543">
                  <c:v>114.28787</c:v>
                </c:pt>
                <c:pt idx="544">
                  <c:v>114.67755</c:v>
                </c:pt>
                <c:pt idx="545">
                  <c:v>114.739746</c:v>
                </c:pt>
                <c:pt idx="546">
                  <c:v>116.90205400000001</c:v>
                </c:pt>
                <c:pt idx="547">
                  <c:v>119.34075</c:v>
                </c:pt>
                <c:pt idx="548">
                  <c:v>127.13544</c:v>
                </c:pt>
                <c:pt idx="549">
                  <c:v>129.10543999999999</c:v>
                </c:pt>
                <c:pt idx="550">
                  <c:v>129.80148</c:v>
                </c:pt>
                <c:pt idx="551">
                  <c:v>130.52301</c:v>
                </c:pt>
                <c:pt idx="552">
                  <c:v>129.28896</c:v>
                </c:pt>
                <c:pt idx="553">
                  <c:v>129.67206999999999</c:v>
                </c:pt>
                <c:pt idx="554">
                  <c:v>130.72798</c:v>
                </c:pt>
                <c:pt idx="555">
                  <c:v>132.5908</c:v>
                </c:pt>
                <c:pt idx="556">
                  <c:v>134.92455000000001</c:v>
                </c:pt>
                <c:pt idx="557">
                  <c:v>133.04576</c:v>
                </c:pt>
                <c:pt idx="558">
                  <c:v>135.62703999999999</c:v>
                </c:pt>
                <c:pt idx="559">
                  <c:v>135.54443000000001</c:v>
                </c:pt>
                <c:pt idx="560">
                  <c:v>135.56229999999999</c:v>
                </c:pt>
                <c:pt idx="561">
                  <c:v>136.75641999999999</c:v>
                </c:pt>
                <c:pt idx="562">
                  <c:v>134.21019000000001</c:v>
                </c:pt>
                <c:pt idx="563">
                  <c:v>131.65355</c:v>
                </c:pt>
                <c:pt idx="564">
                  <c:v>131.52892</c:v>
                </c:pt>
                <c:pt idx="565">
                  <c:v>130.91968</c:v>
                </c:pt>
                <c:pt idx="566">
                  <c:v>132.46198000000001</c:v>
                </c:pt>
                <c:pt idx="567">
                  <c:v>132.86317</c:v>
                </c:pt>
                <c:pt idx="568">
                  <c:v>130.87991</c:v>
                </c:pt>
                <c:pt idx="569">
                  <c:v>132.89813000000001</c:v>
                </c:pt>
                <c:pt idx="570">
                  <c:v>132.46280999999999</c:v>
                </c:pt>
                <c:pt idx="571">
                  <c:v>132.26806999999999</c:v>
                </c:pt>
                <c:pt idx="572">
                  <c:v>131.64902000000001</c:v>
                </c:pt>
                <c:pt idx="573">
                  <c:v>133.7732</c:v>
                </c:pt>
                <c:pt idx="574">
                  <c:v>133.81103999999999</c:v>
                </c:pt>
                <c:pt idx="575">
                  <c:v>133.43243000000001</c:v>
                </c:pt>
                <c:pt idx="576">
                  <c:v>133.44626</c:v>
                </c:pt>
                <c:pt idx="577">
                  <c:v>134.83127999999999</c:v>
                </c:pt>
                <c:pt idx="578">
                  <c:v>132.71871999999999</c:v>
                </c:pt>
                <c:pt idx="579">
                  <c:v>134.71789999999999</c:v>
                </c:pt>
                <c:pt idx="580">
                  <c:v>132.79019</c:v>
                </c:pt>
                <c:pt idx="581">
                  <c:v>132.89232000000001</c:v>
                </c:pt>
                <c:pt idx="582">
                  <c:v>130.57881</c:v>
                </c:pt>
                <c:pt idx="583">
                  <c:v>131.89822000000001</c:v>
                </c:pt>
                <c:pt idx="584">
                  <c:v>132.67948999999999</c:v>
                </c:pt>
                <c:pt idx="585">
                  <c:v>132.71396999999999</c:v>
                </c:pt>
                <c:pt idx="586">
                  <c:v>137.43947</c:v>
                </c:pt>
                <c:pt idx="587">
                  <c:v>133.13980000000001</c:v>
                </c:pt>
                <c:pt idx="588">
                  <c:v>134.01130000000001</c:v>
                </c:pt>
                <c:pt idx="589">
                  <c:v>135.50274999999999</c:v>
                </c:pt>
                <c:pt idx="590">
                  <c:v>135.97896</c:v>
                </c:pt>
                <c:pt idx="591">
                  <c:v>136.39848000000001</c:v>
                </c:pt>
                <c:pt idx="592">
                  <c:v>135.86331000000001</c:v>
                </c:pt>
                <c:pt idx="593">
                  <c:v>134.52382</c:v>
                </c:pt>
                <c:pt idx="594">
                  <c:v>133.46129999999999</c:v>
                </c:pt>
                <c:pt idx="595">
                  <c:v>135.38921999999999</c:v>
                </c:pt>
                <c:pt idx="596">
                  <c:v>134.10971000000001</c:v>
                </c:pt>
                <c:pt idx="597">
                  <c:v>136.37387000000001</c:v>
                </c:pt>
                <c:pt idx="598">
                  <c:v>135.12538000000001</c:v>
                </c:pt>
                <c:pt idx="599">
                  <c:v>138.28202999999999</c:v>
                </c:pt>
                <c:pt idx="600">
                  <c:v>136.75961000000001</c:v>
                </c:pt>
                <c:pt idx="601">
                  <c:v>138.43687</c:v>
                </c:pt>
                <c:pt idx="602">
                  <c:v>137.41165000000001</c:v>
                </c:pt>
                <c:pt idx="603">
                  <c:v>139.72485</c:v>
                </c:pt>
                <c:pt idx="604">
                  <c:v>141.90566999999999</c:v>
                </c:pt>
                <c:pt idx="605">
                  <c:v>141.83711</c:v>
                </c:pt>
                <c:pt idx="606">
                  <c:v>144.94376</c:v>
                </c:pt>
                <c:pt idx="607">
                  <c:v>141.48436000000001</c:v>
                </c:pt>
                <c:pt idx="608">
                  <c:v>143.62125</c:v>
                </c:pt>
                <c:pt idx="609">
                  <c:v>142.60211000000001</c:v>
                </c:pt>
                <c:pt idx="610">
                  <c:v>140.33311</c:v>
                </c:pt>
                <c:pt idx="611">
                  <c:v>137.13873000000001</c:v>
                </c:pt>
                <c:pt idx="612">
                  <c:v>135.37502000000001</c:v>
                </c:pt>
                <c:pt idx="613">
                  <c:v>132.79092</c:v>
                </c:pt>
                <c:pt idx="614">
                  <c:v>135.65053</c:v>
                </c:pt>
                <c:pt idx="615">
                  <c:v>140.7851</c:v>
                </c:pt>
                <c:pt idx="616">
                  <c:v>137.37291999999999</c:v>
                </c:pt>
                <c:pt idx="617">
                  <c:v>136.72785999999999</c:v>
                </c:pt>
                <c:pt idx="618">
                  <c:v>135.79298</c:v>
                </c:pt>
                <c:pt idx="619">
                  <c:v>139.70052999999999</c:v>
                </c:pt>
                <c:pt idx="620">
                  <c:v>139.29611</c:v>
                </c:pt>
                <c:pt idx="621">
                  <c:v>139.44968</c:v>
                </c:pt>
                <c:pt idx="622">
                  <c:v>138.39447000000001</c:v>
                </c:pt>
                <c:pt idx="623">
                  <c:v>140.00484</c:v>
                </c:pt>
                <c:pt idx="624">
                  <c:v>139.90948</c:v>
                </c:pt>
                <c:pt idx="625">
                  <c:v>141.20034999999999</c:v>
                </c:pt>
                <c:pt idx="626">
                  <c:v>139.23527999999999</c:v>
                </c:pt>
                <c:pt idx="627">
                  <c:v>136.87943000000001</c:v>
                </c:pt>
                <c:pt idx="628">
                  <c:v>134.25673</c:v>
                </c:pt>
                <c:pt idx="629">
                  <c:v>137.35878</c:v>
                </c:pt>
                <c:pt idx="630">
                  <c:v>140.26142999999999</c:v>
                </c:pt>
                <c:pt idx="631">
                  <c:v>137.92438000000001</c:v>
                </c:pt>
                <c:pt idx="632">
                  <c:v>138.44049000000001</c:v>
                </c:pt>
                <c:pt idx="633">
                  <c:v>140.29616999999999</c:v>
                </c:pt>
                <c:pt idx="634">
                  <c:v>138.49030999999999</c:v>
                </c:pt>
                <c:pt idx="635">
                  <c:v>139.66991999999999</c:v>
                </c:pt>
                <c:pt idx="636">
                  <c:v>137.96601999999999</c:v>
                </c:pt>
                <c:pt idx="637">
                  <c:v>137.52481</c:v>
                </c:pt>
                <c:pt idx="638">
                  <c:v>136.03949</c:v>
                </c:pt>
                <c:pt idx="639">
                  <c:v>136.95269999999999</c:v>
                </c:pt>
                <c:pt idx="640">
                  <c:v>137.13032999999999</c:v>
                </c:pt>
                <c:pt idx="641">
                  <c:v>133.69962000000001</c:v>
                </c:pt>
                <c:pt idx="642">
                  <c:v>133.26692</c:v>
                </c:pt>
                <c:pt idx="643">
                  <c:v>131.95227</c:v>
                </c:pt>
                <c:pt idx="644">
                  <c:v>132.69857999999999</c:v>
                </c:pt>
                <c:pt idx="645">
                  <c:v>135.89177000000001</c:v>
                </c:pt>
                <c:pt idx="646">
                  <c:v>135.54759000000001</c:v>
                </c:pt>
                <c:pt idx="647">
                  <c:v>135.61609000000001</c:v>
                </c:pt>
                <c:pt idx="648">
                  <c:v>134.70634000000001</c:v>
                </c:pt>
                <c:pt idx="649">
                  <c:v>132.12336999999999</c:v>
                </c:pt>
                <c:pt idx="650">
                  <c:v>136.53156999999999</c:v>
                </c:pt>
                <c:pt idx="651">
                  <c:v>135.01909000000001</c:v>
                </c:pt>
                <c:pt idx="652">
                  <c:v>136.42269999999999</c:v>
                </c:pt>
                <c:pt idx="653">
                  <c:v>137.28130999999999</c:v>
                </c:pt>
                <c:pt idx="654">
                  <c:v>138.4494</c:v>
                </c:pt>
                <c:pt idx="655">
                  <c:v>139.10005000000001</c:v>
                </c:pt>
                <c:pt idx="656">
                  <c:v>136.04902999999999</c:v>
                </c:pt>
                <c:pt idx="657">
                  <c:v>133.63866999999999</c:v>
                </c:pt>
                <c:pt idx="658">
                  <c:v>130.44046</c:v>
                </c:pt>
                <c:pt idx="659">
                  <c:v>135.30336</c:v>
                </c:pt>
                <c:pt idx="660">
                  <c:v>137.62568999999999</c:v>
                </c:pt>
                <c:pt idx="661">
                  <c:v>135.34741</c:v>
                </c:pt>
                <c:pt idx="662">
                  <c:v>131.72647000000001</c:v>
                </c:pt>
                <c:pt idx="663">
                  <c:v>133.29599999999999</c:v>
                </c:pt>
                <c:pt idx="664">
                  <c:v>134.35452000000001</c:v>
                </c:pt>
                <c:pt idx="665">
                  <c:v>133.82933</c:v>
                </c:pt>
                <c:pt idx="666">
                  <c:v>134.94417999999999</c:v>
                </c:pt>
                <c:pt idx="667">
                  <c:v>129.87100000000001</c:v>
                </c:pt>
                <c:pt idx="668">
                  <c:v>129.36574999999999</c:v>
                </c:pt>
                <c:pt idx="669">
                  <c:v>129.77494999999999</c:v>
                </c:pt>
                <c:pt idx="670">
                  <c:v>127.283325</c:v>
                </c:pt>
                <c:pt idx="671">
                  <c:v>126.18772</c:v>
                </c:pt>
                <c:pt idx="672">
                  <c:v>127.069374</c:v>
                </c:pt>
                <c:pt idx="673">
                  <c:v>128.23468</c:v>
                </c:pt>
                <c:pt idx="674">
                  <c:v>130.62518</c:v>
                </c:pt>
                <c:pt idx="675">
                  <c:v>129.70876000000001</c:v>
                </c:pt>
                <c:pt idx="676">
                  <c:v>130.59157999999999</c:v>
                </c:pt>
                <c:pt idx="677">
                  <c:v>131.56036</c:v>
                </c:pt>
                <c:pt idx="678">
                  <c:v>133.82416000000001</c:v>
                </c:pt>
                <c:pt idx="679">
                  <c:v>134.32375999999999</c:v>
                </c:pt>
                <c:pt idx="680">
                  <c:v>130.16666000000001</c:v>
                </c:pt>
                <c:pt idx="681">
                  <c:v>135.81116</c:v>
                </c:pt>
                <c:pt idx="682">
                  <c:v>136.0162</c:v>
                </c:pt>
                <c:pt idx="683">
                  <c:v>135.05584999999999</c:v>
                </c:pt>
                <c:pt idx="684">
                  <c:v>135.17303000000001</c:v>
                </c:pt>
                <c:pt idx="685">
                  <c:v>135.07977</c:v>
                </c:pt>
                <c:pt idx="686">
                  <c:v>136.31659999999999</c:v>
                </c:pt>
                <c:pt idx="687">
                  <c:v>136.68297999999999</c:v>
                </c:pt>
                <c:pt idx="688">
                  <c:v>138.56746999999999</c:v>
                </c:pt>
                <c:pt idx="689">
                  <c:v>136.97806</c:v>
                </c:pt>
                <c:pt idx="690">
                  <c:v>137.18643</c:v>
                </c:pt>
                <c:pt idx="691">
                  <c:v>135.64814999999999</c:v>
                </c:pt>
                <c:pt idx="692">
                  <c:v>135.19414</c:v>
                </c:pt>
                <c:pt idx="693">
                  <c:v>136.59187</c:v>
                </c:pt>
                <c:pt idx="694">
                  <c:v>138.49341999999999</c:v>
                </c:pt>
                <c:pt idx="695">
                  <c:v>139.20244</c:v>
                </c:pt>
                <c:pt idx="696">
                  <c:v>139.18037000000001</c:v>
                </c:pt>
                <c:pt idx="697">
                  <c:v>139.13759999999999</c:v>
                </c:pt>
                <c:pt idx="698">
                  <c:v>142.34904</c:v>
                </c:pt>
                <c:pt idx="699">
                  <c:v>142.76065</c:v>
                </c:pt>
                <c:pt idx="700">
                  <c:v>142.72970000000001</c:v>
                </c:pt>
                <c:pt idx="701">
                  <c:v>145.11792</c:v>
                </c:pt>
                <c:pt idx="702">
                  <c:v>144.5147</c:v>
                </c:pt>
                <c:pt idx="703">
                  <c:v>145.38097999999999</c:v>
                </c:pt>
                <c:pt idx="704">
                  <c:v>146.48473000000001</c:v>
                </c:pt>
                <c:pt idx="705">
                  <c:v>145.71965</c:v>
                </c:pt>
                <c:pt idx="706">
                  <c:v>145.94011</c:v>
                </c:pt>
                <c:pt idx="707">
                  <c:v>149.77922000000001</c:v>
                </c:pt>
                <c:pt idx="708">
                  <c:v>145.33295000000001</c:v>
                </c:pt>
                <c:pt idx="709">
                  <c:v>145.64594</c:v>
                </c:pt>
                <c:pt idx="710">
                  <c:v>145.29734999999999</c:v>
                </c:pt>
                <c:pt idx="711">
                  <c:v>143.24619000000001</c:v>
                </c:pt>
                <c:pt idx="712">
                  <c:v>143.49194</c:v>
                </c:pt>
                <c:pt idx="713">
                  <c:v>143.02197000000001</c:v>
                </c:pt>
                <c:pt idx="714">
                  <c:v>141.78996000000001</c:v>
                </c:pt>
                <c:pt idx="715">
                  <c:v>140.75881999999999</c:v>
                </c:pt>
                <c:pt idx="716">
                  <c:v>140.46848</c:v>
                </c:pt>
                <c:pt idx="717">
                  <c:v>137.62152</c:v>
                </c:pt>
                <c:pt idx="718">
                  <c:v>140.03280000000001</c:v>
                </c:pt>
                <c:pt idx="719">
                  <c:v>139.19800000000001</c:v>
                </c:pt>
                <c:pt idx="720">
                  <c:v>141.33449999999999</c:v>
                </c:pt>
                <c:pt idx="721">
                  <c:v>141.69264000000001</c:v>
                </c:pt>
                <c:pt idx="722">
                  <c:v>141.33534</c:v>
                </c:pt>
                <c:pt idx="723">
                  <c:v>142.49521999999999</c:v>
                </c:pt>
                <c:pt idx="724">
                  <c:v>144.72208000000001</c:v>
                </c:pt>
                <c:pt idx="725">
                  <c:v>144.53811999999999</c:v>
                </c:pt>
                <c:pt idx="726">
                  <c:v>143.16240999999999</c:v>
                </c:pt>
                <c:pt idx="727">
                  <c:v>144.20511999999999</c:v>
                </c:pt>
                <c:pt idx="728">
                  <c:v>145.36714000000001</c:v>
                </c:pt>
                <c:pt idx="729">
                  <c:v>144.85773</c:v>
                </c:pt>
                <c:pt idx="730">
                  <c:v>144.28792999999999</c:v>
                </c:pt>
                <c:pt idx="731">
                  <c:v>144.21571</c:v>
                </c:pt>
                <c:pt idx="732">
                  <c:v>146.84976</c:v>
                </c:pt>
                <c:pt idx="733">
                  <c:v>146.43621999999999</c:v>
                </c:pt>
                <c:pt idx="734">
                  <c:v>147.11582999999999</c:v>
                </c:pt>
                <c:pt idx="735">
                  <c:v>145.2576</c:v>
                </c:pt>
                <c:pt idx="736">
                  <c:v>143.51624000000001</c:v>
                </c:pt>
                <c:pt idx="737">
                  <c:v>143.43994000000001</c:v>
                </c:pt>
                <c:pt idx="738">
                  <c:v>142.33653000000001</c:v>
                </c:pt>
                <c:pt idx="739">
                  <c:v>144.20580000000001</c:v>
                </c:pt>
                <c:pt idx="740">
                  <c:v>143.68883</c:v>
                </c:pt>
                <c:pt idx="741">
                  <c:v>144.02354</c:v>
                </c:pt>
                <c:pt idx="742">
                  <c:v>147.35542000000001</c:v>
                </c:pt>
                <c:pt idx="743">
                  <c:v>143.03601</c:v>
                </c:pt>
                <c:pt idx="744">
                  <c:v>146.27386000000001</c:v>
                </c:pt>
                <c:pt idx="745">
                  <c:v>145.28362999999999</c:v>
                </c:pt>
                <c:pt idx="746">
                  <c:v>145.41792000000001</c:v>
                </c:pt>
                <c:pt idx="747">
                  <c:v>145.48209</c:v>
                </c:pt>
                <c:pt idx="748">
                  <c:v>145.36323999999999</c:v>
                </c:pt>
                <c:pt idx="749">
                  <c:v>144.78569999999999</c:v>
                </c:pt>
                <c:pt idx="750">
                  <c:v>142.47971999999999</c:v>
                </c:pt>
                <c:pt idx="751">
                  <c:v>139.34169</c:v>
                </c:pt>
                <c:pt idx="752">
                  <c:v>139.90110999999999</c:v>
                </c:pt>
                <c:pt idx="753">
                  <c:v>141.0461</c:v>
                </c:pt>
                <c:pt idx="754">
                  <c:v>138.36115000000001</c:v>
                </c:pt>
                <c:pt idx="755">
                  <c:v>137.29893000000001</c:v>
                </c:pt>
                <c:pt idx="756">
                  <c:v>137.42061000000001</c:v>
                </c:pt>
                <c:pt idx="757">
                  <c:v>139.26006000000001</c:v>
                </c:pt>
                <c:pt idx="758">
                  <c:v>142.68549999999999</c:v>
                </c:pt>
                <c:pt idx="759">
                  <c:v>143.72797</c:v>
                </c:pt>
                <c:pt idx="760">
                  <c:v>141.45509999999999</c:v>
                </c:pt>
                <c:pt idx="761">
                  <c:v>144.43277</c:v>
                </c:pt>
                <c:pt idx="762">
                  <c:v>142.93102999999999</c:v>
                </c:pt>
                <c:pt idx="763">
                  <c:v>142.22545</c:v>
                </c:pt>
                <c:pt idx="764">
                  <c:v>145.45856000000001</c:v>
                </c:pt>
                <c:pt idx="765">
                  <c:v>143.06343000000001</c:v>
                </c:pt>
                <c:pt idx="766">
                  <c:v>142.17474000000001</c:v>
                </c:pt>
                <c:pt idx="767">
                  <c:v>143.60329999999999</c:v>
                </c:pt>
                <c:pt idx="768">
                  <c:v>139.50800000000001</c:v>
                </c:pt>
                <c:pt idx="769">
                  <c:v>132.42484999999999</c:v>
                </c:pt>
                <c:pt idx="770">
                  <c:v>124.85652</c:v>
                </c:pt>
                <c:pt idx="771">
                  <c:v>126.84976</c:v>
                </c:pt>
                <c:pt idx="772">
                  <c:v>125.34059999999999</c:v>
                </c:pt>
                <c:pt idx="773">
                  <c:v>118.95605</c:v>
                </c:pt>
                <c:pt idx="774">
                  <c:v>118.094376</c:v>
                </c:pt>
                <c:pt idx="775">
                  <c:v>116.26682</c:v>
                </c:pt>
                <c:pt idx="776">
                  <c:v>113.58645</c:v>
                </c:pt>
                <c:pt idx="777">
                  <c:v>111.47196</c:v>
                </c:pt>
                <c:pt idx="778">
                  <c:v>109.297966</c:v>
                </c:pt>
                <c:pt idx="779">
                  <c:v>106.23434399999999</c:v>
                </c:pt>
                <c:pt idx="780">
                  <c:v>106.5074</c:v>
                </c:pt>
                <c:pt idx="781">
                  <c:v>102.68239</c:v>
                </c:pt>
                <c:pt idx="782">
                  <c:v>98.081990000000005</c:v>
                </c:pt>
                <c:pt idx="783">
                  <c:v>96.666920000000005</c:v>
                </c:pt>
                <c:pt idx="784">
                  <c:v>92.479900000000001</c:v>
                </c:pt>
                <c:pt idx="785">
                  <c:v>87.075264000000004</c:v>
                </c:pt>
                <c:pt idx="786">
                  <c:v>92.277569999999997</c:v>
                </c:pt>
                <c:pt idx="787">
                  <c:v>91.887244999999993</c:v>
                </c:pt>
                <c:pt idx="788">
                  <c:v>91.499560000000002</c:v>
                </c:pt>
                <c:pt idx="789">
                  <c:v>94.901510000000002</c:v>
                </c:pt>
                <c:pt idx="790">
                  <c:v>97.309950000000001</c:v>
                </c:pt>
                <c:pt idx="791">
                  <c:v>98.346270000000004</c:v>
                </c:pt>
                <c:pt idx="792">
                  <c:v>98.370990000000006</c:v>
                </c:pt>
                <c:pt idx="793">
                  <c:v>99.133470000000003</c:v>
                </c:pt>
                <c:pt idx="794">
                  <c:v>100.66481</c:v>
                </c:pt>
                <c:pt idx="795">
                  <c:v>99.16901</c:v>
                </c:pt>
                <c:pt idx="796">
                  <c:v>98.888720000000006</c:v>
                </c:pt>
                <c:pt idx="797">
                  <c:v>98.087975</c:v>
                </c:pt>
                <c:pt idx="798">
                  <c:v>100.77222399999999</c:v>
                </c:pt>
                <c:pt idx="799">
                  <c:v>102.240685</c:v>
                </c:pt>
                <c:pt idx="800">
                  <c:v>101.08947999999999</c:v>
                </c:pt>
                <c:pt idx="801">
                  <c:v>102.30092999999999</c:v>
                </c:pt>
                <c:pt idx="802">
                  <c:v>103.809135</c:v>
                </c:pt>
                <c:pt idx="803">
                  <c:v>103.183205</c:v>
                </c:pt>
                <c:pt idx="804">
                  <c:v>104.64006000000001</c:v>
                </c:pt>
                <c:pt idx="805">
                  <c:v>104.41444</c:v>
                </c:pt>
                <c:pt idx="806">
                  <c:v>104.2546</c:v>
                </c:pt>
                <c:pt idx="807">
                  <c:v>103.38655</c:v>
                </c:pt>
                <c:pt idx="808">
                  <c:v>105.31122999999999</c:v>
                </c:pt>
                <c:pt idx="809">
                  <c:v>104.22148</c:v>
                </c:pt>
                <c:pt idx="810">
                  <c:v>103.02458</c:v>
                </c:pt>
                <c:pt idx="811">
                  <c:v>103.71563</c:v>
                </c:pt>
                <c:pt idx="812">
                  <c:v>106.935356</c:v>
                </c:pt>
                <c:pt idx="813">
                  <c:v>107.83308</c:v>
                </c:pt>
                <c:pt idx="814">
                  <c:v>103.37895</c:v>
                </c:pt>
                <c:pt idx="815">
                  <c:v>107.66044599999999</c:v>
                </c:pt>
                <c:pt idx="816">
                  <c:v>104.419235</c:v>
                </c:pt>
                <c:pt idx="817">
                  <c:v>106.22998</c:v>
                </c:pt>
                <c:pt idx="818">
                  <c:v>103.91023</c:v>
                </c:pt>
                <c:pt idx="819">
                  <c:v>103.85200500000001</c:v>
                </c:pt>
                <c:pt idx="820">
                  <c:v>102.321</c:v>
                </c:pt>
                <c:pt idx="821">
                  <c:v>104.49431</c:v>
                </c:pt>
                <c:pt idx="822">
                  <c:v>104.24973</c:v>
                </c:pt>
                <c:pt idx="823">
                  <c:v>106.647644</c:v>
                </c:pt>
                <c:pt idx="824">
                  <c:v>105.80903000000001</c:v>
                </c:pt>
                <c:pt idx="825">
                  <c:v>106.78155</c:v>
                </c:pt>
                <c:pt idx="826">
                  <c:v>110.783585</c:v>
                </c:pt>
                <c:pt idx="827">
                  <c:v>117.37842999999999</c:v>
                </c:pt>
                <c:pt idx="828">
                  <c:v>117.48146</c:v>
                </c:pt>
                <c:pt idx="829">
                  <c:v>117.15745</c:v>
                </c:pt>
                <c:pt idx="830">
                  <c:v>115.78471</c:v>
                </c:pt>
                <c:pt idx="831">
                  <c:v>116.04038</c:v>
                </c:pt>
                <c:pt idx="832">
                  <c:v>117.34674</c:v>
                </c:pt>
                <c:pt idx="833">
                  <c:v>116.82755</c:v>
                </c:pt>
                <c:pt idx="834">
                  <c:v>118.25453</c:v>
                </c:pt>
                <c:pt idx="835">
                  <c:v>120.1079</c:v>
                </c:pt>
                <c:pt idx="836">
                  <c:v>120.83907000000001</c:v>
                </c:pt>
                <c:pt idx="837">
                  <c:v>123.63994599999999</c:v>
                </c:pt>
                <c:pt idx="838">
                  <c:v>123.62994399999999</c:v>
                </c:pt>
                <c:pt idx="839">
                  <c:v>121.84116</c:v>
                </c:pt>
                <c:pt idx="840">
                  <c:v>123.72521999999999</c:v>
                </c:pt>
                <c:pt idx="841">
                  <c:v>122.03707</c:v>
                </c:pt>
                <c:pt idx="842">
                  <c:v>121.70389</c:v>
                </c:pt>
                <c:pt idx="843">
                  <c:v>122.15083</c:v>
                </c:pt>
                <c:pt idx="844">
                  <c:v>120.45348</c:v>
                </c:pt>
                <c:pt idx="845">
                  <c:v>118.42804</c:v>
                </c:pt>
                <c:pt idx="846">
                  <c:v>118.13932</c:v>
                </c:pt>
                <c:pt idx="847">
                  <c:v>115.002785</c:v>
                </c:pt>
                <c:pt idx="848">
                  <c:v>117.38818999999999</c:v>
                </c:pt>
                <c:pt idx="849">
                  <c:v>118.61842</c:v>
                </c:pt>
                <c:pt idx="850">
                  <c:v>115.38122</c:v>
                </c:pt>
                <c:pt idx="851">
                  <c:v>116.45493</c:v>
                </c:pt>
                <c:pt idx="852">
                  <c:v>116.72686</c:v>
                </c:pt>
                <c:pt idx="853">
                  <c:v>114.57831</c:v>
                </c:pt>
                <c:pt idx="854">
                  <c:v>114.67686</c:v>
                </c:pt>
                <c:pt idx="855">
                  <c:v>123.75427000000001</c:v>
                </c:pt>
                <c:pt idx="856">
                  <c:v>103.31837</c:v>
                </c:pt>
                <c:pt idx="857">
                  <c:v>109.24979999999999</c:v>
                </c:pt>
                <c:pt idx="858">
                  <c:v>111.21499</c:v>
                </c:pt>
                <c:pt idx="859">
                  <c:v>112.08637</c:v>
                </c:pt>
                <c:pt idx="860">
                  <c:v>111.64424</c:v>
                </c:pt>
                <c:pt idx="861">
                  <c:v>114.625145</c:v>
                </c:pt>
                <c:pt idx="862">
                  <c:v>120.51228999999999</c:v>
                </c:pt>
                <c:pt idx="863">
                  <c:v>123.67431000000001</c:v>
                </c:pt>
                <c:pt idx="864">
                  <c:v>123.67310000000001</c:v>
                </c:pt>
                <c:pt idx="865">
                  <c:v>120.84328499999999</c:v>
                </c:pt>
                <c:pt idx="866">
                  <c:v>120.43187</c:v>
                </c:pt>
                <c:pt idx="867">
                  <c:v>122.26443500000001</c:v>
                </c:pt>
                <c:pt idx="868">
                  <c:v>125.579994</c:v>
                </c:pt>
                <c:pt idx="869">
                  <c:v>122.27216</c:v>
                </c:pt>
                <c:pt idx="870">
                  <c:v>118.57617999999999</c:v>
                </c:pt>
                <c:pt idx="871">
                  <c:v>118.463875</c:v>
                </c:pt>
                <c:pt idx="872">
                  <c:v>119.530266</c:v>
                </c:pt>
                <c:pt idx="873">
                  <c:v>121.69172</c:v>
                </c:pt>
                <c:pt idx="874">
                  <c:v>121.19578</c:v>
                </c:pt>
                <c:pt idx="875">
                  <c:v>119.369095</c:v>
                </c:pt>
                <c:pt idx="876">
                  <c:v>119.60528600000001</c:v>
                </c:pt>
                <c:pt idx="877">
                  <c:v>121.121284</c:v>
                </c:pt>
                <c:pt idx="878">
                  <c:v>120.59117000000001</c:v>
                </c:pt>
                <c:pt idx="879">
                  <c:v>121.65182</c:v>
                </c:pt>
                <c:pt idx="880">
                  <c:v>120.18246000000001</c:v>
                </c:pt>
                <c:pt idx="881">
                  <c:v>120.51202000000001</c:v>
                </c:pt>
                <c:pt idx="882">
                  <c:v>124.27422</c:v>
                </c:pt>
                <c:pt idx="883">
                  <c:v>125.335556</c:v>
                </c:pt>
                <c:pt idx="884">
                  <c:v>130.16784999999999</c:v>
                </c:pt>
                <c:pt idx="885">
                  <c:v>129.05186</c:v>
                </c:pt>
                <c:pt idx="886">
                  <c:v>132.07253</c:v>
                </c:pt>
                <c:pt idx="887">
                  <c:v>131.65900999999999</c:v>
                </c:pt>
                <c:pt idx="888">
                  <c:v>131.99142000000001</c:v>
                </c:pt>
                <c:pt idx="889">
                  <c:v>130.61896999999999</c:v>
                </c:pt>
                <c:pt idx="890">
                  <c:v>133.50051999999999</c:v>
                </c:pt>
                <c:pt idx="891">
                  <c:v>131.04102</c:v>
                </c:pt>
                <c:pt idx="892">
                  <c:v>127.257835</c:v>
                </c:pt>
                <c:pt idx="893">
                  <c:v>126.80531000000001</c:v>
                </c:pt>
                <c:pt idx="894">
                  <c:v>125.46239</c:v>
                </c:pt>
                <c:pt idx="895">
                  <c:v>126.17174</c:v>
                </c:pt>
                <c:pt idx="896">
                  <c:v>129.6028</c:v>
                </c:pt>
                <c:pt idx="897">
                  <c:v>130.77187000000001</c:v>
                </c:pt>
                <c:pt idx="898">
                  <c:v>131.51398</c:v>
                </c:pt>
                <c:pt idx="899">
                  <c:v>132.35916</c:v>
                </c:pt>
                <c:pt idx="900">
                  <c:v>134.62737000000001</c:v>
                </c:pt>
                <c:pt idx="901">
                  <c:v>136.00055</c:v>
                </c:pt>
                <c:pt idx="902">
                  <c:v>135.64564999999999</c:v>
                </c:pt>
                <c:pt idx="903">
                  <c:v>135.01984999999999</c:v>
                </c:pt>
                <c:pt idx="904">
                  <c:v>134.95755</c:v>
                </c:pt>
                <c:pt idx="905">
                  <c:v>128.74205000000001</c:v>
                </c:pt>
                <c:pt idx="906">
                  <c:v>123.79998000000001</c:v>
                </c:pt>
                <c:pt idx="907">
                  <c:v>122.90006</c:v>
                </c:pt>
                <c:pt idx="908">
                  <c:v>125.17112</c:v>
                </c:pt>
                <c:pt idx="909">
                  <c:v>130.18387999999999</c:v>
                </c:pt>
                <c:pt idx="910">
                  <c:v>133.32057</c:v>
                </c:pt>
                <c:pt idx="911">
                  <c:v>131.45590000000001</c:v>
                </c:pt>
                <c:pt idx="912">
                  <c:v>130.11930000000001</c:v>
                </c:pt>
                <c:pt idx="913">
                  <c:v>128.52538999999999</c:v>
                </c:pt>
                <c:pt idx="914">
                  <c:v>125.156235</c:v>
                </c:pt>
                <c:pt idx="915">
                  <c:v>123.54955</c:v>
                </c:pt>
                <c:pt idx="916">
                  <c:v>122.1326</c:v>
                </c:pt>
                <c:pt idx="917">
                  <c:v>121.813965</c:v>
                </c:pt>
                <c:pt idx="918">
                  <c:v>121.01518</c:v>
                </c:pt>
                <c:pt idx="919">
                  <c:v>121.70657</c:v>
                </c:pt>
                <c:pt idx="920">
                  <c:v>122.24212</c:v>
                </c:pt>
                <c:pt idx="921">
                  <c:v>121.45388</c:v>
                </c:pt>
                <c:pt idx="922">
                  <c:v>125.18854</c:v>
                </c:pt>
                <c:pt idx="923">
                  <c:v>123.496</c:v>
                </c:pt>
                <c:pt idx="924">
                  <c:v>122.599014</c:v>
                </c:pt>
                <c:pt idx="925">
                  <c:v>120.24451999999999</c:v>
                </c:pt>
                <c:pt idx="926">
                  <c:v>120.77078</c:v>
                </c:pt>
                <c:pt idx="927">
                  <c:v>120.7997</c:v>
                </c:pt>
                <c:pt idx="928">
                  <c:v>121.94499</c:v>
                </c:pt>
                <c:pt idx="929">
                  <c:v>125.22716</c:v>
                </c:pt>
                <c:pt idx="930">
                  <c:v>125.35097</c:v>
                </c:pt>
                <c:pt idx="931">
                  <c:v>129.02116000000001</c:v>
                </c:pt>
                <c:pt idx="932">
                  <c:v>130.56693999999999</c:v>
                </c:pt>
                <c:pt idx="933">
                  <c:v>129.67513</c:v>
                </c:pt>
                <c:pt idx="934">
                  <c:v>130.63840999999999</c:v>
                </c:pt>
                <c:pt idx="935">
                  <c:v>128.75292999999999</c:v>
                </c:pt>
                <c:pt idx="936">
                  <c:v>121.70504</c:v>
                </c:pt>
                <c:pt idx="937">
                  <c:v>127.41564</c:v>
                </c:pt>
                <c:pt idx="938">
                  <c:v>129.2723</c:v>
                </c:pt>
                <c:pt idx="939">
                  <c:v>129.15482</c:v>
                </c:pt>
                <c:pt idx="940">
                  <c:v>127.128845</c:v>
                </c:pt>
                <c:pt idx="941">
                  <c:v>126.47996999999999</c:v>
                </c:pt>
                <c:pt idx="942">
                  <c:v>125.39883399999999</c:v>
                </c:pt>
                <c:pt idx="943">
                  <c:v>124.19799999999999</c:v>
                </c:pt>
                <c:pt idx="944">
                  <c:v>125.02903000000001</c:v>
                </c:pt>
                <c:pt idx="945">
                  <c:v>125.11315999999999</c:v>
                </c:pt>
                <c:pt idx="946">
                  <c:v>128.44204999999999</c:v>
                </c:pt>
                <c:pt idx="947">
                  <c:v>132.40656000000001</c:v>
                </c:pt>
                <c:pt idx="948">
                  <c:v>133.56116</c:v>
                </c:pt>
                <c:pt idx="949">
                  <c:v>136.33293</c:v>
                </c:pt>
                <c:pt idx="950">
                  <c:v>139.37260000000001</c:v>
                </c:pt>
                <c:pt idx="951">
                  <c:v>139.14546000000001</c:v>
                </c:pt>
                <c:pt idx="952">
                  <c:v>139.35491999999999</c:v>
                </c:pt>
                <c:pt idx="953">
                  <c:v>140.40063000000001</c:v>
                </c:pt>
                <c:pt idx="954">
                  <c:v>141.85013000000001</c:v>
                </c:pt>
                <c:pt idx="955">
                  <c:v>142.06306000000001</c:v>
                </c:pt>
                <c:pt idx="956">
                  <c:v>143.79185000000001</c:v>
                </c:pt>
                <c:pt idx="957">
                  <c:v>142.75318999999999</c:v>
                </c:pt>
                <c:pt idx="958">
                  <c:v>144.54207</c:v>
                </c:pt>
                <c:pt idx="959">
                  <c:v>145.1326</c:v>
                </c:pt>
                <c:pt idx="960">
                  <c:v>145.45368999999999</c:v>
                </c:pt>
                <c:pt idx="961">
                  <c:v>146.29861</c:v>
                </c:pt>
                <c:pt idx="962">
                  <c:v>143.51291000000001</c:v>
                </c:pt>
                <c:pt idx="963">
                  <c:v>146.60335000000001</c:v>
                </c:pt>
                <c:pt idx="964">
                  <c:v>149.62975</c:v>
                </c:pt>
                <c:pt idx="965">
                  <c:v>153.45717999999999</c:v>
                </c:pt>
                <c:pt idx="966">
                  <c:v>151.18950000000001</c:v>
                </c:pt>
                <c:pt idx="967">
                  <c:v>149.90808000000001</c:v>
                </c:pt>
                <c:pt idx="968">
                  <c:v>151.95084</c:v>
                </c:pt>
                <c:pt idx="969">
                  <c:v>154.86779999999999</c:v>
                </c:pt>
                <c:pt idx="970">
                  <c:v>158.71408</c:v>
                </c:pt>
                <c:pt idx="971">
                  <c:v>162.53352000000001</c:v>
                </c:pt>
                <c:pt idx="972">
                  <c:v>167.5068</c:v>
                </c:pt>
                <c:pt idx="973">
                  <c:v>168.06287</c:v>
                </c:pt>
                <c:pt idx="974">
                  <c:v>169.46164999999999</c:v>
                </c:pt>
                <c:pt idx="975">
                  <c:v>168.87144000000001</c:v>
                </c:pt>
                <c:pt idx="976">
                  <c:v>169.13345000000001</c:v>
                </c:pt>
                <c:pt idx="977">
                  <c:v>172.12470999999999</c:v>
                </c:pt>
                <c:pt idx="978">
                  <c:v>174.2629</c:v>
                </c:pt>
                <c:pt idx="979">
                  <c:v>174.89209</c:v>
                </c:pt>
                <c:pt idx="980">
                  <c:v>175.68577999999999</c:v>
                </c:pt>
                <c:pt idx="981">
                  <c:v>176.24498</c:v>
                </c:pt>
                <c:pt idx="982">
                  <c:v>176.76657</c:v>
                </c:pt>
                <c:pt idx="983">
                  <c:v>180.85903999999999</c:v>
                </c:pt>
                <c:pt idx="984">
                  <c:v>177.85503</c:v>
                </c:pt>
                <c:pt idx="985">
                  <c:v>180.22687999999999</c:v>
                </c:pt>
                <c:pt idx="986">
                  <c:v>180.71449999999999</c:v>
                </c:pt>
                <c:pt idx="987">
                  <c:v>179.65717000000001</c:v>
                </c:pt>
                <c:pt idx="988">
                  <c:v>180.22058000000001</c:v>
                </c:pt>
                <c:pt idx="989">
                  <c:v>179.69571999999999</c:v>
                </c:pt>
                <c:pt idx="990">
                  <c:v>175.90880000000001</c:v>
                </c:pt>
                <c:pt idx="991">
                  <c:v>175.77153000000001</c:v>
                </c:pt>
                <c:pt idx="992">
                  <c:v>172.45294000000001</c:v>
                </c:pt>
                <c:pt idx="993">
                  <c:v>178.97995</c:v>
                </c:pt>
                <c:pt idx="994">
                  <c:v>179.35337999999999</c:v>
                </c:pt>
                <c:pt idx="995">
                  <c:v>176.00812999999999</c:v>
                </c:pt>
                <c:pt idx="996">
                  <c:v>177.95471000000001</c:v>
                </c:pt>
                <c:pt idx="997">
                  <c:v>176.65752000000001</c:v>
                </c:pt>
                <c:pt idx="998">
                  <c:v>174.59117000000001</c:v>
                </c:pt>
                <c:pt idx="999">
                  <c:v>172.71343999999999</c:v>
                </c:pt>
                <c:pt idx="1000">
                  <c:v>169.90509</c:v>
                </c:pt>
                <c:pt idx="1001">
                  <c:v>172.31544</c:v>
                </c:pt>
                <c:pt idx="1002">
                  <c:v>172.5676</c:v>
                </c:pt>
                <c:pt idx="1003">
                  <c:v>172.62799000000001</c:v>
                </c:pt>
                <c:pt idx="1004">
                  <c:v>169.57158000000001</c:v>
                </c:pt>
                <c:pt idx="1005">
                  <c:v>171.38498000000001</c:v>
                </c:pt>
                <c:pt idx="1006">
                  <c:v>173.60383999999999</c:v>
                </c:pt>
                <c:pt idx="1007">
                  <c:v>173.67401000000001</c:v>
                </c:pt>
                <c:pt idx="1008">
                  <c:v>171.75906000000001</c:v>
                </c:pt>
                <c:pt idx="1009">
                  <c:v>172.46773999999999</c:v>
                </c:pt>
                <c:pt idx="1010">
                  <c:v>178.25945999999999</c:v>
                </c:pt>
                <c:pt idx="1011">
                  <c:v>175.45184</c:v>
                </c:pt>
                <c:pt idx="1012">
                  <c:v>177.31885</c:v>
                </c:pt>
                <c:pt idx="1013">
                  <c:v>176.56614999999999</c:v>
                </c:pt>
                <c:pt idx="1014">
                  <c:v>178.0624</c:v>
                </c:pt>
                <c:pt idx="1015">
                  <c:v>177.04848000000001</c:v>
                </c:pt>
                <c:pt idx="1016">
                  <c:v>176.07544999999999</c:v>
                </c:pt>
                <c:pt idx="1017">
                  <c:v>178.83371</c:v>
                </c:pt>
                <c:pt idx="1018">
                  <c:v>181.94424000000001</c:v>
                </c:pt>
                <c:pt idx="1019">
                  <c:v>176.83534</c:v>
                </c:pt>
                <c:pt idx="1020">
                  <c:v>179.59083999999999</c:v>
                </c:pt>
                <c:pt idx="1021">
                  <c:v>177.5829</c:v>
                </c:pt>
                <c:pt idx="1022">
                  <c:v>177.33922999999999</c:v>
                </c:pt>
                <c:pt idx="1023">
                  <c:v>177.65096</c:v>
                </c:pt>
                <c:pt idx="1024">
                  <c:v>179.79184000000001</c:v>
                </c:pt>
                <c:pt idx="1025">
                  <c:v>184.54893000000001</c:v>
                </c:pt>
                <c:pt idx="1026">
                  <c:v>181.98401000000001</c:v>
                </c:pt>
                <c:pt idx="1027">
                  <c:v>182.76208</c:v>
                </c:pt>
                <c:pt idx="1028">
                  <c:v>180.50748999999999</c:v>
                </c:pt>
                <c:pt idx="1029">
                  <c:v>180.62402</c:v>
                </c:pt>
                <c:pt idx="1030">
                  <c:v>182.40844999999999</c:v>
                </c:pt>
                <c:pt idx="1031">
                  <c:v>182.15126000000001</c:v>
                </c:pt>
                <c:pt idx="1032">
                  <c:v>182.11166</c:v>
                </c:pt>
                <c:pt idx="1033">
                  <c:v>179.49017000000001</c:v>
                </c:pt>
                <c:pt idx="1034">
                  <c:v>183.19675000000001</c:v>
                </c:pt>
                <c:pt idx="1035">
                  <c:v>183.66388000000001</c:v>
                </c:pt>
                <c:pt idx="1036">
                  <c:v>182.57079999999999</c:v>
                </c:pt>
                <c:pt idx="1037">
                  <c:v>182.1105</c:v>
                </c:pt>
                <c:pt idx="1038">
                  <c:v>182.63335000000001</c:v>
                </c:pt>
                <c:pt idx="1039">
                  <c:v>180.73008999999999</c:v>
                </c:pt>
                <c:pt idx="1040">
                  <c:v>182.27043</c:v>
                </c:pt>
                <c:pt idx="1041">
                  <c:v>183.71379999999999</c:v>
                </c:pt>
                <c:pt idx="1042">
                  <c:v>184.61690999999999</c:v>
                </c:pt>
                <c:pt idx="1043">
                  <c:v>183.30376999999999</c:v>
                </c:pt>
                <c:pt idx="1044">
                  <c:v>182.01384999999999</c:v>
                </c:pt>
                <c:pt idx="1045">
                  <c:v>183.15091000000001</c:v>
                </c:pt>
                <c:pt idx="1046">
                  <c:v>178.24093999999999</c:v>
                </c:pt>
                <c:pt idx="1047">
                  <c:v>184.00894</c:v>
                </c:pt>
                <c:pt idx="1048">
                  <c:v>182.6831</c:v>
                </c:pt>
                <c:pt idx="1049">
                  <c:v>182.96877000000001</c:v>
                </c:pt>
                <c:pt idx="1050">
                  <c:v>179.70818</c:v>
                </c:pt>
                <c:pt idx="1051">
                  <c:v>181.56233</c:v>
                </c:pt>
                <c:pt idx="1052">
                  <c:v>180.04495</c:v>
                </c:pt>
                <c:pt idx="1053">
                  <c:v>177.26627999999999</c:v>
                </c:pt>
                <c:pt idx="1054">
                  <c:v>180.6447</c:v>
                </c:pt>
                <c:pt idx="1055">
                  <c:v>177.43625</c:v>
                </c:pt>
                <c:pt idx="1056">
                  <c:v>176.56361000000001</c:v>
                </c:pt>
                <c:pt idx="1057">
                  <c:v>175.99753999999999</c:v>
                </c:pt>
                <c:pt idx="1058">
                  <c:v>175.93316999999999</c:v>
                </c:pt>
                <c:pt idx="1059">
                  <c:v>178.23665</c:v>
                </c:pt>
                <c:pt idx="1060">
                  <c:v>178.45376999999999</c:v>
                </c:pt>
                <c:pt idx="1061">
                  <c:v>176.71796000000001</c:v>
                </c:pt>
                <c:pt idx="1062">
                  <c:v>175.68174999999999</c:v>
                </c:pt>
                <c:pt idx="1063">
                  <c:v>174.42014</c:v>
                </c:pt>
                <c:pt idx="1064">
                  <c:v>174.91</c:v>
                </c:pt>
                <c:pt idx="1065">
                  <c:v>175.57047</c:v>
                </c:pt>
                <c:pt idx="1066">
                  <c:v>174.64612</c:v>
                </c:pt>
                <c:pt idx="1067">
                  <c:v>172.18360999999999</c:v>
                </c:pt>
                <c:pt idx="1068">
                  <c:v>174.42856</c:v>
                </c:pt>
                <c:pt idx="1069">
                  <c:v>175.98052999999999</c:v>
                </c:pt>
                <c:pt idx="1070">
                  <c:v>176.91847000000001</c:v>
                </c:pt>
                <c:pt idx="1071">
                  <c:v>174.30948000000001</c:v>
                </c:pt>
                <c:pt idx="1072">
                  <c:v>175.42196999999999</c:v>
                </c:pt>
                <c:pt idx="1073">
                  <c:v>173.42948999999999</c:v>
                </c:pt>
                <c:pt idx="1074">
                  <c:v>173.87772000000001</c:v>
                </c:pt>
                <c:pt idx="1075">
                  <c:v>176.22802999999999</c:v>
                </c:pt>
                <c:pt idx="1076">
                  <c:v>176.82040000000001</c:v>
                </c:pt>
                <c:pt idx="1077">
                  <c:v>175.65497999999999</c:v>
                </c:pt>
                <c:pt idx="1078">
                  <c:v>175.90163999999999</c:v>
                </c:pt>
                <c:pt idx="1079">
                  <c:v>175.84211999999999</c:v>
                </c:pt>
                <c:pt idx="1080">
                  <c:v>179.16712999999999</c:v>
                </c:pt>
                <c:pt idx="1081">
                  <c:v>177.35289</c:v>
                </c:pt>
                <c:pt idx="1082">
                  <c:v>178.17975999999999</c:v>
                </c:pt>
                <c:pt idx="1083">
                  <c:v>179.83674999999999</c:v>
                </c:pt>
                <c:pt idx="1084">
                  <c:v>177.29765</c:v>
                </c:pt>
                <c:pt idx="1085">
                  <c:v>179.10096999999999</c:v>
                </c:pt>
                <c:pt idx="1086">
                  <c:v>178.48442</c:v>
                </c:pt>
                <c:pt idx="1087">
                  <c:v>177.02878000000001</c:v>
                </c:pt>
                <c:pt idx="1088">
                  <c:v>178.72182000000001</c:v>
                </c:pt>
                <c:pt idx="1089">
                  <c:v>181.73169999999999</c:v>
                </c:pt>
                <c:pt idx="1090">
                  <c:v>180.67580000000001</c:v>
                </c:pt>
                <c:pt idx="1091">
                  <c:v>178.68871999999999</c:v>
                </c:pt>
                <c:pt idx="1092">
                  <c:v>178.85436999999999</c:v>
                </c:pt>
                <c:pt idx="1093">
                  <c:v>182.42076</c:v>
                </c:pt>
                <c:pt idx="1094">
                  <c:v>178.95493999999999</c:v>
                </c:pt>
                <c:pt idx="1095">
                  <c:v>178.03513000000001</c:v>
                </c:pt>
                <c:pt idx="1096">
                  <c:v>180.54134999999999</c:v>
                </c:pt>
                <c:pt idx="1097">
                  <c:v>180.02788000000001</c:v>
                </c:pt>
                <c:pt idx="1098">
                  <c:v>179.34921</c:v>
                </c:pt>
                <c:pt idx="1099">
                  <c:v>179.21510000000001</c:v>
                </c:pt>
                <c:pt idx="1100">
                  <c:v>179.65835999999999</c:v>
                </c:pt>
                <c:pt idx="1101">
                  <c:v>180.16338999999999</c:v>
                </c:pt>
                <c:pt idx="1102">
                  <c:v>177.52842999999999</c:v>
                </c:pt>
                <c:pt idx="1103">
                  <c:v>176.70522</c:v>
                </c:pt>
                <c:pt idx="1104">
                  <c:v>179.14637999999999</c:v>
                </c:pt>
                <c:pt idx="1105">
                  <c:v>177.39125000000001</c:v>
                </c:pt>
                <c:pt idx="1106">
                  <c:v>180.27824000000001</c:v>
                </c:pt>
                <c:pt idx="1107">
                  <c:v>178.41875999999999</c:v>
                </c:pt>
                <c:pt idx="1108">
                  <c:v>176.52887999999999</c:v>
                </c:pt>
                <c:pt idx="1109">
                  <c:v>176.73819</c:v>
                </c:pt>
                <c:pt idx="1110">
                  <c:v>179.59397999999999</c:v>
                </c:pt>
                <c:pt idx="1111">
                  <c:v>178.32669000000001</c:v>
                </c:pt>
                <c:pt idx="1112">
                  <c:v>176.89359999999999</c:v>
                </c:pt>
                <c:pt idx="1113">
                  <c:v>178.67230000000001</c:v>
                </c:pt>
              </c:numCache>
            </c:numRef>
          </c:val>
          <c:smooth val="0"/>
          <c:extLst>
            <c:ext xmlns:c16="http://schemas.microsoft.com/office/drawing/2014/chart" uri="{C3380CC4-5D6E-409C-BE32-E72D297353CC}">
              <c16:uniqueId val="{00000001-460D-6F4E-9400-DC4F135CD3A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200"/>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5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59248616432522E-2"/>
          <c:y val="3.4909703755316636E-2"/>
          <c:w val="0.92264075138356749"/>
          <c:h val="0.82591383719232414"/>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49.891018000000003</c:v>
                </c:pt>
                <c:pt idx="1">
                  <c:v>50.554659999999998</c:v>
                </c:pt>
                <c:pt idx="2">
                  <c:v>50.663746000000003</c:v>
                </c:pt>
                <c:pt idx="3">
                  <c:v>49.636467000000003</c:v>
                </c:pt>
                <c:pt idx="4">
                  <c:v>49.245559999999998</c:v>
                </c:pt>
                <c:pt idx="5">
                  <c:v>49.318294999999999</c:v>
                </c:pt>
                <c:pt idx="6">
                  <c:v>48.718291999999998</c:v>
                </c:pt>
                <c:pt idx="7">
                  <c:v>49.000109999999999</c:v>
                </c:pt>
                <c:pt idx="8">
                  <c:v>49.527380000000001</c:v>
                </c:pt>
                <c:pt idx="9">
                  <c:v>49.627380000000002</c:v>
                </c:pt>
                <c:pt idx="10">
                  <c:v>50.300102000000003</c:v>
                </c:pt>
                <c:pt idx="11">
                  <c:v>50.727383000000003</c:v>
                </c:pt>
                <c:pt idx="12">
                  <c:v>51.345565999999998</c:v>
                </c:pt>
                <c:pt idx="13">
                  <c:v>51.236477000000001</c:v>
                </c:pt>
                <c:pt idx="14">
                  <c:v>51.200110000000002</c:v>
                </c:pt>
                <c:pt idx="15">
                  <c:v>52.172832</c:v>
                </c:pt>
                <c:pt idx="16">
                  <c:v>52.418292999999998</c:v>
                </c:pt>
                <c:pt idx="17">
                  <c:v>51.918297000000003</c:v>
                </c:pt>
                <c:pt idx="18">
                  <c:v>52.127383999999999</c:v>
                </c:pt>
                <c:pt idx="19">
                  <c:v>52.500109999999999</c:v>
                </c:pt>
                <c:pt idx="20">
                  <c:v>52.345565999999998</c:v>
                </c:pt>
                <c:pt idx="21">
                  <c:v>51.663746000000003</c:v>
                </c:pt>
                <c:pt idx="22">
                  <c:v>51.191025000000003</c:v>
                </c:pt>
                <c:pt idx="23">
                  <c:v>51.763750000000002</c:v>
                </c:pt>
                <c:pt idx="24">
                  <c:v>51.191025000000003</c:v>
                </c:pt>
                <c:pt idx="25">
                  <c:v>51.618282000000001</c:v>
                </c:pt>
                <c:pt idx="26">
                  <c:v>51.100110000000001</c:v>
                </c:pt>
                <c:pt idx="27">
                  <c:v>51.481921999999997</c:v>
                </c:pt>
                <c:pt idx="28">
                  <c:v>51.336480000000002</c:v>
                </c:pt>
                <c:pt idx="29">
                  <c:v>51.636470000000003</c:v>
                </c:pt>
                <c:pt idx="30">
                  <c:v>51.536472000000003</c:v>
                </c:pt>
                <c:pt idx="31">
                  <c:v>52.236477000000001</c:v>
                </c:pt>
                <c:pt idx="32">
                  <c:v>52.045566999999998</c:v>
                </c:pt>
                <c:pt idx="33">
                  <c:v>52.354655999999999</c:v>
                </c:pt>
                <c:pt idx="34">
                  <c:v>52.454661999999999</c:v>
                </c:pt>
                <c:pt idx="35">
                  <c:v>53.472842999999997</c:v>
                </c:pt>
                <c:pt idx="36">
                  <c:v>53.763750000000002</c:v>
                </c:pt>
                <c:pt idx="37">
                  <c:v>54.645569999999999</c:v>
                </c:pt>
                <c:pt idx="38">
                  <c:v>55.045566999999998</c:v>
                </c:pt>
                <c:pt idx="39">
                  <c:v>55.045566999999998</c:v>
                </c:pt>
                <c:pt idx="40">
                  <c:v>53.527389999999997</c:v>
                </c:pt>
                <c:pt idx="41">
                  <c:v>55.227398000000001</c:v>
                </c:pt>
                <c:pt idx="42">
                  <c:v>55.163753999999997</c:v>
                </c:pt>
                <c:pt idx="43">
                  <c:v>54.536484000000002</c:v>
                </c:pt>
                <c:pt idx="44">
                  <c:v>55.963757000000001</c:v>
                </c:pt>
                <c:pt idx="45">
                  <c:v>56.37285</c:v>
                </c:pt>
                <c:pt idx="46">
                  <c:v>56.900123999999998</c:v>
                </c:pt>
                <c:pt idx="47">
                  <c:v>56.309207999999998</c:v>
                </c:pt>
                <c:pt idx="48">
                  <c:v>56.363754</c:v>
                </c:pt>
                <c:pt idx="49">
                  <c:v>56.245570000000001</c:v>
                </c:pt>
                <c:pt idx="50">
                  <c:v>57.272841999999997</c:v>
                </c:pt>
                <c:pt idx="51">
                  <c:v>57.127400000000002</c:v>
                </c:pt>
                <c:pt idx="52">
                  <c:v>57.463760000000001</c:v>
                </c:pt>
                <c:pt idx="53">
                  <c:v>58.072853000000002</c:v>
                </c:pt>
                <c:pt idx="54">
                  <c:v>58.909213999999999</c:v>
                </c:pt>
                <c:pt idx="55">
                  <c:v>59.145575999999998</c:v>
                </c:pt>
                <c:pt idx="56">
                  <c:v>60.063766000000001</c:v>
                </c:pt>
                <c:pt idx="57">
                  <c:v>59.991030000000002</c:v>
                </c:pt>
                <c:pt idx="58">
                  <c:v>60.609214999999999</c:v>
                </c:pt>
                <c:pt idx="59">
                  <c:v>61.091037999999998</c:v>
                </c:pt>
                <c:pt idx="60">
                  <c:v>61.200133999999998</c:v>
                </c:pt>
                <c:pt idx="61">
                  <c:v>61.336486999999998</c:v>
                </c:pt>
                <c:pt idx="62">
                  <c:v>61.51831</c:v>
                </c:pt>
                <c:pt idx="63">
                  <c:v>60.427402000000001</c:v>
                </c:pt>
                <c:pt idx="64">
                  <c:v>60.527405000000002</c:v>
                </c:pt>
                <c:pt idx="65">
                  <c:v>60.109220000000001</c:v>
                </c:pt>
                <c:pt idx="66">
                  <c:v>59.845585</c:v>
                </c:pt>
                <c:pt idx="67">
                  <c:v>59.609222000000003</c:v>
                </c:pt>
                <c:pt idx="68">
                  <c:v>59.300133000000002</c:v>
                </c:pt>
                <c:pt idx="69">
                  <c:v>59.536487999999999</c:v>
                </c:pt>
                <c:pt idx="70">
                  <c:v>60.627389999999998</c:v>
                </c:pt>
                <c:pt idx="71">
                  <c:v>60.236496000000002</c:v>
                </c:pt>
                <c:pt idx="72">
                  <c:v>58.772854000000002</c:v>
                </c:pt>
                <c:pt idx="73">
                  <c:v>57.345579999999998</c:v>
                </c:pt>
                <c:pt idx="74">
                  <c:v>58.000121999999998</c:v>
                </c:pt>
                <c:pt idx="75">
                  <c:v>58.500120000000003</c:v>
                </c:pt>
                <c:pt idx="76">
                  <c:v>57.38194</c:v>
                </c:pt>
                <c:pt idx="77">
                  <c:v>57.400123999999998</c:v>
                </c:pt>
                <c:pt idx="78">
                  <c:v>58.954680000000003</c:v>
                </c:pt>
                <c:pt idx="79">
                  <c:v>58.027393000000004</c:v>
                </c:pt>
                <c:pt idx="80">
                  <c:v>58.000121999999998</c:v>
                </c:pt>
                <c:pt idx="81">
                  <c:v>57.263762999999997</c:v>
                </c:pt>
                <c:pt idx="82">
                  <c:v>58.454673999999997</c:v>
                </c:pt>
                <c:pt idx="83">
                  <c:v>58.000121999999998</c:v>
                </c:pt>
                <c:pt idx="84">
                  <c:v>58.627389999999998</c:v>
                </c:pt>
                <c:pt idx="85">
                  <c:v>59.354667999999997</c:v>
                </c:pt>
                <c:pt idx="86">
                  <c:v>58.481945000000003</c:v>
                </c:pt>
                <c:pt idx="87">
                  <c:v>56.345576999999999</c:v>
                </c:pt>
                <c:pt idx="88">
                  <c:v>57.0274</c:v>
                </c:pt>
                <c:pt idx="89">
                  <c:v>56.763759999999998</c:v>
                </c:pt>
                <c:pt idx="90">
                  <c:v>56.88194</c:v>
                </c:pt>
                <c:pt idx="91">
                  <c:v>57.463760000000001</c:v>
                </c:pt>
                <c:pt idx="92">
                  <c:v>57.927402000000001</c:v>
                </c:pt>
                <c:pt idx="93">
                  <c:v>57.409218000000003</c:v>
                </c:pt>
                <c:pt idx="94">
                  <c:v>58.118304999999999</c:v>
                </c:pt>
                <c:pt idx="95">
                  <c:v>57.509210000000003</c:v>
                </c:pt>
                <c:pt idx="96">
                  <c:v>57.827393000000001</c:v>
                </c:pt>
                <c:pt idx="97">
                  <c:v>58.018303000000003</c:v>
                </c:pt>
                <c:pt idx="98">
                  <c:v>58.827396</c:v>
                </c:pt>
                <c:pt idx="99">
                  <c:v>59.036490000000001</c:v>
                </c:pt>
                <c:pt idx="100">
                  <c:v>59.009219999999999</c:v>
                </c:pt>
                <c:pt idx="101">
                  <c:v>60.527405000000002</c:v>
                </c:pt>
                <c:pt idx="102">
                  <c:v>60.89105</c:v>
                </c:pt>
                <c:pt idx="103">
                  <c:v>59.936492999999999</c:v>
                </c:pt>
                <c:pt idx="104">
                  <c:v>59.118304999999999</c:v>
                </c:pt>
                <c:pt idx="105">
                  <c:v>59.418303999999999</c:v>
                </c:pt>
                <c:pt idx="106">
                  <c:v>59.836494000000002</c:v>
                </c:pt>
                <c:pt idx="107">
                  <c:v>59.236499999999999</c:v>
                </c:pt>
                <c:pt idx="108">
                  <c:v>58.545580000000001</c:v>
                </c:pt>
                <c:pt idx="109">
                  <c:v>58.59102</c:v>
                </c:pt>
                <c:pt idx="110">
                  <c:v>58.763756000000001</c:v>
                </c:pt>
                <c:pt idx="111">
                  <c:v>58.681950000000001</c:v>
                </c:pt>
                <c:pt idx="112">
                  <c:v>59.072856999999999</c:v>
                </c:pt>
                <c:pt idx="113">
                  <c:v>58.73648</c:v>
                </c:pt>
                <c:pt idx="114">
                  <c:v>58.345585</c:v>
                </c:pt>
                <c:pt idx="115">
                  <c:v>58.772854000000002</c:v>
                </c:pt>
                <c:pt idx="116">
                  <c:v>59.418303999999999</c:v>
                </c:pt>
                <c:pt idx="117">
                  <c:v>60.463769999999997</c:v>
                </c:pt>
                <c:pt idx="118">
                  <c:v>60.01831</c:v>
                </c:pt>
                <c:pt idx="119">
                  <c:v>60.954673999999997</c:v>
                </c:pt>
                <c:pt idx="120">
                  <c:v>59.918320000000001</c:v>
                </c:pt>
                <c:pt idx="121">
                  <c:v>59.772857999999999</c:v>
                </c:pt>
                <c:pt idx="122">
                  <c:v>58.845585</c:v>
                </c:pt>
                <c:pt idx="123">
                  <c:v>58.118304999999999</c:v>
                </c:pt>
                <c:pt idx="124">
                  <c:v>58.163756999999997</c:v>
                </c:pt>
                <c:pt idx="125">
                  <c:v>58.145572999999999</c:v>
                </c:pt>
                <c:pt idx="126">
                  <c:v>56.709209999999999</c:v>
                </c:pt>
                <c:pt idx="127">
                  <c:v>56.518300000000004</c:v>
                </c:pt>
                <c:pt idx="128">
                  <c:v>56.209209999999999</c:v>
                </c:pt>
                <c:pt idx="129">
                  <c:v>56.254660000000001</c:v>
                </c:pt>
                <c:pt idx="130">
                  <c:v>55.581940000000003</c:v>
                </c:pt>
                <c:pt idx="131">
                  <c:v>56.036484000000002</c:v>
                </c:pt>
                <c:pt idx="132">
                  <c:v>56.118304999999999</c:v>
                </c:pt>
                <c:pt idx="133">
                  <c:v>55.772846000000001</c:v>
                </c:pt>
                <c:pt idx="134">
                  <c:v>55.172848000000002</c:v>
                </c:pt>
                <c:pt idx="135">
                  <c:v>55.281936999999999</c:v>
                </c:pt>
                <c:pt idx="136">
                  <c:v>55.527397000000001</c:v>
                </c:pt>
                <c:pt idx="137">
                  <c:v>55.30012</c:v>
                </c:pt>
                <c:pt idx="138">
                  <c:v>55.391033</c:v>
                </c:pt>
                <c:pt idx="139">
                  <c:v>55.554670000000002</c:v>
                </c:pt>
                <c:pt idx="140">
                  <c:v>55.727383000000003</c:v>
                </c:pt>
                <c:pt idx="141">
                  <c:v>55.80921</c:v>
                </c:pt>
                <c:pt idx="142">
                  <c:v>55.991028</c:v>
                </c:pt>
                <c:pt idx="143">
                  <c:v>57.118304999999999</c:v>
                </c:pt>
                <c:pt idx="144">
                  <c:v>58.127389999999998</c:v>
                </c:pt>
                <c:pt idx="145">
                  <c:v>59.536487999999999</c:v>
                </c:pt>
                <c:pt idx="146">
                  <c:v>60.627389999999998</c:v>
                </c:pt>
                <c:pt idx="147">
                  <c:v>60.854675</c:v>
                </c:pt>
                <c:pt idx="148">
                  <c:v>60.89105</c:v>
                </c:pt>
                <c:pt idx="149">
                  <c:v>61.009230000000002</c:v>
                </c:pt>
                <c:pt idx="150">
                  <c:v>59.74559</c:v>
                </c:pt>
                <c:pt idx="151">
                  <c:v>59.10013</c:v>
                </c:pt>
                <c:pt idx="152">
                  <c:v>58.863759999999999</c:v>
                </c:pt>
                <c:pt idx="153">
                  <c:v>58.472850000000001</c:v>
                </c:pt>
                <c:pt idx="154">
                  <c:v>58.59102</c:v>
                </c:pt>
                <c:pt idx="155">
                  <c:v>59.309215999999999</c:v>
                </c:pt>
                <c:pt idx="156">
                  <c:v>59.263775000000003</c:v>
                </c:pt>
                <c:pt idx="157">
                  <c:v>58.627389999999998</c:v>
                </c:pt>
                <c:pt idx="158">
                  <c:v>58.936484999999998</c:v>
                </c:pt>
                <c:pt idx="159">
                  <c:v>58.981945000000003</c:v>
                </c:pt>
                <c:pt idx="160">
                  <c:v>58.200122999999998</c:v>
                </c:pt>
                <c:pt idx="161">
                  <c:v>59.363759999999999</c:v>
                </c:pt>
                <c:pt idx="162">
                  <c:v>58.718307000000003</c:v>
                </c:pt>
                <c:pt idx="163">
                  <c:v>58.181941999999999</c:v>
                </c:pt>
                <c:pt idx="164">
                  <c:v>57.809223000000003</c:v>
                </c:pt>
                <c:pt idx="165">
                  <c:v>59.618310000000001</c:v>
                </c:pt>
                <c:pt idx="166">
                  <c:v>60.191040000000001</c:v>
                </c:pt>
                <c:pt idx="167">
                  <c:v>60.75468</c:v>
                </c:pt>
                <c:pt idx="168">
                  <c:v>60.400143</c:v>
                </c:pt>
                <c:pt idx="169">
                  <c:v>60.318306</c:v>
                </c:pt>
                <c:pt idx="170">
                  <c:v>60.381943</c:v>
                </c:pt>
                <c:pt idx="171">
                  <c:v>61.045574000000002</c:v>
                </c:pt>
                <c:pt idx="172">
                  <c:v>61.463769999999997</c:v>
                </c:pt>
                <c:pt idx="173">
                  <c:v>62.727417000000003</c:v>
                </c:pt>
                <c:pt idx="174">
                  <c:v>61.927402000000001</c:v>
                </c:pt>
                <c:pt idx="175">
                  <c:v>62.772869999999998</c:v>
                </c:pt>
                <c:pt idx="176">
                  <c:v>62.963769999999997</c:v>
                </c:pt>
                <c:pt idx="177">
                  <c:v>62.727417000000003</c:v>
                </c:pt>
                <c:pt idx="178">
                  <c:v>62.654670000000003</c:v>
                </c:pt>
                <c:pt idx="179">
                  <c:v>62.245586000000003</c:v>
                </c:pt>
                <c:pt idx="180">
                  <c:v>62.354686999999998</c:v>
                </c:pt>
                <c:pt idx="181">
                  <c:v>62.736499999999999</c:v>
                </c:pt>
                <c:pt idx="182">
                  <c:v>62.554676000000001</c:v>
                </c:pt>
                <c:pt idx="183">
                  <c:v>62.591030000000003</c:v>
                </c:pt>
                <c:pt idx="184">
                  <c:v>62.727417000000003</c:v>
                </c:pt>
                <c:pt idx="185">
                  <c:v>61.045574000000002</c:v>
                </c:pt>
                <c:pt idx="186">
                  <c:v>62.345596</c:v>
                </c:pt>
                <c:pt idx="187">
                  <c:v>62.127388000000003</c:v>
                </c:pt>
                <c:pt idx="188">
                  <c:v>61.609222000000003</c:v>
                </c:pt>
                <c:pt idx="189">
                  <c:v>62.700133999999998</c:v>
                </c:pt>
                <c:pt idx="190">
                  <c:v>63.654682000000001</c:v>
                </c:pt>
                <c:pt idx="191">
                  <c:v>63.636496999999999</c:v>
                </c:pt>
                <c:pt idx="192">
                  <c:v>63.181946000000003</c:v>
                </c:pt>
                <c:pt idx="193">
                  <c:v>62.836506</c:v>
                </c:pt>
                <c:pt idx="194">
                  <c:v>62.936503999999999</c:v>
                </c:pt>
                <c:pt idx="195">
                  <c:v>63.581960000000002</c:v>
                </c:pt>
                <c:pt idx="196">
                  <c:v>63.81832</c:v>
                </c:pt>
                <c:pt idx="197">
                  <c:v>63.400126999999998</c:v>
                </c:pt>
                <c:pt idx="198">
                  <c:v>64.709236000000004</c:v>
                </c:pt>
                <c:pt idx="199">
                  <c:v>64.336500000000001</c:v>
                </c:pt>
                <c:pt idx="200">
                  <c:v>64.127409999999998</c:v>
                </c:pt>
                <c:pt idx="201">
                  <c:v>64.463769999999997</c:v>
                </c:pt>
                <c:pt idx="202">
                  <c:v>63.545597000000001</c:v>
                </c:pt>
                <c:pt idx="203">
                  <c:v>63.609220000000001</c:v>
                </c:pt>
                <c:pt idx="204">
                  <c:v>63.845590000000001</c:v>
                </c:pt>
                <c:pt idx="205">
                  <c:v>64.963769999999997</c:v>
                </c:pt>
                <c:pt idx="206">
                  <c:v>64.645589999999999</c:v>
                </c:pt>
                <c:pt idx="207">
                  <c:v>65.063800000000001</c:v>
                </c:pt>
                <c:pt idx="208">
                  <c:v>64.109219999999993</c:v>
                </c:pt>
                <c:pt idx="209">
                  <c:v>64.081609999999998</c:v>
                </c:pt>
                <c:pt idx="210">
                  <c:v>64.072410000000005</c:v>
                </c:pt>
                <c:pt idx="211">
                  <c:v>64.891499999999994</c:v>
                </c:pt>
                <c:pt idx="212">
                  <c:v>65.029539999999997</c:v>
                </c:pt>
                <c:pt idx="213">
                  <c:v>66.446820000000002</c:v>
                </c:pt>
                <c:pt idx="214">
                  <c:v>67.155469999999994</c:v>
                </c:pt>
                <c:pt idx="215">
                  <c:v>66.630889999999994</c:v>
                </c:pt>
                <c:pt idx="216">
                  <c:v>67.440770000000001</c:v>
                </c:pt>
                <c:pt idx="217">
                  <c:v>67.965339999999998</c:v>
                </c:pt>
                <c:pt idx="218">
                  <c:v>68.673990000000003</c:v>
                </c:pt>
                <c:pt idx="219">
                  <c:v>68.425510000000003</c:v>
                </c:pt>
                <c:pt idx="220">
                  <c:v>70.155709999999999</c:v>
                </c:pt>
                <c:pt idx="221">
                  <c:v>70.312160000000006</c:v>
                </c:pt>
                <c:pt idx="222">
                  <c:v>70.192499999999995</c:v>
                </c:pt>
                <c:pt idx="223">
                  <c:v>70.045270000000002</c:v>
                </c:pt>
                <c:pt idx="224">
                  <c:v>69.778369999999995</c:v>
                </c:pt>
                <c:pt idx="225">
                  <c:v>70.256929999999997</c:v>
                </c:pt>
                <c:pt idx="226">
                  <c:v>69.226190000000003</c:v>
                </c:pt>
                <c:pt idx="227">
                  <c:v>68.93168</c:v>
                </c:pt>
                <c:pt idx="228">
                  <c:v>69.382639999999995</c:v>
                </c:pt>
                <c:pt idx="229">
                  <c:v>67.431563999999995</c:v>
                </c:pt>
                <c:pt idx="230">
                  <c:v>68.517529999999994</c:v>
                </c:pt>
                <c:pt idx="231">
                  <c:v>68.361090000000004</c:v>
                </c:pt>
                <c:pt idx="232">
                  <c:v>68.296670000000006</c:v>
                </c:pt>
                <c:pt idx="233">
                  <c:v>68.085009999999997</c:v>
                </c:pt>
                <c:pt idx="234">
                  <c:v>68.287459999999996</c:v>
                </c:pt>
                <c:pt idx="235">
                  <c:v>69.309010000000001</c:v>
                </c:pt>
                <c:pt idx="236">
                  <c:v>68.830449999999999</c:v>
                </c:pt>
                <c:pt idx="237">
                  <c:v>66.925399999999996</c:v>
                </c:pt>
                <c:pt idx="238">
                  <c:v>66.492850000000004</c:v>
                </c:pt>
                <c:pt idx="239">
                  <c:v>67.072649999999996</c:v>
                </c:pt>
                <c:pt idx="240">
                  <c:v>65.646159999999995</c:v>
                </c:pt>
                <c:pt idx="241">
                  <c:v>67.385570000000001</c:v>
                </c:pt>
                <c:pt idx="242">
                  <c:v>66.824160000000006</c:v>
                </c:pt>
                <c:pt idx="243">
                  <c:v>64.412930000000003</c:v>
                </c:pt>
                <c:pt idx="244">
                  <c:v>65.388469999999998</c:v>
                </c:pt>
                <c:pt idx="245">
                  <c:v>66.041899999999998</c:v>
                </c:pt>
                <c:pt idx="246">
                  <c:v>69.539090000000002</c:v>
                </c:pt>
                <c:pt idx="247">
                  <c:v>69.640320000000003</c:v>
                </c:pt>
                <c:pt idx="248">
                  <c:v>70.919560000000004</c:v>
                </c:pt>
                <c:pt idx="249">
                  <c:v>71.591399999999993</c:v>
                </c:pt>
                <c:pt idx="250">
                  <c:v>71.701836</c:v>
                </c:pt>
                <c:pt idx="251">
                  <c:v>71.692629999999994</c:v>
                </c:pt>
                <c:pt idx="252">
                  <c:v>72.916659999999993</c:v>
                </c:pt>
                <c:pt idx="253">
                  <c:v>73.238770000000002</c:v>
                </c:pt>
                <c:pt idx="254">
                  <c:v>72.585340000000002</c:v>
                </c:pt>
                <c:pt idx="255">
                  <c:v>72.879845000000003</c:v>
                </c:pt>
                <c:pt idx="256">
                  <c:v>73.744934000000001</c:v>
                </c:pt>
                <c:pt idx="257">
                  <c:v>74.297120000000007</c:v>
                </c:pt>
                <c:pt idx="258">
                  <c:v>73.818565000000007</c:v>
                </c:pt>
                <c:pt idx="259">
                  <c:v>73.698920000000001</c:v>
                </c:pt>
                <c:pt idx="260">
                  <c:v>74.067054999999996</c:v>
                </c:pt>
                <c:pt idx="261">
                  <c:v>74.370750000000001</c:v>
                </c:pt>
                <c:pt idx="262">
                  <c:v>73.128333999999995</c:v>
                </c:pt>
                <c:pt idx="263">
                  <c:v>75.199029999999993</c:v>
                </c:pt>
                <c:pt idx="264">
                  <c:v>76.091740000000001</c:v>
                </c:pt>
                <c:pt idx="265">
                  <c:v>76.699164999999994</c:v>
                </c:pt>
                <c:pt idx="266">
                  <c:v>75.659189999999995</c:v>
                </c:pt>
                <c:pt idx="267">
                  <c:v>75.438323999999994</c:v>
                </c:pt>
                <c:pt idx="268">
                  <c:v>74.591629999999995</c:v>
                </c:pt>
                <c:pt idx="269">
                  <c:v>74.895330000000001</c:v>
                </c:pt>
                <c:pt idx="270">
                  <c:v>73.560879999999997</c:v>
                </c:pt>
                <c:pt idx="271">
                  <c:v>73.689719999999994</c:v>
                </c:pt>
                <c:pt idx="272">
                  <c:v>74.904539999999997</c:v>
                </c:pt>
                <c:pt idx="273">
                  <c:v>75.456726000000003</c:v>
                </c:pt>
                <c:pt idx="274">
                  <c:v>74.103859999999997</c:v>
                </c:pt>
                <c:pt idx="275">
                  <c:v>74.370750000000001</c:v>
                </c:pt>
                <c:pt idx="276">
                  <c:v>73.947419999999994</c:v>
                </c:pt>
                <c:pt idx="277">
                  <c:v>73.155940000000001</c:v>
                </c:pt>
                <c:pt idx="278">
                  <c:v>73.211150000000004</c:v>
                </c:pt>
                <c:pt idx="279">
                  <c:v>72.355255</c:v>
                </c:pt>
                <c:pt idx="280">
                  <c:v>72.226420000000005</c:v>
                </c:pt>
                <c:pt idx="281">
                  <c:v>72.695790000000002</c:v>
                </c:pt>
                <c:pt idx="282">
                  <c:v>73.689719999999994</c:v>
                </c:pt>
                <c:pt idx="283">
                  <c:v>75.0702</c:v>
                </c:pt>
                <c:pt idx="284">
                  <c:v>75.162223999999995</c:v>
                </c:pt>
                <c:pt idx="285">
                  <c:v>75.180629999999994</c:v>
                </c:pt>
                <c:pt idx="286">
                  <c:v>74.021029999999996</c:v>
                </c:pt>
                <c:pt idx="287">
                  <c:v>72.824614999999994</c:v>
                </c:pt>
                <c:pt idx="288">
                  <c:v>73.229569999999995</c:v>
                </c:pt>
                <c:pt idx="289">
                  <c:v>74.057845999999998</c:v>
                </c:pt>
                <c:pt idx="290">
                  <c:v>71.333709999999996</c:v>
                </c:pt>
                <c:pt idx="291">
                  <c:v>70.873540000000006</c:v>
                </c:pt>
                <c:pt idx="292">
                  <c:v>71.434950000000001</c:v>
                </c:pt>
                <c:pt idx="293">
                  <c:v>71.471755999999999</c:v>
                </c:pt>
                <c:pt idx="294">
                  <c:v>72.658966000000007</c:v>
                </c:pt>
                <c:pt idx="295">
                  <c:v>73.61609</c:v>
                </c:pt>
                <c:pt idx="296">
                  <c:v>72.806219999999996</c:v>
                </c:pt>
                <c:pt idx="297">
                  <c:v>73.119110000000006</c:v>
                </c:pt>
                <c:pt idx="298">
                  <c:v>73.183539999999994</c:v>
                </c:pt>
                <c:pt idx="299">
                  <c:v>73.247960000000006</c:v>
                </c:pt>
                <c:pt idx="300">
                  <c:v>71.996340000000004</c:v>
                </c:pt>
                <c:pt idx="301">
                  <c:v>71.582189999999997</c:v>
                </c:pt>
                <c:pt idx="302">
                  <c:v>72.373660000000001</c:v>
                </c:pt>
                <c:pt idx="303">
                  <c:v>73.017899999999997</c:v>
                </c:pt>
                <c:pt idx="304">
                  <c:v>73.220370000000003</c:v>
                </c:pt>
                <c:pt idx="305">
                  <c:v>73.910589999999999</c:v>
                </c:pt>
                <c:pt idx="306">
                  <c:v>74.748090000000005</c:v>
                </c:pt>
                <c:pt idx="307">
                  <c:v>74.573220000000006</c:v>
                </c:pt>
                <c:pt idx="308">
                  <c:v>73.892200000000003</c:v>
                </c:pt>
                <c:pt idx="309">
                  <c:v>75.097790000000003</c:v>
                </c:pt>
                <c:pt idx="310">
                  <c:v>75.419914000000006</c:v>
                </c:pt>
                <c:pt idx="311">
                  <c:v>75.852455000000006</c:v>
                </c:pt>
                <c:pt idx="312">
                  <c:v>75.539559999999994</c:v>
                </c:pt>
                <c:pt idx="313">
                  <c:v>74.471985000000004</c:v>
                </c:pt>
                <c:pt idx="314">
                  <c:v>73.763350000000003</c:v>
                </c:pt>
                <c:pt idx="315">
                  <c:v>73.984219999999993</c:v>
                </c:pt>
                <c:pt idx="316">
                  <c:v>74.591629999999995</c:v>
                </c:pt>
                <c:pt idx="317">
                  <c:v>74.628426000000005</c:v>
                </c:pt>
                <c:pt idx="318">
                  <c:v>75.640784999999994</c:v>
                </c:pt>
                <c:pt idx="319">
                  <c:v>75.788039999999995</c:v>
                </c:pt>
                <c:pt idx="320">
                  <c:v>76.680750000000003</c:v>
                </c:pt>
                <c:pt idx="321">
                  <c:v>77.067276000000007</c:v>
                </c:pt>
                <c:pt idx="322">
                  <c:v>76.938445999999999</c:v>
                </c:pt>
                <c:pt idx="323">
                  <c:v>77.334175000000002</c:v>
                </c:pt>
                <c:pt idx="324">
                  <c:v>77.315764999999999</c:v>
                </c:pt>
                <c:pt idx="325">
                  <c:v>77.555040000000005</c:v>
                </c:pt>
                <c:pt idx="326">
                  <c:v>77.196129999999997</c:v>
                </c:pt>
                <c:pt idx="327">
                  <c:v>77.527434999999997</c:v>
                </c:pt>
                <c:pt idx="328">
                  <c:v>78.0244</c:v>
                </c:pt>
                <c:pt idx="329">
                  <c:v>77.867959999999997</c:v>
                </c:pt>
                <c:pt idx="330">
                  <c:v>78.668625000000006</c:v>
                </c:pt>
                <c:pt idx="331">
                  <c:v>77.996799999999993</c:v>
                </c:pt>
                <c:pt idx="332">
                  <c:v>77.591859999999997</c:v>
                </c:pt>
                <c:pt idx="333">
                  <c:v>76.202190000000002</c:v>
                </c:pt>
                <c:pt idx="334">
                  <c:v>76.202190000000002</c:v>
                </c:pt>
                <c:pt idx="335">
                  <c:v>76.662345999999999</c:v>
                </c:pt>
                <c:pt idx="336">
                  <c:v>76.533510000000007</c:v>
                </c:pt>
                <c:pt idx="337">
                  <c:v>76.92004</c:v>
                </c:pt>
                <c:pt idx="338">
                  <c:v>77.094890000000007</c:v>
                </c:pt>
                <c:pt idx="339">
                  <c:v>76.220579999999998</c:v>
                </c:pt>
                <c:pt idx="340">
                  <c:v>76.165374999999997</c:v>
                </c:pt>
                <c:pt idx="341">
                  <c:v>76.091740000000001</c:v>
                </c:pt>
                <c:pt idx="342">
                  <c:v>77.214519999999993</c:v>
                </c:pt>
                <c:pt idx="343">
                  <c:v>77.720699999999994</c:v>
                </c:pt>
                <c:pt idx="344">
                  <c:v>78.502975000000006</c:v>
                </c:pt>
                <c:pt idx="345">
                  <c:v>78.907920000000004</c:v>
                </c:pt>
                <c:pt idx="346">
                  <c:v>79.579750000000004</c:v>
                </c:pt>
                <c:pt idx="347">
                  <c:v>79.552130000000005</c:v>
                </c:pt>
                <c:pt idx="348">
                  <c:v>79.920265000000001</c:v>
                </c:pt>
                <c:pt idx="349">
                  <c:v>79.690179999999998</c:v>
                </c:pt>
                <c:pt idx="350">
                  <c:v>79.018360000000001</c:v>
                </c:pt>
                <c:pt idx="351">
                  <c:v>80.269990000000007</c:v>
                </c:pt>
                <c:pt idx="352">
                  <c:v>79.938670000000002</c:v>
                </c:pt>
                <c:pt idx="353">
                  <c:v>79.966269999999994</c:v>
                </c:pt>
                <c:pt idx="354">
                  <c:v>79.846639999999994</c:v>
                </c:pt>
                <c:pt idx="355">
                  <c:v>79.285250000000005</c:v>
                </c:pt>
                <c:pt idx="356">
                  <c:v>78.548990000000003</c:v>
                </c:pt>
                <c:pt idx="357">
                  <c:v>78.254480000000001</c:v>
                </c:pt>
                <c:pt idx="358">
                  <c:v>78.972340000000003</c:v>
                </c:pt>
                <c:pt idx="359">
                  <c:v>78.907920000000004</c:v>
                </c:pt>
                <c:pt idx="360">
                  <c:v>79.340459999999993</c:v>
                </c:pt>
                <c:pt idx="361">
                  <c:v>79.184005999999997</c:v>
                </c:pt>
                <c:pt idx="362">
                  <c:v>79.883446000000006</c:v>
                </c:pt>
                <c:pt idx="363">
                  <c:v>79.358860000000007</c:v>
                </c:pt>
                <c:pt idx="364">
                  <c:v>80.205550000000002</c:v>
                </c:pt>
                <c:pt idx="365">
                  <c:v>79.33126</c:v>
                </c:pt>
                <c:pt idx="366">
                  <c:v>80.26079</c:v>
                </c:pt>
                <c:pt idx="367">
                  <c:v>79.036760000000001</c:v>
                </c:pt>
                <c:pt idx="368">
                  <c:v>78.576610000000002</c:v>
                </c:pt>
                <c:pt idx="369">
                  <c:v>80.288390000000007</c:v>
                </c:pt>
                <c:pt idx="370">
                  <c:v>79.837450000000004</c:v>
                </c:pt>
                <c:pt idx="371">
                  <c:v>79.690179999999998</c:v>
                </c:pt>
                <c:pt idx="372">
                  <c:v>78.696240000000003</c:v>
                </c:pt>
                <c:pt idx="373">
                  <c:v>79.929450000000003</c:v>
                </c:pt>
                <c:pt idx="374">
                  <c:v>80.527670000000001</c:v>
                </c:pt>
                <c:pt idx="375">
                  <c:v>80.26079</c:v>
                </c:pt>
                <c:pt idx="376">
                  <c:v>80.619704999999996</c:v>
                </c:pt>
                <c:pt idx="377">
                  <c:v>81.549225000000007</c:v>
                </c:pt>
                <c:pt idx="378">
                  <c:v>82.165824999999998</c:v>
                </c:pt>
                <c:pt idx="379">
                  <c:v>82.800849999999997</c:v>
                </c:pt>
                <c:pt idx="380">
                  <c:v>82.911270000000002</c:v>
                </c:pt>
                <c:pt idx="381">
                  <c:v>82.681206000000003</c:v>
                </c:pt>
                <c:pt idx="382">
                  <c:v>83.178184999999999</c:v>
                </c:pt>
                <c:pt idx="383">
                  <c:v>83.279409999999999</c:v>
                </c:pt>
                <c:pt idx="384">
                  <c:v>83.178184999999999</c:v>
                </c:pt>
                <c:pt idx="385">
                  <c:v>82.846869999999996</c:v>
                </c:pt>
                <c:pt idx="386">
                  <c:v>83.168989999999994</c:v>
                </c:pt>
                <c:pt idx="387">
                  <c:v>83.040130000000005</c:v>
                </c:pt>
                <c:pt idx="388">
                  <c:v>82.718010000000007</c:v>
                </c:pt>
                <c:pt idx="389">
                  <c:v>83.564719999999994</c:v>
                </c:pt>
                <c:pt idx="390">
                  <c:v>83.693565000000007</c:v>
                </c:pt>
                <c:pt idx="391">
                  <c:v>82.957310000000007</c:v>
                </c:pt>
                <c:pt idx="392">
                  <c:v>83.693565000000007</c:v>
                </c:pt>
                <c:pt idx="393">
                  <c:v>83.343834000000001</c:v>
                </c:pt>
                <c:pt idx="394">
                  <c:v>82.460335000000001</c:v>
                </c:pt>
                <c:pt idx="395">
                  <c:v>82.386696000000001</c:v>
                </c:pt>
                <c:pt idx="396">
                  <c:v>82.800849999999997</c:v>
                </c:pt>
                <c:pt idx="397">
                  <c:v>82.524749999999997</c:v>
                </c:pt>
                <c:pt idx="398">
                  <c:v>82.902084000000002</c:v>
                </c:pt>
                <c:pt idx="399">
                  <c:v>83.076935000000006</c:v>
                </c:pt>
                <c:pt idx="400">
                  <c:v>83.132180000000005</c:v>
                </c:pt>
                <c:pt idx="401">
                  <c:v>83.141364999999993</c:v>
                </c:pt>
                <c:pt idx="402">
                  <c:v>83.279409999999999</c:v>
                </c:pt>
                <c:pt idx="403">
                  <c:v>82.175030000000007</c:v>
                </c:pt>
                <c:pt idx="404">
                  <c:v>81.273120000000006</c:v>
                </c:pt>
                <c:pt idx="405">
                  <c:v>82.322280000000006</c:v>
                </c:pt>
                <c:pt idx="406">
                  <c:v>81.052250000000001</c:v>
                </c:pt>
                <c:pt idx="407">
                  <c:v>81.668850000000006</c:v>
                </c:pt>
                <c:pt idx="408">
                  <c:v>81.7517</c:v>
                </c:pt>
                <c:pt idx="409">
                  <c:v>81.935744999999997</c:v>
                </c:pt>
                <c:pt idx="410">
                  <c:v>80.518460000000005</c:v>
                </c:pt>
                <c:pt idx="411">
                  <c:v>79.874250000000004</c:v>
                </c:pt>
                <c:pt idx="412">
                  <c:v>81.401960000000003</c:v>
                </c:pt>
                <c:pt idx="413">
                  <c:v>81.503209999999996</c:v>
                </c:pt>
                <c:pt idx="414">
                  <c:v>80.168729999999996</c:v>
                </c:pt>
                <c:pt idx="415">
                  <c:v>81.089070000000007</c:v>
                </c:pt>
                <c:pt idx="416">
                  <c:v>78.880295000000004</c:v>
                </c:pt>
                <c:pt idx="417">
                  <c:v>79.395675999999995</c:v>
                </c:pt>
                <c:pt idx="418">
                  <c:v>77.223730000000003</c:v>
                </c:pt>
                <c:pt idx="419">
                  <c:v>77.435400000000001</c:v>
                </c:pt>
                <c:pt idx="420">
                  <c:v>75.539559999999994</c:v>
                </c:pt>
                <c:pt idx="421">
                  <c:v>75.226640000000003</c:v>
                </c:pt>
                <c:pt idx="422">
                  <c:v>77.150099999999995</c:v>
                </c:pt>
                <c:pt idx="423">
                  <c:v>78.705439999999996</c:v>
                </c:pt>
                <c:pt idx="424">
                  <c:v>80.564480000000003</c:v>
                </c:pt>
                <c:pt idx="425">
                  <c:v>80.159530000000004</c:v>
                </c:pt>
                <c:pt idx="426">
                  <c:v>80.978629999999995</c:v>
                </c:pt>
                <c:pt idx="427">
                  <c:v>81.549225000000007</c:v>
                </c:pt>
                <c:pt idx="428">
                  <c:v>81.401960000000003</c:v>
                </c:pt>
                <c:pt idx="429">
                  <c:v>82.764045999999993</c:v>
                </c:pt>
                <c:pt idx="430">
                  <c:v>82.395910000000001</c:v>
                </c:pt>
                <c:pt idx="431">
                  <c:v>83.030940000000001</c:v>
                </c:pt>
                <c:pt idx="432">
                  <c:v>84.098495</c:v>
                </c:pt>
                <c:pt idx="433">
                  <c:v>84.402180000000001</c:v>
                </c:pt>
                <c:pt idx="434">
                  <c:v>83.150565999999998</c:v>
                </c:pt>
                <c:pt idx="435">
                  <c:v>83.748769999999993</c:v>
                </c:pt>
                <c:pt idx="436">
                  <c:v>84.6691</c:v>
                </c:pt>
                <c:pt idx="437">
                  <c:v>82.828460000000007</c:v>
                </c:pt>
                <c:pt idx="438">
                  <c:v>82.625990000000002</c:v>
                </c:pt>
                <c:pt idx="439">
                  <c:v>82.810059999999993</c:v>
                </c:pt>
                <c:pt idx="440">
                  <c:v>82.736435</c:v>
                </c:pt>
                <c:pt idx="441">
                  <c:v>83.279409999999999</c:v>
                </c:pt>
                <c:pt idx="442">
                  <c:v>83.564719999999994</c:v>
                </c:pt>
                <c:pt idx="443">
                  <c:v>83.205789999999993</c:v>
                </c:pt>
                <c:pt idx="444">
                  <c:v>83.08614</c:v>
                </c:pt>
                <c:pt idx="445">
                  <c:v>82.662796</c:v>
                </c:pt>
                <c:pt idx="446">
                  <c:v>81.816090000000003</c:v>
                </c:pt>
                <c:pt idx="447">
                  <c:v>81.87133</c:v>
                </c:pt>
                <c:pt idx="448">
                  <c:v>83.362235999999996</c:v>
                </c:pt>
                <c:pt idx="449">
                  <c:v>84.346980000000002</c:v>
                </c:pt>
                <c:pt idx="450">
                  <c:v>84.595470000000006</c:v>
                </c:pt>
                <c:pt idx="451">
                  <c:v>85.138459999999995</c:v>
                </c:pt>
                <c:pt idx="452">
                  <c:v>85.313299999999998</c:v>
                </c:pt>
                <c:pt idx="453">
                  <c:v>86.021960000000007</c:v>
                </c:pt>
                <c:pt idx="454">
                  <c:v>85.690650000000005</c:v>
                </c:pt>
                <c:pt idx="455">
                  <c:v>85.801069999999996</c:v>
                </c:pt>
                <c:pt idx="456">
                  <c:v>86.288849999999996</c:v>
                </c:pt>
                <c:pt idx="457">
                  <c:v>86.325670000000002</c:v>
                </c:pt>
                <c:pt idx="458">
                  <c:v>85.534194999999997</c:v>
                </c:pt>
                <c:pt idx="459">
                  <c:v>84.328575000000001</c:v>
                </c:pt>
                <c:pt idx="460">
                  <c:v>85.512230000000002</c:v>
                </c:pt>
                <c:pt idx="461">
                  <c:v>85.269909999999996</c:v>
                </c:pt>
                <c:pt idx="462">
                  <c:v>84.72</c:v>
                </c:pt>
                <c:pt idx="463">
                  <c:v>84.039649999999995</c:v>
                </c:pt>
                <c:pt idx="464">
                  <c:v>85.167400000000001</c:v>
                </c:pt>
                <c:pt idx="465">
                  <c:v>86.313760000000002</c:v>
                </c:pt>
                <c:pt idx="466">
                  <c:v>86.574730000000002</c:v>
                </c:pt>
                <c:pt idx="467">
                  <c:v>87.795670000000001</c:v>
                </c:pt>
                <c:pt idx="468">
                  <c:v>88.252359999999996</c:v>
                </c:pt>
                <c:pt idx="469">
                  <c:v>88.000699999999995</c:v>
                </c:pt>
                <c:pt idx="470">
                  <c:v>88.569243999999998</c:v>
                </c:pt>
                <c:pt idx="471">
                  <c:v>89.007285999999993</c:v>
                </c:pt>
                <c:pt idx="472">
                  <c:v>88.261660000000006</c:v>
                </c:pt>
                <c:pt idx="473">
                  <c:v>87.786354000000003</c:v>
                </c:pt>
                <c:pt idx="474">
                  <c:v>87.376270000000005</c:v>
                </c:pt>
                <c:pt idx="475">
                  <c:v>86.099400000000003</c:v>
                </c:pt>
                <c:pt idx="476">
                  <c:v>85.642700000000005</c:v>
                </c:pt>
                <c:pt idx="477">
                  <c:v>86.518814000000006</c:v>
                </c:pt>
                <c:pt idx="478">
                  <c:v>87.413535999999993</c:v>
                </c:pt>
                <c:pt idx="479">
                  <c:v>87.842254999999994</c:v>
                </c:pt>
                <c:pt idx="480">
                  <c:v>88.037989999999994</c:v>
                </c:pt>
                <c:pt idx="481">
                  <c:v>88.718360000000004</c:v>
                </c:pt>
                <c:pt idx="482">
                  <c:v>87.823620000000005</c:v>
                </c:pt>
                <c:pt idx="483">
                  <c:v>87.935455000000005</c:v>
                </c:pt>
                <c:pt idx="484">
                  <c:v>88.709040000000002</c:v>
                </c:pt>
                <c:pt idx="485">
                  <c:v>88.298950000000005</c:v>
                </c:pt>
                <c:pt idx="486">
                  <c:v>87.767700000000005</c:v>
                </c:pt>
                <c:pt idx="487">
                  <c:v>88.681076000000004</c:v>
                </c:pt>
                <c:pt idx="488">
                  <c:v>88.28031</c:v>
                </c:pt>
                <c:pt idx="489">
                  <c:v>88.513319999999993</c:v>
                </c:pt>
                <c:pt idx="490">
                  <c:v>87.581299999999999</c:v>
                </c:pt>
                <c:pt idx="491">
                  <c:v>86.369680000000002</c:v>
                </c:pt>
                <c:pt idx="492">
                  <c:v>86.882285999999993</c:v>
                </c:pt>
                <c:pt idx="493">
                  <c:v>84.775940000000006</c:v>
                </c:pt>
                <c:pt idx="494">
                  <c:v>85.679990000000004</c:v>
                </c:pt>
                <c:pt idx="495">
                  <c:v>87.702449999999999</c:v>
                </c:pt>
                <c:pt idx="496">
                  <c:v>94.394300000000001</c:v>
                </c:pt>
                <c:pt idx="497">
                  <c:v>95.661839999999998</c:v>
                </c:pt>
                <c:pt idx="498">
                  <c:v>95.084014999999994</c:v>
                </c:pt>
                <c:pt idx="499">
                  <c:v>94.813736000000006</c:v>
                </c:pt>
                <c:pt idx="500">
                  <c:v>94.990814</c:v>
                </c:pt>
                <c:pt idx="501">
                  <c:v>94.944199999999995</c:v>
                </c:pt>
                <c:pt idx="502">
                  <c:v>96.537959999999998</c:v>
                </c:pt>
                <c:pt idx="503">
                  <c:v>97.08784</c:v>
                </c:pt>
                <c:pt idx="504">
                  <c:v>97.041240000000002</c:v>
                </c:pt>
                <c:pt idx="505">
                  <c:v>96.798903999999993</c:v>
                </c:pt>
                <c:pt idx="506">
                  <c:v>96.826890000000006</c:v>
                </c:pt>
                <c:pt idx="507">
                  <c:v>97.441990000000004</c:v>
                </c:pt>
                <c:pt idx="508">
                  <c:v>97.852069999999998</c:v>
                </c:pt>
                <c:pt idx="509">
                  <c:v>97.553830000000005</c:v>
                </c:pt>
                <c:pt idx="510">
                  <c:v>98.392660000000006</c:v>
                </c:pt>
                <c:pt idx="511">
                  <c:v>97.451324</c:v>
                </c:pt>
                <c:pt idx="512">
                  <c:v>97.003950000000003</c:v>
                </c:pt>
                <c:pt idx="513">
                  <c:v>98.690899999999999</c:v>
                </c:pt>
                <c:pt idx="514">
                  <c:v>99.119609999999994</c:v>
                </c:pt>
                <c:pt idx="515">
                  <c:v>98.392660000000006</c:v>
                </c:pt>
                <c:pt idx="516">
                  <c:v>97.889359999999996</c:v>
                </c:pt>
                <c:pt idx="517">
                  <c:v>96.761629999999997</c:v>
                </c:pt>
                <c:pt idx="518">
                  <c:v>98.103740000000002</c:v>
                </c:pt>
                <c:pt idx="519">
                  <c:v>96.081249999999997</c:v>
                </c:pt>
                <c:pt idx="520">
                  <c:v>95.894874999999999</c:v>
                </c:pt>
                <c:pt idx="521">
                  <c:v>99.883870000000002</c:v>
                </c:pt>
                <c:pt idx="522">
                  <c:v>99.203513999999998</c:v>
                </c:pt>
                <c:pt idx="523">
                  <c:v>100.070274</c:v>
                </c:pt>
                <c:pt idx="524">
                  <c:v>99.688149999999993</c:v>
                </c:pt>
                <c:pt idx="525">
                  <c:v>100.62948</c:v>
                </c:pt>
                <c:pt idx="526">
                  <c:v>100.070274</c:v>
                </c:pt>
                <c:pt idx="527">
                  <c:v>101.058205</c:v>
                </c:pt>
                <c:pt idx="528">
                  <c:v>100.86248999999999</c:v>
                </c:pt>
                <c:pt idx="529">
                  <c:v>99.827950000000001</c:v>
                </c:pt>
                <c:pt idx="530">
                  <c:v>97.861403999999993</c:v>
                </c:pt>
                <c:pt idx="531">
                  <c:v>98.085089999999994</c:v>
                </c:pt>
                <c:pt idx="532">
                  <c:v>98.308769999999996</c:v>
                </c:pt>
                <c:pt idx="533">
                  <c:v>98.905265999999997</c:v>
                </c:pt>
                <c:pt idx="534">
                  <c:v>97.758889999999994</c:v>
                </c:pt>
                <c:pt idx="535">
                  <c:v>98.271479999999997</c:v>
                </c:pt>
                <c:pt idx="536">
                  <c:v>98.793430000000001</c:v>
                </c:pt>
                <c:pt idx="537">
                  <c:v>98.448570000000004</c:v>
                </c:pt>
                <c:pt idx="538">
                  <c:v>98.262169999999998</c:v>
                </c:pt>
                <c:pt idx="539">
                  <c:v>99.128944000000004</c:v>
                </c:pt>
                <c:pt idx="540">
                  <c:v>99.511070000000004</c:v>
                </c:pt>
                <c:pt idx="541">
                  <c:v>99.678849999999997</c:v>
                </c:pt>
                <c:pt idx="542">
                  <c:v>99.268744999999996</c:v>
                </c:pt>
                <c:pt idx="543">
                  <c:v>99.408559999999994</c:v>
                </c:pt>
                <c:pt idx="544">
                  <c:v>99.706789999999998</c:v>
                </c:pt>
                <c:pt idx="545">
                  <c:v>100.75065600000001</c:v>
                </c:pt>
                <c:pt idx="546">
                  <c:v>99.436515999999997</c:v>
                </c:pt>
                <c:pt idx="547">
                  <c:v>100.86248999999999</c:v>
                </c:pt>
                <c:pt idx="548">
                  <c:v>100.3592</c:v>
                </c:pt>
                <c:pt idx="549">
                  <c:v>100.60154</c:v>
                </c:pt>
                <c:pt idx="550">
                  <c:v>101.58947000000001</c:v>
                </c:pt>
                <c:pt idx="551">
                  <c:v>102.08343000000001</c:v>
                </c:pt>
                <c:pt idx="552">
                  <c:v>102.67061</c:v>
                </c:pt>
                <c:pt idx="553">
                  <c:v>102.44691</c:v>
                </c:pt>
                <c:pt idx="554">
                  <c:v>102.34438</c:v>
                </c:pt>
                <c:pt idx="555">
                  <c:v>101.32849</c:v>
                </c:pt>
                <c:pt idx="556">
                  <c:v>103.00611000000001</c:v>
                </c:pt>
                <c:pt idx="557">
                  <c:v>103.48144499999999</c:v>
                </c:pt>
                <c:pt idx="558">
                  <c:v>103.27639000000001</c:v>
                </c:pt>
                <c:pt idx="559">
                  <c:v>102.26050600000001</c:v>
                </c:pt>
                <c:pt idx="560">
                  <c:v>101.83177000000001</c:v>
                </c:pt>
                <c:pt idx="561">
                  <c:v>102.62401</c:v>
                </c:pt>
                <c:pt idx="562">
                  <c:v>101.21666</c:v>
                </c:pt>
                <c:pt idx="563">
                  <c:v>101.81314</c:v>
                </c:pt>
                <c:pt idx="564">
                  <c:v>101.76654000000001</c:v>
                </c:pt>
                <c:pt idx="565">
                  <c:v>102.45623000000001</c:v>
                </c:pt>
                <c:pt idx="566">
                  <c:v>102.80109400000001</c:v>
                </c:pt>
                <c:pt idx="567">
                  <c:v>102.82904000000001</c:v>
                </c:pt>
                <c:pt idx="568">
                  <c:v>103.04339</c:v>
                </c:pt>
                <c:pt idx="569">
                  <c:v>102.70787</c:v>
                </c:pt>
                <c:pt idx="570">
                  <c:v>102.88496000000001</c:v>
                </c:pt>
                <c:pt idx="571">
                  <c:v>102.76379</c:v>
                </c:pt>
                <c:pt idx="572">
                  <c:v>101.99955</c:v>
                </c:pt>
                <c:pt idx="573">
                  <c:v>102.866325</c:v>
                </c:pt>
                <c:pt idx="574">
                  <c:v>103.01544</c:v>
                </c:pt>
                <c:pt idx="575">
                  <c:v>102.866325</c:v>
                </c:pt>
                <c:pt idx="576">
                  <c:v>103.41619</c:v>
                </c:pt>
                <c:pt idx="577">
                  <c:v>103.22049</c:v>
                </c:pt>
                <c:pt idx="578">
                  <c:v>103.61194</c:v>
                </c:pt>
                <c:pt idx="579">
                  <c:v>102.80109400000001</c:v>
                </c:pt>
                <c:pt idx="580">
                  <c:v>102.80109400000001</c:v>
                </c:pt>
                <c:pt idx="581">
                  <c:v>101.85975999999999</c:v>
                </c:pt>
                <c:pt idx="582">
                  <c:v>101.1421</c:v>
                </c:pt>
                <c:pt idx="583">
                  <c:v>102.52148</c:v>
                </c:pt>
                <c:pt idx="584">
                  <c:v>103.09932000000001</c:v>
                </c:pt>
                <c:pt idx="585">
                  <c:v>102.474884</c:v>
                </c:pt>
                <c:pt idx="586">
                  <c:v>102.689255</c:v>
                </c:pt>
                <c:pt idx="587">
                  <c:v>103.509415</c:v>
                </c:pt>
                <c:pt idx="588">
                  <c:v>103.91018</c:v>
                </c:pt>
                <c:pt idx="589">
                  <c:v>105.52256</c:v>
                </c:pt>
                <c:pt idx="590">
                  <c:v>104.963356</c:v>
                </c:pt>
                <c:pt idx="591">
                  <c:v>105.81149000000001</c:v>
                </c:pt>
                <c:pt idx="592">
                  <c:v>106.63166</c:v>
                </c:pt>
                <c:pt idx="593">
                  <c:v>106.03515</c:v>
                </c:pt>
                <c:pt idx="594">
                  <c:v>106.66893</c:v>
                </c:pt>
                <c:pt idx="595">
                  <c:v>107.17222</c:v>
                </c:pt>
                <c:pt idx="596">
                  <c:v>105.36412</c:v>
                </c:pt>
                <c:pt idx="597">
                  <c:v>106.38002</c:v>
                </c:pt>
                <c:pt idx="598">
                  <c:v>107.926765</c:v>
                </c:pt>
                <c:pt idx="599">
                  <c:v>107.77678</c:v>
                </c:pt>
                <c:pt idx="600">
                  <c:v>108.46111999999999</c:v>
                </c:pt>
                <c:pt idx="601">
                  <c:v>109.77352999999999</c:v>
                </c:pt>
                <c:pt idx="602">
                  <c:v>107.983025</c:v>
                </c:pt>
                <c:pt idx="603">
                  <c:v>108.36736000000001</c:v>
                </c:pt>
                <c:pt idx="604">
                  <c:v>109.154816</c:v>
                </c:pt>
                <c:pt idx="605">
                  <c:v>110.66409</c:v>
                </c:pt>
                <c:pt idx="606">
                  <c:v>110.47659</c:v>
                </c:pt>
                <c:pt idx="607">
                  <c:v>110.89843999999999</c:v>
                </c:pt>
                <c:pt idx="608">
                  <c:v>111.62026</c:v>
                </c:pt>
                <c:pt idx="609">
                  <c:v>111.42338599999999</c:v>
                </c:pt>
                <c:pt idx="610">
                  <c:v>112.098366</c:v>
                </c:pt>
                <c:pt idx="611">
                  <c:v>111.84524500000001</c:v>
                </c:pt>
                <c:pt idx="612">
                  <c:v>111.864</c:v>
                </c:pt>
                <c:pt idx="613">
                  <c:v>111.36717</c:v>
                </c:pt>
                <c:pt idx="614">
                  <c:v>111.47028</c:v>
                </c:pt>
                <c:pt idx="615">
                  <c:v>110.85156000000001</c:v>
                </c:pt>
                <c:pt idx="616">
                  <c:v>111.04845</c:v>
                </c:pt>
                <c:pt idx="617">
                  <c:v>112.342094</c:v>
                </c:pt>
                <c:pt idx="618">
                  <c:v>112.5202</c:v>
                </c:pt>
                <c:pt idx="619">
                  <c:v>112.49207</c:v>
                </c:pt>
                <c:pt idx="620">
                  <c:v>113.542</c:v>
                </c:pt>
                <c:pt idx="621">
                  <c:v>114.07635500000001</c:v>
                </c:pt>
                <c:pt idx="622">
                  <c:v>103.61458</c:v>
                </c:pt>
                <c:pt idx="623">
                  <c:v>101.75846</c:v>
                </c:pt>
                <c:pt idx="624">
                  <c:v>102.50841</c:v>
                </c:pt>
                <c:pt idx="625">
                  <c:v>104.055176</c:v>
                </c:pt>
                <c:pt idx="626">
                  <c:v>101.24288</c:v>
                </c:pt>
                <c:pt idx="627">
                  <c:v>100.29606</c:v>
                </c:pt>
                <c:pt idx="628">
                  <c:v>100.79289</c:v>
                </c:pt>
                <c:pt idx="629">
                  <c:v>100.45544</c:v>
                </c:pt>
                <c:pt idx="630">
                  <c:v>102.22718</c:v>
                </c:pt>
                <c:pt idx="631">
                  <c:v>100.24918</c:v>
                </c:pt>
                <c:pt idx="632">
                  <c:v>99.789856</c:v>
                </c:pt>
                <c:pt idx="633">
                  <c:v>93.762140000000002</c:v>
                </c:pt>
                <c:pt idx="634">
                  <c:v>92.65598</c:v>
                </c:pt>
                <c:pt idx="635">
                  <c:v>89.393699999999995</c:v>
                </c:pt>
                <c:pt idx="636">
                  <c:v>89.890540000000001</c:v>
                </c:pt>
                <c:pt idx="637">
                  <c:v>93.021575999999996</c:v>
                </c:pt>
                <c:pt idx="638">
                  <c:v>95.777625999999998</c:v>
                </c:pt>
                <c:pt idx="639">
                  <c:v>96.068240000000003</c:v>
                </c:pt>
                <c:pt idx="640">
                  <c:v>95.505775</c:v>
                </c:pt>
                <c:pt idx="641">
                  <c:v>93.284064999999998</c:v>
                </c:pt>
                <c:pt idx="642">
                  <c:v>95.515144000000006</c:v>
                </c:pt>
                <c:pt idx="643">
                  <c:v>95.608894000000006</c:v>
                </c:pt>
                <c:pt idx="644">
                  <c:v>94.652694999999994</c:v>
                </c:pt>
                <c:pt idx="645">
                  <c:v>97.502510000000001</c:v>
                </c:pt>
                <c:pt idx="646">
                  <c:v>95.533905000000004</c:v>
                </c:pt>
                <c:pt idx="647">
                  <c:v>96.180719999999994</c:v>
                </c:pt>
                <c:pt idx="648">
                  <c:v>97.943100000000001</c:v>
                </c:pt>
                <c:pt idx="649">
                  <c:v>97.324389999999994</c:v>
                </c:pt>
                <c:pt idx="650">
                  <c:v>96.95881</c:v>
                </c:pt>
                <c:pt idx="651">
                  <c:v>97.455629999999999</c:v>
                </c:pt>
                <c:pt idx="652">
                  <c:v>97.680620000000005</c:v>
                </c:pt>
                <c:pt idx="653">
                  <c:v>96.405709999999999</c:v>
                </c:pt>
                <c:pt idx="654">
                  <c:v>96.940060000000003</c:v>
                </c:pt>
                <c:pt idx="655">
                  <c:v>96.077619999999996</c:v>
                </c:pt>
                <c:pt idx="656">
                  <c:v>95.215164000000001</c:v>
                </c:pt>
                <c:pt idx="657">
                  <c:v>94.324610000000007</c:v>
                </c:pt>
                <c:pt idx="658">
                  <c:v>94.024640000000005</c:v>
                </c:pt>
                <c:pt idx="659">
                  <c:v>92.327866</c:v>
                </c:pt>
                <c:pt idx="660">
                  <c:v>93.199690000000004</c:v>
                </c:pt>
                <c:pt idx="661">
                  <c:v>95.805756000000002</c:v>
                </c:pt>
                <c:pt idx="662">
                  <c:v>96.246346000000003</c:v>
                </c:pt>
                <c:pt idx="663">
                  <c:v>96.555710000000005</c:v>
                </c:pt>
                <c:pt idx="664">
                  <c:v>97.352519999999998</c:v>
                </c:pt>
                <c:pt idx="665">
                  <c:v>97.277529999999999</c:v>
                </c:pt>
                <c:pt idx="666">
                  <c:v>96.921295000000001</c:v>
                </c:pt>
                <c:pt idx="667">
                  <c:v>98.064964000000003</c:v>
                </c:pt>
                <c:pt idx="668">
                  <c:v>98.955529999999996</c:v>
                </c:pt>
                <c:pt idx="669">
                  <c:v>99.696110000000004</c:v>
                </c:pt>
                <c:pt idx="670">
                  <c:v>99.921090000000007</c:v>
                </c:pt>
                <c:pt idx="671">
                  <c:v>99.114890000000003</c:v>
                </c:pt>
                <c:pt idx="672">
                  <c:v>101.13975000000001</c:v>
                </c:pt>
                <c:pt idx="673">
                  <c:v>101.46785</c:v>
                </c:pt>
                <c:pt idx="674">
                  <c:v>102.62090000000001</c:v>
                </c:pt>
                <c:pt idx="675">
                  <c:v>102.96775</c:v>
                </c:pt>
                <c:pt idx="676">
                  <c:v>103.2021</c:v>
                </c:pt>
                <c:pt idx="677">
                  <c:v>106.16437999999999</c:v>
                </c:pt>
                <c:pt idx="678">
                  <c:v>106.01442</c:v>
                </c:pt>
                <c:pt idx="679">
                  <c:v>106.41750999999999</c:v>
                </c:pt>
                <c:pt idx="680">
                  <c:v>106.65185</c:v>
                </c:pt>
                <c:pt idx="681">
                  <c:v>107.1862</c:v>
                </c:pt>
                <c:pt idx="682">
                  <c:v>107.84241</c:v>
                </c:pt>
                <c:pt idx="683">
                  <c:v>106.62375</c:v>
                </c:pt>
                <c:pt idx="684">
                  <c:v>107.84241</c:v>
                </c:pt>
                <c:pt idx="685">
                  <c:v>108.31112</c:v>
                </c:pt>
                <c:pt idx="686">
                  <c:v>106.16437999999999</c:v>
                </c:pt>
                <c:pt idx="687">
                  <c:v>105.930046</c:v>
                </c:pt>
                <c:pt idx="688">
                  <c:v>108.43298</c:v>
                </c:pt>
                <c:pt idx="689">
                  <c:v>109.13606</c:v>
                </c:pt>
                <c:pt idx="690">
                  <c:v>110.0735</c:v>
                </c:pt>
                <c:pt idx="691">
                  <c:v>109.22981</c:v>
                </c:pt>
                <c:pt idx="692">
                  <c:v>108.9392</c:v>
                </c:pt>
                <c:pt idx="693">
                  <c:v>107.654915</c:v>
                </c:pt>
                <c:pt idx="694">
                  <c:v>108.66734</c:v>
                </c:pt>
                <c:pt idx="695">
                  <c:v>108.86421</c:v>
                </c:pt>
                <c:pt idx="696">
                  <c:v>110.74844</c:v>
                </c:pt>
                <c:pt idx="697">
                  <c:v>111.28279000000001</c:v>
                </c:pt>
                <c:pt idx="698">
                  <c:v>112.5577</c:v>
                </c:pt>
                <c:pt idx="699">
                  <c:v>111.948364</c:v>
                </c:pt>
                <c:pt idx="700">
                  <c:v>110.570335</c:v>
                </c:pt>
                <c:pt idx="701">
                  <c:v>111.2453</c:v>
                </c:pt>
                <c:pt idx="702">
                  <c:v>107.926765</c:v>
                </c:pt>
                <c:pt idx="703">
                  <c:v>106.37065</c:v>
                </c:pt>
                <c:pt idx="704">
                  <c:v>108.1705</c:v>
                </c:pt>
                <c:pt idx="705">
                  <c:v>106.86748</c:v>
                </c:pt>
                <c:pt idx="706">
                  <c:v>104.88949</c:v>
                </c:pt>
                <c:pt idx="707">
                  <c:v>107.09245</c:v>
                </c:pt>
                <c:pt idx="708">
                  <c:v>106.7081</c:v>
                </c:pt>
                <c:pt idx="709">
                  <c:v>105.442566</c:v>
                </c:pt>
                <c:pt idx="710">
                  <c:v>104.49576999999999</c:v>
                </c:pt>
                <c:pt idx="711">
                  <c:v>104.49576999999999</c:v>
                </c:pt>
                <c:pt idx="712">
                  <c:v>101.92961</c:v>
                </c:pt>
                <c:pt idx="713">
                  <c:v>103.16551</c:v>
                </c:pt>
                <c:pt idx="714">
                  <c:v>105.81658</c:v>
                </c:pt>
                <c:pt idx="715">
                  <c:v>107.3544</c:v>
                </c:pt>
                <c:pt idx="716">
                  <c:v>105.67507000000001</c:v>
                </c:pt>
                <c:pt idx="717">
                  <c:v>101.62770999999999</c:v>
                </c:pt>
                <c:pt idx="718">
                  <c:v>100.56159</c:v>
                </c:pt>
                <c:pt idx="719">
                  <c:v>100.703125</c:v>
                </c:pt>
                <c:pt idx="720">
                  <c:v>99.589860000000002</c:v>
                </c:pt>
                <c:pt idx="721">
                  <c:v>99.872894000000002</c:v>
                </c:pt>
                <c:pt idx="722">
                  <c:v>101.184265</c:v>
                </c:pt>
                <c:pt idx="723">
                  <c:v>101.02388999999999</c:v>
                </c:pt>
                <c:pt idx="724">
                  <c:v>100.32574</c:v>
                </c:pt>
                <c:pt idx="725">
                  <c:v>99.137010000000004</c:v>
                </c:pt>
                <c:pt idx="726">
                  <c:v>97.155784999999995</c:v>
                </c:pt>
                <c:pt idx="727">
                  <c:v>95.193420000000003</c:v>
                </c:pt>
                <c:pt idx="728">
                  <c:v>94.683949999999996</c:v>
                </c:pt>
                <c:pt idx="729">
                  <c:v>93.872603999999995</c:v>
                </c:pt>
                <c:pt idx="730">
                  <c:v>93.636734000000004</c:v>
                </c:pt>
                <c:pt idx="731">
                  <c:v>94.268839999999997</c:v>
                </c:pt>
                <c:pt idx="732">
                  <c:v>95.721739999999997</c:v>
                </c:pt>
                <c:pt idx="733">
                  <c:v>92.910285999999999</c:v>
                </c:pt>
                <c:pt idx="734">
                  <c:v>93.504654000000002</c:v>
                </c:pt>
                <c:pt idx="735">
                  <c:v>88.589325000000002</c:v>
                </c:pt>
                <c:pt idx="736">
                  <c:v>88.655365000000003</c:v>
                </c:pt>
                <c:pt idx="737">
                  <c:v>87.306219999999996</c:v>
                </c:pt>
                <c:pt idx="738">
                  <c:v>88.702515000000005</c:v>
                </c:pt>
                <c:pt idx="739">
                  <c:v>91.419629999999998</c:v>
                </c:pt>
                <c:pt idx="740">
                  <c:v>89.900700000000001</c:v>
                </c:pt>
                <c:pt idx="741">
                  <c:v>90.825270000000003</c:v>
                </c:pt>
                <c:pt idx="742">
                  <c:v>88.985564999999994</c:v>
                </c:pt>
                <c:pt idx="743">
                  <c:v>88.240234000000001</c:v>
                </c:pt>
                <c:pt idx="744">
                  <c:v>90.400729999999996</c:v>
                </c:pt>
                <c:pt idx="745">
                  <c:v>89.768615999999994</c:v>
                </c:pt>
                <c:pt idx="746">
                  <c:v>87.853430000000003</c:v>
                </c:pt>
                <c:pt idx="747">
                  <c:v>89.759180000000001</c:v>
                </c:pt>
                <c:pt idx="748">
                  <c:v>90.032775999999998</c:v>
                </c:pt>
                <c:pt idx="749">
                  <c:v>88.589325000000002</c:v>
                </c:pt>
                <c:pt idx="750">
                  <c:v>86.909989999999993</c:v>
                </c:pt>
                <c:pt idx="751">
                  <c:v>87.098680000000002</c:v>
                </c:pt>
                <c:pt idx="752">
                  <c:v>83.824929999999995</c:v>
                </c:pt>
                <c:pt idx="753">
                  <c:v>85.202340000000007</c:v>
                </c:pt>
                <c:pt idx="754">
                  <c:v>85.994839999999996</c:v>
                </c:pt>
                <c:pt idx="755">
                  <c:v>87.65531</c:v>
                </c:pt>
                <c:pt idx="756">
                  <c:v>90.098820000000003</c:v>
                </c:pt>
                <c:pt idx="757">
                  <c:v>89.787475999999998</c:v>
                </c:pt>
                <c:pt idx="758">
                  <c:v>89.636536000000007</c:v>
                </c:pt>
                <c:pt idx="759">
                  <c:v>90.919619999999995</c:v>
                </c:pt>
                <c:pt idx="760">
                  <c:v>89.985600000000005</c:v>
                </c:pt>
                <c:pt idx="761">
                  <c:v>90.032775999999998</c:v>
                </c:pt>
                <c:pt idx="762">
                  <c:v>90.240340000000003</c:v>
                </c:pt>
                <c:pt idx="763">
                  <c:v>89.919569999999993</c:v>
                </c:pt>
                <c:pt idx="764">
                  <c:v>90.117689999999996</c:v>
                </c:pt>
                <c:pt idx="765">
                  <c:v>92.127229999999997</c:v>
                </c:pt>
                <c:pt idx="766">
                  <c:v>91.513999999999996</c:v>
                </c:pt>
                <c:pt idx="767">
                  <c:v>93.231059999999999</c:v>
                </c:pt>
                <c:pt idx="768">
                  <c:v>92.910285999999999</c:v>
                </c:pt>
                <c:pt idx="769">
                  <c:v>93.768820000000005</c:v>
                </c:pt>
                <c:pt idx="770">
                  <c:v>92.287610000000001</c:v>
                </c:pt>
                <c:pt idx="771">
                  <c:v>92.136660000000006</c:v>
                </c:pt>
                <c:pt idx="772">
                  <c:v>91.551720000000003</c:v>
                </c:pt>
                <c:pt idx="773">
                  <c:v>92.400840000000002</c:v>
                </c:pt>
                <c:pt idx="774">
                  <c:v>93.221620000000001</c:v>
                </c:pt>
                <c:pt idx="775">
                  <c:v>92.683846000000003</c:v>
                </c:pt>
                <c:pt idx="776">
                  <c:v>92.872550000000004</c:v>
                </c:pt>
                <c:pt idx="777">
                  <c:v>93.966933999999995</c:v>
                </c:pt>
                <c:pt idx="778">
                  <c:v>93.589554000000007</c:v>
                </c:pt>
                <c:pt idx="779">
                  <c:v>92.891409999999993</c:v>
                </c:pt>
                <c:pt idx="780">
                  <c:v>92.061189999999996</c:v>
                </c:pt>
                <c:pt idx="781">
                  <c:v>91.353610000000003</c:v>
                </c:pt>
                <c:pt idx="782">
                  <c:v>91.721549999999993</c:v>
                </c:pt>
                <c:pt idx="783">
                  <c:v>92.542330000000007</c:v>
                </c:pt>
                <c:pt idx="784">
                  <c:v>92.608379999999997</c:v>
                </c:pt>
                <c:pt idx="785">
                  <c:v>93.315969999999993</c:v>
                </c:pt>
                <c:pt idx="786">
                  <c:v>93.693343999999996</c:v>
                </c:pt>
                <c:pt idx="787">
                  <c:v>93.466920000000002</c:v>
                </c:pt>
                <c:pt idx="788">
                  <c:v>93.098969999999994</c:v>
                </c:pt>
                <c:pt idx="789">
                  <c:v>91.513999999999996</c:v>
                </c:pt>
                <c:pt idx="790">
                  <c:v>91.966840000000005</c:v>
                </c:pt>
                <c:pt idx="791">
                  <c:v>90.721503999999996</c:v>
                </c:pt>
                <c:pt idx="792">
                  <c:v>90.966790000000003</c:v>
                </c:pt>
                <c:pt idx="793">
                  <c:v>90.825270000000003</c:v>
                </c:pt>
                <c:pt idx="794">
                  <c:v>91.844210000000004</c:v>
                </c:pt>
                <c:pt idx="795">
                  <c:v>93.853740000000002</c:v>
                </c:pt>
                <c:pt idx="796">
                  <c:v>93.051789999999997</c:v>
                </c:pt>
                <c:pt idx="797">
                  <c:v>93.014049999999997</c:v>
                </c:pt>
                <c:pt idx="798">
                  <c:v>95.740610000000004</c:v>
                </c:pt>
                <c:pt idx="799">
                  <c:v>96.834999999999994</c:v>
                </c:pt>
                <c:pt idx="800">
                  <c:v>97.429374999999993</c:v>
                </c:pt>
                <c:pt idx="801">
                  <c:v>97.089730000000003</c:v>
                </c:pt>
                <c:pt idx="802">
                  <c:v>97.9011</c:v>
                </c:pt>
                <c:pt idx="803">
                  <c:v>98.655850000000001</c:v>
                </c:pt>
                <c:pt idx="804">
                  <c:v>98.957759999999993</c:v>
                </c:pt>
                <c:pt idx="805">
                  <c:v>99.325689999999994</c:v>
                </c:pt>
                <c:pt idx="806">
                  <c:v>98.146389999999997</c:v>
                </c:pt>
                <c:pt idx="807">
                  <c:v>97.419939999999997</c:v>
                </c:pt>
                <c:pt idx="808">
                  <c:v>98.457740000000001</c:v>
                </c:pt>
                <c:pt idx="809">
                  <c:v>97.910529999999994</c:v>
                </c:pt>
                <c:pt idx="810">
                  <c:v>97.806749999999994</c:v>
                </c:pt>
                <c:pt idx="811">
                  <c:v>98.995490000000004</c:v>
                </c:pt>
                <c:pt idx="812">
                  <c:v>99.570989999999995</c:v>
                </c:pt>
                <c:pt idx="813">
                  <c:v>99.382300000000001</c:v>
                </c:pt>
                <c:pt idx="814">
                  <c:v>100.571045</c:v>
                </c:pt>
                <c:pt idx="815">
                  <c:v>96.504810000000006</c:v>
                </c:pt>
                <c:pt idx="816">
                  <c:v>95.957595999999995</c:v>
                </c:pt>
                <c:pt idx="817">
                  <c:v>94.834900000000005</c:v>
                </c:pt>
                <c:pt idx="818">
                  <c:v>94.683949999999996</c:v>
                </c:pt>
                <c:pt idx="819">
                  <c:v>94.287719999999993</c:v>
                </c:pt>
                <c:pt idx="820">
                  <c:v>93.400869999999998</c:v>
                </c:pt>
                <c:pt idx="821">
                  <c:v>92.844250000000002</c:v>
                </c:pt>
                <c:pt idx="822">
                  <c:v>94.136759999999995</c:v>
                </c:pt>
                <c:pt idx="823">
                  <c:v>93.570689999999999</c:v>
                </c:pt>
                <c:pt idx="824">
                  <c:v>93.882040000000003</c:v>
                </c:pt>
                <c:pt idx="825">
                  <c:v>94.212239999999994</c:v>
                </c:pt>
                <c:pt idx="826">
                  <c:v>94.165053999999998</c:v>
                </c:pt>
                <c:pt idx="827">
                  <c:v>94.617909999999995</c:v>
                </c:pt>
                <c:pt idx="828">
                  <c:v>93.608440000000002</c:v>
                </c:pt>
                <c:pt idx="829">
                  <c:v>92.94802</c:v>
                </c:pt>
                <c:pt idx="830">
                  <c:v>93.136709999999994</c:v>
                </c:pt>
                <c:pt idx="831">
                  <c:v>93.165015999999994</c:v>
                </c:pt>
                <c:pt idx="832">
                  <c:v>93.19332</c:v>
                </c:pt>
                <c:pt idx="833">
                  <c:v>92.787639999999996</c:v>
                </c:pt>
                <c:pt idx="834">
                  <c:v>92.495159999999998</c:v>
                </c:pt>
                <c:pt idx="835">
                  <c:v>92.306470000000004</c:v>
                </c:pt>
                <c:pt idx="836">
                  <c:v>91.834770000000006</c:v>
                </c:pt>
                <c:pt idx="837">
                  <c:v>92.051739999999995</c:v>
                </c:pt>
                <c:pt idx="838">
                  <c:v>92.834810000000004</c:v>
                </c:pt>
                <c:pt idx="839">
                  <c:v>92.712159999999997</c:v>
                </c:pt>
                <c:pt idx="840">
                  <c:v>92.815939999999998</c:v>
                </c:pt>
                <c:pt idx="841">
                  <c:v>93.400869999999998</c:v>
                </c:pt>
                <c:pt idx="842">
                  <c:v>93.938630000000003</c:v>
                </c:pt>
                <c:pt idx="843">
                  <c:v>93.231059999999999</c:v>
                </c:pt>
                <c:pt idx="844">
                  <c:v>93.202759999999998</c:v>
                </c:pt>
                <c:pt idx="845">
                  <c:v>93.419740000000004</c:v>
                </c:pt>
                <c:pt idx="846">
                  <c:v>90.306370000000001</c:v>
                </c:pt>
                <c:pt idx="847">
                  <c:v>89.042169999999999</c:v>
                </c:pt>
                <c:pt idx="848">
                  <c:v>90.617710000000002</c:v>
                </c:pt>
                <c:pt idx="849">
                  <c:v>91.495130000000003</c:v>
                </c:pt>
                <c:pt idx="850">
                  <c:v>92.287610000000001</c:v>
                </c:pt>
                <c:pt idx="851">
                  <c:v>92.485725000000002</c:v>
                </c:pt>
                <c:pt idx="852">
                  <c:v>92.136660000000006</c:v>
                </c:pt>
                <c:pt idx="853">
                  <c:v>92.881966000000006</c:v>
                </c:pt>
                <c:pt idx="854">
                  <c:v>93.518690000000007</c:v>
                </c:pt>
                <c:pt idx="855">
                  <c:v>94.668539999999993</c:v>
                </c:pt>
                <c:pt idx="856">
                  <c:v>95.010649999999998</c:v>
                </c:pt>
                <c:pt idx="857">
                  <c:v>95.219700000000003</c:v>
                </c:pt>
                <c:pt idx="858">
                  <c:v>94.915599999999998</c:v>
                </c:pt>
                <c:pt idx="859">
                  <c:v>95.001140000000007</c:v>
                </c:pt>
                <c:pt idx="860">
                  <c:v>94.839590000000001</c:v>
                </c:pt>
                <c:pt idx="861">
                  <c:v>95.172200000000004</c:v>
                </c:pt>
                <c:pt idx="862">
                  <c:v>94.525999999999996</c:v>
                </c:pt>
                <c:pt idx="863">
                  <c:v>93.338120000000004</c:v>
                </c:pt>
                <c:pt idx="864">
                  <c:v>93.138565</c:v>
                </c:pt>
                <c:pt idx="865">
                  <c:v>92.853470000000002</c:v>
                </c:pt>
                <c:pt idx="866">
                  <c:v>92.549369999999996</c:v>
                </c:pt>
                <c:pt idx="867">
                  <c:v>91.884159999999994</c:v>
                </c:pt>
                <c:pt idx="868">
                  <c:v>91.542075999999994</c:v>
                </c:pt>
                <c:pt idx="869">
                  <c:v>91.142944</c:v>
                </c:pt>
                <c:pt idx="870">
                  <c:v>91.180949999999996</c:v>
                </c:pt>
                <c:pt idx="871">
                  <c:v>90.791340000000005</c:v>
                </c:pt>
                <c:pt idx="872">
                  <c:v>90.287673999999996</c:v>
                </c:pt>
                <c:pt idx="873">
                  <c:v>91.313990000000004</c:v>
                </c:pt>
                <c:pt idx="874">
                  <c:v>90.430220000000006</c:v>
                </c:pt>
                <c:pt idx="875">
                  <c:v>91.066919999999996</c:v>
                </c:pt>
                <c:pt idx="876">
                  <c:v>90.990889999999993</c:v>
                </c:pt>
                <c:pt idx="877">
                  <c:v>91.865160000000003</c:v>
                </c:pt>
                <c:pt idx="878">
                  <c:v>92.996009999999998</c:v>
                </c:pt>
                <c:pt idx="879">
                  <c:v>92.910483999999997</c:v>
                </c:pt>
                <c:pt idx="880">
                  <c:v>92.026709999999994</c:v>
                </c:pt>
                <c:pt idx="881">
                  <c:v>92.273796000000004</c:v>
                </c:pt>
                <c:pt idx="882">
                  <c:v>92.064729999999997</c:v>
                </c:pt>
                <c:pt idx="883">
                  <c:v>92.055239999999998</c:v>
                </c:pt>
                <c:pt idx="884">
                  <c:v>91.846170000000001</c:v>
                </c:pt>
                <c:pt idx="885">
                  <c:v>91.599080000000001</c:v>
                </c:pt>
                <c:pt idx="886">
                  <c:v>91.104929999999996</c:v>
                </c:pt>
                <c:pt idx="887">
                  <c:v>91.199960000000004</c:v>
                </c:pt>
                <c:pt idx="888">
                  <c:v>91.057410000000004</c:v>
                </c:pt>
                <c:pt idx="889">
                  <c:v>90.800835000000006</c:v>
                </c:pt>
                <c:pt idx="890">
                  <c:v>90.477739999999997</c:v>
                </c:pt>
                <c:pt idx="891">
                  <c:v>90.154624999999996</c:v>
                </c:pt>
                <c:pt idx="892">
                  <c:v>90.145120000000006</c:v>
                </c:pt>
                <c:pt idx="893">
                  <c:v>89.765015000000005</c:v>
                </c:pt>
                <c:pt idx="894">
                  <c:v>89.574939999999998</c:v>
                </c:pt>
                <c:pt idx="895">
                  <c:v>89.726990000000001</c:v>
                </c:pt>
                <c:pt idx="896">
                  <c:v>89.137820000000005</c:v>
                </c:pt>
                <c:pt idx="897">
                  <c:v>89.052289999999999</c:v>
                </c:pt>
                <c:pt idx="898">
                  <c:v>89.413380000000004</c:v>
                </c:pt>
                <c:pt idx="899">
                  <c:v>87.826409999999996</c:v>
                </c:pt>
                <c:pt idx="900">
                  <c:v>88.985780000000005</c:v>
                </c:pt>
                <c:pt idx="901">
                  <c:v>88.092470000000006</c:v>
                </c:pt>
                <c:pt idx="902">
                  <c:v>87.674340000000001</c:v>
                </c:pt>
                <c:pt idx="903">
                  <c:v>87.902420000000006</c:v>
                </c:pt>
                <c:pt idx="904">
                  <c:v>87.959460000000007</c:v>
                </c:pt>
                <c:pt idx="905">
                  <c:v>88.025970000000001</c:v>
                </c:pt>
                <c:pt idx="906">
                  <c:v>88.330060000000003</c:v>
                </c:pt>
                <c:pt idx="907">
                  <c:v>87.797899999999998</c:v>
                </c:pt>
                <c:pt idx="908">
                  <c:v>88.767204000000007</c:v>
                </c:pt>
                <c:pt idx="909">
                  <c:v>88.634150000000005</c:v>
                </c:pt>
                <c:pt idx="910">
                  <c:v>87.389274999999998</c:v>
                </c:pt>
                <c:pt idx="911">
                  <c:v>87.161193999999995</c:v>
                </c:pt>
                <c:pt idx="912">
                  <c:v>87.617329999999995</c:v>
                </c:pt>
                <c:pt idx="913">
                  <c:v>87.237229999999997</c:v>
                </c:pt>
                <c:pt idx="914">
                  <c:v>88.244529999999997</c:v>
                </c:pt>
                <c:pt idx="915">
                  <c:v>87.892920000000004</c:v>
                </c:pt>
                <c:pt idx="916">
                  <c:v>87.987949999999998</c:v>
                </c:pt>
                <c:pt idx="917">
                  <c:v>87.854904000000005</c:v>
                </c:pt>
                <c:pt idx="918">
                  <c:v>88.216030000000003</c:v>
                </c:pt>
                <c:pt idx="919">
                  <c:v>87.892920000000004</c:v>
                </c:pt>
                <c:pt idx="920">
                  <c:v>87.892920000000004</c:v>
                </c:pt>
                <c:pt idx="921">
                  <c:v>87.294240000000002</c:v>
                </c:pt>
                <c:pt idx="922">
                  <c:v>86.866614999999996</c:v>
                </c:pt>
                <c:pt idx="923">
                  <c:v>86.591030000000003</c:v>
                </c:pt>
                <c:pt idx="924">
                  <c:v>86.762069999999994</c:v>
                </c:pt>
                <c:pt idx="925">
                  <c:v>86.315430000000006</c:v>
                </c:pt>
                <c:pt idx="926">
                  <c:v>86.63852</c:v>
                </c:pt>
                <c:pt idx="927">
                  <c:v>87.360759999999999</c:v>
                </c:pt>
                <c:pt idx="928">
                  <c:v>87.455794999999995</c:v>
                </c:pt>
                <c:pt idx="929">
                  <c:v>88.406080000000003</c:v>
                </c:pt>
                <c:pt idx="930">
                  <c:v>88.729190000000003</c:v>
                </c:pt>
                <c:pt idx="931">
                  <c:v>88.14</c:v>
                </c:pt>
                <c:pt idx="932">
                  <c:v>88.843220000000002</c:v>
                </c:pt>
                <c:pt idx="933">
                  <c:v>89.346879999999999</c:v>
                </c:pt>
                <c:pt idx="934">
                  <c:v>89.185320000000004</c:v>
                </c:pt>
                <c:pt idx="935">
                  <c:v>88.082980000000006</c:v>
                </c:pt>
                <c:pt idx="936">
                  <c:v>87.797899999999998</c:v>
                </c:pt>
                <c:pt idx="937">
                  <c:v>87.341759999999994</c:v>
                </c:pt>
                <c:pt idx="938">
                  <c:v>88.729190000000003</c:v>
                </c:pt>
                <c:pt idx="939">
                  <c:v>87.854904000000005</c:v>
                </c:pt>
                <c:pt idx="940">
                  <c:v>89.736500000000007</c:v>
                </c:pt>
                <c:pt idx="941">
                  <c:v>89.688980000000001</c:v>
                </c:pt>
                <c:pt idx="942">
                  <c:v>89.936059999999998</c:v>
                </c:pt>
                <c:pt idx="943">
                  <c:v>90.240166000000002</c:v>
                </c:pt>
                <c:pt idx="944">
                  <c:v>92.824960000000004</c:v>
                </c:pt>
                <c:pt idx="945">
                  <c:v>93.053030000000007</c:v>
                </c:pt>
                <c:pt idx="946">
                  <c:v>92.843959999999996</c:v>
                </c:pt>
                <c:pt idx="947">
                  <c:v>94.193404999999998</c:v>
                </c:pt>
                <c:pt idx="948">
                  <c:v>94.430970000000002</c:v>
                </c:pt>
                <c:pt idx="949">
                  <c:v>93.357123999999999</c:v>
                </c:pt>
                <c:pt idx="950">
                  <c:v>92.777460000000005</c:v>
                </c:pt>
                <c:pt idx="951">
                  <c:v>92.853470000000002</c:v>
                </c:pt>
                <c:pt idx="952">
                  <c:v>93.376143999999996</c:v>
                </c:pt>
                <c:pt idx="953">
                  <c:v>93.90831</c:v>
                </c:pt>
                <c:pt idx="954">
                  <c:v>94.050849999999997</c:v>
                </c:pt>
                <c:pt idx="955">
                  <c:v>94.716059999999999</c:v>
                </c:pt>
                <c:pt idx="956">
                  <c:v>94.193404999999998</c:v>
                </c:pt>
                <c:pt idx="957">
                  <c:v>94.022350000000003</c:v>
                </c:pt>
                <c:pt idx="958">
                  <c:v>93.604219999999998</c:v>
                </c:pt>
                <c:pt idx="959">
                  <c:v>94.991640000000004</c:v>
                </c:pt>
                <c:pt idx="960">
                  <c:v>95.656845000000004</c:v>
                </c:pt>
                <c:pt idx="961">
                  <c:v>96.920745999999994</c:v>
                </c:pt>
                <c:pt idx="962">
                  <c:v>98.998769999999993</c:v>
                </c:pt>
                <c:pt idx="963">
                  <c:v>100.41605</c:v>
                </c:pt>
                <c:pt idx="964">
                  <c:v>99.649959999999993</c:v>
                </c:pt>
                <c:pt idx="965">
                  <c:v>99.448859999999996</c:v>
                </c:pt>
                <c:pt idx="966">
                  <c:v>99.640389999999996</c:v>
                </c:pt>
                <c:pt idx="967">
                  <c:v>99.965964999999997</c:v>
                </c:pt>
                <c:pt idx="968">
                  <c:v>99.506330000000005</c:v>
                </c:pt>
                <c:pt idx="969">
                  <c:v>100.8374</c:v>
                </c:pt>
                <c:pt idx="970">
                  <c:v>100.99062000000001</c:v>
                </c:pt>
                <c:pt idx="971">
                  <c:v>101.08638000000001</c:v>
                </c:pt>
                <c:pt idx="972">
                  <c:v>100.952324</c:v>
                </c:pt>
                <c:pt idx="973">
                  <c:v>100.69376</c:v>
                </c:pt>
                <c:pt idx="974">
                  <c:v>100.71290999999999</c:v>
                </c:pt>
                <c:pt idx="975">
                  <c:v>99.87979</c:v>
                </c:pt>
                <c:pt idx="976">
                  <c:v>100.12876</c:v>
                </c:pt>
                <c:pt idx="977">
                  <c:v>99.803190000000001</c:v>
                </c:pt>
                <c:pt idx="978">
                  <c:v>101.58436</c:v>
                </c:pt>
                <c:pt idx="979">
                  <c:v>102.88672</c:v>
                </c:pt>
                <c:pt idx="980">
                  <c:v>102.82925400000001</c:v>
                </c:pt>
                <c:pt idx="981">
                  <c:v>104.36145</c:v>
                </c:pt>
                <c:pt idx="982">
                  <c:v>103.76773</c:v>
                </c:pt>
                <c:pt idx="983">
                  <c:v>103.78688</c:v>
                </c:pt>
                <c:pt idx="984">
                  <c:v>104.80195999999999</c:v>
                </c:pt>
                <c:pt idx="985">
                  <c:v>102.97289000000001</c:v>
                </c:pt>
                <c:pt idx="986">
                  <c:v>103.48044</c:v>
                </c:pt>
                <c:pt idx="987">
                  <c:v>103.39426</c:v>
                </c:pt>
                <c:pt idx="988">
                  <c:v>103.57621</c:v>
                </c:pt>
                <c:pt idx="989">
                  <c:v>102.73350000000001</c:v>
                </c:pt>
                <c:pt idx="990">
                  <c:v>103.09739999999999</c:v>
                </c:pt>
                <c:pt idx="991">
                  <c:v>102.58027</c:v>
                </c:pt>
                <c:pt idx="992">
                  <c:v>103.327225</c:v>
                </c:pt>
                <c:pt idx="993">
                  <c:v>103.461296</c:v>
                </c:pt>
                <c:pt idx="994">
                  <c:v>103.48044</c:v>
                </c:pt>
                <c:pt idx="995">
                  <c:v>104.667885</c:v>
                </c:pt>
                <c:pt idx="996">
                  <c:v>106.23839</c:v>
                </c:pt>
                <c:pt idx="997">
                  <c:v>105.96068</c:v>
                </c:pt>
                <c:pt idx="998">
                  <c:v>106.58314</c:v>
                </c:pt>
                <c:pt idx="999">
                  <c:v>105.922386</c:v>
                </c:pt>
                <c:pt idx="1000">
                  <c:v>105.62551999999999</c:v>
                </c:pt>
                <c:pt idx="1001">
                  <c:v>104.926445</c:v>
                </c:pt>
                <c:pt idx="1002">
                  <c:v>104.3806</c:v>
                </c:pt>
                <c:pt idx="1003">
                  <c:v>104.3806</c:v>
                </c:pt>
                <c:pt idx="1004">
                  <c:v>104.84984</c:v>
                </c:pt>
                <c:pt idx="1005">
                  <c:v>104.62958999999999</c:v>
                </c:pt>
                <c:pt idx="1006">
                  <c:v>105.00306999999999</c:v>
                </c:pt>
                <c:pt idx="1007">
                  <c:v>105.65424</c:v>
                </c:pt>
                <c:pt idx="1008">
                  <c:v>105.510605</c:v>
                </c:pt>
                <c:pt idx="1009">
                  <c:v>106.01814</c:v>
                </c:pt>
                <c:pt idx="1010">
                  <c:v>105.39567599999999</c:v>
                </c:pt>
                <c:pt idx="1011">
                  <c:v>105.34781</c:v>
                </c:pt>
                <c:pt idx="1012">
                  <c:v>105.45314</c:v>
                </c:pt>
                <c:pt idx="1013">
                  <c:v>105.079666</c:v>
                </c:pt>
                <c:pt idx="1014">
                  <c:v>105.64467</c:v>
                </c:pt>
                <c:pt idx="1015">
                  <c:v>105.55847</c:v>
                </c:pt>
                <c:pt idx="1016">
                  <c:v>105.42440000000001</c:v>
                </c:pt>
                <c:pt idx="1017">
                  <c:v>106.33414999999999</c:v>
                </c:pt>
                <c:pt idx="1018">
                  <c:v>105.90322</c:v>
                </c:pt>
                <c:pt idx="1019">
                  <c:v>106.525665</c:v>
                </c:pt>
                <c:pt idx="1020">
                  <c:v>105.97983600000001</c:v>
                </c:pt>
                <c:pt idx="1021">
                  <c:v>106.16177</c:v>
                </c:pt>
                <c:pt idx="1022">
                  <c:v>106.14261999999999</c:v>
                </c:pt>
                <c:pt idx="1023">
                  <c:v>106.32458</c:v>
                </c:pt>
                <c:pt idx="1024">
                  <c:v>106.21924</c:v>
                </c:pt>
                <c:pt idx="1025">
                  <c:v>106.79380999999999</c:v>
                </c:pt>
                <c:pt idx="1026">
                  <c:v>107.55032</c:v>
                </c:pt>
                <c:pt idx="1027">
                  <c:v>107.128975</c:v>
                </c:pt>
                <c:pt idx="1028">
                  <c:v>106.97575000000001</c:v>
                </c:pt>
                <c:pt idx="1029">
                  <c:v>107.023636</c:v>
                </c:pt>
                <c:pt idx="1030">
                  <c:v>107.93337</c:v>
                </c:pt>
                <c:pt idx="1031">
                  <c:v>107.01405</c:v>
                </c:pt>
                <c:pt idx="1032">
                  <c:v>107.33008</c:v>
                </c:pt>
                <c:pt idx="1033">
                  <c:v>107.4833</c:v>
                </c:pt>
                <c:pt idx="1034">
                  <c:v>107.387535</c:v>
                </c:pt>
                <c:pt idx="1035">
                  <c:v>107.61735</c:v>
                </c:pt>
                <c:pt idx="1036">
                  <c:v>108.25897000000001</c:v>
                </c:pt>
                <c:pt idx="1037">
                  <c:v>107.76101</c:v>
                </c:pt>
                <c:pt idx="1038">
                  <c:v>108.38344600000001</c:v>
                </c:pt>
                <c:pt idx="1039">
                  <c:v>108.584564</c:v>
                </c:pt>
                <c:pt idx="1040">
                  <c:v>108.40260000000001</c:v>
                </c:pt>
                <c:pt idx="1041">
                  <c:v>108.24939000000001</c:v>
                </c:pt>
                <c:pt idx="1042">
                  <c:v>108.21109</c:v>
                </c:pt>
                <c:pt idx="1043">
                  <c:v>108.25897000000001</c:v>
                </c:pt>
                <c:pt idx="1044">
                  <c:v>107.80888</c:v>
                </c:pt>
                <c:pt idx="1045">
                  <c:v>107.665245</c:v>
                </c:pt>
                <c:pt idx="1046">
                  <c:v>108.27812</c:v>
                </c:pt>
                <c:pt idx="1047">
                  <c:v>108.24939000000001</c:v>
                </c:pt>
                <c:pt idx="1048">
                  <c:v>108.40260000000001</c:v>
                </c:pt>
                <c:pt idx="1049">
                  <c:v>108.95802999999999</c:v>
                </c:pt>
                <c:pt idx="1050">
                  <c:v>109.35066</c:v>
                </c:pt>
                <c:pt idx="1051">
                  <c:v>108.91015</c:v>
                </c:pt>
                <c:pt idx="1052">
                  <c:v>109.925224</c:v>
                </c:pt>
                <c:pt idx="1053">
                  <c:v>109.59005999999999</c:v>
                </c:pt>
                <c:pt idx="1054">
                  <c:v>108.881424</c:v>
                </c:pt>
                <c:pt idx="1055">
                  <c:v>110.298706</c:v>
                </c:pt>
                <c:pt idx="1056">
                  <c:v>110.68174</c:v>
                </c:pt>
                <c:pt idx="1057">
                  <c:v>110.930725</c:v>
                </c:pt>
                <c:pt idx="1058">
                  <c:v>110.7009</c:v>
                </c:pt>
                <c:pt idx="1059">
                  <c:v>109.86777499999999</c:v>
                </c:pt>
                <c:pt idx="1060">
                  <c:v>109.523026</c:v>
                </c:pt>
                <c:pt idx="1061">
                  <c:v>106.88958</c:v>
                </c:pt>
                <c:pt idx="1062">
                  <c:v>106.45864</c:v>
                </c:pt>
                <c:pt idx="1063">
                  <c:v>107.243866</c:v>
                </c:pt>
                <c:pt idx="1064">
                  <c:v>106.69804000000001</c:v>
                </c:pt>
                <c:pt idx="1065">
                  <c:v>107.32049600000001</c:v>
                </c:pt>
                <c:pt idx="1066">
                  <c:v>105.01264</c:v>
                </c:pt>
                <c:pt idx="1067">
                  <c:v>104.93603</c:v>
                </c:pt>
                <c:pt idx="1068">
                  <c:v>105.04137</c:v>
                </c:pt>
                <c:pt idx="1069">
                  <c:v>104.5051</c:v>
                </c:pt>
                <c:pt idx="1070">
                  <c:v>103.40383</c:v>
                </c:pt>
                <c:pt idx="1071">
                  <c:v>101.804596</c:v>
                </c:pt>
                <c:pt idx="1072">
                  <c:v>102.15893</c:v>
                </c:pt>
                <c:pt idx="1073">
                  <c:v>102.963326</c:v>
                </c:pt>
                <c:pt idx="1074">
                  <c:v>103.06867</c:v>
                </c:pt>
                <c:pt idx="1075">
                  <c:v>102.48451</c:v>
                </c:pt>
                <c:pt idx="1076">
                  <c:v>103.14527</c:v>
                </c:pt>
                <c:pt idx="1077">
                  <c:v>102.72391500000001</c:v>
                </c:pt>
                <c:pt idx="1078">
                  <c:v>103.81560500000001</c:v>
                </c:pt>
                <c:pt idx="1079">
                  <c:v>103.748566</c:v>
                </c:pt>
                <c:pt idx="1080">
                  <c:v>103.36553000000001</c:v>
                </c:pt>
                <c:pt idx="1081">
                  <c:v>103.624084</c:v>
                </c:pt>
                <c:pt idx="1082">
                  <c:v>102.63773</c:v>
                </c:pt>
                <c:pt idx="1083">
                  <c:v>102.0057</c:v>
                </c:pt>
                <c:pt idx="1084">
                  <c:v>101.02894000000001</c:v>
                </c:pt>
                <c:pt idx="1085">
                  <c:v>101.43113</c:v>
                </c:pt>
                <c:pt idx="1086">
                  <c:v>99.898949999999999</c:v>
                </c:pt>
                <c:pt idx="1087">
                  <c:v>101.143845</c:v>
                </c:pt>
                <c:pt idx="1088">
                  <c:v>102.50367</c:v>
                </c:pt>
                <c:pt idx="1089">
                  <c:v>102.04402</c:v>
                </c:pt>
                <c:pt idx="1090">
                  <c:v>101.64181499999999</c:v>
                </c:pt>
                <c:pt idx="1091">
                  <c:v>101.48860000000001</c:v>
                </c:pt>
                <c:pt idx="1092">
                  <c:v>101.03852000000001</c:v>
                </c:pt>
                <c:pt idx="1093">
                  <c:v>100.90445</c:v>
                </c:pt>
                <c:pt idx="1094">
                  <c:v>99.535049999999998</c:v>
                </c:pt>
                <c:pt idx="1095">
                  <c:v>100.3586</c:v>
                </c:pt>
                <c:pt idx="1096">
                  <c:v>99.803190000000001</c:v>
                </c:pt>
                <c:pt idx="1097">
                  <c:v>99.937250000000006</c:v>
                </c:pt>
                <c:pt idx="1098">
                  <c:v>101.09598</c:v>
                </c:pt>
                <c:pt idx="1099">
                  <c:v>100.94276000000001</c:v>
                </c:pt>
                <c:pt idx="1100">
                  <c:v>102.3313</c:v>
                </c:pt>
                <c:pt idx="1101">
                  <c:v>101.230034</c:v>
                </c:pt>
                <c:pt idx="1102">
                  <c:v>101.74715399999999</c:v>
                </c:pt>
                <c:pt idx="1103">
                  <c:v>102.90587600000001</c:v>
                </c:pt>
                <c:pt idx="1104">
                  <c:v>101.15342</c:v>
                </c:pt>
                <c:pt idx="1105">
                  <c:v>99.706299999999999</c:v>
                </c:pt>
                <c:pt idx="1106">
                  <c:v>99.677359999999993</c:v>
                </c:pt>
                <c:pt idx="1107">
                  <c:v>99.937849999999997</c:v>
                </c:pt>
                <c:pt idx="1108">
                  <c:v>100.17901999999999</c:v>
                </c:pt>
                <c:pt idx="1109">
                  <c:v>100.69999</c:v>
                </c:pt>
                <c:pt idx="1110">
                  <c:v>100.613174</c:v>
                </c:pt>
                <c:pt idx="1111">
                  <c:v>101.384964</c:v>
                </c:pt>
                <c:pt idx="1112">
                  <c:v>101.095535</c:v>
                </c:pt>
                <c:pt idx="1113">
                  <c:v>102.02169000000001</c:v>
                </c:pt>
                <c:pt idx="1114">
                  <c:v>103.05396</c:v>
                </c:pt>
                <c:pt idx="1115">
                  <c:v>103.57494</c:v>
                </c:pt>
                <c:pt idx="1116">
                  <c:v>103.31444500000001</c:v>
                </c:pt>
                <c:pt idx="1117">
                  <c:v>103.22763</c:v>
                </c:pt>
                <c:pt idx="1118">
                  <c:v>102.66807</c:v>
                </c:pt>
                <c:pt idx="1119">
                  <c:v>103.16973</c:v>
                </c:pt>
                <c:pt idx="1120">
                  <c:v>106.12186</c:v>
                </c:pt>
                <c:pt idx="1121">
                  <c:v>106.08327</c:v>
                </c:pt>
                <c:pt idx="1122">
                  <c:v>106.05431</c:v>
                </c:pt>
                <c:pt idx="1123">
                  <c:v>106.71035999999999</c:v>
                </c:pt>
                <c:pt idx="1124">
                  <c:v>104.83874</c:v>
                </c:pt>
                <c:pt idx="1125">
                  <c:v>105.27288</c:v>
                </c:pt>
                <c:pt idx="1126">
                  <c:v>103.8933</c:v>
                </c:pt>
                <c:pt idx="1127">
                  <c:v>102.60053000000001</c:v>
                </c:pt>
                <c:pt idx="1128">
                  <c:v>103.20832</c:v>
                </c:pt>
                <c:pt idx="1129">
                  <c:v>99.204635999999994</c:v>
                </c:pt>
                <c:pt idx="1130">
                  <c:v>97.776809999999998</c:v>
                </c:pt>
                <c:pt idx="1131">
                  <c:v>98.394260000000003</c:v>
                </c:pt>
                <c:pt idx="1132">
                  <c:v>97.825059999999993</c:v>
                </c:pt>
                <c:pt idx="1133">
                  <c:v>97.931174999999996</c:v>
                </c:pt>
                <c:pt idx="1134">
                  <c:v>98.596850000000003</c:v>
                </c:pt>
                <c:pt idx="1135">
                  <c:v>97.805760000000006</c:v>
                </c:pt>
                <c:pt idx="1136">
                  <c:v>97.149730000000005</c:v>
                </c:pt>
                <c:pt idx="1137">
                  <c:v>97.603160000000003</c:v>
                </c:pt>
                <c:pt idx="1138">
                  <c:v>99.146749999999997</c:v>
                </c:pt>
                <c:pt idx="1139">
                  <c:v>97.921530000000004</c:v>
                </c:pt>
                <c:pt idx="1140">
                  <c:v>97.940830000000005</c:v>
                </c:pt>
                <c:pt idx="1141">
                  <c:v>98.799449999999993</c:v>
                </c:pt>
                <c:pt idx="1142">
                  <c:v>98.944149999999993</c:v>
                </c:pt>
                <c:pt idx="1143">
                  <c:v>98.953804000000005</c:v>
                </c:pt>
                <c:pt idx="1144">
                  <c:v>99.243229999999997</c:v>
                </c:pt>
                <c:pt idx="1145">
                  <c:v>97.63212</c:v>
                </c:pt>
                <c:pt idx="1146">
                  <c:v>97.921530000000004</c:v>
                </c:pt>
                <c:pt idx="1147">
                  <c:v>98.018005000000002</c:v>
                </c:pt>
                <c:pt idx="1148">
                  <c:v>97.921530000000004</c:v>
                </c:pt>
                <c:pt idx="1149">
                  <c:v>93.638069999999999</c:v>
                </c:pt>
                <c:pt idx="1150">
                  <c:v>93.647710000000004</c:v>
                </c:pt>
                <c:pt idx="1151">
                  <c:v>93.667010000000005</c:v>
                </c:pt>
                <c:pt idx="1152">
                  <c:v>94.438805000000002</c:v>
                </c:pt>
                <c:pt idx="1153">
                  <c:v>95.336010000000002</c:v>
                </c:pt>
                <c:pt idx="1154">
                  <c:v>94.448449999999994</c:v>
                </c:pt>
                <c:pt idx="1155">
                  <c:v>95.046584999999993</c:v>
                </c:pt>
                <c:pt idx="1156">
                  <c:v>94.641396</c:v>
                </c:pt>
                <c:pt idx="1157">
                  <c:v>94.959760000000003</c:v>
                </c:pt>
                <c:pt idx="1158">
                  <c:v>95.712265000000002</c:v>
                </c:pt>
                <c:pt idx="1159">
                  <c:v>95.403540000000007</c:v>
                </c:pt>
                <c:pt idx="1160">
                  <c:v>95.123769999999993</c:v>
                </c:pt>
                <c:pt idx="1161">
                  <c:v>96.059569999999994</c:v>
                </c:pt>
                <c:pt idx="1162">
                  <c:v>95.152709999999999</c:v>
                </c:pt>
                <c:pt idx="1163">
                  <c:v>95.741209999999995</c:v>
                </c:pt>
                <c:pt idx="1164">
                  <c:v>94.593159999999997</c:v>
                </c:pt>
                <c:pt idx="1165">
                  <c:v>95.094830000000002</c:v>
                </c:pt>
                <c:pt idx="1166">
                  <c:v>96.339349999999996</c:v>
                </c:pt>
                <c:pt idx="1167">
                  <c:v>97.236559999999997</c:v>
                </c:pt>
                <c:pt idx="1168">
                  <c:v>97.005030000000005</c:v>
                </c:pt>
                <c:pt idx="1169">
                  <c:v>96.580529999999996</c:v>
                </c:pt>
                <c:pt idx="1170">
                  <c:v>96.541939999999997</c:v>
                </c:pt>
                <c:pt idx="1171">
                  <c:v>96.059569999999994</c:v>
                </c:pt>
                <c:pt idx="1172">
                  <c:v>96.069230000000005</c:v>
                </c:pt>
                <c:pt idx="1173">
                  <c:v>95.075540000000004</c:v>
                </c:pt>
                <c:pt idx="1174">
                  <c:v>93.512649999999994</c:v>
                </c:pt>
                <c:pt idx="1175">
                  <c:v>93.946785000000006</c:v>
                </c:pt>
                <c:pt idx="1176">
                  <c:v>94.670333999999997</c:v>
                </c:pt>
                <c:pt idx="1177">
                  <c:v>94.892240000000001</c:v>
                </c:pt>
                <c:pt idx="1178">
                  <c:v>94.786109999999994</c:v>
                </c:pt>
                <c:pt idx="1179">
                  <c:v>95.519324999999995</c:v>
                </c:pt>
                <c:pt idx="1180">
                  <c:v>95.895579999999995</c:v>
                </c:pt>
                <c:pt idx="1181">
                  <c:v>95.220245000000006</c:v>
                </c:pt>
                <c:pt idx="1182">
                  <c:v>94.824700000000007</c:v>
                </c:pt>
                <c:pt idx="1183">
                  <c:v>94.351969999999994</c:v>
                </c:pt>
                <c:pt idx="1184">
                  <c:v>95.085179999999994</c:v>
                </c:pt>
                <c:pt idx="1185">
                  <c:v>94.843999999999994</c:v>
                </c:pt>
                <c:pt idx="1186">
                  <c:v>94.583510000000004</c:v>
                </c:pt>
                <c:pt idx="1187">
                  <c:v>94.361626000000001</c:v>
                </c:pt>
                <c:pt idx="1188">
                  <c:v>95.538605000000004</c:v>
                </c:pt>
                <c:pt idx="1189">
                  <c:v>94.882589999999993</c:v>
                </c:pt>
                <c:pt idx="1190">
                  <c:v>95.162369999999996</c:v>
                </c:pt>
                <c:pt idx="1191">
                  <c:v>97.091849999999994</c:v>
                </c:pt>
                <c:pt idx="1192">
                  <c:v>98.027659999999997</c:v>
                </c:pt>
                <c:pt idx="1193">
                  <c:v>97.612809999999996</c:v>
                </c:pt>
                <c:pt idx="1194">
                  <c:v>99.059920000000005</c:v>
                </c:pt>
                <c:pt idx="1195">
                  <c:v>101.08589000000001</c:v>
                </c:pt>
                <c:pt idx="1196">
                  <c:v>101.04730000000001</c:v>
                </c:pt>
                <c:pt idx="1197">
                  <c:v>99.532650000000004</c:v>
                </c:pt>
                <c:pt idx="1198">
                  <c:v>100.03431999999999</c:v>
                </c:pt>
                <c:pt idx="1199">
                  <c:v>99.947495000000004</c:v>
                </c:pt>
                <c:pt idx="1200">
                  <c:v>99.793130000000005</c:v>
                </c:pt>
                <c:pt idx="1201">
                  <c:v>99.127459999999999</c:v>
                </c:pt>
                <c:pt idx="1202">
                  <c:v>99.368639999999999</c:v>
                </c:pt>
                <c:pt idx="1203">
                  <c:v>99.117810000000006</c:v>
                </c:pt>
                <c:pt idx="1204">
                  <c:v>99.021330000000006</c:v>
                </c:pt>
                <c:pt idx="1205">
                  <c:v>99.166045999999994</c:v>
                </c:pt>
                <c:pt idx="1206">
                  <c:v>99.764200000000002</c:v>
                </c:pt>
                <c:pt idx="1207">
                  <c:v>101.52967</c:v>
                </c:pt>
                <c:pt idx="1208">
                  <c:v>101.12447</c:v>
                </c:pt>
                <c:pt idx="1209">
                  <c:v>101.53932</c:v>
                </c:pt>
                <c:pt idx="1210">
                  <c:v>106.33409</c:v>
                </c:pt>
                <c:pt idx="1211">
                  <c:v>103.43986</c:v>
                </c:pt>
                <c:pt idx="1212">
                  <c:v>101.74191</c:v>
                </c:pt>
                <c:pt idx="1213">
                  <c:v>101.54897</c:v>
                </c:pt>
                <c:pt idx="1214">
                  <c:v>101.3642</c:v>
                </c:pt>
                <c:pt idx="1215">
                  <c:v>103.89270999999999</c:v>
                </c:pt>
                <c:pt idx="1216">
                  <c:v>104.476204</c:v>
                </c:pt>
                <c:pt idx="1217">
                  <c:v>104.65125999999999</c:v>
                </c:pt>
                <c:pt idx="1218">
                  <c:v>107.52988000000001</c:v>
                </c:pt>
                <c:pt idx="1219">
                  <c:v>108.21062499999999</c:v>
                </c:pt>
                <c:pt idx="1220">
                  <c:v>107.97723000000001</c:v>
                </c:pt>
                <c:pt idx="1221">
                  <c:v>108.73578000000001</c:v>
                </c:pt>
                <c:pt idx="1222">
                  <c:v>106.67407</c:v>
                </c:pt>
                <c:pt idx="1223">
                  <c:v>106.557365</c:v>
                </c:pt>
                <c:pt idx="1224">
                  <c:v>105.682106</c:v>
                </c:pt>
                <c:pt idx="1225">
                  <c:v>105.14724</c:v>
                </c:pt>
                <c:pt idx="1226">
                  <c:v>104.680435</c:v>
                </c:pt>
                <c:pt idx="1227">
                  <c:v>104.80686</c:v>
                </c:pt>
                <c:pt idx="1228">
                  <c:v>104.55401000000001</c:v>
                </c:pt>
                <c:pt idx="1229">
                  <c:v>108.72607000000001</c:v>
                </c:pt>
                <c:pt idx="1230">
                  <c:v>109.19285600000001</c:v>
                </c:pt>
                <c:pt idx="1231">
                  <c:v>109.14424</c:v>
                </c:pt>
                <c:pt idx="1232">
                  <c:v>108.551</c:v>
                </c:pt>
                <c:pt idx="1233">
                  <c:v>106.994995</c:v>
                </c:pt>
                <c:pt idx="1234">
                  <c:v>106.91719000000001</c:v>
                </c:pt>
                <c:pt idx="1235">
                  <c:v>106.46011</c:v>
                </c:pt>
                <c:pt idx="1236">
                  <c:v>107.93832</c:v>
                </c:pt>
                <c:pt idx="1237">
                  <c:v>109.37763</c:v>
                </c:pt>
                <c:pt idx="1238">
                  <c:v>107.64657</c:v>
                </c:pt>
                <c:pt idx="1239">
                  <c:v>108.89138</c:v>
                </c:pt>
                <c:pt idx="1240">
                  <c:v>107.384</c:v>
                </c:pt>
                <c:pt idx="1241">
                  <c:v>107.54931999999999</c:v>
                </c:pt>
                <c:pt idx="1242">
                  <c:v>108.04529599999999</c:v>
                </c:pt>
                <c:pt idx="1243">
                  <c:v>107.37428</c:v>
                </c:pt>
                <c:pt idx="1244">
                  <c:v>107.46178399999999</c:v>
                </c:pt>
                <c:pt idx="1245">
                  <c:v>107.51042</c:v>
                </c:pt>
                <c:pt idx="1246">
                  <c:v>109.10532000000001</c:v>
                </c:pt>
                <c:pt idx="1247">
                  <c:v>108.47320000000001</c:v>
                </c:pt>
                <c:pt idx="1248">
                  <c:v>107.08251</c:v>
                </c:pt>
                <c:pt idx="1249">
                  <c:v>105.682106</c:v>
                </c:pt>
                <c:pt idx="1250">
                  <c:v>107.45207000000001</c:v>
                </c:pt>
                <c:pt idx="1251">
                  <c:v>105.71128</c:v>
                </c:pt>
                <c:pt idx="1252">
                  <c:v>101.82125000000001</c:v>
                </c:pt>
                <c:pt idx="1253">
                  <c:v>103.250854</c:v>
                </c:pt>
                <c:pt idx="1254">
                  <c:v>101.87962</c:v>
                </c:pt>
                <c:pt idx="1255">
                  <c:v>98.563379999999995</c:v>
                </c:pt>
                <c:pt idx="1256">
                  <c:v>100.25552999999999</c:v>
                </c:pt>
                <c:pt idx="1257">
                  <c:v>100.54728</c:v>
                </c:pt>
                <c:pt idx="1258">
                  <c:v>101.25722</c:v>
                </c:pt>
                <c:pt idx="1259">
                  <c:v>101.72401000000001</c:v>
                </c:pt>
                <c:pt idx="1260">
                  <c:v>102.28807</c:v>
                </c:pt>
                <c:pt idx="1261">
                  <c:v>103.60095</c:v>
                </c:pt>
                <c:pt idx="1262">
                  <c:v>103.06608</c:v>
                </c:pt>
                <c:pt idx="1263">
                  <c:v>102.161644</c:v>
                </c:pt>
                <c:pt idx="1264">
                  <c:v>102.34641999999999</c:v>
                </c:pt>
                <c:pt idx="1265">
                  <c:v>104.30115499999999</c:v>
                </c:pt>
                <c:pt idx="1266">
                  <c:v>106.790764</c:v>
                </c:pt>
                <c:pt idx="1267">
                  <c:v>101.98659499999999</c:v>
                </c:pt>
                <c:pt idx="1268">
                  <c:v>100.32361</c:v>
                </c:pt>
                <c:pt idx="1269">
                  <c:v>99.749830000000003</c:v>
                </c:pt>
                <c:pt idx="1270">
                  <c:v>100.15828999999999</c:v>
                </c:pt>
                <c:pt idx="1271">
                  <c:v>100.56674</c:v>
                </c:pt>
                <c:pt idx="1272">
                  <c:v>102.05468</c:v>
                </c:pt>
                <c:pt idx="1273">
                  <c:v>100.74178999999999</c:v>
                </c:pt>
                <c:pt idx="1274">
                  <c:v>101.169685</c:v>
                </c:pt>
                <c:pt idx="1275">
                  <c:v>101.85045</c:v>
                </c:pt>
                <c:pt idx="1276">
                  <c:v>102.27834</c:v>
                </c:pt>
                <c:pt idx="1277">
                  <c:v>100.87794</c:v>
                </c:pt>
                <c:pt idx="1278">
                  <c:v>101.04327000000001</c:v>
                </c:pt>
                <c:pt idx="1279">
                  <c:v>100.401405</c:v>
                </c:pt>
                <c:pt idx="1280">
                  <c:v>100.04159</c:v>
                </c:pt>
                <c:pt idx="1281">
                  <c:v>98.689803999999995</c:v>
                </c:pt>
                <c:pt idx="1282">
                  <c:v>98.563379999999995</c:v>
                </c:pt>
                <c:pt idx="1283">
                  <c:v>99.020449999999997</c:v>
                </c:pt>
                <c:pt idx="1284">
                  <c:v>97.834000000000003</c:v>
                </c:pt>
                <c:pt idx="1285">
                  <c:v>95.830640000000002</c:v>
                </c:pt>
                <c:pt idx="1286">
                  <c:v>97.882614000000004</c:v>
                </c:pt>
                <c:pt idx="1287">
                  <c:v>96.62809</c:v>
                </c:pt>
                <c:pt idx="1288">
                  <c:v>95.830640000000002</c:v>
                </c:pt>
                <c:pt idx="1289">
                  <c:v>97.678399999999996</c:v>
                </c:pt>
                <c:pt idx="1290">
                  <c:v>95.947333999999998</c:v>
                </c:pt>
                <c:pt idx="1291">
                  <c:v>96.686440000000005</c:v>
                </c:pt>
                <c:pt idx="1292">
                  <c:v>98.174379999999999</c:v>
                </c:pt>
                <c:pt idx="1293">
                  <c:v>99.302480000000003</c:v>
                </c:pt>
                <c:pt idx="1294">
                  <c:v>97.590869999999995</c:v>
                </c:pt>
                <c:pt idx="1295">
                  <c:v>96.958740000000006</c:v>
                </c:pt>
                <c:pt idx="1296">
                  <c:v>98.582830000000001</c:v>
                </c:pt>
                <c:pt idx="1297">
                  <c:v>98.028499999999994</c:v>
                </c:pt>
                <c:pt idx="1298">
                  <c:v>97.629760000000005</c:v>
                </c:pt>
                <c:pt idx="1299">
                  <c:v>97.590869999999995</c:v>
                </c:pt>
                <c:pt idx="1300">
                  <c:v>97.483894000000006</c:v>
                </c:pt>
                <c:pt idx="1301">
                  <c:v>99.360825000000006</c:v>
                </c:pt>
                <c:pt idx="1302">
                  <c:v>98.427220000000005</c:v>
                </c:pt>
                <c:pt idx="1303">
                  <c:v>98.116020000000006</c:v>
                </c:pt>
                <c:pt idx="1304">
                  <c:v>97.483894000000006</c:v>
                </c:pt>
                <c:pt idx="1305">
                  <c:v>97.396370000000005</c:v>
                </c:pt>
                <c:pt idx="1306">
                  <c:v>96.725340000000003</c:v>
                </c:pt>
                <c:pt idx="1307">
                  <c:v>98.368870000000001</c:v>
                </c:pt>
                <c:pt idx="1308">
                  <c:v>97.094893999999996</c:v>
                </c:pt>
                <c:pt idx="1309">
                  <c:v>96.501660000000001</c:v>
                </c:pt>
                <c:pt idx="1310">
                  <c:v>97.571430000000007</c:v>
                </c:pt>
                <c:pt idx="1311">
                  <c:v>97.308846000000003</c:v>
                </c:pt>
                <c:pt idx="1312">
                  <c:v>96.880939999999995</c:v>
                </c:pt>
                <c:pt idx="1313">
                  <c:v>96.044589999999999</c:v>
                </c:pt>
                <c:pt idx="1314">
                  <c:v>98.368870000000001</c:v>
                </c:pt>
                <c:pt idx="1315">
                  <c:v>99.662310000000005</c:v>
                </c:pt>
                <c:pt idx="1316">
                  <c:v>98.99127</c:v>
                </c:pt>
                <c:pt idx="1317">
                  <c:v>97.221320000000006</c:v>
                </c:pt>
                <c:pt idx="1318">
                  <c:v>98.884309999999999</c:v>
                </c:pt>
                <c:pt idx="1319">
                  <c:v>99.263580000000005</c:v>
                </c:pt>
                <c:pt idx="1320">
                  <c:v>99.623405000000005</c:v>
                </c:pt>
                <c:pt idx="1321">
                  <c:v>100.0902</c:v>
                </c:pt>
                <c:pt idx="1322">
                  <c:v>102.15192399999999</c:v>
                </c:pt>
                <c:pt idx="1323">
                  <c:v>101.47117</c:v>
                </c:pt>
                <c:pt idx="1324">
                  <c:v>101.07244</c:v>
                </c:pt>
                <c:pt idx="1325">
                  <c:v>101.19886</c:v>
                </c:pt>
                <c:pt idx="1326">
                  <c:v>101.20859</c:v>
                </c:pt>
                <c:pt idx="1327">
                  <c:v>100.06104000000001</c:v>
                </c:pt>
                <c:pt idx="1328">
                  <c:v>99.302480000000003</c:v>
                </c:pt>
                <c:pt idx="1329">
                  <c:v>99.39</c:v>
                </c:pt>
                <c:pt idx="1330">
                  <c:v>96.949020000000004</c:v>
                </c:pt>
                <c:pt idx="1331">
                  <c:v>97.231049999999996</c:v>
                </c:pt>
                <c:pt idx="1332">
                  <c:v>96.735069999999993</c:v>
                </c:pt>
                <c:pt idx="1333">
                  <c:v>96.62809</c:v>
                </c:pt>
                <c:pt idx="1334">
                  <c:v>97.483894000000006</c:v>
                </c:pt>
                <c:pt idx="1335">
                  <c:v>97.192149999999998</c:v>
                </c:pt>
                <c:pt idx="1336">
                  <c:v>99.107979999999998</c:v>
                </c:pt>
                <c:pt idx="1337">
                  <c:v>99.65258</c:v>
                </c:pt>
                <c:pt idx="1338">
                  <c:v>101.12107</c:v>
                </c:pt>
                <c:pt idx="1339">
                  <c:v>101.480896</c:v>
                </c:pt>
                <c:pt idx="1340">
                  <c:v>101.46144</c:v>
                </c:pt>
                <c:pt idx="1341">
                  <c:v>103.387</c:v>
                </c:pt>
                <c:pt idx="1342">
                  <c:v>105.75991999999999</c:v>
                </c:pt>
                <c:pt idx="1343">
                  <c:v>105.85717</c:v>
                </c:pt>
                <c:pt idx="1344">
                  <c:v>104.11638000000001</c:v>
                </c:pt>
                <c:pt idx="1345">
                  <c:v>103.18277999999999</c:v>
                </c:pt>
                <c:pt idx="1346">
                  <c:v>104.2039</c:v>
                </c:pt>
                <c:pt idx="1347">
                  <c:v>102.97854599999999</c:v>
                </c:pt>
                <c:pt idx="1348">
                  <c:v>103.41616999999999</c:v>
                </c:pt>
                <c:pt idx="1349">
                  <c:v>101.57814</c:v>
                </c:pt>
                <c:pt idx="1350">
                  <c:v>101.39336400000001</c:v>
                </c:pt>
                <c:pt idx="1351">
                  <c:v>101.10161600000001</c:v>
                </c:pt>
                <c:pt idx="1352">
                  <c:v>101.88934999999999</c:v>
                </c:pt>
                <c:pt idx="1353">
                  <c:v>101.928246</c:v>
                </c:pt>
                <c:pt idx="1354">
                  <c:v>102.43394499999999</c:v>
                </c:pt>
                <c:pt idx="1355">
                  <c:v>101.17941</c:v>
                </c:pt>
                <c:pt idx="1356">
                  <c:v>102.44367</c:v>
                </c:pt>
                <c:pt idx="1357">
                  <c:v>102.71816</c:v>
                </c:pt>
                <c:pt idx="1358">
                  <c:v>103.93376000000001</c:v>
                </c:pt>
                <c:pt idx="1359">
                  <c:v>103.94356500000001</c:v>
                </c:pt>
                <c:pt idx="1360">
                  <c:v>105.91401999999999</c:v>
                </c:pt>
                <c:pt idx="1361">
                  <c:v>106.11989</c:v>
                </c:pt>
                <c:pt idx="1362">
                  <c:v>107.83544000000001</c:v>
                </c:pt>
                <c:pt idx="1363">
                  <c:v>108.03149999999999</c:v>
                </c:pt>
                <c:pt idx="1364">
                  <c:v>108.12954999999999</c:v>
                </c:pt>
                <c:pt idx="1365">
                  <c:v>108.51187</c:v>
                </c:pt>
                <c:pt idx="1366">
                  <c:v>109.92354</c:v>
                </c:pt>
                <c:pt idx="1367">
                  <c:v>109.28632</c:v>
                </c:pt>
                <c:pt idx="1368">
                  <c:v>108.90398999999999</c:v>
                </c:pt>
                <c:pt idx="1369">
                  <c:v>108.52167</c:v>
                </c:pt>
                <c:pt idx="1370">
                  <c:v>108.992226</c:v>
                </c:pt>
                <c:pt idx="1371">
                  <c:v>111.276375</c:v>
                </c:pt>
                <c:pt idx="1372">
                  <c:v>110.40389</c:v>
                </c:pt>
                <c:pt idx="1373">
                  <c:v>110.41370000000001</c:v>
                </c:pt>
                <c:pt idx="1374">
                  <c:v>111.32539</c:v>
                </c:pt>
                <c:pt idx="1375">
                  <c:v>110.74701</c:v>
                </c:pt>
                <c:pt idx="1376">
                  <c:v>110.53133</c:v>
                </c:pt>
                <c:pt idx="1377">
                  <c:v>111.84496</c:v>
                </c:pt>
                <c:pt idx="1378">
                  <c:v>113.65855999999999</c:v>
                </c:pt>
                <c:pt idx="1379">
                  <c:v>114.26635</c:v>
                </c:pt>
                <c:pt idx="1380">
                  <c:v>111.73712999999999</c:v>
                </c:pt>
                <c:pt idx="1381">
                  <c:v>111.9136</c:v>
                </c:pt>
                <c:pt idx="1382">
                  <c:v>110.46271</c:v>
                </c:pt>
                <c:pt idx="1383">
                  <c:v>109.91373</c:v>
                </c:pt>
                <c:pt idx="1384">
                  <c:v>110.53133</c:v>
                </c:pt>
                <c:pt idx="1385">
                  <c:v>110.629364</c:v>
                </c:pt>
                <c:pt idx="1386">
                  <c:v>110.26665</c:v>
                </c:pt>
                <c:pt idx="1387">
                  <c:v>110.26665</c:v>
                </c:pt>
                <c:pt idx="1388">
                  <c:v>109.78628</c:v>
                </c:pt>
                <c:pt idx="1389">
                  <c:v>110.17841</c:v>
                </c:pt>
                <c:pt idx="1390">
                  <c:v>109.737274</c:v>
                </c:pt>
                <c:pt idx="1391">
                  <c:v>109.79609000000001</c:v>
                </c:pt>
                <c:pt idx="1392">
                  <c:v>109.72748</c:v>
                </c:pt>
                <c:pt idx="1393">
                  <c:v>110.11959</c:v>
                </c:pt>
                <c:pt idx="1394">
                  <c:v>110.36468000000001</c:v>
                </c:pt>
                <c:pt idx="1395">
                  <c:v>110.23723</c:v>
                </c:pt>
                <c:pt idx="1396">
                  <c:v>109.71767</c:v>
                </c:pt>
                <c:pt idx="1397">
                  <c:v>109.81569</c:v>
                </c:pt>
                <c:pt idx="1398">
                  <c:v>108.66871</c:v>
                </c:pt>
                <c:pt idx="1399">
                  <c:v>107.70801</c:v>
                </c:pt>
                <c:pt idx="1400">
                  <c:v>108.09032999999999</c:v>
                </c:pt>
                <c:pt idx="1401">
                  <c:v>108.78636</c:v>
                </c:pt>
                <c:pt idx="1402">
                  <c:v>108.50207</c:v>
                </c:pt>
                <c:pt idx="1403">
                  <c:v>107.44331</c:v>
                </c:pt>
                <c:pt idx="1404">
                  <c:v>107.30607000000001</c:v>
                </c:pt>
                <c:pt idx="1405">
                  <c:v>108.49226</c:v>
                </c:pt>
                <c:pt idx="1406">
                  <c:v>107.110016</c:v>
                </c:pt>
                <c:pt idx="1407">
                  <c:v>107.20804</c:v>
                </c:pt>
                <c:pt idx="1408">
                  <c:v>107.374695</c:v>
                </c:pt>
                <c:pt idx="1409">
                  <c:v>107.62958</c:v>
                </c:pt>
                <c:pt idx="1410">
                  <c:v>109.42357</c:v>
                </c:pt>
                <c:pt idx="1411">
                  <c:v>108.22758</c:v>
                </c:pt>
                <c:pt idx="1412">
                  <c:v>110.55092999999999</c:v>
                </c:pt>
                <c:pt idx="1413">
                  <c:v>111.39400999999999</c:v>
                </c:pt>
                <c:pt idx="1414">
                  <c:v>112.942924</c:v>
                </c:pt>
                <c:pt idx="1415">
                  <c:v>113.75660000000001</c:v>
                </c:pt>
                <c:pt idx="1416">
                  <c:v>114.638885</c:v>
                </c:pt>
                <c:pt idx="1417">
                  <c:v>113.95265999999999</c:v>
                </c:pt>
                <c:pt idx="1418">
                  <c:v>115.34471000000001</c:v>
                </c:pt>
                <c:pt idx="1419">
                  <c:v>114.60947</c:v>
                </c:pt>
                <c:pt idx="1420">
                  <c:v>113.84482</c:v>
                </c:pt>
                <c:pt idx="1421">
                  <c:v>112.52139</c:v>
                </c:pt>
                <c:pt idx="1422">
                  <c:v>113.73698400000001</c:v>
                </c:pt>
                <c:pt idx="1423">
                  <c:v>114.58987</c:v>
                </c:pt>
                <c:pt idx="1424">
                  <c:v>110.63917499999999</c:v>
                </c:pt>
                <c:pt idx="1425">
                  <c:v>108.96281999999999</c:v>
                </c:pt>
                <c:pt idx="1426">
                  <c:v>110.39408</c:v>
                </c:pt>
                <c:pt idx="1427">
                  <c:v>111.207756</c:v>
                </c:pt>
                <c:pt idx="1428">
                  <c:v>113.90364</c:v>
                </c:pt>
                <c:pt idx="1429">
                  <c:v>114.82513400000001</c:v>
                </c:pt>
                <c:pt idx="1430">
                  <c:v>113.89384</c:v>
                </c:pt>
                <c:pt idx="1431">
                  <c:v>116.56032</c:v>
                </c:pt>
                <c:pt idx="1432">
                  <c:v>115.94271000000001</c:v>
                </c:pt>
                <c:pt idx="1433">
                  <c:v>115.530975</c:v>
                </c:pt>
                <c:pt idx="1434">
                  <c:v>109.413765</c:v>
                </c:pt>
                <c:pt idx="1435">
                  <c:v>111.9136</c:v>
                </c:pt>
                <c:pt idx="1436">
                  <c:v>110.96268000000001</c:v>
                </c:pt>
                <c:pt idx="1437">
                  <c:v>110.81562</c:v>
                </c:pt>
                <c:pt idx="1438">
                  <c:v>112.501785</c:v>
                </c:pt>
                <c:pt idx="1439">
                  <c:v>112.570404</c:v>
                </c:pt>
                <c:pt idx="1440">
                  <c:v>113.81541</c:v>
                </c:pt>
                <c:pt idx="1441">
                  <c:v>112.91352000000001</c:v>
                </c:pt>
                <c:pt idx="1442">
                  <c:v>113.1782</c:v>
                </c:pt>
                <c:pt idx="1443">
                  <c:v>114.413414</c:v>
                </c:pt>
                <c:pt idx="1444">
                  <c:v>114.74670999999999</c:v>
                </c:pt>
                <c:pt idx="1445">
                  <c:v>113.717384</c:v>
                </c:pt>
                <c:pt idx="1446">
                  <c:v>115.67802399999999</c:v>
                </c:pt>
                <c:pt idx="1447">
                  <c:v>114.4036</c:v>
                </c:pt>
                <c:pt idx="1448">
                  <c:v>114.55064400000001</c:v>
                </c:pt>
                <c:pt idx="1449">
                  <c:v>114.81534000000001</c:v>
                </c:pt>
                <c:pt idx="1450">
                  <c:v>114.80553999999999</c:v>
                </c:pt>
                <c:pt idx="1451">
                  <c:v>113.90364</c:v>
                </c:pt>
                <c:pt idx="1452">
                  <c:v>113.14879000000001</c:v>
                </c:pt>
                <c:pt idx="1453">
                  <c:v>109.668655</c:v>
                </c:pt>
                <c:pt idx="1454">
                  <c:v>110.80582</c:v>
                </c:pt>
                <c:pt idx="1455">
                  <c:v>109.87452</c:v>
                </c:pt>
                <c:pt idx="1456">
                  <c:v>110.33526999999999</c:v>
                </c:pt>
                <c:pt idx="1457">
                  <c:v>111.65871</c:v>
                </c:pt>
                <c:pt idx="1458">
                  <c:v>113.81541</c:v>
                </c:pt>
                <c:pt idx="1459">
                  <c:v>114.31538</c:v>
                </c:pt>
                <c:pt idx="1460">
                  <c:v>113.217415</c:v>
                </c:pt>
                <c:pt idx="1461">
                  <c:v>113.46248</c:v>
                </c:pt>
                <c:pt idx="1462">
                  <c:v>110.64897999999999</c:v>
                </c:pt>
                <c:pt idx="1463">
                  <c:v>112.080246</c:v>
                </c:pt>
                <c:pt idx="1464">
                  <c:v>110.628</c:v>
                </c:pt>
                <c:pt idx="1465">
                  <c:v>110.50944</c:v>
                </c:pt>
                <c:pt idx="1466">
                  <c:v>110.61812</c:v>
                </c:pt>
                <c:pt idx="1467">
                  <c:v>110.85522</c:v>
                </c:pt>
                <c:pt idx="1468">
                  <c:v>112.020966</c:v>
                </c:pt>
                <c:pt idx="1469">
                  <c:v>110.84533999999999</c:v>
                </c:pt>
                <c:pt idx="1470">
                  <c:v>109.28442</c:v>
                </c:pt>
                <c:pt idx="1471">
                  <c:v>108.12853</c:v>
                </c:pt>
                <c:pt idx="1472">
                  <c:v>107.90132</c:v>
                </c:pt>
                <c:pt idx="1473">
                  <c:v>105.70811999999999</c:v>
                </c:pt>
                <c:pt idx="1474">
                  <c:v>102.961685</c:v>
                </c:pt>
                <c:pt idx="1475">
                  <c:v>99.138405000000006</c:v>
                </c:pt>
                <c:pt idx="1476">
                  <c:v>104.55225</c:v>
                </c:pt>
                <c:pt idx="1477">
                  <c:v>105.23390999999999</c:v>
                </c:pt>
                <c:pt idx="1478">
                  <c:v>106.00449999999999</c:v>
                </c:pt>
                <c:pt idx="1479">
                  <c:v>108.326126</c:v>
                </c:pt>
                <c:pt idx="1480">
                  <c:v>107.65434</c:v>
                </c:pt>
                <c:pt idx="1481">
                  <c:v>105.04621</c:v>
                </c:pt>
                <c:pt idx="1482">
                  <c:v>108.28660600000001</c:v>
                </c:pt>
                <c:pt idx="1483">
                  <c:v>109.22513600000001</c:v>
                </c:pt>
                <c:pt idx="1484">
                  <c:v>110.07474999999999</c:v>
                </c:pt>
                <c:pt idx="1485">
                  <c:v>111.30965399999999</c:v>
                </c:pt>
                <c:pt idx="1486">
                  <c:v>111.438095</c:v>
                </c:pt>
                <c:pt idx="1487">
                  <c:v>111.28991000000001</c:v>
                </c:pt>
                <c:pt idx="1488">
                  <c:v>111.062675</c:v>
                </c:pt>
                <c:pt idx="1489">
                  <c:v>110.41065</c:v>
                </c:pt>
                <c:pt idx="1490">
                  <c:v>109.57091</c:v>
                </c:pt>
                <c:pt idx="1491">
                  <c:v>109.66970999999999</c:v>
                </c:pt>
                <c:pt idx="1492">
                  <c:v>109.69935</c:v>
                </c:pt>
                <c:pt idx="1493">
                  <c:v>109.264656</c:v>
                </c:pt>
                <c:pt idx="1494">
                  <c:v>109.77838</c:v>
                </c:pt>
                <c:pt idx="1495">
                  <c:v>109.21526</c:v>
                </c:pt>
                <c:pt idx="1496">
                  <c:v>109.74872999999999</c:v>
                </c:pt>
                <c:pt idx="1497">
                  <c:v>109.472115</c:v>
                </c:pt>
                <c:pt idx="1498">
                  <c:v>109.56103</c:v>
                </c:pt>
                <c:pt idx="1499">
                  <c:v>108.80033</c:v>
                </c:pt>
                <c:pt idx="1500">
                  <c:v>110.173546</c:v>
                </c:pt>
                <c:pt idx="1501">
                  <c:v>109.95621</c:v>
                </c:pt>
                <c:pt idx="1502">
                  <c:v>110.45017</c:v>
                </c:pt>
                <c:pt idx="1503">
                  <c:v>111.29979</c:v>
                </c:pt>
                <c:pt idx="1504">
                  <c:v>110.06488</c:v>
                </c:pt>
                <c:pt idx="1505">
                  <c:v>109.61042</c:v>
                </c:pt>
                <c:pt idx="1506">
                  <c:v>110.16367</c:v>
                </c:pt>
                <c:pt idx="1507">
                  <c:v>108.11866999999999</c:v>
                </c:pt>
                <c:pt idx="1508">
                  <c:v>107.88155</c:v>
                </c:pt>
                <c:pt idx="1509">
                  <c:v>108.86947000000001</c:v>
                </c:pt>
                <c:pt idx="1510">
                  <c:v>109.32393</c:v>
                </c:pt>
                <c:pt idx="1511">
                  <c:v>111.23062</c:v>
                </c:pt>
                <c:pt idx="1512">
                  <c:v>112.13952</c:v>
                </c:pt>
                <c:pt idx="1513">
                  <c:v>112.30746499999999</c:v>
                </c:pt>
                <c:pt idx="1514">
                  <c:v>112.9101</c:v>
                </c:pt>
                <c:pt idx="1515">
                  <c:v>113.85851</c:v>
                </c:pt>
                <c:pt idx="1516">
                  <c:v>112.21854999999999</c:v>
                </c:pt>
                <c:pt idx="1517">
                  <c:v>112.12963000000001</c:v>
                </c:pt>
                <c:pt idx="1518">
                  <c:v>111.418335</c:v>
                </c:pt>
                <c:pt idx="1519">
                  <c:v>111.47761</c:v>
                </c:pt>
                <c:pt idx="1520">
                  <c:v>112.633484</c:v>
                </c:pt>
                <c:pt idx="1521">
                  <c:v>112.94961499999999</c:v>
                </c:pt>
                <c:pt idx="1522">
                  <c:v>112.623604</c:v>
                </c:pt>
                <c:pt idx="1523">
                  <c:v>113.46334</c:v>
                </c:pt>
                <c:pt idx="1524">
                  <c:v>112.633484</c:v>
                </c:pt>
                <c:pt idx="1525">
                  <c:v>112.4359</c:v>
                </c:pt>
                <c:pt idx="1526">
                  <c:v>113.36454999999999</c:v>
                </c:pt>
                <c:pt idx="1527">
                  <c:v>113.344795</c:v>
                </c:pt>
                <c:pt idx="1528">
                  <c:v>112.71250999999999</c:v>
                </c:pt>
                <c:pt idx="1529">
                  <c:v>113.09781</c:v>
                </c:pt>
                <c:pt idx="1530">
                  <c:v>113.572014</c:v>
                </c:pt>
                <c:pt idx="1531">
                  <c:v>111.75423000000001</c:v>
                </c:pt>
                <c:pt idx="1532">
                  <c:v>108.67189999999999</c:v>
                </c:pt>
                <c:pt idx="1533">
                  <c:v>108.66202</c:v>
                </c:pt>
                <c:pt idx="1534">
                  <c:v>107.34808</c:v>
                </c:pt>
                <c:pt idx="1535">
                  <c:v>106.92328000000001</c:v>
                </c:pt>
                <c:pt idx="1536">
                  <c:v>106.48859</c:v>
                </c:pt>
                <c:pt idx="1537">
                  <c:v>108.81021</c:v>
                </c:pt>
                <c:pt idx="1538">
                  <c:v>108.94852</c:v>
                </c:pt>
                <c:pt idx="1539">
                  <c:v>109.37333</c:v>
                </c:pt>
                <c:pt idx="1540">
                  <c:v>109.68944999999999</c:v>
                </c:pt>
                <c:pt idx="1541">
                  <c:v>111.151596</c:v>
                </c:pt>
                <c:pt idx="1542">
                  <c:v>110.60824</c:v>
                </c:pt>
                <c:pt idx="1543">
                  <c:v>111.16146000000001</c:v>
                </c:pt>
                <c:pt idx="1544">
                  <c:v>113.36454999999999</c:v>
                </c:pt>
                <c:pt idx="1545">
                  <c:v>113.61152</c:v>
                </c:pt>
                <c:pt idx="1546">
                  <c:v>113.572014</c:v>
                </c:pt>
                <c:pt idx="1547">
                  <c:v>115.44907000000001</c:v>
                </c:pt>
                <c:pt idx="1548">
                  <c:v>115.74545999999999</c:v>
                </c:pt>
                <c:pt idx="1549">
                  <c:v>115.192215</c:v>
                </c:pt>
                <c:pt idx="1550">
                  <c:v>128.4897</c:v>
                </c:pt>
                <c:pt idx="1551">
                  <c:v>130.44578999999999</c:v>
                </c:pt>
                <c:pt idx="1552">
                  <c:v>128.33161999999999</c:v>
                </c:pt>
                <c:pt idx="1553">
                  <c:v>130.1593</c:v>
                </c:pt>
                <c:pt idx="1554">
                  <c:v>130.85085000000001</c:v>
                </c:pt>
                <c:pt idx="1555">
                  <c:v>130.09012999999999</c:v>
                </c:pt>
                <c:pt idx="1556">
                  <c:v>131.74986000000001</c:v>
                </c:pt>
                <c:pt idx="1557">
                  <c:v>133.46886000000001</c:v>
                </c:pt>
                <c:pt idx="1558">
                  <c:v>135.58301</c:v>
                </c:pt>
                <c:pt idx="1559">
                  <c:v>138.23067</c:v>
                </c:pt>
                <c:pt idx="1560">
                  <c:v>137.61815000000001</c:v>
                </c:pt>
                <c:pt idx="1561">
                  <c:v>135.31627</c:v>
                </c:pt>
                <c:pt idx="1562">
                  <c:v>134.73339999999999</c:v>
                </c:pt>
                <c:pt idx="1563">
                  <c:v>132.52045000000001</c:v>
                </c:pt>
                <c:pt idx="1564">
                  <c:v>132.70814999999999</c:v>
                </c:pt>
                <c:pt idx="1565">
                  <c:v>133.37006</c:v>
                </c:pt>
                <c:pt idx="1566">
                  <c:v>131.82889</c:v>
                </c:pt>
                <c:pt idx="1567">
                  <c:v>133.36018000000001</c:v>
                </c:pt>
                <c:pt idx="1568">
                  <c:v>131.97708</c:v>
                </c:pt>
                <c:pt idx="1569">
                  <c:v>132.42165</c:v>
                </c:pt>
                <c:pt idx="1570">
                  <c:v>129.75424000000001</c:v>
                </c:pt>
                <c:pt idx="1571">
                  <c:v>131.59178</c:v>
                </c:pt>
                <c:pt idx="1572">
                  <c:v>133.05391</c:v>
                </c:pt>
                <c:pt idx="1573">
                  <c:v>133.86401000000001</c:v>
                </c:pt>
                <c:pt idx="1574">
                  <c:v>133.40958000000001</c:v>
                </c:pt>
                <c:pt idx="1575">
                  <c:v>132.29322999999999</c:v>
                </c:pt>
                <c:pt idx="1576">
                  <c:v>132.47103999999999</c:v>
                </c:pt>
                <c:pt idx="1577">
                  <c:v>132.23394999999999</c:v>
                </c:pt>
                <c:pt idx="1578">
                  <c:v>131.12746999999999</c:v>
                </c:pt>
                <c:pt idx="1579">
                  <c:v>131.18672000000001</c:v>
                </c:pt>
                <c:pt idx="1580">
                  <c:v>131.01877999999999</c:v>
                </c:pt>
                <c:pt idx="1581">
                  <c:v>129.98149000000001</c:v>
                </c:pt>
                <c:pt idx="1582">
                  <c:v>130.60384999999999</c:v>
                </c:pt>
                <c:pt idx="1583">
                  <c:v>130.44578999999999</c:v>
                </c:pt>
                <c:pt idx="1584">
                  <c:v>130.87062</c:v>
                </c:pt>
                <c:pt idx="1585">
                  <c:v>133.19225</c:v>
                </c:pt>
                <c:pt idx="1586">
                  <c:v>134.29872</c:v>
                </c:pt>
                <c:pt idx="1587">
                  <c:v>135.55339000000001</c:v>
                </c:pt>
                <c:pt idx="1588">
                  <c:v>136.37334999999999</c:v>
                </c:pt>
                <c:pt idx="1589">
                  <c:v>135.41506999999999</c:v>
                </c:pt>
                <c:pt idx="1590">
                  <c:v>133.44909999999999</c:v>
                </c:pt>
                <c:pt idx="1591">
                  <c:v>134.08138</c:v>
                </c:pt>
                <c:pt idx="1592">
                  <c:v>140.02869000000001</c:v>
                </c:pt>
                <c:pt idx="1593">
                  <c:v>139.93977000000001</c:v>
                </c:pt>
                <c:pt idx="1594">
                  <c:v>139.26796999999999</c:v>
                </c:pt>
                <c:pt idx="1595">
                  <c:v>137.55887000000001</c:v>
                </c:pt>
                <c:pt idx="1596">
                  <c:v>139.21858</c:v>
                </c:pt>
                <c:pt idx="1597">
                  <c:v>140.30529999999999</c:v>
                </c:pt>
                <c:pt idx="1598">
                  <c:v>138.5369</c:v>
                </c:pt>
                <c:pt idx="1599">
                  <c:v>137.53910999999999</c:v>
                </c:pt>
                <c:pt idx="1600">
                  <c:v>138.25040999999999</c:v>
                </c:pt>
                <c:pt idx="1601">
                  <c:v>138.70484999999999</c:v>
                </c:pt>
                <c:pt idx="1602">
                  <c:v>137.61815000000001</c:v>
                </c:pt>
                <c:pt idx="1603">
                  <c:v>137.95402999999999</c:v>
                </c:pt>
                <c:pt idx="1604">
                  <c:v>139.93977000000001</c:v>
                </c:pt>
                <c:pt idx="1605">
                  <c:v>140.80914000000001</c:v>
                </c:pt>
                <c:pt idx="1606">
                  <c:v>141.25371000000001</c:v>
                </c:pt>
                <c:pt idx="1607">
                  <c:v>141.60162</c:v>
                </c:pt>
                <c:pt idx="1608">
                  <c:v>140.18015</c:v>
                </c:pt>
                <c:pt idx="1609">
                  <c:v>140.76662999999999</c:v>
                </c:pt>
                <c:pt idx="1610">
                  <c:v>142.68512999999999</c:v>
                </c:pt>
                <c:pt idx="1611">
                  <c:v>142.70501999999999</c:v>
                </c:pt>
                <c:pt idx="1612">
                  <c:v>144.01716999999999</c:v>
                </c:pt>
                <c:pt idx="1613">
                  <c:v>144.19607999999999</c:v>
                </c:pt>
                <c:pt idx="1614">
                  <c:v>143.44060999999999</c:v>
                </c:pt>
                <c:pt idx="1615">
                  <c:v>141.72092000000001</c:v>
                </c:pt>
                <c:pt idx="1616">
                  <c:v>140.78650999999999</c:v>
                </c:pt>
                <c:pt idx="1617">
                  <c:v>139.01712000000001</c:v>
                </c:pt>
                <c:pt idx="1618">
                  <c:v>140.00120000000001</c:v>
                </c:pt>
                <c:pt idx="1619">
                  <c:v>140.41872000000001</c:v>
                </c:pt>
                <c:pt idx="1620">
                  <c:v>140.44853000000001</c:v>
                </c:pt>
                <c:pt idx="1621">
                  <c:v>142.3571</c:v>
                </c:pt>
                <c:pt idx="1622">
                  <c:v>143.78851</c:v>
                </c:pt>
                <c:pt idx="1623">
                  <c:v>145.51815999999999</c:v>
                </c:pt>
                <c:pt idx="1624">
                  <c:v>144.06684999999999</c:v>
                </c:pt>
                <c:pt idx="1625">
                  <c:v>142.1583</c:v>
                </c:pt>
                <c:pt idx="1626">
                  <c:v>141.0052</c:v>
                </c:pt>
                <c:pt idx="1627">
                  <c:v>140.86604</c:v>
                </c:pt>
                <c:pt idx="1628">
                  <c:v>137.47635</c:v>
                </c:pt>
                <c:pt idx="1629">
                  <c:v>141.02507</c:v>
                </c:pt>
                <c:pt idx="1630">
                  <c:v>134.05683999999999</c:v>
                </c:pt>
                <c:pt idx="1631">
                  <c:v>137.06879000000001</c:v>
                </c:pt>
                <c:pt idx="1632">
                  <c:v>137.69504000000001</c:v>
                </c:pt>
                <c:pt idx="1633">
                  <c:v>134.94153</c:v>
                </c:pt>
                <c:pt idx="1634">
                  <c:v>136.19401999999999</c:v>
                </c:pt>
                <c:pt idx="1635">
                  <c:v>132.05879999999999</c:v>
                </c:pt>
                <c:pt idx="1636">
                  <c:v>132.61546000000001</c:v>
                </c:pt>
                <c:pt idx="1637">
                  <c:v>134.3948</c:v>
                </c:pt>
                <c:pt idx="1638">
                  <c:v>134.48427000000001</c:v>
                </c:pt>
                <c:pt idx="1639">
                  <c:v>134.32523</c:v>
                </c:pt>
                <c:pt idx="1640">
                  <c:v>134.95146</c:v>
                </c:pt>
                <c:pt idx="1641">
                  <c:v>135.26956000000001</c:v>
                </c:pt>
                <c:pt idx="1642">
                  <c:v>130.88583</c:v>
                </c:pt>
                <c:pt idx="1643">
                  <c:v>133.80832000000001</c:v>
                </c:pt>
                <c:pt idx="1644">
                  <c:v>133.68904000000001</c:v>
                </c:pt>
                <c:pt idx="1645">
                  <c:v>135.73677000000001</c:v>
                </c:pt>
                <c:pt idx="1646">
                  <c:v>137.01907</c:v>
                </c:pt>
                <c:pt idx="1647">
                  <c:v>136.44254000000001</c:v>
                </c:pt>
                <c:pt idx="1648">
                  <c:v>135.4982</c:v>
                </c:pt>
                <c:pt idx="1649">
                  <c:v>137.06879000000001</c:v>
                </c:pt>
                <c:pt idx="1650">
                  <c:v>138.01311999999999</c:v>
                </c:pt>
                <c:pt idx="1651">
                  <c:v>138.71889999999999</c:v>
                </c:pt>
                <c:pt idx="1652">
                  <c:v>138.00318999999999</c:v>
                </c:pt>
                <c:pt idx="1653">
                  <c:v>134.9813</c:v>
                </c:pt>
                <c:pt idx="1654">
                  <c:v>135.37889999999999</c:v>
                </c:pt>
                <c:pt idx="1655">
                  <c:v>136.68109999999999</c:v>
                </c:pt>
                <c:pt idx="1656">
                  <c:v>137.19801000000001</c:v>
                </c:pt>
                <c:pt idx="1657">
                  <c:v>134.99124</c:v>
                </c:pt>
                <c:pt idx="1658">
                  <c:v>135.4982</c:v>
                </c:pt>
                <c:pt idx="1659">
                  <c:v>135.98527999999999</c:v>
                </c:pt>
                <c:pt idx="1660">
                  <c:v>132.50612000000001</c:v>
                </c:pt>
                <c:pt idx="1661">
                  <c:v>131.48224999999999</c:v>
                </c:pt>
                <c:pt idx="1662">
                  <c:v>131.67113000000001</c:v>
                </c:pt>
                <c:pt idx="1663">
                  <c:v>131.18404000000001</c:v>
                </c:pt>
                <c:pt idx="1664">
                  <c:v>132.29736</c:v>
                </c:pt>
                <c:pt idx="1665">
                  <c:v>130.48822000000001</c:v>
                </c:pt>
                <c:pt idx="1666">
                  <c:v>129.18602000000001</c:v>
                </c:pt>
                <c:pt idx="1667">
                  <c:v>129.54387</c:v>
                </c:pt>
                <c:pt idx="1668">
                  <c:v>128.77846</c:v>
                </c:pt>
                <c:pt idx="1669">
                  <c:v>128.37090000000001</c:v>
                </c:pt>
                <c:pt idx="1670">
                  <c:v>127.38679500000001</c:v>
                </c:pt>
                <c:pt idx="1671">
                  <c:v>129.49417</c:v>
                </c:pt>
                <c:pt idx="1672">
                  <c:v>130.12039999999999</c:v>
                </c:pt>
                <c:pt idx="1673">
                  <c:v>127.70489000000001</c:v>
                </c:pt>
                <c:pt idx="1674">
                  <c:v>128.55976999999999</c:v>
                </c:pt>
                <c:pt idx="1675">
                  <c:v>128.56970000000001</c:v>
                </c:pt>
                <c:pt idx="1676">
                  <c:v>129.24566999999999</c:v>
                </c:pt>
                <c:pt idx="1677">
                  <c:v>128.92755</c:v>
                </c:pt>
                <c:pt idx="1678">
                  <c:v>128.9872</c:v>
                </c:pt>
                <c:pt idx="1679">
                  <c:v>130.08065999999999</c:v>
                </c:pt>
                <c:pt idx="1680">
                  <c:v>131.58165</c:v>
                </c:pt>
                <c:pt idx="1681">
                  <c:v>130.11046999999999</c:v>
                </c:pt>
                <c:pt idx="1682">
                  <c:v>129.48421999999999</c:v>
                </c:pt>
                <c:pt idx="1683">
                  <c:v>131.61148</c:v>
                </c:pt>
                <c:pt idx="1684">
                  <c:v>130.34904</c:v>
                </c:pt>
                <c:pt idx="1685">
                  <c:v>129.48421999999999</c:v>
                </c:pt>
                <c:pt idx="1686">
                  <c:v>130.12039999999999</c:v>
                </c:pt>
                <c:pt idx="1687">
                  <c:v>129.75262000000001</c:v>
                </c:pt>
                <c:pt idx="1688">
                  <c:v>128.70885999999999</c:v>
                </c:pt>
                <c:pt idx="1689">
                  <c:v>128.82817</c:v>
                </c:pt>
                <c:pt idx="1690">
                  <c:v>129.14626000000001</c:v>
                </c:pt>
                <c:pt idx="1691">
                  <c:v>131.95939999999999</c:v>
                </c:pt>
                <c:pt idx="1692">
                  <c:v>132.12839</c:v>
                </c:pt>
                <c:pt idx="1693">
                  <c:v>130.66712999999999</c:v>
                </c:pt>
                <c:pt idx="1694">
                  <c:v>130.48822000000001</c:v>
                </c:pt>
                <c:pt idx="1695">
                  <c:v>132.16815</c:v>
                </c:pt>
                <c:pt idx="1696">
                  <c:v>137.13838000000001</c:v>
                </c:pt>
                <c:pt idx="1697">
                  <c:v>135.92563999999999</c:v>
                </c:pt>
                <c:pt idx="1698">
                  <c:v>137.75468000000001</c:v>
                </c:pt>
                <c:pt idx="1699">
                  <c:v>147.83429000000001</c:v>
                </c:pt>
                <c:pt idx="1700">
                  <c:v>146.27364</c:v>
                </c:pt>
                <c:pt idx="1701">
                  <c:v>143.80841000000001</c:v>
                </c:pt>
                <c:pt idx="1702">
                  <c:v>146.77065999999999</c:v>
                </c:pt>
                <c:pt idx="1703">
                  <c:v>147.49632</c:v>
                </c:pt>
                <c:pt idx="1704">
                  <c:v>146.05494999999999</c:v>
                </c:pt>
                <c:pt idx="1705">
                  <c:v>146.02511999999999</c:v>
                </c:pt>
                <c:pt idx="1706">
                  <c:v>147.40684999999999</c:v>
                </c:pt>
                <c:pt idx="1707">
                  <c:v>148.79850999999999</c:v>
                </c:pt>
                <c:pt idx="1708">
                  <c:v>150.73689999999999</c:v>
                </c:pt>
                <c:pt idx="1709">
                  <c:v>150.57785000000001</c:v>
                </c:pt>
                <c:pt idx="1710">
                  <c:v>150.67725999999999</c:v>
                </c:pt>
                <c:pt idx="1711">
                  <c:v>149.72296</c:v>
                </c:pt>
                <c:pt idx="1712">
                  <c:v>147.69513000000001</c:v>
                </c:pt>
                <c:pt idx="1713">
                  <c:v>147.39690999999999</c:v>
                </c:pt>
                <c:pt idx="1714">
                  <c:v>146.56190000000001</c:v>
                </c:pt>
                <c:pt idx="1715">
                  <c:v>146.78061</c:v>
                </c:pt>
                <c:pt idx="1716">
                  <c:v>145.33924999999999</c:v>
                </c:pt>
                <c:pt idx="1717">
                  <c:v>145.22989000000001</c:v>
                </c:pt>
                <c:pt idx="1718">
                  <c:v>146.71100999999999</c:v>
                </c:pt>
                <c:pt idx="1719">
                  <c:v>146.88</c:v>
                </c:pt>
                <c:pt idx="1720">
                  <c:v>146.38</c:v>
                </c:pt>
                <c:pt idx="1721">
                  <c:v>148.46</c:v>
                </c:pt>
                <c:pt idx="1722">
                  <c:v>147.72999999999999</c:v>
                </c:pt>
                <c:pt idx="1723">
                  <c:v>146.26</c:v>
                </c:pt>
                <c:pt idx="1724">
                  <c:v>146.15</c:v>
                </c:pt>
                <c:pt idx="1725">
                  <c:v>146.88</c:v>
                </c:pt>
                <c:pt idx="1726">
                  <c:v>144.68</c:v>
                </c:pt>
                <c:pt idx="1727">
                  <c:v>145.29</c:v>
                </c:pt>
                <c:pt idx="1728">
                  <c:v>145.69999999999999</c:v>
                </c:pt>
                <c:pt idx="1729">
                  <c:v>145.75</c:v>
                </c:pt>
                <c:pt idx="1730">
                  <c:v>143.77000000000001</c:v>
                </c:pt>
                <c:pt idx="1731">
                  <c:v>144.63</c:v>
                </c:pt>
                <c:pt idx="1732">
                  <c:v>148.19999999999999</c:v>
                </c:pt>
                <c:pt idx="1733">
                  <c:v>146.5</c:v>
                </c:pt>
                <c:pt idx="1734">
                  <c:v>145.65</c:v>
                </c:pt>
                <c:pt idx="1735">
                  <c:v>145.69999999999999</c:v>
                </c:pt>
                <c:pt idx="1736">
                  <c:v>145.4</c:v>
                </c:pt>
                <c:pt idx="1737">
                  <c:v>144.83000000000001</c:v>
                </c:pt>
                <c:pt idx="1738">
                  <c:v>144.62</c:v>
                </c:pt>
                <c:pt idx="1739">
                  <c:v>143.88</c:v>
                </c:pt>
                <c:pt idx="1740">
                  <c:v>145.19999999999999</c:v>
                </c:pt>
                <c:pt idx="1741">
                  <c:v>144.32</c:v>
                </c:pt>
                <c:pt idx="1742">
                  <c:v>145.12</c:v>
                </c:pt>
                <c:pt idx="1743">
                  <c:v>144.33000000000001</c:v>
                </c:pt>
                <c:pt idx="1744">
                  <c:v>143.56</c:v>
                </c:pt>
                <c:pt idx="1745">
                  <c:v>144.01</c:v>
                </c:pt>
                <c:pt idx="1746">
                  <c:v>142.19999999999999</c:v>
                </c:pt>
                <c:pt idx="1747">
                  <c:v>140.08000000000001</c:v>
                </c:pt>
                <c:pt idx="1748">
                  <c:v>135.9</c:v>
                </c:pt>
                <c:pt idx="1749">
                  <c:v>138.37</c:v>
                </c:pt>
                <c:pt idx="1750">
                  <c:v>136.06</c:v>
                </c:pt>
                <c:pt idx="1751">
                  <c:v>137.81</c:v>
                </c:pt>
                <c:pt idx="1752">
                  <c:v>138.31</c:v>
                </c:pt>
                <c:pt idx="1753">
                  <c:v>141.32</c:v>
                </c:pt>
                <c:pt idx="1754">
                  <c:v>144.72999999999999</c:v>
                </c:pt>
                <c:pt idx="1755">
                  <c:v>141.37</c:v>
                </c:pt>
                <c:pt idx="1756">
                  <c:v>142.69999999999999</c:v>
                </c:pt>
                <c:pt idx="1757">
                  <c:v>141.02000000000001</c:v>
                </c:pt>
                <c:pt idx="1758">
                  <c:v>142.59</c:v>
                </c:pt>
                <c:pt idx="1759">
                  <c:v>141.01</c:v>
                </c:pt>
                <c:pt idx="1760">
                  <c:v>141.85</c:v>
                </c:pt>
                <c:pt idx="1761">
                  <c:v>140.9</c:v>
                </c:pt>
                <c:pt idx="1762">
                  <c:v>139.54</c:v>
                </c:pt>
                <c:pt idx="1763">
                  <c:v>139.13999999999999</c:v>
                </c:pt>
                <c:pt idx="1764">
                  <c:v>141.30000000000001</c:v>
                </c:pt>
                <c:pt idx="1765">
                  <c:v>140.37</c:v>
                </c:pt>
                <c:pt idx="1766">
                  <c:v>138.97</c:v>
                </c:pt>
                <c:pt idx="1767">
                  <c:v>133.01</c:v>
                </c:pt>
                <c:pt idx="1768">
                  <c:v>128.19</c:v>
                </c:pt>
                <c:pt idx="1769">
                  <c:v>123.36</c:v>
                </c:pt>
                <c:pt idx="1770">
                  <c:v>118.04</c:v>
                </c:pt>
                <c:pt idx="1771">
                  <c:v>117.65</c:v>
                </c:pt>
                <c:pt idx="1772">
                  <c:v>119.98</c:v>
                </c:pt>
                <c:pt idx="1773">
                  <c:v>116.45</c:v>
                </c:pt>
                <c:pt idx="1774">
                  <c:v>119.18</c:v>
                </c:pt>
                <c:pt idx="1775">
                  <c:v>113.98</c:v>
                </c:pt>
                <c:pt idx="1776">
                  <c:v>115.27</c:v>
                </c:pt>
                <c:pt idx="1777">
                  <c:v>104.34999000000001</c:v>
                </c:pt>
                <c:pt idx="1778">
                  <c:v>111.46</c:v>
                </c:pt>
                <c:pt idx="1779">
                  <c:v>105.51</c:v>
                </c:pt>
                <c:pt idx="1780">
                  <c:v>91.81</c:v>
                </c:pt>
                <c:pt idx="1781">
                  <c:v>102.52</c:v>
                </c:pt>
                <c:pt idx="1782">
                  <c:v>95.009995000000004</c:v>
                </c:pt>
                <c:pt idx="1783">
                  <c:v>93.53</c:v>
                </c:pt>
                <c:pt idx="1784">
                  <c:v>88.8</c:v>
                </c:pt>
                <c:pt idx="1785">
                  <c:v>94.93</c:v>
                </c:pt>
                <c:pt idx="1786">
                  <c:v>85.98</c:v>
                </c:pt>
                <c:pt idx="1787">
                  <c:v>85.76</c:v>
                </c:pt>
                <c:pt idx="1788">
                  <c:v>98.12</c:v>
                </c:pt>
                <c:pt idx="1789">
                  <c:v>100.73</c:v>
                </c:pt>
                <c:pt idx="1790">
                  <c:v>105.35999</c:v>
                </c:pt>
                <c:pt idx="1791">
                  <c:v>96.4</c:v>
                </c:pt>
                <c:pt idx="1792">
                  <c:v>99.8</c:v>
                </c:pt>
                <c:pt idx="1793">
                  <c:v>96.599990000000005</c:v>
                </c:pt>
                <c:pt idx="1794">
                  <c:v>94.919989999999999</c:v>
                </c:pt>
                <c:pt idx="1795">
                  <c:v>96.97</c:v>
                </c:pt>
                <c:pt idx="1796">
                  <c:v>93.88</c:v>
                </c:pt>
                <c:pt idx="1797">
                  <c:v>99.58</c:v>
                </c:pt>
                <c:pt idx="1798">
                  <c:v>101.24</c:v>
                </c:pt>
                <c:pt idx="1799">
                  <c:v>101.07</c:v>
                </c:pt>
                <c:pt idx="1800">
                  <c:v>104.5</c:v>
                </c:pt>
                <c:pt idx="1801">
                  <c:v>103.5</c:v>
                </c:pt>
                <c:pt idx="1802">
                  <c:v>106.02999</c:v>
                </c:pt>
                <c:pt idx="1803">
                  <c:v>103.37</c:v>
                </c:pt>
                <c:pt idx="1804">
                  <c:v>102.02</c:v>
                </c:pt>
                <c:pt idx="1805">
                  <c:v>106.63</c:v>
                </c:pt>
                <c:pt idx="1806">
                  <c:v>102.259995</c:v>
                </c:pt>
                <c:pt idx="1807">
                  <c:v>100.53999</c:v>
                </c:pt>
                <c:pt idx="1808">
                  <c:v>100.99</c:v>
                </c:pt>
                <c:pt idx="1809">
                  <c:v>100.99999</c:v>
                </c:pt>
                <c:pt idx="1810">
                  <c:v>101.19</c:v>
                </c:pt>
                <c:pt idx="1811">
                  <c:v>106.06</c:v>
                </c:pt>
                <c:pt idx="1812">
                  <c:v>106.21</c:v>
                </c:pt>
                <c:pt idx="1813">
                  <c:v>112.25</c:v>
                </c:pt>
                <c:pt idx="1814">
                  <c:v>108.15</c:v>
                </c:pt>
                <c:pt idx="1815">
                  <c:v>105.5</c:v>
                </c:pt>
                <c:pt idx="1816">
                  <c:v>103.17999</c:v>
                </c:pt>
                <c:pt idx="1817">
                  <c:v>101.06</c:v>
                </c:pt>
                <c:pt idx="1818">
                  <c:v>100.88</c:v>
                </c:pt>
                <c:pt idx="1819">
                  <c:v>105.56999</c:v>
                </c:pt>
                <c:pt idx="1820">
                  <c:v>109.16</c:v>
                </c:pt>
                <c:pt idx="1821">
                  <c:v>107.77</c:v>
                </c:pt>
                <c:pt idx="1822">
                  <c:v>104.55999</c:v>
                </c:pt>
                <c:pt idx="1823">
                  <c:v>102.92</c:v>
                </c:pt>
                <c:pt idx="1824">
                  <c:v>105.91001</c:v>
                </c:pt>
                <c:pt idx="1825">
                  <c:v>109.049995</c:v>
                </c:pt>
                <c:pt idx="1826">
                  <c:v>116.85</c:v>
                </c:pt>
                <c:pt idx="1827">
                  <c:v>114.369995</c:v>
                </c:pt>
                <c:pt idx="1828">
                  <c:v>119.92</c:v>
                </c:pt>
                <c:pt idx="1829">
                  <c:v>117.83</c:v>
                </c:pt>
                <c:pt idx="1830">
                  <c:v>118.02</c:v>
                </c:pt>
                <c:pt idx="1831">
                  <c:v>120.94999</c:v>
                </c:pt>
                <c:pt idx="1832">
                  <c:v>121.53</c:v>
                </c:pt>
                <c:pt idx="1833">
                  <c:v>116.75</c:v>
                </c:pt>
                <c:pt idx="1834">
                  <c:v>117.3</c:v>
                </c:pt>
                <c:pt idx="1835">
                  <c:v>118.76999000000001</c:v>
                </c:pt>
                <c:pt idx="1836">
                  <c:v>118.75</c:v>
                </c:pt>
                <c:pt idx="1837">
                  <c:v>122.18</c:v>
                </c:pt>
                <c:pt idx="1838">
                  <c:v>123.69</c:v>
                </c:pt>
                <c:pt idx="1839">
                  <c:v>124.82</c:v>
                </c:pt>
                <c:pt idx="1840">
                  <c:v>127.28001</c:v>
                </c:pt>
                <c:pt idx="1841">
                  <c:v>123.88999</c:v>
                </c:pt>
                <c:pt idx="1842">
                  <c:v>122.18</c:v>
                </c:pt>
                <c:pt idx="1843">
                  <c:v>112.64</c:v>
                </c:pt>
                <c:pt idx="1844">
                  <c:v>115.49</c:v>
                </c:pt>
                <c:pt idx="1845">
                  <c:v>117.08</c:v>
                </c:pt>
                <c:pt idx="1846">
                  <c:v>118.439995</c:v>
                </c:pt>
                <c:pt idx="1847">
                  <c:v>117.65</c:v>
                </c:pt>
                <c:pt idx="1848">
                  <c:v>118.37</c:v>
                </c:pt>
                <c:pt idx="1849">
                  <c:v>114.35</c:v>
                </c:pt>
                <c:pt idx="1850">
                  <c:v>115.91999</c:v>
                </c:pt>
                <c:pt idx="1851">
                  <c:v>116.58999</c:v>
                </c:pt>
                <c:pt idx="1852">
                  <c:v>112.07</c:v>
                </c:pt>
                <c:pt idx="1853">
                  <c:v>111.36</c:v>
                </c:pt>
                <c:pt idx="1854">
                  <c:v>109.1</c:v>
                </c:pt>
                <c:pt idx="1855">
                  <c:v>111.520004</c:v>
                </c:pt>
                <c:pt idx="1856">
                  <c:v>111.51</c:v>
                </c:pt>
                <c:pt idx="1857">
                  <c:v>113.01</c:v>
                </c:pt>
                <c:pt idx="1858">
                  <c:v>112.18</c:v>
                </c:pt>
                <c:pt idx="1859">
                  <c:v>114.43</c:v>
                </c:pt>
                <c:pt idx="1860">
                  <c:v>113.63</c:v>
                </c:pt>
                <c:pt idx="1861">
                  <c:v>116.66</c:v>
                </c:pt>
                <c:pt idx="1862">
                  <c:v>116.81</c:v>
                </c:pt>
                <c:pt idx="1863">
                  <c:v>119.34</c:v>
                </c:pt>
                <c:pt idx="1864">
                  <c:v>116.21999</c:v>
                </c:pt>
                <c:pt idx="1865">
                  <c:v>118.66</c:v>
                </c:pt>
                <c:pt idx="1866">
                  <c:v>120.9</c:v>
                </c:pt>
                <c:pt idx="1867">
                  <c:v>119.43</c:v>
                </c:pt>
                <c:pt idx="1868">
                  <c:v>118.65000999999999</c:v>
                </c:pt>
                <c:pt idx="1869">
                  <c:v>117.79</c:v>
                </c:pt>
                <c:pt idx="1870">
                  <c:v>118.62</c:v>
                </c:pt>
                <c:pt idx="1871">
                  <c:v>119.03</c:v>
                </c:pt>
                <c:pt idx="1872">
                  <c:v>118.12</c:v>
                </c:pt>
                <c:pt idx="1873">
                  <c:v>117.61</c:v>
                </c:pt>
                <c:pt idx="1874">
                  <c:v>116.31</c:v>
                </c:pt>
                <c:pt idx="1875">
                  <c:v>116.18</c:v>
                </c:pt>
                <c:pt idx="1876">
                  <c:v>115.61</c:v>
                </c:pt>
                <c:pt idx="1877">
                  <c:v>115.66</c:v>
                </c:pt>
                <c:pt idx="1878">
                  <c:v>116.94</c:v>
                </c:pt>
                <c:pt idx="1879">
                  <c:v>116.35</c:v>
                </c:pt>
                <c:pt idx="1880">
                  <c:v>117.29</c:v>
                </c:pt>
                <c:pt idx="1881">
                  <c:v>127.61001</c:v>
                </c:pt>
                <c:pt idx="1882">
                  <c:v>130.82</c:v>
                </c:pt>
                <c:pt idx="1883">
                  <c:v>129.93</c:v>
                </c:pt>
                <c:pt idx="1884">
                  <c:v>128.79</c:v>
                </c:pt>
                <c:pt idx="1885">
                  <c:v>130.49</c:v>
                </c:pt>
                <c:pt idx="1886">
                  <c:v>131.79</c:v>
                </c:pt>
                <c:pt idx="1887">
                  <c:v>130.96</c:v>
                </c:pt>
                <c:pt idx="1888">
                  <c:v>130.53</c:v>
                </c:pt>
                <c:pt idx="1889">
                  <c:v>129.37</c:v>
                </c:pt>
                <c:pt idx="1890">
                  <c:v>128.91999999999999</c:v>
                </c:pt>
                <c:pt idx="1891">
                  <c:v>127.77</c:v>
                </c:pt>
                <c:pt idx="1892">
                  <c:v>128.12</c:v>
                </c:pt>
                <c:pt idx="1893">
                  <c:v>127.44</c:v>
                </c:pt>
                <c:pt idx="1894">
                  <c:v>130.69</c:v>
                </c:pt>
                <c:pt idx="1895">
                  <c:v>129.79</c:v>
                </c:pt>
                <c:pt idx="1896">
                  <c:v>132.18</c:v>
                </c:pt>
                <c:pt idx="1897">
                  <c:v>133.72999999999999</c:v>
                </c:pt>
                <c:pt idx="1898">
                  <c:v>135.54</c:v>
                </c:pt>
                <c:pt idx="1899">
                  <c:v>131.87</c:v>
                </c:pt>
                <c:pt idx="1900">
                  <c:v>133.55000000000001</c:v>
                </c:pt>
                <c:pt idx="1901">
                  <c:v>135.38999999999999</c:v>
                </c:pt>
                <c:pt idx="1902">
                  <c:v>133.24</c:v>
                </c:pt>
                <c:pt idx="1903">
                  <c:v>131.99</c:v>
                </c:pt>
                <c:pt idx="1904">
                  <c:v>134.19999999999999</c:v>
                </c:pt>
                <c:pt idx="1905">
                  <c:v>133.36000000000001</c:v>
                </c:pt>
                <c:pt idx="1906">
                  <c:v>133.22</c:v>
                </c:pt>
                <c:pt idx="1907">
                  <c:v>131.75</c:v>
                </c:pt>
                <c:pt idx="1908">
                  <c:v>131.25</c:v>
                </c:pt>
                <c:pt idx="1909">
                  <c:v>131.24</c:v>
                </c:pt>
                <c:pt idx="1910">
                  <c:v>132.09</c:v>
                </c:pt>
                <c:pt idx="1911">
                  <c:v>130.22</c:v>
                </c:pt>
                <c:pt idx="1912">
                  <c:v>128.63</c:v>
                </c:pt>
                <c:pt idx="1913">
                  <c:v>125.41</c:v>
                </c:pt>
                <c:pt idx="1914">
                  <c:v>127.21</c:v>
                </c:pt>
                <c:pt idx="1915">
                  <c:v>123.28</c:v>
                </c:pt>
                <c:pt idx="1916">
                  <c:v>122.49</c:v>
                </c:pt>
                <c:pt idx="1917">
                  <c:v>124</c:v>
                </c:pt>
                <c:pt idx="1918">
                  <c:v>125.99</c:v>
                </c:pt>
                <c:pt idx="1919">
                  <c:v>125.4</c:v>
                </c:pt>
                <c:pt idx="1920">
                  <c:v>124.08</c:v>
                </c:pt>
                <c:pt idx="1921">
                  <c:v>123.31</c:v>
                </c:pt>
                <c:pt idx="1922">
                  <c:v>122.549995</c:v>
                </c:pt>
                <c:pt idx="1923">
                  <c:v>123.37</c:v>
                </c:pt>
                <c:pt idx="1924">
                  <c:v>120.93</c:v>
                </c:pt>
                <c:pt idx="1925">
                  <c:v>122.91</c:v>
                </c:pt>
                <c:pt idx="1926">
                  <c:v>123.08999</c:v>
                </c:pt>
                <c:pt idx="1927">
                  <c:v>124.98000999999999</c:v>
                </c:pt>
                <c:pt idx="1928">
                  <c:v>124.97</c:v>
                </c:pt>
                <c:pt idx="1929">
                  <c:v>128.96</c:v>
                </c:pt>
                <c:pt idx="1930">
                  <c:v>126.59</c:v>
                </c:pt>
                <c:pt idx="1931">
                  <c:v>127.36001</c:v>
                </c:pt>
                <c:pt idx="1932">
                  <c:v>126.810005</c:v>
                </c:pt>
                <c:pt idx="1933">
                  <c:v>124.23</c:v>
                </c:pt>
                <c:pt idx="1934">
                  <c:v>124.95</c:v>
                </c:pt>
                <c:pt idx="1935">
                  <c:v>126.63</c:v>
                </c:pt>
                <c:pt idx="1936">
                  <c:v>127.56</c:v>
                </c:pt>
                <c:pt idx="1937">
                  <c:v>128.35</c:v>
                </c:pt>
                <c:pt idx="1938">
                  <c:v>124.06</c:v>
                </c:pt>
                <c:pt idx="1939">
                  <c:v>123.31</c:v>
                </c:pt>
                <c:pt idx="1940">
                  <c:v>118.47</c:v>
                </c:pt>
                <c:pt idx="1941">
                  <c:v>121.53999</c:v>
                </c:pt>
                <c:pt idx="1942">
                  <c:v>121.25</c:v>
                </c:pt>
                <c:pt idx="1943">
                  <c:v>120.13</c:v>
                </c:pt>
                <c:pt idx="1944">
                  <c:v>124.02</c:v>
                </c:pt>
                <c:pt idx="1945">
                  <c:v>125.07</c:v>
                </c:pt>
                <c:pt idx="1946">
                  <c:v>126.96</c:v>
                </c:pt>
                <c:pt idx="1947">
                  <c:v>127.46</c:v>
                </c:pt>
                <c:pt idx="1948">
                  <c:v>142.59</c:v>
                </c:pt>
                <c:pt idx="1949">
                  <c:v>142.11000000000001</c:v>
                </c:pt>
                <c:pt idx="1950">
                  <c:v>137.82</c:v>
                </c:pt>
                <c:pt idx="1951">
                  <c:v>135.52000000000001</c:v>
                </c:pt>
                <c:pt idx="1952">
                  <c:v>138.36000000000001</c:v>
                </c:pt>
                <c:pt idx="1953">
                  <c:v>144.66999999999999</c:v>
                </c:pt>
                <c:pt idx="1954">
                  <c:v>144.5</c:v>
                </c:pt>
                <c:pt idx="1955">
                  <c:v>143.9</c:v>
                </c:pt>
                <c:pt idx="1956">
                  <c:v>141.72</c:v>
                </c:pt>
                <c:pt idx="1957">
                  <c:v>141.07</c:v>
                </c:pt>
                <c:pt idx="1958">
                  <c:v>145.97999999999999</c:v>
                </c:pt>
                <c:pt idx="1959">
                  <c:v>151.49</c:v>
                </c:pt>
                <c:pt idx="1960">
                  <c:v>149.09</c:v>
                </c:pt>
                <c:pt idx="1961">
                  <c:v>147.13</c:v>
                </c:pt>
                <c:pt idx="1962">
                  <c:v>148.01</c:v>
                </c:pt>
                <c:pt idx="1963">
                  <c:v>149.44</c:v>
                </c:pt>
                <c:pt idx="1964">
                  <c:v>153.61000000000001</c:v>
                </c:pt>
                <c:pt idx="1965">
                  <c:v>153.24</c:v>
                </c:pt>
                <c:pt idx="1966">
                  <c:v>154.13999999999999</c:v>
                </c:pt>
                <c:pt idx="1967">
                  <c:v>153.68</c:v>
                </c:pt>
                <c:pt idx="1968">
                  <c:v>153.72</c:v>
                </c:pt>
                <c:pt idx="1969">
                  <c:v>154.43</c:v>
                </c:pt>
                <c:pt idx="1970">
                  <c:v>154.69</c:v>
                </c:pt>
                <c:pt idx="1971">
                  <c:v>175.72</c:v>
                </c:pt>
                <c:pt idx="1972">
                  <c:v>169.29999000000001</c:v>
                </c:pt>
                <c:pt idx="1973">
                  <c:v>173.94</c:v>
                </c:pt>
                <c:pt idx="1974">
                  <c:v>173.12</c:v>
                </c:pt>
                <c:pt idx="1975">
                  <c:v>173.54999000000001</c:v>
                </c:pt>
                <c:pt idx="1976">
                  <c:v>172.89</c:v>
                </c:pt>
                <c:pt idx="1977">
                  <c:v>170.68998999999999</c:v>
                </c:pt>
                <c:pt idx="1978">
                  <c:v>170.45</c:v>
                </c:pt>
                <c:pt idx="1979">
                  <c:v>173.54999000000001</c:v>
                </c:pt>
                <c:pt idx="1980">
                  <c:v>173.73</c:v>
                </c:pt>
                <c:pt idx="1981">
                  <c:v>178.85999000000001</c:v>
                </c:pt>
                <c:pt idx="1982">
                  <c:v>177.3</c:v>
                </c:pt>
                <c:pt idx="1983">
                  <c:v>181.16998000000001</c:v>
                </c:pt>
                <c:pt idx="1984">
                  <c:v>181.18</c:v>
                </c:pt>
                <c:pt idx="1985">
                  <c:v>177.67998</c:v>
                </c:pt>
                <c:pt idx="1986">
                  <c:v>178.43998999999999</c:v>
                </c:pt>
                <c:pt idx="1987">
                  <c:v>179.11998</c:v>
                </c:pt>
                <c:pt idx="1988">
                  <c:v>178.58</c:v>
                </c:pt>
                <c:pt idx="1989">
                  <c:v>178.69</c:v>
                </c:pt>
                <c:pt idx="1990">
                  <c:v>179.09</c:v>
                </c:pt>
                <c:pt idx="1991">
                  <c:v>175.99</c:v>
                </c:pt>
                <c:pt idx="1992">
                  <c:v>176.12</c:v>
                </c:pt>
                <c:pt idx="1993">
                  <c:v>173.43</c:v>
                </c:pt>
                <c:pt idx="1994">
                  <c:v>171.44</c:v>
                </c:pt>
                <c:pt idx="1995">
                  <c:v>172.26</c:v>
                </c:pt>
                <c:pt idx="1996">
                  <c:v>173.64</c:v>
                </c:pt>
                <c:pt idx="1997">
                  <c:v>171.28</c:v>
                </c:pt>
                <c:pt idx="1998">
                  <c:v>172.78</c:v>
                </c:pt>
                <c:pt idx="1999">
                  <c:v>171.89</c:v>
                </c:pt>
                <c:pt idx="2000">
                  <c:v>169.55998</c:v>
                </c:pt>
                <c:pt idx="2001">
                  <c:v>163.03</c:v>
                </c:pt>
                <c:pt idx="2002">
                  <c:v>171.88</c:v>
                </c:pt>
                <c:pt idx="2003">
                  <c:v>168.16998000000001</c:v>
                </c:pt>
                <c:pt idx="2004">
                  <c:v>170.97</c:v>
                </c:pt>
                <c:pt idx="2005">
                  <c:v>176.96</c:v>
                </c:pt>
                <c:pt idx="2006">
                  <c:v>176.43</c:v>
                </c:pt>
                <c:pt idx="2007">
                  <c:v>180.23</c:v>
                </c:pt>
                <c:pt idx="2008">
                  <c:v>181.16</c:v>
                </c:pt>
                <c:pt idx="2009">
                  <c:v>190</c:v>
                </c:pt>
                <c:pt idx="2010">
                  <c:v>188.20999</c:v>
                </c:pt>
                <c:pt idx="2011">
                  <c:v>189.62998999999999</c:v>
                </c:pt>
                <c:pt idx="2012">
                  <c:v>190.91</c:v>
                </c:pt>
                <c:pt idx="2013">
                  <c:v>187.67</c:v>
                </c:pt>
                <c:pt idx="2014">
                  <c:v>186.35</c:v>
                </c:pt>
                <c:pt idx="2015">
                  <c:v>186.44</c:v>
                </c:pt>
                <c:pt idx="2016">
                  <c:v>183</c:v>
                </c:pt>
                <c:pt idx="2017">
                  <c:v>183.65</c:v>
                </c:pt>
                <c:pt idx="2018">
                  <c:v>191.75998000000001</c:v>
                </c:pt>
                <c:pt idx="2019">
                  <c:v>197.08998</c:v>
                </c:pt>
                <c:pt idx="2020">
                  <c:v>197.50998000000001</c:v>
                </c:pt>
                <c:pt idx="2021">
                  <c:v>190.98</c:v>
                </c:pt>
                <c:pt idx="2022">
                  <c:v>189.04</c:v>
                </c:pt>
                <c:pt idx="2023">
                  <c:v>194.98</c:v>
                </c:pt>
                <c:pt idx="2024">
                  <c:v>193.94</c:v>
                </c:pt>
                <c:pt idx="2025">
                  <c:v>192.25998000000001</c:v>
                </c:pt>
                <c:pt idx="2026">
                  <c:v>188.03</c:v>
                </c:pt>
                <c:pt idx="2027">
                  <c:v>189.98999000000001</c:v>
                </c:pt>
                <c:pt idx="2028">
                  <c:v>201.91</c:v>
                </c:pt>
                <c:pt idx="2029">
                  <c:v>194.51</c:v>
                </c:pt>
                <c:pt idx="2030">
                  <c:v>195.06</c:v>
                </c:pt>
                <c:pt idx="2031">
                  <c:v>196.75</c:v>
                </c:pt>
                <c:pt idx="2032">
                  <c:v>197.16</c:v>
                </c:pt>
                <c:pt idx="2033">
                  <c:v>196.76</c:v>
                </c:pt>
                <c:pt idx="2034">
                  <c:v>194.24</c:v>
                </c:pt>
                <c:pt idx="2035">
                  <c:v>195.24</c:v>
                </c:pt>
                <c:pt idx="2036">
                  <c:v>192.27997999999999</c:v>
                </c:pt>
                <c:pt idx="2037">
                  <c:v>191.14</c:v>
                </c:pt>
                <c:pt idx="2038">
                  <c:v>192.85999000000001</c:v>
                </c:pt>
                <c:pt idx="2039">
                  <c:v>188.73</c:v>
                </c:pt>
                <c:pt idx="2040">
                  <c:v>184.72</c:v>
                </c:pt>
                <c:pt idx="2041">
                  <c:v>186.91</c:v>
                </c:pt>
                <c:pt idx="2042">
                  <c:v>185.92</c:v>
                </c:pt>
                <c:pt idx="2043">
                  <c:v>184.85</c:v>
                </c:pt>
                <c:pt idx="2044">
                  <c:v>185.52997999999999</c:v>
                </c:pt>
                <c:pt idx="2045">
                  <c:v>184.52</c:v>
                </c:pt>
                <c:pt idx="2046">
                  <c:v>188.96999</c:v>
                </c:pt>
                <c:pt idx="2047">
                  <c:v>188.49997999999999</c:v>
                </c:pt>
                <c:pt idx="2048">
                  <c:v>189.73</c:v>
                </c:pt>
                <c:pt idx="2049">
                  <c:v>187.56</c:v>
                </c:pt>
                <c:pt idx="2050">
                  <c:v>187.32</c:v>
                </c:pt>
                <c:pt idx="2051">
                  <c:v>187.89</c:v>
                </c:pt>
                <c:pt idx="2052">
                  <c:v>186.49</c:v>
                </c:pt>
                <c:pt idx="2053">
                  <c:v>185.49</c:v>
                </c:pt>
                <c:pt idx="2054">
                  <c:v>187.46</c:v>
                </c:pt>
                <c:pt idx="2055">
                  <c:v>185.93001000000001</c:v>
                </c:pt>
                <c:pt idx="2056">
                  <c:v>187.26</c:v>
                </c:pt>
                <c:pt idx="2057">
                  <c:v>187.43001000000001</c:v>
                </c:pt>
                <c:pt idx="2058">
                  <c:v>182.79</c:v>
                </c:pt>
                <c:pt idx="2059">
                  <c:v>183.10999000000001</c:v>
                </c:pt>
                <c:pt idx="2060">
                  <c:v>182.76</c:v>
                </c:pt>
                <c:pt idx="2061">
                  <c:v>183.02</c:v>
                </c:pt>
                <c:pt idx="2062">
                  <c:v>184.26999000000001</c:v>
                </c:pt>
                <c:pt idx="2063">
                  <c:v>184.63998000000001</c:v>
                </c:pt>
                <c:pt idx="2064">
                  <c:v>183.39</c:v>
                </c:pt>
                <c:pt idx="2065">
                  <c:v>185.33</c:v>
                </c:pt>
                <c:pt idx="2066">
                  <c:v>186.01999000000001</c:v>
                </c:pt>
                <c:pt idx="2067">
                  <c:v>185.51000999999999</c:v>
                </c:pt>
                <c:pt idx="2068">
                  <c:v>184.25</c:v>
                </c:pt>
                <c:pt idx="2069">
                  <c:v>181.51</c:v>
                </c:pt>
                <c:pt idx="2070">
                  <c:v>181.79</c:v>
                </c:pt>
                <c:pt idx="2071">
                  <c:v>184.84</c:v>
                </c:pt>
                <c:pt idx="2072">
                  <c:v>184.3</c:v>
                </c:pt>
                <c:pt idx="2073">
                  <c:v>181.66998000000001</c:v>
                </c:pt>
                <c:pt idx="2074">
                  <c:v>177.84998999999999</c:v>
                </c:pt>
                <c:pt idx="2075">
                  <c:v>178.34</c:v>
                </c:pt>
                <c:pt idx="2076">
                  <c:v>173.7</c:v>
                </c:pt>
                <c:pt idx="2077">
                  <c:v>170.07999000000001</c:v>
                </c:pt>
                <c:pt idx="2078">
                  <c:v>169.68</c:v>
                </c:pt>
                <c:pt idx="2079">
                  <c:v>169.26999000000001</c:v>
                </c:pt>
                <c:pt idx="2080">
                  <c:v>171.36</c:v>
                </c:pt>
                <c:pt idx="2081">
                  <c:v>172.40001000000001</c:v>
                </c:pt>
                <c:pt idx="2082">
                  <c:v>174.31</c:v>
                </c:pt>
                <c:pt idx="2083">
                  <c:v>176.17</c:v>
                </c:pt>
                <c:pt idx="2084">
                  <c:v>176.46999</c:v>
                </c:pt>
                <c:pt idx="2085">
                  <c:v>179.04</c:v>
                </c:pt>
                <c:pt idx="2086">
                  <c:v>178.65001000000001</c:v>
                </c:pt>
                <c:pt idx="2087">
                  <c:v>178.84</c:v>
                </c:pt>
                <c:pt idx="2088">
                  <c:v>177</c:v>
                </c:pt>
                <c:pt idx="2089">
                  <c:v>176.24</c:v>
                </c:pt>
                <c:pt idx="2090">
                  <c:v>177.18001000000001</c:v>
                </c:pt>
                <c:pt idx="2091">
                  <c:v>176.98999000000001</c:v>
                </c:pt>
                <c:pt idx="2092">
                  <c:v>176.33</c:v>
                </c:pt>
                <c:pt idx="2093">
                  <c:v>176.04</c:v>
                </c:pt>
                <c:pt idx="2094">
                  <c:v>176.56998999999999</c:v>
                </c:pt>
                <c:pt idx="2095">
                  <c:v>177.37998999999999</c:v>
                </c:pt>
                <c:pt idx="2096">
                  <c:v>178.18001000000001</c:v>
                </c:pt>
                <c:pt idx="2097">
                  <c:v>175.86</c:v>
                </c:pt>
                <c:pt idx="2098">
                  <c:v>174.66</c:v>
                </c:pt>
                <c:pt idx="2099">
                  <c:v>174.65</c:v>
                </c:pt>
                <c:pt idx="2100">
                  <c:v>172.42</c:v>
                </c:pt>
                <c:pt idx="2101">
                  <c:v>173.96999</c:v>
                </c:pt>
                <c:pt idx="2102">
                  <c:v>173.49997999999999</c:v>
                </c:pt>
                <c:pt idx="2103">
                  <c:v>175.33</c:v>
                </c:pt>
                <c:pt idx="2104">
                  <c:v>177.93</c:v>
                </c:pt>
                <c:pt idx="2105">
                  <c:v>178.34998999999999</c:v>
                </c:pt>
                <c:pt idx="2106">
                  <c:v>176.56998999999999</c:v>
                </c:pt>
                <c:pt idx="2107">
                  <c:v>173.93</c:v>
                </c:pt>
                <c:pt idx="2108">
                  <c:v>175.77</c:v>
                </c:pt>
                <c:pt idx="2109">
                  <c:v>177.26000999999999</c:v>
                </c:pt>
              </c:numCache>
            </c:numRef>
          </c:val>
          <c:smooth val="0"/>
          <c:extLst>
            <c:ext xmlns:c16="http://schemas.microsoft.com/office/drawing/2014/chart" uri="{C3380CC4-5D6E-409C-BE32-E72D297353CC}">
              <c16:uniqueId val="{00000000-39F2-104F-8D1D-22D1266C2E0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52.229027000000002</c:v>
                </c:pt>
                <c:pt idx="1">
                  <c:v>51.809654000000002</c:v>
                </c:pt>
                <c:pt idx="2">
                  <c:v>52.303800000000003</c:v>
                </c:pt>
                <c:pt idx="3">
                  <c:v>52.914143000000003</c:v>
                </c:pt>
                <c:pt idx="4">
                  <c:v>52.470055000000002</c:v>
                </c:pt>
                <c:pt idx="5">
                  <c:v>51.862586999999998</c:v>
                </c:pt>
                <c:pt idx="6">
                  <c:v>51.556472999999997</c:v>
                </c:pt>
                <c:pt idx="7">
                  <c:v>50.913623999999999</c:v>
                </c:pt>
                <c:pt idx="8">
                  <c:v>50.691519999999997</c:v>
                </c:pt>
                <c:pt idx="9">
                  <c:v>50.641959999999997</c:v>
                </c:pt>
                <c:pt idx="10">
                  <c:v>50.501579999999997</c:v>
                </c:pt>
                <c:pt idx="11">
                  <c:v>50.512610000000002</c:v>
                </c:pt>
                <c:pt idx="12">
                  <c:v>50.652059999999999</c:v>
                </c:pt>
                <c:pt idx="13">
                  <c:v>50.909965999999997</c:v>
                </c:pt>
                <c:pt idx="14">
                  <c:v>51.022820000000003</c:v>
                </c:pt>
                <c:pt idx="15">
                  <c:v>50.975180000000002</c:v>
                </c:pt>
                <c:pt idx="16">
                  <c:v>51.149605000000001</c:v>
                </c:pt>
                <c:pt idx="17">
                  <c:v>51.549263000000003</c:v>
                </c:pt>
                <c:pt idx="18">
                  <c:v>51.758952999999998</c:v>
                </c:pt>
                <c:pt idx="19">
                  <c:v>51.869132999999998</c:v>
                </c:pt>
                <c:pt idx="20">
                  <c:v>51.967444999999998</c:v>
                </c:pt>
                <c:pt idx="21">
                  <c:v>52.494743</c:v>
                </c:pt>
                <c:pt idx="22">
                  <c:v>52.805134000000002</c:v>
                </c:pt>
                <c:pt idx="23">
                  <c:v>52.664000000000001</c:v>
                </c:pt>
                <c:pt idx="24">
                  <c:v>52.802703999999999</c:v>
                </c:pt>
                <c:pt idx="25">
                  <c:v>52.37574</c:v>
                </c:pt>
                <c:pt idx="26">
                  <c:v>52.208570000000002</c:v>
                </c:pt>
                <c:pt idx="27">
                  <c:v>52.070010000000003</c:v>
                </c:pt>
                <c:pt idx="28">
                  <c:v>52.245415000000001</c:v>
                </c:pt>
                <c:pt idx="29">
                  <c:v>52.170836999999999</c:v>
                </c:pt>
                <c:pt idx="30">
                  <c:v>52.349760000000003</c:v>
                </c:pt>
                <c:pt idx="31">
                  <c:v>52.372253000000001</c:v>
                </c:pt>
                <c:pt idx="32">
                  <c:v>52.574547000000003</c:v>
                </c:pt>
                <c:pt idx="33">
                  <c:v>52.466639999999998</c:v>
                </c:pt>
                <c:pt idx="34">
                  <c:v>52.604885000000003</c:v>
                </c:pt>
                <c:pt idx="35">
                  <c:v>52.483063000000001</c:v>
                </c:pt>
                <c:pt idx="36">
                  <c:v>52.78931</c:v>
                </c:pt>
                <c:pt idx="37">
                  <c:v>53.260863999999998</c:v>
                </c:pt>
                <c:pt idx="38">
                  <c:v>53.934356999999999</c:v>
                </c:pt>
                <c:pt idx="39">
                  <c:v>54.480983999999999</c:v>
                </c:pt>
                <c:pt idx="40">
                  <c:v>54.805312999999998</c:v>
                </c:pt>
                <c:pt idx="41">
                  <c:v>54.525306999999998</c:v>
                </c:pt>
                <c:pt idx="42">
                  <c:v>55.025481999999997</c:v>
                </c:pt>
                <c:pt idx="43">
                  <c:v>54.917183000000001</c:v>
                </c:pt>
                <c:pt idx="44">
                  <c:v>54.699756999999998</c:v>
                </c:pt>
                <c:pt idx="45">
                  <c:v>54.680003999999997</c:v>
                </c:pt>
                <c:pt idx="46">
                  <c:v>54.586956000000001</c:v>
                </c:pt>
                <c:pt idx="47">
                  <c:v>54.495604999999998</c:v>
                </c:pt>
                <c:pt idx="48">
                  <c:v>54.326430000000002</c:v>
                </c:pt>
                <c:pt idx="49">
                  <c:v>54.349850000000004</c:v>
                </c:pt>
                <c:pt idx="50">
                  <c:v>54.257247999999997</c:v>
                </c:pt>
                <c:pt idx="51">
                  <c:v>54.437800000000003</c:v>
                </c:pt>
                <c:pt idx="52">
                  <c:v>54.698345000000003</c:v>
                </c:pt>
                <c:pt idx="53">
                  <c:v>54.656190000000002</c:v>
                </c:pt>
                <c:pt idx="54">
                  <c:v>54.81053</c:v>
                </c:pt>
                <c:pt idx="55">
                  <c:v>55.175392000000002</c:v>
                </c:pt>
                <c:pt idx="56">
                  <c:v>55.764781999999997</c:v>
                </c:pt>
                <c:pt idx="57">
                  <c:v>56.751457000000002</c:v>
                </c:pt>
                <c:pt idx="58">
                  <c:v>58.104404000000002</c:v>
                </c:pt>
                <c:pt idx="59">
                  <c:v>58.988154999999999</c:v>
                </c:pt>
                <c:pt idx="60">
                  <c:v>59.354419999999998</c:v>
                </c:pt>
                <c:pt idx="61">
                  <c:v>59.154964</c:v>
                </c:pt>
                <c:pt idx="62">
                  <c:v>59.068362999999998</c:v>
                </c:pt>
                <c:pt idx="63">
                  <c:v>59.280906999999999</c:v>
                </c:pt>
                <c:pt idx="64">
                  <c:v>59.205359999999999</c:v>
                </c:pt>
                <c:pt idx="65">
                  <c:v>59.557873000000001</c:v>
                </c:pt>
                <c:pt idx="66">
                  <c:v>59.673110000000001</c:v>
                </c:pt>
                <c:pt idx="67">
                  <c:v>59.610979999999998</c:v>
                </c:pt>
                <c:pt idx="68">
                  <c:v>59.367626000000001</c:v>
                </c:pt>
                <c:pt idx="69">
                  <c:v>59.194830000000003</c:v>
                </c:pt>
                <c:pt idx="70">
                  <c:v>59.093494</c:v>
                </c:pt>
                <c:pt idx="71">
                  <c:v>59.294539999999998</c:v>
                </c:pt>
                <c:pt idx="72">
                  <c:v>59.117035000000001</c:v>
                </c:pt>
                <c:pt idx="73">
                  <c:v>59.319797999999999</c:v>
                </c:pt>
                <c:pt idx="74">
                  <c:v>59.321869999999997</c:v>
                </c:pt>
                <c:pt idx="75">
                  <c:v>59.515681999999998</c:v>
                </c:pt>
                <c:pt idx="76">
                  <c:v>59.23798</c:v>
                </c:pt>
                <c:pt idx="77">
                  <c:v>58.569996000000003</c:v>
                </c:pt>
                <c:pt idx="78">
                  <c:v>58.436897000000002</c:v>
                </c:pt>
                <c:pt idx="79">
                  <c:v>58.634228</c:v>
                </c:pt>
                <c:pt idx="80">
                  <c:v>58.573574000000001</c:v>
                </c:pt>
                <c:pt idx="81">
                  <c:v>58.101475000000001</c:v>
                </c:pt>
                <c:pt idx="82">
                  <c:v>57.551814999999998</c:v>
                </c:pt>
                <c:pt idx="83">
                  <c:v>57.648902999999997</c:v>
                </c:pt>
                <c:pt idx="84">
                  <c:v>57.263126</c:v>
                </c:pt>
                <c:pt idx="85">
                  <c:v>57.226419999999997</c:v>
                </c:pt>
                <c:pt idx="86">
                  <c:v>57.412857000000002</c:v>
                </c:pt>
                <c:pt idx="87">
                  <c:v>57.024338</c:v>
                </c:pt>
                <c:pt idx="88">
                  <c:v>56.454479999999997</c:v>
                </c:pt>
                <c:pt idx="89">
                  <c:v>56.658543000000002</c:v>
                </c:pt>
                <c:pt idx="90">
                  <c:v>56.333849999999998</c:v>
                </c:pt>
                <c:pt idx="91">
                  <c:v>56.048450000000003</c:v>
                </c:pt>
                <c:pt idx="92">
                  <c:v>55.926642999999999</c:v>
                </c:pt>
                <c:pt idx="93">
                  <c:v>55.80603</c:v>
                </c:pt>
                <c:pt idx="94">
                  <c:v>55.729187000000003</c:v>
                </c:pt>
                <c:pt idx="95">
                  <c:v>56.141356999999999</c:v>
                </c:pt>
                <c:pt idx="96">
                  <c:v>56.336067</c:v>
                </c:pt>
                <c:pt idx="97">
                  <c:v>56.277393000000004</c:v>
                </c:pt>
                <c:pt idx="98">
                  <c:v>56.213569999999997</c:v>
                </c:pt>
                <c:pt idx="99">
                  <c:v>56.407874999999997</c:v>
                </c:pt>
                <c:pt idx="100">
                  <c:v>56.754047</c:v>
                </c:pt>
                <c:pt idx="101">
                  <c:v>56.865402000000003</c:v>
                </c:pt>
                <c:pt idx="102">
                  <c:v>57.563270000000003</c:v>
                </c:pt>
                <c:pt idx="103">
                  <c:v>58.194070000000004</c:v>
                </c:pt>
                <c:pt idx="104">
                  <c:v>58.586945</c:v>
                </c:pt>
                <c:pt idx="105">
                  <c:v>58.806739999999998</c:v>
                </c:pt>
                <c:pt idx="106">
                  <c:v>59.144399999999997</c:v>
                </c:pt>
                <c:pt idx="107">
                  <c:v>59.442024000000004</c:v>
                </c:pt>
                <c:pt idx="108">
                  <c:v>59.604239999999997</c:v>
                </c:pt>
                <c:pt idx="109">
                  <c:v>59.870102000000003</c:v>
                </c:pt>
                <c:pt idx="110">
                  <c:v>59.878993999999999</c:v>
                </c:pt>
                <c:pt idx="111">
                  <c:v>59.66254</c:v>
                </c:pt>
                <c:pt idx="112">
                  <c:v>59.642864000000003</c:v>
                </c:pt>
                <c:pt idx="113">
                  <c:v>59.636710000000001</c:v>
                </c:pt>
                <c:pt idx="114">
                  <c:v>59.426918000000001</c:v>
                </c:pt>
                <c:pt idx="115">
                  <c:v>59.297027999999997</c:v>
                </c:pt>
                <c:pt idx="116">
                  <c:v>59.396973000000003</c:v>
                </c:pt>
                <c:pt idx="117">
                  <c:v>59.967514000000001</c:v>
                </c:pt>
                <c:pt idx="118">
                  <c:v>60.322895000000003</c:v>
                </c:pt>
                <c:pt idx="119">
                  <c:v>60.555304999999997</c:v>
                </c:pt>
                <c:pt idx="120">
                  <c:v>60.839060000000003</c:v>
                </c:pt>
                <c:pt idx="121">
                  <c:v>61.561793999999999</c:v>
                </c:pt>
                <c:pt idx="122">
                  <c:v>62.362760000000002</c:v>
                </c:pt>
                <c:pt idx="123">
                  <c:v>62.372920000000001</c:v>
                </c:pt>
                <c:pt idx="124">
                  <c:v>62.162495</c:v>
                </c:pt>
                <c:pt idx="125">
                  <c:v>61.992607</c:v>
                </c:pt>
                <c:pt idx="126">
                  <c:v>61.498240000000003</c:v>
                </c:pt>
                <c:pt idx="127">
                  <c:v>60.793644</c:v>
                </c:pt>
                <c:pt idx="128">
                  <c:v>60.417651999999997</c:v>
                </c:pt>
                <c:pt idx="129">
                  <c:v>59.882849999999998</c:v>
                </c:pt>
                <c:pt idx="130">
                  <c:v>59.411409999999997</c:v>
                </c:pt>
                <c:pt idx="131">
                  <c:v>58.823672999999999</c:v>
                </c:pt>
                <c:pt idx="132">
                  <c:v>58.746758</c:v>
                </c:pt>
                <c:pt idx="133">
                  <c:v>58.642982000000003</c:v>
                </c:pt>
                <c:pt idx="134">
                  <c:v>58.348149999999997</c:v>
                </c:pt>
                <c:pt idx="135">
                  <c:v>57.698844999999999</c:v>
                </c:pt>
                <c:pt idx="136">
                  <c:v>57.608960000000003</c:v>
                </c:pt>
                <c:pt idx="137">
                  <c:v>57.539386999999998</c:v>
                </c:pt>
                <c:pt idx="138">
                  <c:v>57.230710000000002</c:v>
                </c:pt>
                <c:pt idx="139">
                  <c:v>57.190136000000003</c:v>
                </c:pt>
                <c:pt idx="140">
                  <c:v>57.897564000000003</c:v>
                </c:pt>
                <c:pt idx="141">
                  <c:v>58.570680000000003</c:v>
                </c:pt>
                <c:pt idx="142">
                  <c:v>58.688830000000003</c:v>
                </c:pt>
                <c:pt idx="143">
                  <c:v>59.064194000000001</c:v>
                </c:pt>
                <c:pt idx="144">
                  <c:v>59.624450000000003</c:v>
                </c:pt>
                <c:pt idx="145">
                  <c:v>60.268389999999997</c:v>
                </c:pt>
                <c:pt idx="146">
                  <c:v>61.37444</c:v>
                </c:pt>
                <c:pt idx="147">
                  <c:v>62.487119999999997</c:v>
                </c:pt>
                <c:pt idx="148">
                  <c:v>63.100754000000002</c:v>
                </c:pt>
                <c:pt idx="149">
                  <c:v>63.231673999999998</c:v>
                </c:pt>
                <c:pt idx="150">
                  <c:v>63.391860000000001</c:v>
                </c:pt>
                <c:pt idx="151">
                  <c:v>63.59666</c:v>
                </c:pt>
                <c:pt idx="152">
                  <c:v>64.673649999999995</c:v>
                </c:pt>
                <c:pt idx="153">
                  <c:v>65.343869999999995</c:v>
                </c:pt>
                <c:pt idx="154">
                  <c:v>64.844160000000002</c:v>
                </c:pt>
                <c:pt idx="155">
                  <c:v>64.094170000000005</c:v>
                </c:pt>
                <c:pt idx="156">
                  <c:v>63.502566999999999</c:v>
                </c:pt>
                <c:pt idx="157">
                  <c:v>62.778350000000003</c:v>
                </c:pt>
                <c:pt idx="158">
                  <c:v>61.991787000000002</c:v>
                </c:pt>
                <c:pt idx="159">
                  <c:v>61.735500000000002</c:v>
                </c:pt>
                <c:pt idx="160">
                  <c:v>61.365740000000002</c:v>
                </c:pt>
                <c:pt idx="161">
                  <c:v>60.945445999999997</c:v>
                </c:pt>
                <c:pt idx="162">
                  <c:v>60.947524999999999</c:v>
                </c:pt>
                <c:pt idx="163">
                  <c:v>60.555926999999997</c:v>
                </c:pt>
                <c:pt idx="164">
                  <c:v>59.981969999999997</c:v>
                </c:pt>
                <c:pt idx="165">
                  <c:v>59.855015000000002</c:v>
                </c:pt>
                <c:pt idx="166">
                  <c:v>60.492516000000002</c:v>
                </c:pt>
                <c:pt idx="167">
                  <c:v>60.960354000000002</c:v>
                </c:pt>
                <c:pt idx="168">
                  <c:v>61.314273999999997</c:v>
                </c:pt>
                <c:pt idx="169">
                  <c:v>61.246887000000001</c:v>
                </c:pt>
                <c:pt idx="170">
                  <c:v>61.689937999999998</c:v>
                </c:pt>
                <c:pt idx="171">
                  <c:v>62.323054999999997</c:v>
                </c:pt>
                <c:pt idx="172">
                  <c:v>62.965755000000001</c:v>
                </c:pt>
                <c:pt idx="173">
                  <c:v>63.320830000000001</c:v>
                </c:pt>
                <c:pt idx="174">
                  <c:v>63.606777000000001</c:v>
                </c:pt>
                <c:pt idx="175">
                  <c:v>63.701706000000001</c:v>
                </c:pt>
                <c:pt idx="176">
                  <c:v>63.779944999999998</c:v>
                </c:pt>
                <c:pt idx="177">
                  <c:v>63.984999999999999</c:v>
                </c:pt>
                <c:pt idx="178">
                  <c:v>64.124560000000002</c:v>
                </c:pt>
                <c:pt idx="179">
                  <c:v>64.227294999999998</c:v>
                </c:pt>
                <c:pt idx="180">
                  <c:v>64.063239999999993</c:v>
                </c:pt>
                <c:pt idx="181">
                  <c:v>63.927596999999999</c:v>
                </c:pt>
                <c:pt idx="182">
                  <c:v>63.934100000000001</c:v>
                </c:pt>
                <c:pt idx="183">
                  <c:v>64.015529999999998</c:v>
                </c:pt>
                <c:pt idx="184">
                  <c:v>63.936245</c:v>
                </c:pt>
                <c:pt idx="185">
                  <c:v>64.115486000000004</c:v>
                </c:pt>
                <c:pt idx="186">
                  <c:v>64.034540000000007</c:v>
                </c:pt>
                <c:pt idx="187">
                  <c:v>65.069320000000005</c:v>
                </c:pt>
                <c:pt idx="188">
                  <c:v>65.918310000000005</c:v>
                </c:pt>
                <c:pt idx="189">
                  <c:v>65.800129999999996</c:v>
                </c:pt>
                <c:pt idx="190">
                  <c:v>65.923360000000002</c:v>
                </c:pt>
                <c:pt idx="191">
                  <c:v>66.073340000000002</c:v>
                </c:pt>
                <c:pt idx="192">
                  <c:v>66.360870000000006</c:v>
                </c:pt>
                <c:pt idx="193">
                  <c:v>66.330889999999997</c:v>
                </c:pt>
                <c:pt idx="194">
                  <c:v>66.133994999999999</c:v>
                </c:pt>
                <c:pt idx="195">
                  <c:v>65.829734999999999</c:v>
                </c:pt>
                <c:pt idx="196">
                  <c:v>65.887960000000007</c:v>
                </c:pt>
                <c:pt idx="197">
                  <c:v>66.023635999999996</c:v>
                </c:pt>
                <c:pt idx="198">
                  <c:v>66.089775000000003</c:v>
                </c:pt>
                <c:pt idx="199">
                  <c:v>66.348140000000001</c:v>
                </c:pt>
                <c:pt idx="200">
                  <c:v>66.761470000000003</c:v>
                </c:pt>
                <c:pt idx="201">
                  <c:v>66.834496000000001</c:v>
                </c:pt>
                <c:pt idx="202">
                  <c:v>66.746709999999993</c:v>
                </c:pt>
                <c:pt idx="203">
                  <c:v>66.769469999999998</c:v>
                </c:pt>
                <c:pt idx="204">
                  <c:v>66.815796000000006</c:v>
                </c:pt>
                <c:pt idx="205">
                  <c:v>66.516450000000006</c:v>
                </c:pt>
                <c:pt idx="206">
                  <c:v>66.708510000000004</c:v>
                </c:pt>
                <c:pt idx="207">
                  <c:v>66.849339999999998</c:v>
                </c:pt>
                <c:pt idx="208">
                  <c:v>66.943089999999998</c:v>
                </c:pt>
                <c:pt idx="209">
                  <c:v>66.800489999999996</c:v>
                </c:pt>
                <c:pt idx="210">
                  <c:v>66.831699999999998</c:v>
                </c:pt>
                <c:pt idx="211">
                  <c:v>66.847819999999999</c:v>
                </c:pt>
                <c:pt idx="212">
                  <c:v>66.866380000000007</c:v>
                </c:pt>
                <c:pt idx="213">
                  <c:v>66.703119999999998</c:v>
                </c:pt>
                <c:pt idx="214">
                  <c:v>67.218956000000006</c:v>
                </c:pt>
                <c:pt idx="215">
                  <c:v>67.487279999999998</c:v>
                </c:pt>
                <c:pt idx="216">
                  <c:v>67.969409999999996</c:v>
                </c:pt>
                <c:pt idx="217">
                  <c:v>68.676360000000003</c:v>
                </c:pt>
                <c:pt idx="218">
                  <c:v>68.858810000000005</c:v>
                </c:pt>
                <c:pt idx="219">
                  <c:v>68.788520000000005</c:v>
                </c:pt>
                <c:pt idx="220">
                  <c:v>68.712230000000005</c:v>
                </c:pt>
                <c:pt idx="221">
                  <c:v>68.728290000000001</c:v>
                </c:pt>
                <c:pt idx="222">
                  <c:v>69.10651</c:v>
                </c:pt>
                <c:pt idx="223">
                  <c:v>68.897289999999998</c:v>
                </c:pt>
                <c:pt idx="224">
                  <c:v>68.777275000000003</c:v>
                </c:pt>
                <c:pt idx="225">
                  <c:v>68.594070000000002</c:v>
                </c:pt>
                <c:pt idx="226">
                  <c:v>68.817930000000004</c:v>
                </c:pt>
                <c:pt idx="227">
                  <c:v>69.000060000000005</c:v>
                </c:pt>
                <c:pt idx="228">
                  <c:v>69.450609999999998</c:v>
                </c:pt>
                <c:pt idx="229">
                  <c:v>69.774956000000003</c:v>
                </c:pt>
                <c:pt idx="230">
                  <c:v>69.473749999999995</c:v>
                </c:pt>
                <c:pt idx="231">
                  <c:v>69.804389999999998</c:v>
                </c:pt>
                <c:pt idx="232">
                  <c:v>70.024826000000004</c:v>
                </c:pt>
                <c:pt idx="233">
                  <c:v>70.135850000000005</c:v>
                </c:pt>
                <c:pt idx="234">
                  <c:v>70.05368</c:v>
                </c:pt>
                <c:pt idx="235">
                  <c:v>70.187129999999996</c:v>
                </c:pt>
                <c:pt idx="236">
                  <c:v>70.340320000000006</c:v>
                </c:pt>
                <c:pt idx="237">
                  <c:v>70.082149999999999</c:v>
                </c:pt>
                <c:pt idx="238">
                  <c:v>69.190764999999999</c:v>
                </c:pt>
                <c:pt idx="239">
                  <c:v>68.570594999999997</c:v>
                </c:pt>
                <c:pt idx="240">
                  <c:v>68.347824000000003</c:v>
                </c:pt>
                <c:pt idx="241">
                  <c:v>67.750529999999998</c:v>
                </c:pt>
                <c:pt idx="242">
                  <c:v>67.904790000000006</c:v>
                </c:pt>
                <c:pt idx="243">
                  <c:v>67.675340000000006</c:v>
                </c:pt>
                <c:pt idx="244">
                  <c:v>66.896169999999998</c:v>
                </c:pt>
                <c:pt idx="245">
                  <c:v>66.989425999999995</c:v>
                </c:pt>
                <c:pt idx="246">
                  <c:v>66.97193</c:v>
                </c:pt>
                <c:pt idx="247">
                  <c:v>67.78716</c:v>
                </c:pt>
                <c:pt idx="248">
                  <c:v>69.025700000000001</c:v>
                </c:pt>
                <c:pt idx="249">
                  <c:v>69.521614</c:v>
                </c:pt>
                <c:pt idx="250">
                  <c:v>69.911730000000006</c:v>
                </c:pt>
                <c:pt idx="251">
                  <c:v>69.901480000000006</c:v>
                </c:pt>
                <c:pt idx="252">
                  <c:v>69.932519999999997</c:v>
                </c:pt>
                <c:pt idx="253">
                  <c:v>70.012214999999998</c:v>
                </c:pt>
                <c:pt idx="254">
                  <c:v>70.119479999999996</c:v>
                </c:pt>
                <c:pt idx="255">
                  <c:v>69.88888</c:v>
                </c:pt>
                <c:pt idx="256">
                  <c:v>70.007310000000004</c:v>
                </c:pt>
                <c:pt idx="257">
                  <c:v>69.893010000000004</c:v>
                </c:pt>
                <c:pt idx="258">
                  <c:v>70.198570000000004</c:v>
                </c:pt>
                <c:pt idx="259">
                  <c:v>70.272705000000002</c:v>
                </c:pt>
                <c:pt idx="260">
                  <c:v>70.265940000000001</c:v>
                </c:pt>
                <c:pt idx="261">
                  <c:v>70.40119</c:v>
                </c:pt>
                <c:pt idx="262">
                  <c:v>70.521129999999999</c:v>
                </c:pt>
                <c:pt idx="263">
                  <c:v>70.525829999999999</c:v>
                </c:pt>
                <c:pt idx="264">
                  <c:v>71.266914</c:v>
                </c:pt>
                <c:pt idx="265">
                  <c:v>71.724369999999993</c:v>
                </c:pt>
                <c:pt idx="266">
                  <c:v>72.154690000000002</c:v>
                </c:pt>
                <c:pt idx="267">
                  <c:v>72.457115000000002</c:v>
                </c:pt>
                <c:pt idx="268">
                  <c:v>72.80659</c:v>
                </c:pt>
                <c:pt idx="269">
                  <c:v>72.866280000000003</c:v>
                </c:pt>
                <c:pt idx="270">
                  <c:v>73.074776</c:v>
                </c:pt>
                <c:pt idx="271">
                  <c:v>72.708100000000002</c:v>
                </c:pt>
                <c:pt idx="272">
                  <c:v>72.488510000000005</c:v>
                </c:pt>
                <c:pt idx="273">
                  <c:v>72.602720000000005</c:v>
                </c:pt>
                <c:pt idx="274">
                  <c:v>72.730119999999999</c:v>
                </c:pt>
                <c:pt idx="275">
                  <c:v>72.376914999999997</c:v>
                </c:pt>
                <c:pt idx="276">
                  <c:v>72.368094999999997</c:v>
                </c:pt>
                <c:pt idx="277">
                  <c:v>72.149510000000006</c:v>
                </c:pt>
                <c:pt idx="278">
                  <c:v>72.028199999999998</c:v>
                </c:pt>
                <c:pt idx="279">
                  <c:v>72.181370000000001</c:v>
                </c:pt>
                <c:pt idx="280">
                  <c:v>71.956299999999999</c:v>
                </c:pt>
                <c:pt idx="281">
                  <c:v>71.859690000000001</c:v>
                </c:pt>
                <c:pt idx="282">
                  <c:v>72.057839999999999</c:v>
                </c:pt>
                <c:pt idx="283">
                  <c:v>72.227999999999994</c:v>
                </c:pt>
                <c:pt idx="284">
                  <c:v>72.603729999999999</c:v>
                </c:pt>
                <c:pt idx="285">
                  <c:v>72.919250000000005</c:v>
                </c:pt>
                <c:pt idx="286">
                  <c:v>73.048969999999997</c:v>
                </c:pt>
                <c:pt idx="287">
                  <c:v>72.6708</c:v>
                </c:pt>
                <c:pt idx="288">
                  <c:v>72.389830000000003</c:v>
                </c:pt>
                <c:pt idx="289">
                  <c:v>72.486176</c:v>
                </c:pt>
                <c:pt idx="290">
                  <c:v>72.831665000000001</c:v>
                </c:pt>
                <c:pt idx="291">
                  <c:v>72.294790000000006</c:v>
                </c:pt>
                <c:pt idx="292">
                  <c:v>71.852800000000002</c:v>
                </c:pt>
                <c:pt idx="293">
                  <c:v>71.798739999999995</c:v>
                </c:pt>
                <c:pt idx="294">
                  <c:v>71.677574000000007</c:v>
                </c:pt>
                <c:pt idx="295">
                  <c:v>71.870829999999998</c:v>
                </c:pt>
                <c:pt idx="296">
                  <c:v>71.995320000000007</c:v>
                </c:pt>
                <c:pt idx="297">
                  <c:v>72.275490000000005</c:v>
                </c:pt>
                <c:pt idx="298">
                  <c:v>72.602239999999995</c:v>
                </c:pt>
                <c:pt idx="299">
                  <c:v>72.56823</c:v>
                </c:pt>
                <c:pt idx="300">
                  <c:v>72.470590000000001</c:v>
                </c:pt>
                <c:pt idx="301">
                  <c:v>72.085520000000002</c:v>
                </c:pt>
                <c:pt idx="302">
                  <c:v>72.148705000000007</c:v>
                </c:pt>
                <c:pt idx="303">
                  <c:v>72.410600000000002</c:v>
                </c:pt>
                <c:pt idx="304">
                  <c:v>72.575749999999999</c:v>
                </c:pt>
                <c:pt idx="305">
                  <c:v>72.744643999999994</c:v>
                </c:pt>
                <c:pt idx="306">
                  <c:v>72.871549999999999</c:v>
                </c:pt>
                <c:pt idx="307">
                  <c:v>73.066733999999997</c:v>
                </c:pt>
                <c:pt idx="308">
                  <c:v>72.903630000000007</c:v>
                </c:pt>
                <c:pt idx="309">
                  <c:v>73.409859999999995</c:v>
                </c:pt>
                <c:pt idx="310">
                  <c:v>73.861919999999998</c:v>
                </c:pt>
                <c:pt idx="311">
                  <c:v>74.110550000000003</c:v>
                </c:pt>
                <c:pt idx="312">
                  <c:v>74.398253999999994</c:v>
                </c:pt>
                <c:pt idx="313">
                  <c:v>74.433940000000007</c:v>
                </c:pt>
                <c:pt idx="314">
                  <c:v>74.245630000000006</c:v>
                </c:pt>
                <c:pt idx="315">
                  <c:v>73.87039</c:v>
                </c:pt>
                <c:pt idx="316">
                  <c:v>73.867080000000001</c:v>
                </c:pt>
                <c:pt idx="317">
                  <c:v>73.776610000000005</c:v>
                </c:pt>
                <c:pt idx="318">
                  <c:v>73.361310000000003</c:v>
                </c:pt>
                <c:pt idx="319">
                  <c:v>73.433350000000004</c:v>
                </c:pt>
                <c:pt idx="320">
                  <c:v>73.384330000000006</c:v>
                </c:pt>
                <c:pt idx="321">
                  <c:v>73.427949999999996</c:v>
                </c:pt>
                <c:pt idx="322">
                  <c:v>73.674760000000006</c:v>
                </c:pt>
                <c:pt idx="323">
                  <c:v>73.839659999999995</c:v>
                </c:pt>
                <c:pt idx="324">
                  <c:v>74.180880000000002</c:v>
                </c:pt>
                <c:pt idx="325">
                  <c:v>74.57347</c:v>
                </c:pt>
                <c:pt idx="326">
                  <c:v>74.857100000000003</c:v>
                </c:pt>
                <c:pt idx="327">
                  <c:v>74.923360000000002</c:v>
                </c:pt>
                <c:pt idx="328">
                  <c:v>75.140360000000001</c:v>
                </c:pt>
                <c:pt idx="329">
                  <c:v>75.73451</c:v>
                </c:pt>
                <c:pt idx="330">
                  <c:v>76.377619999999993</c:v>
                </c:pt>
                <c:pt idx="331">
                  <c:v>76.863079999999997</c:v>
                </c:pt>
                <c:pt idx="332">
                  <c:v>77.220330000000004</c:v>
                </c:pt>
                <c:pt idx="333">
                  <c:v>77.376050000000006</c:v>
                </c:pt>
                <c:pt idx="334">
                  <c:v>77.199190000000002</c:v>
                </c:pt>
                <c:pt idx="335">
                  <c:v>77.338165000000004</c:v>
                </c:pt>
                <c:pt idx="336">
                  <c:v>77.289924999999997</c:v>
                </c:pt>
                <c:pt idx="337">
                  <c:v>77.301829999999995</c:v>
                </c:pt>
                <c:pt idx="338">
                  <c:v>77.447379999999995</c:v>
                </c:pt>
                <c:pt idx="339">
                  <c:v>77.49982</c:v>
                </c:pt>
                <c:pt idx="340">
                  <c:v>77.853089999999995</c:v>
                </c:pt>
                <c:pt idx="341">
                  <c:v>78.445419999999999</c:v>
                </c:pt>
                <c:pt idx="342">
                  <c:v>78.328029999999998</c:v>
                </c:pt>
                <c:pt idx="343">
                  <c:v>78.534790000000001</c:v>
                </c:pt>
                <c:pt idx="344">
                  <c:v>78.750420000000005</c:v>
                </c:pt>
                <c:pt idx="345">
                  <c:v>79.360259999999997</c:v>
                </c:pt>
                <c:pt idx="346">
                  <c:v>80.207859999999997</c:v>
                </c:pt>
                <c:pt idx="347">
                  <c:v>80.777230000000003</c:v>
                </c:pt>
                <c:pt idx="348">
                  <c:v>80.915854999999993</c:v>
                </c:pt>
                <c:pt idx="349">
                  <c:v>81.134659999999997</c:v>
                </c:pt>
                <c:pt idx="350">
                  <c:v>81.025239999999997</c:v>
                </c:pt>
                <c:pt idx="351">
                  <c:v>80.786150000000006</c:v>
                </c:pt>
                <c:pt idx="352">
                  <c:v>80.901150000000001</c:v>
                </c:pt>
                <c:pt idx="353">
                  <c:v>80.942629999999994</c:v>
                </c:pt>
                <c:pt idx="354">
                  <c:v>81.072460000000007</c:v>
                </c:pt>
                <c:pt idx="355">
                  <c:v>81.23424</c:v>
                </c:pt>
                <c:pt idx="356">
                  <c:v>81.312899999999999</c:v>
                </c:pt>
                <c:pt idx="357">
                  <c:v>81.84075</c:v>
                </c:pt>
                <c:pt idx="358">
                  <c:v>81.867490000000004</c:v>
                </c:pt>
                <c:pt idx="359">
                  <c:v>82.220669999999998</c:v>
                </c:pt>
                <c:pt idx="360">
                  <c:v>82.113303999999999</c:v>
                </c:pt>
                <c:pt idx="361">
                  <c:v>82.235140000000001</c:v>
                </c:pt>
                <c:pt idx="362">
                  <c:v>82.378770000000003</c:v>
                </c:pt>
                <c:pt idx="363">
                  <c:v>82.488460000000003</c:v>
                </c:pt>
                <c:pt idx="364">
                  <c:v>82.367189999999994</c:v>
                </c:pt>
                <c:pt idx="365">
                  <c:v>82.576256000000001</c:v>
                </c:pt>
                <c:pt idx="366">
                  <c:v>82.639120000000005</c:v>
                </c:pt>
                <c:pt idx="367">
                  <c:v>82.917240000000007</c:v>
                </c:pt>
                <c:pt idx="368">
                  <c:v>82.315489999999997</c:v>
                </c:pt>
                <c:pt idx="369">
                  <c:v>81.804140000000004</c:v>
                </c:pt>
                <c:pt idx="370">
                  <c:v>81.506100000000004</c:v>
                </c:pt>
                <c:pt idx="371">
                  <c:v>81.174059999999997</c:v>
                </c:pt>
                <c:pt idx="372">
                  <c:v>80.989180000000005</c:v>
                </c:pt>
                <c:pt idx="373">
                  <c:v>80.472589999999997</c:v>
                </c:pt>
                <c:pt idx="374">
                  <c:v>80.388260000000002</c:v>
                </c:pt>
                <c:pt idx="375">
                  <c:v>79.906165999999999</c:v>
                </c:pt>
                <c:pt idx="376">
                  <c:v>79.56232</c:v>
                </c:pt>
                <c:pt idx="377">
                  <c:v>79.537025</c:v>
                </c:pt>
                <c:pt idx="378">
                  <c:v>79.788734000000005</c:v>
                </c:pt>
                <c:pt idx="379">
                  <c:v>80.214836000000005</c:v>
                </c:pt>
                <c:pt idx="380">
                  <c:v>80.817160000000001</c:v>
                </c:pt>
                <c:pt idx="381">
                  <c:v>81.17192</c:v>
                </c:pt>
                <c:pt idx="382">
                  <c:v>81.289370000000005</c:v>
                </c:pt>
                <c:pt idx="383">
                  <c:v>81.425759999999997</c:v>
                </c:pt>
                <c:pt idx="384">
                  <c:v>81.516679999999994</c:v>
                </c:pt>
                <c:pt idx="385">
                  <c:v>81.762110000000007</c:v>
                </c:pt>
                <c:pt idx="386">
                  <c:v>81.772720000000007</c:v>
                </c:pt>
                <c:pt idx="387">
                  <c:v>81.697310000000002</c:v>
                </c:pt>
                <c:pt idx="388">
                  <c:v>81.703469999999996</c:v>
                </c:pt>
                <c:pt idx="389">
                  <c:v>81.959519999999998</c:v>
                </c:pt>
                <c:pt idx="390">
                  <c:v>82.322689999999994</c:v>
                </c:pt>
                <c:pt idx="391">
                  <c:v>82.724800000000002</c:v>
                </c:pt>
                <c:pt idx="392">
                  <c:v>83.120549999999994</c:v>
                </c:pt>
                <c:pt idx="393">
                  <c:v>83.717299999999994</c:v>
                </c:pt>
                <c:pt idx="394">
                  <c:v>83.958529999999996</c:v>
                </c:pt>
                <c:pt idx="395">
                  <c:v>83.848304999999996</c:v>
                </c:pt>
                <c:pt idx="396">
                  <c:v>83.913219999999995</c:v>
                </c:pt>
                <c:pt idx="397">
                  <c:v>83.848569999999995</c:v>
                </c:pt>
                <c:pt idx="398">
                  <c:v>83.507484000000005</c:v>
                </c:pt>
                <c:pt idx="399">
                  <c:v>83.205569999999994</c:v>
                </c:pt>
                <c:pt idx="400">
                  <c:v>83.226166000000006</c:v>
                </c:pt>
                <c:pt idx="401">
                  <c:v>83.172920000000005</c:v>
                </c:pt>
                <c:pt idx="402">
                  <c:v>83.310270000000003</c:v>
                </c:pt>
                <c:pt idx="403">
                  <c:v>83.82902</c:v>
                </c:pt>
                <c:pt idx="404">
                  <c:v>84.162673999999996</c:v>
                </c:pt>
                <c:pt idx="405">
                  <c:v>84.039540000000002</c:v>
                </c:pt>
                <c:pt idx="406">
                  <c:v>84.244643999999994</c:v>
                </c:pt>
                <c:pt idx="407">
                  <c:v>83.628630000000001</c:v>
                </c:pt>
                <c:pt idx="408">
                  <c:v>83.581999999999994</c:v>
                </c:pt>
                <c:pt idx="409">
                  <c:v>83.280169999999998</c:v>
                </c:pt>
                <c:pt idx="410">
                  <c:v>82.963489999999993</c:v>
                </c:pt>
                <c:pt idx="411">
                  <c:v>82.256870000000006</c:v>
                </c:pt>
                <c:pt idx="412">
                  <c:v>82.116389999999996</c:v>
                </c:pt>
                <c:pt idx="413">
                  <c:v>82.569450000000003</c:v>
                </c:pt>
                <c:pt idx="414">
                  <c:v>82.566635000000005</c:v>
                </c:pt>
                <c:pt idx="415">
                  <c:v>81.749300000000005</c:v>
                </c:pt>
                <c:pt idx="416">
                  <c:v>82.017619999999994</c:v>
                </c:pt>
                <c:pt idx="417">
                  <c:v>81.367410000000007</c:v>
                </c:pt>
                <c:pt idx="418">
                  <c:v>80.913849999999996</c:v>
                </c:pt>
                <c:pt idx="419">
                  <c:v>80.081280000000007</c:v>
                </c:pt>
                <c:pt idx="420">
                  <c:v>79.447174000000004</c:v>
                </c:pt>
                <c:pt idx="421">
                  <c:v>79.183300000000003</c:v>
                </c:pt>
                <c:pt idx="422">
                  <c:v>79.293235999999993</c:v>
                </c:pt>
                <c:pt idx="423">
                  <c:v>79.70478</c:v>
                </c:pt>
                <c:pt idx="424">
                  <c:v>80.105029999999999</c:v>
                </c:pt>
                <c:pt idx="425">
                  <c:v>80.80198</c:v>
                </c:pt>
                <c:pt idx="426">
                  <c:v>80.900840000000002</c:v>
                </c:pt>
                <c:pt idx="427">
                  <c:v>81.611946000000003</c:v>
                </c:pt>
                <c:pt idx="428">
                  <c:v>82.228129999999993</c:v>
                </c:pt>
                <c:pt idx="429">
                  <c:v>82.365710000000007</c:v>
                </c:pt>
                <c:pt idx="430">
                  <c:v>82.945983999999996</c:v>
                </c:pt>
                <c:pt idx="431">
                  <c:v>83.153274999999994</c:v>
                </c:pt>
                <c:pt idx="432">
                  <c:v>83.475173999999996</c:v>
                </c:pt>
                <c:pt idx="433">
                  <c:v>83.752769999999998</c:v>
                </c:pt>
                <c:pt idx="434">
                  <c:v>84.708259999999996</c:v>
                </c:pt>
                <c:pt idx="435">
                  <c:v>85.530876000000006</c:v>
                </c:pt>
                <c:pt idx="436">
                  <c:v>86.847970000000004</c:v>
                </c:pt>
                <c:pt idx="437">
                  <c:v>88.484245000000001</c:v>
                </c:pt>
                <c:pt idx="438">
                  <c:v>90.872969999999995</c:v>
                </c:pt>
                <c:pt idx="439">
                  <c:v>93.275374999999997</c:v>
                </c:pt>
                <c:pt idx="440">
                  <c:v>94.568529999999996</c:v>
                </c:pt>
                <c:pt idx="441">
                  <c:v>94.719890000000007</c:v>
                </c:pt>
                <c:pt idx="442">
                  <c:v>94.405609999999996</c:v>
                </c:pt>
                <c:pt idx="443">
                  <c:v>94.257819999999995</c:v>
                </c:pt>
                <c:pt idx="444">
                  <c:v>94.095820000000003</c:v>
                </c:pt>
                <c:pt idx="445">
                  <c:v>93.862660000000005</c:v>
                </c:pt>
                <c:pt idx="446">
                  <c:v>93.565383999999995</c:v>
                </c:pt>
                <c:pt idx="447">
                  <c:v>93.570656</c:v>
                </c:pt>
                <c:pt idx="448">
                  <c:v>93.740470000000002</c:v>
                </c:pt>
                <c:pt idx="449">
                  <c:v>93.962363999999994</c:v>
                </c:pt>
                <c:pt idx="450">
                  <c:v>93.976349999999996</c:v>
                </c:pt>
                <c:pt idx="451">
                  <c:v>93.791690000000003</c:v>
                </c:pt>
                <c:pt idx="452">
                  <c:v>93.522080000000003</c:v>
                </c:pt>
                <c:pt idx="453">
                  <c:v>93.115129999999994</c:v>
                </c:pt>
                <c:pt idx="454">
                  <c:v>93.451539999999994</c:v>
                </c:pt>
                <c:pt idx="455">
                  <c:v>93.786240000000006</c:v>
                </c:pt>
                <c:pt idx="456">
                  <c:v>94.102209999999999</c:v>
                </c:pt>
                <c:pt idx="457">
                  <c:v>94.730384999999998</c:v>
                </c:pt>
                <c:pt idx="458">
                  <c:v>95.451355000000007</c:v>
                </c:pt>
                <c:pt idx="459">
                  <c:v>96.569320000000005</c:v>
                </c:pt>
                <c:pt idx="460">
                  <c:v>97.026290000000003</c:v>
                </c:pt>
                <c:pt idx="461">
                  <c:v>97.494389999999996</c:v>
                </c:pt>
                <c:pt idx="462">
                  <c:v>96.850759999999994</c:v>
                </c:pt>
                <c:pt idx="463">
                  <c:v>95.701160000000002</c:v>
                </c:pt>
                <c:pt idx="464">
                  <c:v>94.383290000000002</c:v>
                </c:pt>
                <c:pt idx="465">
                  <c:v>93.978354999999993</c:v>
                </c:pt>
                <c:pt idx="466">
                  <c:v>94.563730000000007</c:v>
                </c:pt>
                <c:pt idx="467">
                  <c:v>95.014560000000003</c:v>
                </c:pt>
                <c:pt idx="468">
                  <c:v>95.12567</c:v>
                </c:pt>
                <c:pt idx="469">
                  <c:v>95.695179999999993</c:v>
                </c:pt>
                <c:pt idx="470">
                  <c:v>96.179410000000004</c:v>
                </c:pt>
                <c:pt idx="471">
                  <c:v>96.93777</c:v>
                </c:pt>
                <c:pt idx="472">
                  <c:v>97.972909999999999</c:v>
                </c:pt>
                <c:pt idx="473">
                  <c:v>99.015975999999995</c:v>
                </c:pt>
                <c:pt idx="474">
                  <c:v>99.361270000000005</c:v>
                </c:pt>
                <c:pt idx="475">
                  <c:v>99.418785</c:v>
                </c:pt>
                <c:pt idx="476">
                  <c:v>98.326583999999997</c:v>
                </c:pt>
                <c:pt idx="477">
                  <c:v>97.160889999999995</c:v>
                </c:pt>
                <c:pt idx="478">
                  <c:v>96.995660000000001</c:v>
                </c:pt>
                <c:pt idx="479">
                  <c:v>97.766720000000007</c:v>
                </c:pt>
                <c:pt idx="480">
                  <c:v>97.885506000000007</c:v>
                </c:pt>
                <c:pt idx="481">
                  <c:v>97.963790000000003</c:v>
                </c:pt>
                <c:pt idx="482">
                  <c:v>97.914079999999998</c:v>
                </c:pt>
                <c:pt idx="483">
                  <c:v>97.315849999999998</c:v>
                </c:pt>
                <c:pt idx="484">
                  <c:v>96.232320000000001</c:v>
                </c:pt>
                <c:pt idx="485">
                  <c:v>95.916070000000005</c:v>
                </c:pt>
                <c:pt idx="486">
                  <c:v>95.527190000000004</c:v>
                </c:pt>
                <c:pt idx="487">
                  <c:v>95.359880000000004</c:v>
                </c:pt>
                <c:pt idx="488">
                  <c:v>95.628370000000004</c:v>
                </c:pt>
                <c:pt idx="489">
                  <c:v>95.000404000000003</c:v>
                </c:pt>
                <c:pt idx="490">
                  <c:v>94.583960000000005</c:v>
                </c:pt>
                <c:pt idx="491">
                  <c:v>93.714799999999997</c:v>
                </c:pt>
                <c:pt idx="492">
                  <c:v>92.702995000000001</c:v>
                </c:pt>
                <c:pt idx="493">
                  <c:v>92.654910000000001</c:v>
                </c:pt>
                <c:pt idx="494">
                  <c:v>92.148309999999995</c:v>
                </c:pt>
                <c:pt idx="495">
                  <c:v>92.320620000000005</c:v>
                </c:pt>
                <c:pt idx="496">
                  <c:v>92.802449999999993</c:v>
                </c:pt>
                <c:pt idx="497">
                  <c:v>94.234210000000004</c:v>
                </c:pt>
                <c:pt idx="498">
                  <c:v>96.188500000000005</c:v>
                </c:pt>
                <c:pt idx="499">
                  <c:v>97.450729999999993</c:v>
                </c:pt>
                <c:pt idx="500">
                  <c:v>98.250320000000002</c:v>
                </c:pt>
                <c:pt idx="501">
                  <c:v>99.145079999999993</c:v>
                </c:pt>
                <c:pt idx="502">
                  <c:v>99.829384000000005</c:v>
                </c:pt>
                <c:pt idx="503">
                  <c:v>100.846756</c:v>
                </c:pt>
                <c:pt idx="504">
                  <c:v>101.00230000000001</c:v>
                </c:pt>
                <c:pt idx="505">
                  <c:v>100.63866400000001</c:v>
                </c:pt>
                <c:pt idx="506">
                  <c:v>100.15900999999999</c:v>
                </c:pt>
                <c:pt idx="507">
                  <c:v>99.249960000000002</c:v>
                </c:pt>
                <c:pt idx="508">
                  <c:v>99.144409999999993</c:v>
                </c:pt>
                <c:pt idx="509">
                  <c:v>99.378680000000003</c:v>
                </c:pt>
                <c:pt idx="510">
                  <c:v>99.788086000000007</c:v>
                </c:pt>
                <c:pt idx="511">
                  <c:v>99.516720000000007</c:v>
                </c:pt>
                <c:pt idx="512">
                  <c:v>99.638599999999997</c:v>
                </c:pt>
                <c:pt idx="513">
                  <c:v>99.538619999999995</c:v>
                </c:pt>
                <c:pt idx="514">
                  <c:v>99.727469999999997</c:v>
                </c:pt>
                <c:pt idx="515">
                  <c:v>99.956270000000004</c:v>
                </c:pt>
                <c:pt idx="516">
                  <c:v>100.14135</c:v>
                </c:pt>
                <c:pt idx="517">
                  <c:v>100.55629999999999</c:v>
                </c:pt>
                <c:pt idx="518">
                  <c:v>100.3203</c:v>
                </c:pt>
                <c:pt idx="519">
                  <c:v>100.52670000000001</c:v>
                </c:pt>
                <c:pt idx="520">
                  <c:v>99.995609999999999</c:v>
                </c:pt>
                <c:pt idx="521">
                  <c:v>99.714386000000005</c:v>
                </c:pt>
                <c:pt idx="522">
                  <c:v>99.983153999999999</c:v>
                </c:pt>
                <c:pt idx="523">
                  <c:v>99.915310000000005</c:v>
                </c:pt>
                <c:pt idx="524">
                  <c:v>100.32745</c:v>
                </c:pt>
                <c:pt idx="525">
                  <c:v>99.927279999999996</c:v>
                </c:pt>
                <c:pt idx="526">
                  <c:v>99.631569999999996</c:v>
                </c:pt>
                <c:pt idx="527">
                  <c:v>98.148223999999999</c:v>
                </c:pt>
                <c:pt idx="528">
                  <c:v>98.053314</c:v>
                </c:pt>
                <c:pt idx="529">
                  <c:v>98.229259999999996</c:v>
                </c:pt>
                <c:pt idx="530">
                  <c:v>98.266530000000003</c:v>
                </c:pt>
                <c:pt idx="531">
                  <c:v>97.631060000000005</c:v>
                </c:pt>
                <c:pt idx="532">
                  <c:v>97.171616</c:v>
                </c:pt>
                <c:pt idx="533">
                  <c:v>96.772540000000006</c:v>
                </c:pt>
                <c:pt idx="534">
                  <c:v>97.043989999999994</c:v>
                </c:pt>
                <c:pt idx="535">
                  <c:v>96.839789999999994</c:v>
                </c:pt>
                <c:pt idx="536">
                  <c:v>96.814189999999996</c:v>
                </c:pt>
                <c:pt idx="537">
                  <c:v>96.727509999999995</c:v>
                </c:pt>
                <c:pt idx="538">
                  <c:v>96.795783999999998</c:v>
                </c:pt>
                <c:pt idx="539">
                  <c:v>96.683009999999996</c:v>
                </c:pt>
                <c:pt idx="540">
                  <c:v>96.913749999999993</c:v>
                </c:pt>
                <c:pt idx="541">
                  <c:v>96.938320000000004</c:v>
                </c:pt>
                <c:pt idx="542">
                  <c:v>97.378730000000004</c:v>
                </c:pt>
                <c:pt idx="543">
                  <c:v>97.633539999999996</c:v>
                </c:pt>
                <c:pt idx="544">
                  <c:v>97.806139999999999</c:v>
                </c:pt>
                <c:pt idx="545">
                  <c:v>98.332089999999994</c:v>
                </c:pt>
                <c:pt idx="546">
                  <c:v>98.734669999999994</c:v>
                </c:pt>
                <c:pt idx="547">
                  <c:v>98.836079999999995</c:v>
                </c:pt>
                <c:pt idx="548">
                  <c:v>99.38682</c:v>
                </c:pt>
                <c:pt idx="549">
                  <c:v>99.420509999999993</c:v>
                </c:pt>
                <c:pt idx="550">
                  <c:v>99.376530000000002</c:v>
                </c:pt>
                <c:pt idx="551">
                  <c:v>99.416129999999995</c:v>
                </c:pt>
                <c:pt idx="552">
                  <c:v>99.316789999999997</c:v>
                </c:pt>
                <c:pt idx="553">
                  <c:v>99.364859999999993</c:v>
                </c:pt>
                <c:pt idx="554">
                  <c:v>99.662279999999996</c:v>
                </c:pt>
                <c:pt idx="555">
                  <c:v>99.675780000000003</c:v>
                </c:pt>
                <c:pt idx="556">
                  <c:v>99.162210000000002</c:v>
                </c:pt>
                <c:pt idx="557">
                  <c:v>99.327254999999994</c:v>
                </c:pt>
                <c:pt idx="558">
                  <c:v>99.377269999999996</c:v>
                </c:pt>
                <c:pt idx="559">
                  <c:v>99.461309999999997</c:v>
                </c:pt>
                <c:pt idx="560">
                  <c:v>99.486199999999997</c:v>
                </c:pt>
                <c:pt idx="561">
                  <c:v>99.542850000000001</c:v>
                </c:pt>
                <c:pt idx="562">
                  <c:v>100.033905</c:v>
                </c:pt>
                <c:pt idx="563">
                  <c:v>100.00412</c:v>
                </c:pt>
                <c:pt idx="564">
                  <c:v>99.926895000000002</c:v>
                </c:pt>
                <c:pt idx="565">
                  <c:v>99.718834000000001</c:v>
                </c:pt>
                <c:pt idx="566">
                  <c:v>100.14894</c:v>
                </c:pt>
                <c:pt idx="567">
                  <c:v>101.30969</c:v>
                </c:pt>
                <c:pt idx="568">
                  <c:v>102.994865</c:v>
                </c:pt>
                <c:pt idx="569">
                  <c:v>101.5669</c:v>
                </c:pt>
                <c:pt idx="570">
                  <c:v>99.685190000000006</c:v>
                </c:pt>
                <c:pt idx="571">
                  <c:v>99.205430000000007</c:v>
                </c:pt>
                <c:pt idx="572">
                  <c:v>99.111270000000005</c:v>
                </c:pt>
                <c:pt idx="573">
                  <c:v>98.756339999999994</c:v>
                </c:pt>
                <c:pt idx="574">
                  <c:v>99.214516000000003</c:v>
                </c:pt>
                <c:pt idx="575">
                  <c:v>99.660420000000002</c:v>
                </c:pt>
                <c:pt idx="576">
                  <c:v>99.805570000000003</c:v>
                </c:pt>
                <c:pt idx="577">
                  <c:v>100.03833</c:v>
                </c:pt>
                <c:pt idx="578">
                  <c:v>100.42483</c:v>
                </c:pt>
                <c:pt idx="579">
                  <c:v>100.80368</c:v>
                </c:pt>
                <c:pt idx="580">
                  <c:v>100.79431</c:v>
                </c:pt>
                <c:pt idx="581">
                  <c:v>101.04653</c:v>
                </c:pt>
                <c:pt idx="582">
                  <c:v>100.98819</c:v>
                </c:pt>
                <c:pt idx="583">
                  <c:v>101.05401000000001</c:v>
                </c:pt>
                <c:pt idx="584">
                  <c:v>101.68850999999999</c:v>
                </c:pt>
                <c:pt idx="585">
                  <c:v>102.02579</c:v>
                </c:pt>
                <c:pt idx="586">
                  <c:v>101.75324999999999</c:v>
                </c:pt>
                <c:pt idx="587">
                  <c:v>101.17917</c:v>
                </c:pt>
                <c:pt idx="588">
                  <c:v>100.657555</c:v>
                </c:pt>
                <c:pt idx="589">
                  <c:v>99.773629999999997</c:v>
                </c:pt>
                <c:pt idx="590">
                  <c:v>99.871660000000006</c:v>
                </c:pt>
                <c:pt idx="591">
                  <c:v>99.907470000000004</c:v>
                </c:pt>
                <c:pt idx="592">
                  <c:v>100.30862399999999</c:v>
                </c:pt>
                <c:pt idx="593">
                  <c:v>100.50646999999999</c:v>
                </c:pt>
                <c:pt idx="594">
                  <c:v>100.32465000000001</c:v>
                </c:pt>
                <c:pt idx="595">
                  <c:v>100.32423</c:v>
                </c:pt>
                <c:pt idx="596">
                  <c:v>100.43978</c:v>
                </c:pt>
                <c:pt idx="597">
                  <c:v>99.49342</c:v>
                </c:pt>
                <c:pt idx="598">
                  <c:v>99.106769999999997</c:v>
                </c:pt>
                <c:pt idx="599">
                  <c:v>99.000495999999998</c:v>
                </c:pt>
                <c:pt idx="600">
                  <c:v>98.803849999999997</c:v>
                </c:pt>
                <c:pt idx="601">
                  <c:v>98.432914999999994</c:v>
                </c:pt>
                <c:pt idx="602">
                  <c:v>98.784225000000006</c:v>
                </c:pt>
                <c:pt idx="603">
                  <c:v>98.327640000000002</c:v>
                </c:pt>
                <c:pt idx="604">
                  <c:v>98.565290000000005</c:v>
                </c:pt>
                <c:pt idx="605">
                  <c:v>99.457213999999993</c:v>
                </c:pt>
                <c:pt idx="606">
                  <c:v>100.38838</c:v>
                </c:pt>
                <c:pt idx="607">
                  <c:v>100.98588599999999</c:v>
                </c:pt>
                <c:pt idx="608">
                  <c:v>101.76837999999999</c:v>
                </c:pt>
                <c:pt idx="609">
                  <c:v>102.47672</c:v>
                </c:pt>
                <c:pt idx="610">
                  <c:v>102.68156399999999</c:v>
                </c:pt>
                <c:pt idx="611">
                  <c:v>102.20177</c:v>
                </c:pt>
                <c:pt idx="612">
                  <c:v>101.807175</c:v>
                </c:pt>
                <c:pt idx="613">
                  <c:v>101.62163</c:v>
                </c:pt>
                <c:pt idx="614">
                  <c:v>101.01599</c:v>
                </c:pt>
                <c:pt idx="615">
                  <c:v>100.29263</c:v>
                </c:pt>
                <c:pt idx="616">
                  <c:v>99.650115999999997</c:v>
                </c:pt>
                <c:pt idx="617">
                  <c:v>99.866159999999994</c:v>
                </c:pt>
                <c:pt idx="618">
                  <c:v>100.28476000000001</c:v>
                </c:pt>
                <c:pt idx="619">
                  <c:v>100.82758</c:v>
                </c:pt>
                <c:pt idx="620">
                  <c:v>101.25488</c:v>
                </c:pt>
                <c:pt idx="621">
                  <c:v>101.50663</c:v>
                </c:pt>
                <c:pt idx="622">
                  <c:v>101.37157999999999</c:v>
                </c:pt>
                <c:pt idx="623">
                  <c:v>100.36751</c:v>
                </c:pt>
                <c:pt idx="624">
                  <c:v>99.494619999999998</c:v>
                </c:pt>
                <c:pt idx="625">
                  <c:v>96.789519999999996</c:v>
                </c:pt>
                <c:pt idx="626">
                  <c:v>96.076126000000002</c:v>
                </c:pt>
                <c:pt idx="627">
                  <c:v>95.83484</c:v>
                </c:pt>
                <c:pt idx="628">
                  <c:v>95.943115000000006</c:v>
                </c:pt>
                <c:pt idx="629">
                  <c:v>95.629715000000004</c:v>
                </c:pt>
                <c:pt idx="630">
                  <c:v>95.449569999999994</c:v>
                </c:pt>
                <c:pt idx="631">
                  <c:v>95.425389999999993</c:v>
                </c:pt>
                <c:pt idx="632">
                  <c:v>95.306489999999997</c:v>
                </c:pt>
                <c:pt idx="633">
                  <c:v>94.911910000000006</c:v>
                </c:pt>
                <c:pt idx="634">
                  <c:v>95.433136000000005</c:v>
                </c:pt>
                <c:pt idx="635">
                  <c:v>94.609039999999993</c:v>
                </c:pt>
                <c:pt idx="636">
                  <c:v>93.188090000000003</c:v>
                </c:pt>
                <c:pt idx="637">
                  <c:v>91.337456000000003</c:v>
                </c:pt>
                <c:pt idx="638">
                  <c:v>91.025229999999993</c:v>
                </c:pt>
                <c:pt idx="639">
                  <c:v>91.558840000000004</c:v>
                </c:pt>
                <c:pt idx="640">
                  <c:v>91.553240000000002</c:v>
                </c:pt>
                <c:pt idx="641">
                  <c:v>91.353840000000005</c:v>
                </c:pt>
                <c:pt idx="642">
                  <c:v>90.618679999999998</c:v>
                </c:pt>
                <c:pt idx="643">
                  <c:v>90.768105000000006</c:v>
                </c:pt>
                <c:pt idx="644">
                  <c:v>90.863259999999997</c:v>
                </c:pt>
                <c:pt idx="645">
                  <c:v>90.571420000000003</c:v>
                </c:pt>
                <c:pt idx="646">
                  <c:v>91.206085000000002</c:v>
                </c:pt>
                <c:pt idx="647">
                  <c:v>91.135239999999996</c:v>
                </c:pt>
                <c:pt idx="648">
                  <c:v>91.343704000000002</c:v>
                </c:pt>
                <c:pt idx="649">
                  <c:v>91.596374999999995</c:v>
                </c:pt>
                <c:pt idx="650">
                  <c:v>91.765204999999995</c:v>
                </c:pt>
                <c:pt idx="651">
                  <c:v>92.233509999999995</c:v>
                </c:pt>
                <c:pt idx="652">
                  <c:v>92.898765999999995</c:v>
                </c:pt>
                <c:pt idx="653">
                  <c:v>93.222945999999993</c:v>
                </c:pt>
                <c:pt idx="654">
                  <c:v>92.682299999999998</c:v>
                </c:pt>
                <c:pt idx="655">
                  <c:v>92.793769999999995</c:v>
                </c:pt>
                <c:pt idx="656">
                  <c:v>92.525090000000006</c:v>
                </c:pt>
                <c:pt idx="657">
                  <c:v>92.607665999999995</c:v>
                </c:pt>
                <c:pt idx="658">
                  <c:v>92.385710000000003</c:v>
                </c:pt>
                <c:pt idx="659">
                  <c:v>92.518974</c:v>
                </c:pt>
                <c:pt idx="660">
                  <c:v>91.834816000000004</c:v>
                </c:pt>
                <c:pt idx="661">
                  <c:v>91.566956000000005</c:v>
                </c:pt>
                <c:pt idx="662">
                  <c:v>92.131780000000006</c:v>
                </c:pt>
                <c:pt idx="663">
                  <c:v>92.648529999999994</c:v>
                </c:pt>
                <c:pt idx="664">
                  <c:v>93.455299999999994</c:v>
                </c:pt>
                <c:pt idx="665">
                  <c:v>94.654020000000003</c:v>
                </c:pt>
                <c:pt idx="666">
                  <c:v>94.921554999999998</c:v>
                </c:pt>
                <c:pt idx="667">
                  <c:v>94.962104999999994</c:v>
                </c:pt>
                <c:pt idx="668">
                  <c:v>94.860550000000003</c:v>
                </c:pt>
                <c:pt idx="669">
                  <c:v>94.109279999999998</c:v>
                </c:pt>
                <c:pt idx="670">
                  <c:v>93.463589999999996</c:v>
                </c:pt>
                <c:pt idx="671">
                  <c:v>92.728874000000005</c:v>
                </c:pt>
                <c:pt idx="672">
                  <c:v>91.695670000000007</c:v>
                </c:pt>
                <c:pt idx="673">
                  <c:v>91.596620000000001</c:v>
                </c:pt>
                <c:pt idx="674">
                  <c:v>91.844809999999995</c:v>
                </c:pt>
                <c:pt idx="675">
                  <c:v>92.12612</c:v>
                </c:pt>
                <c:pt idx="676">
                  <c:v>92.323554999999999</c:v>
                </c:pt>
                <c:pt idx="677">
                  <c:v>92.308589999999995</c:v>
                </c:pt>
                <c:pt idx="678">
                  <c:v>93.159989999999993</c:v>
                </c:pt>
                <c:pt idx="679">
                  <c:v>94.116935999999995</c:v>
                </c:pt>
                <c:pt idx="680">
                  <c:v>94.648650000000004</c:v>
                </c:pt>
                <c:pt idx="681">
                  <c:v>94.571659999999994</c:v>
                </c:pt>
                <c:pt idx="682">
                  <c:v>95.135930000000002</c:v>
                </c:pt>
                <c:pt idx="683">
                  <c:v>95.346190000000007</c:v>
                </c:pt>
                <c:pt idx="684">
                  <c:v>95.290009999999995</c:v>
                </c:pt>
                <c:pt idx="685">
                  <c:v>96.261086000000006</c:v>
                </c:pt>
                <c:pt idx="686">
                  <c:v>97.056719999999999</c:v>
                </c:pt>
                <c:pt idx="687">
                  <c:v>98.560424999999995</c:v>
                </c:pt>
                <c:pt idx="688">
                  <c:v>99.736069999999998</c:v>
                </c:pt>
                <c:pt idx="689">
                  <c:v>101.08783</c:v>
                </c:pt>
                <c:pt idx="690">
                  <c:v>101.54667000000001</c:v>
                </c:pt>
                <c:pt idx="691">
                  <c:v>101.69186999999999</c:v>
                </c:pt>
                <c:pt idx="692">
                  <c:v>101.45180999999999</c:v>
                </c:pt>
                <c:pt idx="693">
                  <c:v>100.94495000000001</c:v>
                </c:pt>
                <c:pt idx="694">
                  <c:v>99.840900000000005</c:v>
                </c:pt>
                <c:pt idx="695">
                  <c:v>96.572265999999999</c:v>
                </c:pt>
                <c:pt idx="696">
                  <c:v>94.934455999999997</c:v>
                </c:pt>
                <c:pt idx="697">
                  <c:v>95.157195999999999</c:v>
                </c:pt>
                <c:pt idx="698">
                  <c:v>95.313569999999999</c:v>
                </c:pt>
                <c:pt idx="699">
                  <c:v>95.270454000000001</c:v>
                </c:pt>
                <c:pt idx="700">
                  <c:v>95.243224999999995</c:v>
                </c:pt>
                <c:pt idx="701">
                  <c:v>95.198740000000001</c:v>
                </c:pt>
                <c:pt idx="702">
                  <c:v>95.342820000000003</c:v>
                </c:pt>
                <c:pt idx="703">
                  <c:v>95.134370000000004</c:v>
                </c:pt>
                <c:pt idx="704">
                  <c:v>94.771900000000002</c:v>
                </c:pt>
                <c:pt idx="705">
                  <c:v>94.750739999999993</c:v>
                </c:pt>
                <c:pt idx="706">
                  <c:v>94.460915</c:v>
                </c:pt>
                <c:pt idx="707">
                  <c:v>93.970110000000005</c:v>
                </c:pt>
                <c:pt idx="708">
                  <c:v>94.284149999999997</c:v>
                </c:pt>
                <c:pt idx="709">
                  <c:v>94.242644999999996</c:v>
                </c:pt>
                <c:pt idx="710">
                  <c:v>94.110849999999999</c:v>
                </c:pt>
                <c:pt idx="711">
                  <c:v>93.858635000000007</c:v>
                </c:pt>
                <c:pt idx="712">
                  <c:v>93.874099999999999</c:v>
                </c:pt>
                <c:pt idx="713">
                  <c:v>93.306465000000003</c:v>
                </c:pt>
                <c:pt idx="714">
                  <c:v>93.159760000000006</c:v>
                </c:pt>
                <c:pt idx="715">
                  <c:v>93.351860000000002</c:v>
                </c:pt>
                <c:pt idx="716">
                  <c:v>93.736915999999994</c:v>
                </c:pt>
                <c:pt idx="717">
                  <c:v>93.456720000000004</c:v>
                </c:pt>
                <c:pt idx="718">
                  <c:v>93.721140000000005</c:v>
                </c:pt>
                <c:pt idx="719">
                  <c:v>93.690414000000004</c:v>
                </c:pt>
                <c:pt idx="720">
                  <c:v>93.203389999999999</c:v>
                </c:pt>
                <c:pt idx="721">
                  <c:v>93.382909999999995</c:v>
                </c:pt>
                <c:pt idx="722">
                  <c:v>93.333404999999999</c:v>
                </c:pt>
                <c:pt idx="723">
                  <c:v>93.35857</c:v>
                </c:pt>
                <c:pt idx="724">
                  <c:v>93.697519999999997</c:v>
                </c:pt>
                <c:pt idx="725">
                  <c:v>93.790199999999999</c:v>
                </c:pt>
                <c:pt idx="726">
                  <c:v>93.712209999999999</c:v>
                </c:pt>
                <c:pt idx="727">
                  <c:v>93.218940000000003</c:v>
                </c:pt>
                <c:pt idx="728">
                  <c:v>93.041889999999995</c:v>
                </c:pt>
                <c:pt idx="729">
                  <c:v>92.49418</c:v>
                </c:pt>
                <c:pt idx="730">
                  <c:v>91.654790000000006</c:v>
                </c:pt>
                <c:pt idx="731">
                  <c:v>90.918139999999994</c:v>
                </c:pt>
                <c:pt idx="732">
                  <c:v>90.615905999999995</c:v>
                </c:pt>
                <c:pt idx="733">
                  <c:v>90.714449999999999</c:v>
                </c:pt>
                <c:pt idx="734">
                  <c:v>90.112009999999998</c:v>
                </c:pt>
                <c:pt idx="735">
                  <c:v>90.310019999999994</c:v>
                </c:pt>
                <c:pt idx="736">
                  <c:v>90.069810000000004</c:v>
                </c:pt>
                <c:pt idx="737">
                  <c:v>89.659194999999997</c:v>
                </c:pt>
                <c:pt idx="738">
                  <c:v>89.256280000000004</c:v>
                </c:pt>
                <c:pt idx="739">
                  <c:v>89.079445000000007</c:v>
                </c:pt>
                <c:pt idx="740">
                  <c:v>89.516570000000002</c:v>
                </c:pt>
                <c:pt idx="741">
                  <c:v>89.357870000000005</c:v>
                </c:pt>
                <c:pt idx="742">
                  <c:v>89.835610000000003</c:v>
                </c:pt>
                <c:pt idx="743">
                  <c:v>89.932365000000004</c:v>
                </c:pt>
                <c:pt idx="744">
                  <c:v>90.274969999999996</c:v>
                </c:pt>
                <c:pt idx="745">
                  <c:v>91.258349999999993</c:v>
                </c:pt>
                <c:pt idx="746">
                  <c:v>91.940669999999997</c:v>
                </c:pt>
                <c:pt idx="747">
                  <c:v>91.876919999999998</c:v>
                </c:pt>
                <c:pt idx="748">
                  <c:v>91.965919999999997</c:v>
                </c:pt>
                <c:pt idx="749">
                  <c:v>92.274050000000003</c:v>
                </c:pt>
                <c:pt idx="750">
                  <c:v>91.861940000000004</c:v>
                </c:pt>
                <c:pt idx="751">
                  <c:v>91.034639999999996</c:v>
                </c:pt>
                <c:pt idx="752">
                  <c:v>90.480735999999993</c:v>
                </c:pt>
                <c:pt idx="753">
                  <c:v>90.126890000000003</c:v>
                </c:pt>
                <c:pt idx="754">
                  <c:v>89.368399999999994</c:v>
                </c:pt>
                <c:pt idx="755">
                  <c:v>89.755979999999994</c:v>
                </c:pt>
                <c:pt idx="756">
                  <c:v>90.553534999999997</c:v>
                </c:pt>
                <c:pt idx="757">
                  <c:v>91.403853999999995</c:v>
                </c:pt>
                <c:pt idx="758">
                  <c:v>92.059709999999995</c:v>
                </c:pt>
                <c:pt idx="759">
                  <c:v>92.657570000000007</c:v>
                </c:pt>
                <c:pt idx="760">
                  <c:v>93.455609999999993</c:v>
                </c:pt>
                <c:pt idx="761">
                  <c:v>93.252105999999998</c:v>
                </c:pt>
                <c:pt idx="762">
                  <c:v>93.080209999999994</c:v>
                </c:pt>
                <c:pt idx="763">
                  <c:v>92.902259999999998</c:v>
                </c:pt>
                <c:pt idx="764">
                  <c:v>91.791083999999998</c:v>
                </c:pt>
                <c:pt idx="765">
                  <c:v>89.777609999999996</c:v>
                </c:pt>
                <c:pt idx="766">
                  <c:v>88.119069999999994</c:v>
                </c:pt>
                <c:pt idx="767">
                  <c:v>87.934640000000002</c:v>
                </c:pt>
                <c:pt idx="768">
                  <c:v>87.920450000000002</c:v>
                </c:pt>
                <c:pt idx="769">
                  <c:v>89.580399999999997</c:v>
                </c:pt>
                <c:pt idx="770">
                  <c:v>91.142750000000007</c:v>
                </c:pt>
                <c:pt idx="771">
                  <c:v>93.177049999999994</c:v>
                </c:pt>
                <c:pt idx="772">
                  <c:v>93.741500000000002</c:v>
                </c:pt>
                <c:pt idx="773">
                  <c:v>93.45487</c:v>
                </c:pt>
                <c:pt idx="774">
                  <c:v>93.443079999999995</c:v>
                </c:pt>
                <c:pt idx="775">
                  <c:v>92.939940000000007</c:v>
                </c:pt>
                <c:pt idx="776">
                  <c:v>92.34008</c:v>
                </c:pt>
                <c:pt idx="777">
                  <c:v>91.9893</c:v>
                </c:pt>
                <c:pt idx="778">
                  <c:v>91.821809999999999</c:v>
                </c:pt>
                <c:pt idx="779">
                  <c:v>91.998890000000003</c:v>
                </c:pt>
                <c:pt idx="780">
                  <c:v>92.117270000000005</c:v>
                </c:pt>
                <c:pt idx="781">
                  <c:v>91.941124000000002</c:v>
                </c:pt>
                <c:pt idx="782">
                  <c:v>91.268469999999994</c:v>
                </c:pt>
                <c:pt idx="783">
                  <c:v>90.537970000000001</c:v>
                </c:pt>
                <c:pt idx="784">
                  <c:v>90.200860000000006</c:v>
                </c:pt>
                <c:pt idx="785">
                  <c:v>90.440285000000003</c:v>
                </c:pt>
                <c:pt idx="786">
                  <c:v>90.759410000000003</c:v>
                </c:pt>
                <c:pt idx="787">
                  <c:v>90.875336000000004</c:v>
                </c:pt>
                <c:pt idx="788">
                  <c:v>91.540049999999994</c:v>
                </c:pt>
                <c:pt idx="789">
                  <c:v>91.958759999999998</c:v>
                </c:pt>
                <c:pt idx="790">
                  <c:v>92.153824</c:v>
                </c:pt>
                <c:pt idx="791">
                  <c:v>93.133920000000003</c:v>
                </c:pt>
                <c:pt idx="792">
                  <c:v>93.240499999999997</c:v>
                </c:pt>
                <c:pt idx="793">
                  <c:v>93.681619999999995</c:v>
                </c:pt>
                <c:pt idx="794">
                  <c:v>93.747505000000004</c:v>
                </c:pt>
                <c:pt idx="795">
                  <c:v>94.102135000000004</c:v>
                </c:pt>
                <c:pt idx="796">
                  <c:v>94.809870000000004</c:v>
                </c:pt>
                <c:pt idx="797">
                  <c:v>95.350939999999994</c:v>
                </c:pt>
                <c:pt idx="798">
                  <c:v>95.578109999999995</c:v>
                </c:pt>
                <c:pt idx="799">
                  <c:v>96.473759999999999</c:v>
                </c:pt>
                <c:pt idx="800">
                  <c:v>97.562439999999995</c:v>
                </c:pt>
                <c:pt idx="801">
                  <c:v>98.659903999999997</c:v>
                </c:pt>
                <c:pt idx="802">
                  <c:v>99.141334999999998</c:v>
                </c:pt>
                <c:pt idx="803">
                  <c:v>99.689766000000006</c:v>
                </c:pt>
                <c:pt idx="804">
                  <c:v>99.923299999999998</c:v>
                </c:pt>
                <c:pt idx="805">
                  <c:v>100.26185599999999</c:v>
                </c:pt>
                <c:pt idx="806">
                  <c:v>100.70849</c:v>
                </c:pt>
                <c:pt idx="807">
                  <c:v>100.56331</c:v>
                </c:pt>
                <c:pt idx="808">
                  <c:v>100.26954000000001</c:v>
                </c:pt>
                <c:pt idx="809">
                  <c:v>99.920586</c:v>
                </c:pt>
                <c:pt idx="810">
                  <c:v>99.986915999999994</c:v>
                </c:pt>
                <c:pt idx="811">
                  <c:v>100.16977</c:v>
                </c:pt>
                <c:pt idx="812">
                  <c:v>99.407349999999994</c:v>
                </c:pt>
                <c:pt idx="813">
                  <c:v>98.281814999999995</c:v>
                </c:pt>
                <c:pt idx="814">
                  <c:v>97.544510000000002</c:v>
                </c:pt>
                <c:pt idx="815">
                  <c:v>96.943439999999995</c:v>
                </c:pt>
                <c:pt idx="816">
                  <c:v>95.763999999999996</c:v>
                </c:pt>
                <c:pt idx="817">
                  <c:v>94.993449999999996</c:v>
                </c:pt>
                <c:pt idx="818">
                  <c:v>94.382549999999995</c:v>
                </c:pt>
                <c:pt idx="819">
                  <c:v>94.369690000000006</c:v>
                </c:pt>
                <c:pt idx="820">
                  <c:v>94.125789999999995</c:v>
                </c:pt>
                <c:pt idx="821">
                  <c:v>93.972970000000004</c:v>
                </c:pt>
                <c:pt idx="822">
                  <c:v>93.811970000000002</c:v>
                </c:pt>
                <c:pt idx="823">
                  <c:v>93.920850000000002</c:v>
                </c:pt>
                <c:pt idx="824">
                  <c:v>94.012114999999994</c:v>
                </c:pt>
                <c:pt idx="825">
                  <c:v>94.592680000000001</c:v>
                </c:pt>
                <c:pt idx="826">
                  <c:v>95.179820000000007</c:v>
                </c:pt>
                <c:pt idx="827">
                  <c:v>95.736435</c:v>
                </c:pt>
                <c:pt idx="828">
                  <c:v>96.339349999999996</c:v>
                </c:pt>
                <c:pt idx="829">
                  <c:v>96.331699999999998</c:v>
                </c:pt>
                <c:pt idx="830">
                  <c:v>96.448239999999998</c:v>
                </c:pt>
                <c:pt idx="831">
                  <c:v>96.804990000000004</c:v>
                </c:pt>
                <c:pt idx="832">
                  <c:v>96.837190000000007</c:v>
                </c:pt>
                <c:pt idx="833">
                  <c:v>97.198539999999994</c:v>
                </c:pt>
                <c:pt idx="834">
                  <c:v>97.497535999999997</c:v>
                </c:pt>
                <c:pt idx="835">
                  <c:v>97.87876</c:v>
                </c:pt>
                <c:pt idx="836">
                  <c:v>98.147994999999995</c:v>
                </c:pt>
                <c:pt idx="837">
                  <c:v>97.944050000000004</c:v>
                </c:pt>
                <c:pt idx="838">
                  <c:v>97.475179999999995</c:v>
                </c:pt>
                <c:pt idx="839">
                  <c:v>97.377139999999997</c:v>
                </c:pt>
                <c:pt idx="840">
                  <c:v>97.307580000000002</c:v>
                </c:pt>
                <c:pt idx="841">
                  <c:v>97.401970000000006</c:v>
                </c:pt>
                <c:pt idx="842">
                  <c:v>97.222374000000002</c:v>
                </c:pt>
                <c:pt idx="843">
                  <c:v>97.358239999999995</c:v>
                </c:pt>
                <c:pt idx="844">
                  <c:v>97.870980000000003</c:v>
                </c:pt>
                <c:pt idx="845">
                  <c:v>98.532660000000007</c:v>
                </c:pt>
                <c:pt idx="846">
                  <c:v>100.14545</c:v>
                </c:pt>
                <c:pt idx="847">
                  <c:v>99.151619999999994</c:v>
                </c:pt>
                <c:pt idx="848">
                  <c:v>98.282359999999997</c:v>
                </c:pt>
                <c:pt idx="849">
                  <c:v>98.669655000000006</c:v>
                </c:pt>
                <c:pt idx="850">
                  <c:v>99.31223</c:v>
                </c:pt>
                <c:pt idx="851">
                  <c:v>100.07857</c:v>
                </c:pt>
                <c:pt idx="852">
                  <c:v>99.70214</c:v>
                </c:pt>
                <c:pt idx="853">
                  <c:v>98.900109999999998</c:v>
                </c:pt>
                <c:pt idx="854">
                  <c:v>98.141754000000006</c:v>
                </c:pt>
                <c:pt idx="855">
                  <c:v>97.908195000000006</c:v>
                </c:pt>
                <c:pt idx="856">
                  <c:v>98.287445000000005</c:v>
                </c:pt>
                <c:pt idx="857">
                  <c:v>98.554885999999996</c:v>
                </c:pt>
                <c:pt idx="858">
                  <c:v>98.702866</c:v>
                </c:pt>
                <c:pt idx="859">
                  <c:v>99.170929999999998</c:v>
                </c:pt>
                <c:pt idx="860">
                  <c:v>99.23509</c:v>
                </c:pt>
                <c:pt idx="861">
                  <c:v>99.157929999999993</c:v>
                </c:pt>
                <c:pt idx="862">
                  <c:v>99.318029999999993</c:v>
                </c:pt>
                <c:pt idx="863">
                  <c:v>99.251779999999997</c:v>
                </c:pt>
                <c:pt idx="864">
                  <c:v>98.873665000000003</c:v>
                </c:pt>
                <c:pt idx="865">
                  <c:v>98.646780000000007</c:v>
                </c:pt>
                <c:pt idx="866">
                  <c:v>98.749619999999993</c:v>
                </c:pt>
                <c:pt idx="867">
                  <c:v>98.863174000000001</c:v>
                </c:pt>
                <c:pt idx="868">
                  <c:v>98.903899999999993</c:v>
                </c:pt>
                <c:pt idx="869">
                  <c:v>98.763499999999993</c:v>
                </c:pt>
                <c:pt idx="870">
                  <c:v>98.648529999999994</c:v>
                </c:pt>
                <c:pt idx="871">
                  <c:v>98.556399999999996</c:v>
                </c:pt>
                <c:pt idx="872">
                  <c:v>98.518730000000005</c:v>
                </c:pt>
                <c:pt idx="873">
                  <c:v>98.287639999999996</c:v>
                </c:pt>
                <c:pt idx="874">
                  <c:v>98.121399999999994</c:v>
                </c:pt>
                <c:pt idx="875">
                  <c:v>97.968185000000005</c:v>
                </c:pt>
                <c:pt idx="876">
                  <c:v>98.247829999999993</c:v>
                </c:pt>
                <c:pt idx="877">
                  <c:v>98.476560000000006</c:v>
                </c:pt>
                <c:pt idx="878">
                  <c:v>98.335526000000002</c:v>
                </c:pt>
                <c:pt idx="879">
                  <c:v>98.606735</c:v>
                </c:pt>
                <c:pt idx="880">
                  <c:v>98.041730000000001</c:v>
                </c:pt>
                <c:pt idx="881">
                  <c:v>97.727680000000007</c:v>
                </c:pt>
                <c:pt idx="882">
                  <c:v>97.439800000000005</c:v>
                </c:pt>
                <c:pt idx="883">
                  <c:v>97.032749999999993</c:v>
                </c:pt>
                <c:pt idx="884">
                  <c:v>96.840689999999995</c:v>
                </c:pt>
                <c:pt idx="885">
                  <c:v>96.763850000000005</c:v>
                </c:pt>
                <c:pt idx="886">
                  <c:v>96.714179999999999</c:v>
                </c:pt>
                <c:pt idx="887">
                  <c:v>96.709320000000005</c:v>
                </c:pt>
                <c:pt idx="888">
                  <c:v>96.878230000000002</c:v>
                </c:pt>
                <c:pt idx="889">
                  <c:v>96.799890000000005</c:v>
                </c:pt>
                <c:pt idx="890">
                  <c:v>96.872010000000003</c:v>
                </c:pt>
                <c:pt idx="891">
                  <c:v>96.867660000000001</c:v>
                </c:pt>
                <c:pt idx="892">
                  <c:v>96.924009999999996</c:v>
                </c:pt>
                <c:pt idx="893">
                  <c:v>96.879249999999999</c:v>
                </c:pt>
                <c:pt idx="894">
                  <c:v>96.807869999999994</c:v>
                </c:pt>
                <c:pt idx="895">
                  <c:v>96.782690000000002</c:v>
                </c:pt>
                <c:pt idx="896">
                  <c:v>96.947425999999993</c:v>
                </c:pt>
                <c:pt idx="897">
                  <c:v>97.004509999999996</c:v>
                </c:pt>
                <c:pt idx="898">
                  <c:v>97.049120000000002</c:v>
                </c:pt>
                <c:pt idx="899">
                  <c:v>96.999949999999998</c:v>
                </c:pt>
                <c:pt idx="900">
                  <c:v>96.260800000000003</c:v>
                </c:pt>
                <c:pt idx="901">
                  <c:v>96.314480000000003</c:v>
                </c:pt>
                <c:pt idx="902">
                  <c:v>95.920944000000006</c:v>
                </c:pt>
                <c:pt idx="903">
                  <c:v>95.801950000000005</c:v>
                </c:pt>
                <c:pt idx="904">
                  <c:v>96.02946</c:v>
                </c:pt>
                <c:pt idx="905">
                  <c:v>95.972110000000001</c:v>
                </c:pt>
                <c:pt idx="906">
                  <c:v>95.996290000000002</c:v>
                </c:pt>
                <c:pt idx="907">
                  <c:v>96.102999999999994</c:v>
                </c:pt>
                <c:pt idx="908">
                  <c:v>96.424199999999999</c:v>
                </c:pt>
                <c:pt idx="909">
                  <c:v>96.890915000000007</c:v>
                </c:pt>
                <c:pt idx="910">
                  <c:v>97.016279999999995</c:v>
                </c:pt>
                <c:pt idx="911">
                  <c:v>96.757980000000003</c:v>
                </c:pt>
                <c:pt idx="912">
                  <c:v>96.644689999999997</c:v>
                </c:pt>
                <c:pt idx="913">
                  <c:v>96.653724999999994</c:v>
                </c:pt>
                <c:pt idx="914">
                  <c:v>96.362830000000002</c:v>
                </c:pt>
                <c:pt idx="915">
                  <c:v>96.39134</c:v>
                </c:pt>
                <c:pt idx="916">
                  <c:v>96.316940000000002</c:v>
                </c:pt>
                <c:pt idx="917">
                  <c:v>96.176879999999997</c:v>
                </c:pt>
                <c:pt idx="918">
                  <c:v>96.288399999999996</c:v>
                </c:pt>
                <c:pt idx="919">
                  <c:v>96.325890000000001</c:v>
                </c:pt>
                <c:pt idx="920">
                  <c:v>96.276690000000002</c:v>
                </c:pt>
                <c:pt idx="921">
                  <c:v>96.54392</c:v>
                </c:pt>
                <c:pt idx="922">
                  <c:v>96.337190000000007</c:v>
                </c:pt>
                <c:pt idx="923">
                  <c:v>96.299580000000006</c:v>
                </c:pt>
                <c:pt idx="924">
                  <c:v>96.275604000000001</c:v>
                </c:pt>
                <c:pt idx="925">
                  <c:v>96.441153999999997</c:v>
                </c:pt>
                <c:pt idx="926">
                  <c:v>96.532875000000004</c:v>
                </c:pt>
                <c:pt idx="927">
                  <c:v>96.902630000000002</c:v>
                </c:pt>
                <c:pt idx="928">
                  <c:v>97.145610000000005</c:v>
                </c:pt>
                <c:pt idx="929">
                  <c:v>97.271500000000003</c:v>
                </c:pt>
                <c:pt idx="930">
                  <c:v>96.906975000000003</c:v>
                </c:pt>
                <c:pt idx="931">
                  <c:v>96.896069999999995</c:v>
                </c:pt>
                <c:pt idx="932">
                  <c:v>96.813866000000004</c:v>
                </c:pt>
                <c:pt idx="933">
                  <c:v>96.724969999999999</c:v>
                </c:pt>
                <c:pt idx="934">
                  <c:v>96.650630000000007</c:v>
                </c:pt>
                <c:pt idx="935">
                  <c:v>96.549620000000004</c:v>
                </c:pt>
                <c:pt idx="936">
                  <c:v>96.351669999999999</c:v>
                </c:pt>
                <c:pt idx="937">
                  <c:v>96.1494</c:v>
                </c:pt>
                <c:pt idx="938">
                  <c:v>95.975390000000004</c:v>
                </c:pt>
                <c:pt idx="939">
                  <c:v>95.736305000000002</c:v>
                </c:pt>
                <c:pt idx="940">
                  <c:v>95.571915000000004</c:v>
                </c:pt>
                <c:pt idx="941">
                  <c:v>96.165229999999994</c:v>
                </c:pt>
                <c:pt idx="942">
                  <c:v>96.579390000000004</c:v>
                </c:pt>
                <c:pt idx="943">
                  <c:v>96.980034000000003</c:v>
                </c:pt>
                <c:pt idx="944">
                  <c:v>96.977615</c:v>
                </c:pt>
                <c:pt idx="945">
                  <c:v>97.13955</c:v>
                </c:pt>
                <c:pt idx="946">
                  <c:v>96.804090000000002</c:v>
                </c:pt>
                <c:pt idx="947">
                  <c:v>96.714309999999998</c:v>
                </c:pt>
                <c:pt idx="948">
                  <c:v>96.638450000000006</c:v>
                </c:pt>
                <c:pt idx="949">
                  <c:v>96.690209999999993</c:v>
                </c:pt>
                <c:pt idx="950">
                  <c:v>96.555824000000001</c:v>
                </c:pt>
                <c:pt idx="951">
                  <c:v>96.629760000000005</c:v>
                </c:pt>
                <c:pt idx="952">
                  <c:v>96.621505999999997</c:v>
                </c:pt>
                <c:pt idx="953">
                  <c:v>96.664185000000003</c:v>
                </c:pt>
                <c:pt idx="954">
                  <c:v>96.819680000000005</c:v>
                </c:pt>
                <c:pt idx="955">
                  <c:v>96.738883999999999</c:v>
                </c:pt>
                <c:pt idx="956">
                  <c:v>96.713486000000003</c:v>
                </c:pt>
                <c:pt idx="957">
                  <c:v>96.588430000000002</c:v>
                </c:pt>
                <c:pt idx="958">
                  <c:v>96.37406</c:v>
                </c:pt>
                <c:pt idx="959">
                  <c:v>96.277529999999999</c:v>
                </c:pt>
                <c:pt idx="960">
                  <c:v>96.468010000000007</c:v>
                </c:pt>
                <c:pt idx="961">
                  <c:v>96.517399999999995</c:v>
                </c:pt>
                <c:pt idx="962">
                  <c:v>96.949264999999997</c:v>
                </c:pt>
                <c:pt idx="963">
                  <c:v>97.277869999999993</c:v>
                </c:pt>
                <c:pt idx="964">
                  <c:v>97.330605000000006</c:v>
                </c:pt>
                <c:pt idx="965">
                  <c:v>97.182770000000005</c:v>
                </c:pt>
                <c:pt idx="966">
                  <c:v>97.317054999999996</c:v>
                </c:pt>
                <c:pt idx="967">
                  <c:v>97.131810000000002</c:v>
                </c:pt>
                <c:pt idx="968">
                  <c:v>97.183425999999997</c:v>
                </c:pt>
                <c:pt idx="969">
                  <c:v>97.228539999999995</c:v>
                </c:pt>
                <c:pt idx="970">
                  <c:v>97.207790000000003</c:v>
                </c:pt>
                <c:pt idx="971">
                  <c:v>97.215779999999995</c:v>
                </c:pt>
                <c:pt idx="972">
                  <c:v>97.11242</c:v>
                </c:pt>
                <c:pt idx="973">
                  <c:v>97.108069999999998</c:v>
                </c:pt>
                <c:pt idx="974">
                  <c:v>97.252510000000001</c:v>
                </c:pt>
                <c:pt idx="975">
                  <c:v>97.532749999999993</c:v>
                </c:pt>
                <c:pt idx="976">
                  <c:v>97.489850000000004</c:v>
                </c:pt>
                <c:pt idx="977">
                  <c:v>97.498856000000004</c:v>
                </c:pt>
                <c:pt idx="978">
                  <c:v>97.372389999999996</c:v>
                </c:pt>
                <c:pt idx="979">
                  <c:v>97.500349999999997</c:v>
                </c:pt>
                <c:pt idx="980">
                  <c:v>97.625370000000004</c:v>
                </c:pt>
                <c:pt idx="981">
                  <c:v>97.648750000000007</c:v>
                </c:pt>
                <c:pt idx="982">
                  <c:v>97.750979999999998</c:v>
                </c:pt>
                <c:pt idx="983">
                  <c:v>97.640433999999999</c:v>
                </c:pt>
                <c:pt idx="984">
                  <c:v>97.644710000000003</c:v>
                </c:pt>
                <c:pt idx="985">
                  <c:v>97.715369999999993</c:v>
                </c:pt>
                <c:pt idx="986">
                  <c:v>97.697950000000006</c:v>
                </c:pt>
                <c:pt idx="987">
                  <c:v>97.747214999999997</c:v>
                </c:pt>
                <c:pt idx="988">
                  <c:v>97.720640000000003</c:v>
                </c:pt>
                <c:pt idx="989">
                  <c:v>97.759429999999995</c:v>
                </c:pt>
                <c:pt idx="990">
                  <c:v>97.72278</c:v>
                </c:pt>
                <c:pt idx="991">
                  <c:v>97.865620000000007</c:v>
                </c:pt>
                <c:pt idx="992">
                  <c:v>97.922669999999997</c:v>
                </c:pt>
                <c:pt idx="993">
                  <c:v>98.231340000000003</c:v>
                </c:pt>
                <c:pt idx="994">
                  <c:v>98.611130000000003</c:v>
                </c:pt>
                <c:pt idx="995">
                  <c:v>98.734279999999998</c:v>
                </c:pt>
                <c:pt idx="996">
                  <c:v>98.824935999999994</c:v>
                </c:pt>
                <c:pt idx="997">
                  <c:v>98.744934000000001</c:v>
                </c:pt>
                <c:pt idx="998">
                  <c:v>98.677795000000003</c:v>
                </c:pt>
                <c:pt idx="999">
                  <c:v>98.96651</c:v>
                </c:pt>
                <c:pt idx="1000">
                  <c:v>99.294944999999998</c:v>
                </c:pt>
                <c:pt idx="1001">
                  <c:v>99.64855</c:v>
                </c:pt>
                <c:pt idx="1002">
                  <c:v>99.314705000000004</c:v>
                </c:pt>
                <c:pt idx="1003">
                  <c:v>99.007400000000004</c:v>
                </c:pt>
                <c:pt idx="1004">
                  <c:v>98.731989999999996</c:v>
                </c:pt>
                <c:pt idx="1005">
                  <c:v>98.529030000000006</c:v>
                </c:pt>
                <c:pt idx="1006">
                  <c:v>98.57029</c:v>
                </c:pt>
                <c:pt idx="1007">
                  <c:v>98.670370000000005</c:v>
                </c:pt>
                <c:pt idx="1008">
                  <c:v>98.830190000000002</c:v>
                </c:pt>
                <c:pt idx="1009">
                  <c:v>99.067939999999993</c:v>
                </c:pt>
                <c:pt idx="1010">
                  <c:v>99.098860000000002</c:v>
                </c:pt>
                <c:pt idx="1011">
                  <c:v>99.111969999999999</c:v>
                </c:pt>
                <c:pt idx="1012">
                  <c:v>99.349559999999997</c:v>
                </c:pt>
                <c:pt idx="1013">
                  <c:v>99.373900000000006</c:v>
                </c:pt>
                <c:pt idx="1014">
                  <c:v>99.456940000000003</c:v>
                </c:pt>
                <c:pt idx="1015">
                  <c:v>99.580370000000002</c:v>
                </c:pt>
                <c:pt idx="1016">
                  <c:v>99.770049999999998</c:v>
                </c:pt>
                <c:pt idx="1017">
                  <c:v>99.788579999999996</c:v>
                </c:pt>
                <c:pt idx="1018">
                  <c:v>100.14446</c:v>
                </c:pt>
                <c:pt idx="1019">
                  <c:v>100.08421</c:v>
                </c:pt>
                <c:pt idx="1020">
                  <c:v>100.01040999999999</c:v>
                </c:pt>
                <c:pt idx="1021">
                  <c:v>99.907889999999995</c:v>
                </c:pt>
                <c:pt idx="1022">
                  <c:v>99.829700000000003</c:v>
                </c:pt>
                <c:pt idx="1023">
                  <c:v>99.796109999999999</c:v>
                </c:pt>
                <c:pt idx="1024">
                  <c:v>99.929633999999993</c:v>
                </c:pt>
                <c:pt idx="1025">
                  <c:v>100.19671</c:v>
                </c:pt>
                <c:pt idx="1026">
                  <c:v>100.40281</c:v>
                </c:pt>
                <c:pt idx="1027">
                  <c:v>100.66663</c:v>
                </c:pt>
                <c:pt idx="1028">
                  <c:v>101.09255</c:v>
                </c:pt>
                <c:pt idx="1029">
                  <c:v>101.54371</c:v>
                </c:pt>
                <c:pt idx="1030">
                  <c:v>101.633224</c:v>
                </c:pt>
                <c:pt idx="1031">
                  <c:v>101.82778</c:v>
                </c:pt>
                <c:pt idx="1032">
                  <c:v>101.76617</c:v>
                </c:pt>
                <c:pt idx="1033">
                  <c:v>102.35032</c:v>
                </c:pt>
                <c:pt idx="1034">
                  <c:v>103.17801</c:v>
                </c:pt>
                <c:pt idx="1035">
                  <c:v>103.20021</c:v>
                </c:pt>
                <c:pt idx="1036">
                  <c:v>103.41598999999999</c:v>
                </c:pt>
                <c:pt idx="1037">
                  <c:v>103.505646</c:v>
                </c:pt>
                <c:pt idx="1038">
                  <c:v>103.52168</c:v>
                </c:pt>
                <c:pt idx="1039">
                  <c:v>103.96384</c:v>
                </c:pt>
                <c:pt idx="1040">
                  <c:v>104.22364</c:v>
                </c:pt>
                <c:pt idx="1041">
                  <c:v>104.284706</c:v>
                </c:pt>
                <c:pt idx="1042">
                  <c:v>104.34081999999999</c:v>
                </c:pt>
                <c:pt idx="1043">
                  <c:v>104.21372</c:v>
                </c:pt>
                <c:pt idx="1044">
                  <c:v>104.133934</c:v>
                </c:pt>
                <c:pt idx="1045">
                  <c:v>103.904724</c:v>
                </c:pt>
                <c:pt idx="1046">
                  <c:v>103.56211999999999</c:v>
                </c:pt>
                <c:pt idx="1047">
                  <c:v>103.41936</c:v>
                </c:pt>
                <c:pt idx="1048">
                  <c:v>103.78332</c:v>
                </c:pt>
                <c:pt idx="1049">
                  <c:v>103.39248000000001</c:v>
                </c:pt>
                <c:pt idx="1050">
                  <c:v>103.61066</c:v>
                </c:pt>
                <c:pt idx="1051">
                  <c:v>103.429306</c:v>
                </c:pt>
                <c:pt idx="1052">
                  <c:v>103.249405</c:v>
                </c:pt>
                <c:pt idx="1053">
                  <c:v>103.26141</c:v>
                </c:pt>
                <c:pt idx="1054">
                  <c:v>102.94692000000001</c:v>
                </c:pt>
                <c:pt idx="1055">
                  <c:v>103.025536</c:v>
                </c:pt>
                <c:pt idx="1056">
                  <c:v>103.31964000000001</c:v>
                </c:pt>
                <c:pt idx="1057">
                  <c:v>103.73027</c:v>
                </c:pt>
                <c:pt idx="1058">
                  <c:v>104.05112</c:v>
                </c:pt>
                <c:pt idx="1059">
                  <c:v>104.29709</c:v>
                </c:pt>
                <c:pt idx="1060">
                  <c:v>104.971924</c:v>
                </c:pt>
                <c:pt idx="1061">
                  <c:v>105.4153</c:v>
                </c:pt>
                <c:pt idx="1062">
                  <c:v>105.50131</c:v>
                </c:pt>
                <c:pt idx="1063">
                  <c:v>105.45415</c:v>
                </c:pt>
                <c:pt idx="1064">
                  <c:v>105.81955000000001</c:v>
                </c:pt>
                <c:pt idx="1065">
                  <c:v>105.9139</c:v>
                </c:pt>
                <c:pt idx="1066">
                  <c:v>105.874664</c:v>
                </c:pt>
                <c:pt idx="1067">
                  <c:v>106.090836</c:v>
                </c:pt>
                <c:pt idx="1068">
                  <c:v>105.64333000000001</c:v>
                </c:pt>
                <c:pt idx="1069">
                  <c:v>105.45243000000001</c:v>
                </c:pt>
                <c:pt idx="1070">
                  <c:v>105.49123</c:v>
                </c:pt>
                <c:pt idx="1071">
                  <c:v>105.284325</c:v>
                </c:pt>
                <c:pt idx="1072">
                  <c:v>104.24596</c:v>
                </c:pt>
                <c:pt idx="1073">
                  <c:v>103.66553</c:v>
                </c:pt>
                <c:pt idx="1074">
                  <c:v>103.3232</c:v>
                </c:pt>
                <c:pt idx="1075">
                  <c:v>102.773315</c:v>
                </c:pt>
                <c:pt idx="1076">
                  <c:v>102.0177</c:v>
                </c:pt>
                <c:pt idx="1077">
                  <c:v>101.54813</c:v>
                </c:pt>
                <c:pt idx="1078">
                  <c:v>100.96089000000001</c:v>
                </c:pt>
                <c:pt idx="1079">
                  <c:v>100.72256</c:v>
                </c:pt>
                <c:pt idx="1080">
                  <c:v>100.34788</c:v>
                </c:pt>
                <c:pt idx="1081">
                  <c:v>100.21397399999999</c:v>
                </c:pt>
                <c:pt idx="1082">
                  <c:v>100.10809</c:v>
                </c:pt>
                <c:pt idx="1083">
                  <c:v>100.24849</c:v>
                </c:pt>
                <c:pt idx="1084">
                  <c:v>100.10706</c:v>
                </c:pt>
                <c:pt idx="1085">
                  <c:v>100.11141000000001</c:v>
                </c:pt>
                <c:pt idx="1086">
                  <c:v>100.01197000000001</c:v>
                </c:pt>
                <c:pt idx="1087">
                  <c:v>100.06146</c:v>
                </c:pt>
                <c:pt idx="1088">
                  <c:v>99.905240000000006</c:v>
                </c:pt>
                <c:pt idx="1089">
                  <c:v>99.783519999999996</c:v>
                </c:pt>
                <c:pt idx="1090">
                  <c:v>99.816730000000007</c:v>
                </c:pt>
                <c:pt idx="1091">
                  <c:v>99.834940000000003</c:v>
                </c:pt>
                <c:pt idx="1092">
                  <c:v>99.820089999999993</c:v>
                </c:pt>
                <c:pt idx="1093">
                  <c:v>99.885490000000004</c:v>
                </c:pt>
                <c:pt idx="1094">
                  <c:v>99.994829999999993</c:v>
                </c:pt>
                <c:pt idx="1095">
                  <c:v>99.887460000000004</c:v>
                </c:pt>
                <c:pt idx="1096">
                  <c:v>99.84796</c:v>
                </c:pt>
                <c:pt idx="1097">
                  <c:v>99.901870000000002</c:v>
                </c:pt>
                <c:pt idx="1098">
                  <c:v>100.38867</c:v>
                </c:pt>
                <c:pt idx="1099">
                  <c:v>99.963059999999999</c:v>
                </c:pt>
                <c:pt idx="1100">
                  <c:v>99.721040000000002</c:v>
                </c:pt>
                <c:pt idx="1101">
                  <c:v>100.04318000000001</c:v>
                </c:pt>
                <c:pt idx="1102">
                  <c:v>99.973579999999998</c:v>
                </c:pt>
                <c:pt idx="1103">
                  <c:v>99.845129999999997</c:v>
                </c:pt>
                <c:pt idx="1104">
                  <c:v>99.851060000000004</c:v>
                </c:pt>
                <c:pt idx="1105">
                  <c:v>99.887280000000004</c:v>
                </c:pt>
                <c:pt idx="1106">
                  <c:v>99.617774999999995</c:v>
                </c:pt>
                <c:pt idx="1107">
                  <c:v>99.585310000000007</c:v>
                </c:pt>
                <c:pt idx="1108">
                  <c:v>99.629040000000003</c:v>
                </c:pt>
                <c:pt idx="1109">
                  <c:v>99.640540000000001</c:v>
                </c:pt>
                <c:pt idx="1110">
                  <c:v>99.844639999999998</c:v>
                </c:pt>
                <c:pt idx="1111">
                  <c:v>99.979020000000006</c:v>
                </c:pt>
                <c:pt idx="1112">
                  <c:v>100.122406</c:v>
                </c:pt>
                <c:pt idx="1113">
                  <c:v>100.23905000000001</c:v>
                </c:pt>
                <c:pt idx="1114">
                  <c:v>100.299515</c:v>
                </c:pt>
                <c:pt idx="1115">
                  <c:v>100.49993000000001</c:v>
                </c:pt>
                <c:pt idx="1116">
                  <c:v>100.55276000000001</c:v>
                </c:pt>
                <c:pt idx="1117">
                  <c:v>100.73472</c:v>
                </c:pt>
                <c:pt idx="1118">
                  <c:v>100.957184</c:v>
                </c:pt>
                <c:pt idx="1119">
                  <c:v>101.1994</c:v>
                </c:pt>
                <c:pt idx="1120">
                  <c:v>101.180305</c:v>
                </c:pt>
                <c:pt idx="1121">
                  <c:v>101.18634</c:v>
                </c:pt>
                <c:pt idx="1122">
                  <c:v>101.076904</c:v>
                </c:pt>
                <c:pt idx="1123">
                  <c:v>101.28763600000001</c:v>
                </c:pt>
                <c:pt idx="1124">
                  <c:v>101.43943</c:v>
                </c:pt>
                <c:pt idx="1125">
                  <c:v>101.73041499999999</c:v>
                </c:pt>
                <c:pt idx="1126">
                  <c:v>101.93378</c:v>
                </c:pt>
                <c:pt idx="1127">
                  <c:v>102.25968</c:v>
                </c:pt>
                <c:pt idx="1128">
                  <c:v>103.99503</c:v>
                </c:pt>
                <c:pt idx="1129">
                  <c:v>104.03816</c:v>
                </c:pt>
                <c:pt idx="1130">
                  <c:v>104.6771</c:v>
                </c:pt>
                <c:pt idx="1131">
                  <c:v>104.30188</c:v>
                </c:pt>
                <c:pt idx="1132">
                  <c:v>104.25664</c:v>
                </c:pt>
                <c:pt idx="1133">
                  <c:v>104.13901</c:v>
                </c:pt>
                <c:pt idx="1134">
                  <c:v>104.01027000000001</c:v>
                </c:pt>
                <c:pt idx="1135">
                  <c:v>104.678406</c:v>
                </c:pt>
                <c:pt idx="1136">
                  <c:v>104.917114</c:v>
                </c:pt>
                <c:pt idx="1137">
                  <c:v>104.360855</c:v>
                </c:pt>
                <c:pt idx="1138">
                  <c:v>103.00848000000001</c:v>
                </c:pt>
                <c:pt idx="1139">
                  <c:v>101.93944500000001</c:v>
                </c:pt>
                <c:pt idx="1140">
                  <c:v>101.15764</c:v>
                </c:pt>
                <c:pt idx="1141">
                  <c:v>100.60129000000001</c:v>
                </c:pt>
                <c:pt idx="1142">
                  <c:v>100.20491</c:v>
                </c:pt>
                <c:pt idx="1143">
                  <c:v>99.983444000000006</c:v>
                </c:pt>
                <c:pt idx="1144">
                  <c:v>99.946686</c:v>
                </c:pt>
                <c:pt idx="1145">
                  <c:v>100.0359</c:v>
                </c:pt>
                <c:pt idx="1146">
                  <c:v>100.260895</c:v>
                </c:pt>
                <c:pt idx="1147">
                  <c:v>100.223366</c:v>
                </c:pt>
                <c:pt idx="1148">
                  <c:v>100.04294</c:v>
                </c:pt>
                <c:pt idx="1149">
                  <c:v>100.02755999999999</c:v>
                </c:pt>
                <c:pt idx="1150">
                  <c:v>100.943726</c:v>
                </c:pt>
                <c:pt idx="1151">
                  <c:v>100.319214</c:v>
                </c:pt>
                <c:pt idx="1152">
                  <c:v>100.42655999999999</c:v>
                </c:pt>
                <c:pt idx="1153">
                  <c:v>100.63799</c:v>
                </c:pt>
                <c:pt idx="1154">
                  <c:v>100.73166000000001</c:v>
                </c:pt>
                <c:pt idx="1155">
                  <c:v>100.82863999999999</c:v>
                </c:pt>
                <c:pt idx="1156">
                  <c:v>101.5415</c:v>
                </c:pt>
                <c:pt idx="1157">
                  <c:v>100.92190600000001</c:v>
                </c:pt>
                <c:pt idx="1158">
                  <c:v>100.91331</c:v>
                </c:pt>
                <c:pt idx="1159">
                  <c:v>100.94277</c:v>
                </c:pt>
                <c:pt idx="1160">
                  <c:v>100.85387</c:v>
                </c:pt>
                <c:pt idx="1161">
                  <c:v>100.861046</c:v>
                </c:pt>
                <c:pt idx="1162">
                  <c:v>100.75246</c:v>
                </c:pt>
                <c:pt idx="1163">
                  <c:v>100.63553</c:v>
                </c:pt>
                <c:pt idx="1164">
                  <c:v>100.74187499999999</c:v>
                </c:pt>
                <c:pt idx="1165">
                  <c:v>100.72546</c:v>
                </c:pt>
                <c:pt idx="1166">
                  <c:v>100.82896</c:v>
                </c:pt>
                <c:pt idx="1167">
                  <c:v>100.89738</c:v>
                </c:pt>
                <c:pt idx="1168">
                  <c:v>100.93469</c:v>
                </c:pt>
                <c:pt idx="1169">
                  <c:v>100.97848500000001</c:v>
                </c:pt>
                <c:pt idx="1170">
                  <c:v>101.12170999999999</c:v>
                </c:pt>
                <c:pt idx="1171">
                  <c:v>101.089226</c:v>
                </c:pt>
                <c:pt idx="1172">
                  <c:v>101.01600000000001</c:v>
                </c:pt>
                <c:pt idx="1173">
                  <c:v>101.064644</c:v>
                </c:pt>
                <c:pt idx="1174">
                  <c:v>101.07754</c:v>
                </c:pt>
                <c:pt idx="1175">
                  <c:v>101.12886</c:v>
                </c:pt>
                <c:pt idx="1176">
                  <c:v>101.04058000000001</c:v>
                </c:pt>
                <c:pt idx="1177">
                  <c:v>101.1152</c:v>
                </c:pt>
                <c:pt idx="1178">
                  <c:v>101.248856</c:v>
                </c:pt>
                <c:pt idx="1179">
                  <c:v>101.29879</c:v>
                </c:pt>
                <c:pt idx="1180">
                  <c:v>101.3818</c:v>
                </c:pt>
                <c:pt idx="1181">
                  <c:v>101.5652</c:v>
                </c:pt>
                <c:pt idx="1182">
                  <c:v>101.47996500000001</c:v>
                </c:pt>
                <c:pt idx="1183">
                  <c:v>101.48806</c:v>
                </c:pt>
                <c:pt idx="1184">
                  <c:v>101.370895</c:v>
                </c:pt>
                <c:pt idx="1185">
                  <c:v>101.453964</c:v>
                </c:pt>
                <c:pt idx="1186">
                  <c:v>102.14557000000001</c:v>
                </c:pt>
                <c:pt idx="1187">
                  <c:v>102.14931</c:v>
                </c:pt>
                <c:pt idx="1188">
                  <c:v>102.20371</c:v>
                </c:pt>
                <c:pt idx="1189">
                  <c:v>102.28546</c:v>
                </c:pt>
                <c:pt idx="1190">
                  <c:v>102.16531999999999</c:v>
                </c:pt>
                <c:pt idx="1191">
                  <c:v>102.22432999999999</c:v>
                </c:pt>
                <c:pt idx="1192">
                  <c:v>102.6726</c:v>
                </c:pt>
                <c:pt idx="1193">
                  <c:v>102.5956</c:v>
                </c:pt>
                <c:pt idx="1194">
                  <c:v>102.657295</c:v>
                </c:pt>
                <c:pt idx="1195">
                  <c:v>102.88967</c:v>
                </c:pt>
                <c:pt idx="1196">
                  <c:v>103.2593</c:v>
                </c:pt>
                <c:pt idx="1197">
                  <c:v>103.06798999999999</c:v>
                </c:pt>
                <c:pt idx="1198">
                  <c:v>102.78699</c:v>
                </c:pt>
                <c:pt idx="1199">
                  <c:v>102.37981000000001</c:v>
                </c:pt>
                <c:pt idx="1200">
                  <c:v>102.43788000000001</c:v>
                </c:pt>
                <c:pt idx="1201">
                  <c:v>102.28259</c:v>
                </c:pt>
                <c:pt idx="1202">
                  <c:v>102.11288500000001</c:v>
                </c:pt>
                <c:pt idx="1203">
                  <c:v>102.27445</c:v>
                </c:pt>
                <c:pt idx="1204">
                  <c:v>102.181145</c:v>
                </c:pt>
                <c:pt idx="1205">
                  <c:v>102.22139</c:v>
                </c:pt>
                <c:pt idx="1206">
                  <c:v>102.15911</c:v>
                </c:pt>
                <c:pt idx="1207">
                  <c:v>102.37347</c:v>
                </c:pt>
                <c:pt idx="1208">
                  <c:v>102.5257</c:v>
                </c:pt>
                <c:pt idx="1209">
                  <c:v>102.50754000000001</c:v>
                </c:pt>
                <c:pt idx="1210">
                  <c:v>102.4987</c:v>
                </c:pt>
                <c:pt idx="1211">
                  <c:v>102.8798</c:v>
                </c:pt>
                <c:pt idx="1212">
                  <c:v>102.57852</c:v>
                </c:pt>
                <c:pt idx="1213">
                  <c:v>102.46648399999999</c:v>
                </c:pt>
                <c:pt idx="1214">
                  <c:v>102.74585</c:v>
                </c:pt>
                <c:pt idx="1215">
                  <c:v>102.99816</c:v>
                </c:pt>
                <c:pt idx="1216">
                  <c:v>103.31804</c:v>
                </c:pt>
                <c:pt idx="1217">
                  <c:v>103.48586</c:v>
                </c:pt>
                <c:pt idx="1218">
                  <c:v>103.5645</c:v>
                </c:pt>
                <c:pt idx="1219">
                  <c:v>104.20567</c:v>
                </c:pt>
                <c:pt idx="1220">
                  <c:v>103.805115</c:v>
                </c:pt>
                <c:pt idx="1221">
                  <c:v>103.66237</c:v>
                </c:pt>
                <c:pt idx="1222">
                  <c:v>103.74711000000001</c:v>
                </c:pt>
                <c:pt idx="1223">
                  <c:v>103.94729599999999</c:v>
                </c:pt>
                <c:pt idx="1224">
                  <c:v>104.26600999999999</c:v>
                </c:pt>
                <c:pt idx="1225">
                  <c:v>104.426834</c:v>
                </c:pt>
                <c:pt idx="1226">
                  <c:v>104.50028</c:v>
                </c:pt>
                <c:pt idx="1227">
                  <c:v>104.55883</c:v>
                </c:pt>
                <c:pt idx="1228">
                  <c:v>104.3775</c:v>
                </c:pt>
                <c:pt idx="1229">
                  <c:v>103.9936</c:v>
                </c:pt>
                <c:pt idx="1230">
                  <c:v>104.31339</c:v>
                </c:pt>
                <c:pt idx="1231">
                  <c:v>104.30106000000001</c:v>
                </c:pt>
                <c:pt idx="1232">
                  <c:v>104.3184</c:v>
                </c:pt>
                <c:pt idx="1233">
                  <c:v>104.54294</c:v>
                </c:pt>
                <c:pt idx="1234">
                  <c:v>104.791985</c:v>
                </c:pt>
                <c:pt idx="1235">
                  <c:v>104.85778000000001</c:v>
                </c:pt>
                <c:pt idx="1236">
                  <c:v>104.942795</c:v>
                </c:pt>
                <c:pt idx="1237">
                  <c:v>105.22006</c:v>
                </c:pt>
                <c:pt idx="1238">
                  <c:v>105.43904000000001</c:v>
                </c:pt>
                <c:pt idx="1239">
                  <c:v>105.47627</c:v>
                </c:pt>
                <c:pt idx="1240">
                  <c:v>105.75212000000001</c:v>
                </c:pt>
                <c:pt idx="1241">
                  <c:v>105.75505</c:v>
                </c:pt>
                <c:pt idx="1242">
                  <c:v>106.06852000000001</c:v>
                </c:pt>
                <c:pt idx="1243">
                  <c:v>106.45220999999999</c:v>
                </c:pt>
                <c:pt idx="1244">
                  <c:v>106.82331000000001</c:v>
                </c:pt>
                <c:pt idx="1245">
                  <c:v>107.184006</c:v>
                </c:pt>
                <c:pt idx="1246">
                  <c:v>107.53424</c:v>
                </c:pt>
                <c:pt idx="1247">
                  <c:v>108.458496</c:v>
                </c:pt>
                <c:pt idx="1248">
                  <c:v>108.49694</c:v>
                </c:pt>
                <c:pt idx="1249">
                  <c:v>108.04901</c:v>
                </c:pt>
                <c:pt idx="1250">
                  <c:v>108.00044</c:v>
                </c:pt>
                <c:pt idx="1251">
                  <c:v>108.04267</c:v>
                </c:pt>
                <c:pt idx="1252">
                  <c:v>107.33483</c:v>
                </c:pt>
                <c:pt idx="1253">
                  <c:v>105.8348</c:v>
                </c:pt>
                <c:pt idx="1254">
                  <c:v>106.07895000000001</c:v>
                </c:pt>
                <c:pt idx="1255">
                  <c:v>105.666</c:v>
                </c:pt>
                <c:pt idx="1256">
                  <c:v>104.33257999999999</c:v>
                </c:pt>
                <c:pt idx="1257">
                  <c:v>104.58942</c:v>
                </c:pt>
                <c:pt idx="1258">
                  <c:v>105.41029</c:v>
                </c:pt>
                <c:pt idx="1259">
                  <c:v>106.03660000000001</c:v>
                </c:pt>
                <c:pt idx="1260">
                  <c:v>106.29615</c:v>
                </c:pt>
                <c:pt idx="1261">
                  <c:v>106.72604</c:v>
                </c:pt>
                <c:pt idx="1262">
                  <c:v>106.99951</c:v>
                </c:pt>
                <c:pt idx="1263">
                  <c:v>106.756096</c:v>
                </c:pt>
                <c:pt idx="1264">
                  <c:v>106.26827</c:v>
                </c:pt>
                <c:pt idx="1265">
                  <c:v>106.08617</c:v>
                </c:pt>
                <c:pt idx="1266">
                  <c:v>106.76554</c:v>
                </c:pt>
                <c:pt idx="1267">
                  <c:v>107.52021000000001</c:v>
                </c:pt>
                <c:pt idx="1268">
                  <c:v>107.77849000000001</c:v>
                </c:pt>
                <c:pt idx="1269">
                  <c:v>106.9958</c:v>
                </c:pt>
                <c:pt idx="1270">
                  <c:v>106.381516</c:v>
                </c:pt>
                <c:pt idx="1271">
                  <c:v>106.1099</c:v>
                </c:pt>
                <c:pt idx="1272">
                  <c:v>105.957825</c:v>
                </c:pt>
                <c:pt idx="1273">
                  <c:v>106.00059</c:v>
                </c:pt>
                <c:pt idx="1274">
                  <c:v>105.870316</c:v>
                </c:pt>
                <c:pt idx="1275">
                  <c:v>105.91765599999999</c:v>
                </c:pt>
                <c:pt idx="1276">
                  <c:v>106.48524999999999</c:v>
                </c:pt>
                <c:pt idx="1277">
                  <c:v>106.463066</c:v>
                </c:pt>
                <c:pt idx="1278">
                  <c:v>106.1694</c:v>
                </c:pt>
                <c:pt idx="1279">
                  <c:v>105.74469999999999</c:v>
                </c:pt>
                <c:pt idx="1280">
                  <c:v>105.42537</c:v>
                </c:pt>
                <c:pt idx="1281">
                  <c:v>105.64609</c:v>
                </c:pt>
                <c:pt idx="1282">
                  <c:v>104.82738500000001</c:v>
                </c:pt>
                <c:pt idx="1283">
                  <c:v>104.75457</c:v>
                </c:pt>
                <c:pt idx="1284">
                  <c:v>104.41112</c:v>
                </c:pt>
                <c:pt idx="1285">
                  <c:v>103.54486</c:v>
                </c:pt>
                <c:pt idx="1286">
                  <c:v>102.47398</c:v>
                </c:pt>
                <c:pt idx="1287">
                  <c:v>103.099014</c:v>
                </c:pt>
                <c:pt idx="1288">
                  <c:v>102.6322</c:v>
                </c:pt>
                <c:pt idx="1289">
                  <c:v>102.50168600000001</c:v>
                </c:pt>
                <c:pt idx="1290">
                  <c:v>102.89355</c:v>
                </c:pt>
                <c:pt idx="1291">
                  <c:v>102.172646</c:v>
                </c:pt>
                <c:pt idx="1292">
                  <c:v>102.44242</c:v>
                </c:pt>
                <c:pt idx="1293">
                  <c:v>102.913994</c:v>
                </c:pt>
                <c:pt idx="1294">
                  <c:v>103.22014</c:v>
                </c:pt>
                <c:pt idx="1295">
                  <c:v>102.62456</c:v>
                </c:pt>
                <c:pt idx="1296">
                  <c:v>102.566895</c:v>
                </c:pt>
                <c:pt idx="1297">
                  <c:v>103.09057</c:v>
                </c:pt>
                <c:pt idx="1298">
                  <c:v>102.90105</c:v>
                </c:pt>
                <c:pt idx="1299">
                  <c:v>103.18868000000001</c:v>
                </c:pt>
                <c:pt idx="1300">
                  <c:v>103.10227</c:v>
                </c:pt>
                <c:pt idx="1301">
                  <c:v>103.514915</c:v>
                </c:pt>
                <c:pt idx="1302">
                  <c:v>103.86646</c:v>
                </c:pt>
                <c:pt idx="1303">
                  <c:v>103.881165</c:v>
                </c:pt>
                <c:pt idx="1304">
                  <c:v>103.79683</c:v>
                </c:pt>
                <c:pt idx="1305">
                  <c:v>103.455444</c:v>
                </c:pt>
                <c:pt idx="1306">
                  <c:v>103.32911</c:v>
                </c:pt>
                <c:pt idx="1307">
                  <c:v>102.83193</c:v>
                </c:pt>
                <c:pt idx="1308">
                  <c:v>102.82362000000001</c:v>
                </c:pt>
                <c:pt idx="1309">
                  <c:v>103.06561000000001</c:v>
                </c:pt>
                <c:pt idx="1310">
                  <c:v>103.16492</c:v>
                </c:pt>
                <c:pt idx="1311">
                  <c:v>102.95619000000001</c:v>
                </c:pt>
                <c:pt idx="1312">
                  <c:v>102.92870000000001</c:v>
                </c:pt>
                <c:pt idx="1313">
                  <c:v>102.81564</c:v>
                </c:pt>
                <c:pt idx="1314">
                  <c:v>102.72436</c:v>
                </c:pt>
                <c:pt idx="1315">
                  <c:v>103.12866</c:v>
                </c:pt>
                <c:pt idx="1316">
                  <c:v>103.39936</c:v>
                </c:pt>
                <c:pt idx="1317">
                  <c:v>103.65308</c:v>
                </c:pt>
                <c:pt idx="1318">
                  <c:v>104.14989</c:v>
                </c:pt>
                <c:pt idx="1319">
                  <c:v>104.32911</c:v>
                </c:pt>
                <c:pt idx="1320">
                  <c:v>104.69684599999999</c:v>
                </c:pt>
                <c:pt idx="1321">
                  <c:v>105.10250000000001</c:v>
                </c:pt>
                <c:pt idx="1322">
                  <c:v>104.89870999999999</c:v>
                </c:pt>
                <c:pt idx="1323">
                  <c:v>105.19342</c:v>
                </c:pt>
                <c:pt idx="1324">
                  <c:v>105.177086</c:v>
                </c:pt>
                <c:pt idx="1325">
                  <c:v>104.99380499999999</c:v>
                </c:pt>
                <c:pt idx="1326">
                  <c:v>105.21135</c:v>
                </c:pt>
                <c:pt idx="1327">
                  <c:v>105.11838</c:v>
                </c:pt>
                <c:pt idx="1328">
                  <c:v>105.187195</c:v>
                </c:pt>
                <c:pt idx="1329">
                  <c:v>105.030624</c:v>
                </c:pt>
                <c:pt idx="1330">
                  <c:v>104.86114000000001</c:v>
                </c:pt>
                <c:pt idx="1331">
                  <c:v>104.55356999999999</c:v>
                </c:pt>
                <c:pt idx="1332">
                  <c:v>104.67431000000001</c:v>
                </c:pt>
                <c:pt idx="1333">
                  <c:v>104.62681000000001</c:v>
                </c:pt>
                <c:pt idx="1334">
                  <c:v>104.89780399999999</c:v>
                </c:pt>
                <c:pt idx="1335">
                  <c:v>105.200615</c:v>
                </c:pt>
                <c:pt idx="1336">
                  <c:v>105.313034</c:v>
                </c:pt>
                <c:pt idx="1337">
                  <c:v>105.78309</c:v>
                </c:pt>
                <c:pt idx="1338">
                  <c:v>105.816475</c:v>
                </c:pt>
                <c:pt idx="1339">
                  <c:v>105.950096</c:v>
                </c:pt>
                <c:pt idx="1340">
                  <c:v>106.127014</c:v>
                </c:pt>
                <c:pt idx="1341">
                  <c:v>106.356865</c:v>
                </c:pt>
                <c:pt idx="1342">
                  <c:v>107.07462</c:v>
                </c:pt>
                <c:pt idx="1343">
                  <c:v>106.92398</c:v>
                </c:pt>
                <c:pt idx="1344">
                  <c:v>106.92570499999999</c:v>
                </c:pt>
                <c:pt idx="1345">
                  <c:v>106.94089</c:v>
                </c:pt>
                <c:pt idx="1346">
                  <c:v>107.157425</c:v>
                </c:pt>
                <c:pt idx="1347">
                  <c:v>107.67245</c:v>
                </c:pt>
                <c:pt idx="1348">
                  <c:v>106.8721</c:v>
                </c:pt>
                <c:pt idx="1349">
                  <c:v>107.18348</c:v>
                </c:pt>
                <c:pt idx="1350">
                  <c:v>106.84608</c:v>
                </c:pt>
                <c:pt idx="1351">
                  <c:v>106.76316</c:v>
                </c:pt>
                <c:pt idx="1352">
                  <c:v>106.6233</c:v>
                </c:pt>
                <c:pt idx="1353">
                  <c:v>106.56838</c:v>
                </c:pt>
                <c:pt idx="1354">
                  <c:v>106.58534</c:v>
                </c:pt>
                <c:pt idx="1355">
                  <c:v>106.67417</c:v>
                </c:pt>
                <c:pt idx="1356">
                  <c:v>106.18669</c:v>
                </c:pt>
                <c:pt idx="1357">
                  <c:v>106.445595</c:v>
                </c:pt>
                <c:pt idx="1358">
                  <c:v>106.35120000000001</c:v>
                </c:pt>
                <c:pt idx="1359">
                  <c:v>106.520905</c:v>
                </c:pt>
                <c:pt idx="1360">
                  <c:v>106.451256</c:v>
                </c:pt>
                <c:pt idx="1361">
                  <c:v>106.31010000000001</c:v>
                </c:pt>
                <c:pt idx="1362">
                  <c:v>106.12942</c:v>
                </c:pt>
                <c:pt idx="1363">
                  <c:v>106.22908</c:v>
                </c:pt>
                <c:pt idx="1364">
                  <c:v>106.33620999999999</c:v>
                </c:pt>
                <c:pt idx="1365">
                  <c:v>106.75049</c:v>
                </c:pt>
                <c:pt idx="1366">
                  <c:v>107.0959</c:v>
                </c:pt>
                <c:pt idx="1367">
                  <c:v>107.84829000000001</c:v>
                </c:pt>
                <c:pt idx="1368">
                  <c:v>107.814285</c:v>
                </c:pt>
                <c:pt idx="1369">
                  <c:v>108.22365000000001</c:v>
                </c:pt>
                <c:pt idx="1370">
                  <c:v>109.01223</c:v>
                </c:pt>
                <c:pt idx="1371">
                  <c:v>109.770706</c:v>
                </c:pt>
                <c:pt idx="1372">
                  <c:v>109.42027</c:v>
                </c:pt>
                <c:pt idx="1373">
                  <c:v>108.49276999999999</c:v>
                </c:pt>
                <c:pt idx="1374">
                  <c:v>107.84961</c:v>
                </c:pt>
                <c:pt idx="1375">
                  <c:v>108.19908</c:v>
                </c:pt>
                <c:pt idx="1376">
                  <c:v>108.03952</c:v>
                </c:pt>
                <c:pt idx="1377">
                  <c:v>107.69438</c:v>
                </c:pt>
                <c:pt idx="1378">
                  <c:v>107.90568</c:v>
                </c:pt>
                <c:pt idx="1379">
                  <c:v>108.54832500000001</c:v>
                </c:pt>
                <c:pt idx="1380">
                  <c:v>108.89138</c:v>
                </c:pt>
                <c:pt idx="1381">
                  <c:v>108.91869</c:v>
                </c:pt>
                <c:pt idx="1382">
                  <c:v>108.86595</c:v>
                </c:pt>
                <c:pt idx="1383">
                  <c:v>108.85626999999999</c:v>
                </c:pt>
                <c:pt idx="1384">
                  <c:v>108.84063</c:v>
                </c:pt>
                <c:pt idx="1385">
                  <c:v>109.18348</c:v>
                </c:pt>
                <c:pt idx="1386">
                  <c:v>109.79261</c:v>
                </c:pt>
                <c:pt idx="1387">
                  <c:v>110.26739000000001</c:v>
                </c:pt>
                <c:pt idx="1388">
                  <c:v>111.44911</c:v>
                </c:pt>
                <c:pt idx="1389">
                  <c:v>112.85764</c:v>
                </c:pt>
                <c:pt idx="1390">
                  <c:v>114.77853399999999</c:v>
                </c:pt>
                <c:pt idx="1391">
                  <c:v>112.48277</c:v>
                </c:pt>
                <c:pt idx="1392">
                  <c:v>113.30437999999999</c:v>
                </c:pt>
                <c:pt idx="1393">
                  <c:v>113.34983</c:v>
                </c:pt>
                <c:pt idx="1394">
                  <c:v>113.71025</c:v>
                </c:pt>
                <c:pt idx="1395">
                  <c:v>112.98039</c:v>
                </c:pt>
                <c:pt idx="1396">
                  <c:v>113.33038000000001</c:v>
                </c:pt>
                <c:pt idx="1397">
                  <c:v>109.4213</c:v>
                </c:pt>
                <c:pt idx="1398">
                  <c:v>108.26610599999999</c:v>
                </c:pt>
                <c:pt idx="1399">
                  <c:v>108.5098</c:v>
                </c:pt>
                <c:pt idx="1400">
                  <c:v>108.58082</c:v>
                </c:pt>
                <c:pt idx="1401">
                  <c:v>108.15401</c:v>
                </c:pt>
                <c:pt idx="1402">
                  <c:v>107.41249000000001</c:v>
                </c:pt>
                <c:pt idx="1403">
                  <c:v>107.54665</c:v>
                </c:pt>
                <c:pt idx="1404">
                  <c:v>107.97745</c:v>
                </c:pt>
                <c:pt idx="1405">
                  <c:v>107.7458</c:v>
                </c:pt>
                <c:pt idx="1406">
                  <c:v>108.12539</c:v>
                </c:pt>
                <c:pt idx="1407">
                  <c:v>108.96913000000001</c:v>
                </c:pt>
                <c:pt idx="1408">
                  <c:v>109.30112</c:v>
                </c:pt>
                <c:pt idx="1409">
                  <c:v>108.4657</c:v>
                </c:pt>
                <c:pt idx="1410">
                  <c:v>107.87358</c:v>
                </c:pt>
                <c:pt idx="1411">
                  <c:v>111.168526</c:v>
                </c:pt>
                <c:pt idx="1412">
                  <c:v>114.3219</c:v>
                </c:pt>
                <c:pt idx="1413">
                  <c:v>114.54189</c:v>
                </c:pt>
                <c:pt idx="1414">
                  <c:v>115.52181</c:v>
                </c:pt>
                <c:pt idx="1415">
                  <c:v>115.12693</c:v>
                </c:pt>
                <c:pt idx="1416">
                  <c:v>115.36878</c:v>
                </c:pt>
                <c:pt idx="1417">
                  <c:v>115.7924</c:v>
                </c:pt>
                <c:pt idx="1418">
                  <c:v>115.97714000000001</c:v>
                </c:pt>
                <c:pt idx="1419">
                  <c:v>116.26617400000001</c:v>
                </c:pt>
                <c:pt idx="1420">
                  <c:v>116.33925000000001</c:v>
                </c:pt>
                <c:pt idx="1421">
                  <c:v>114.17813</c:v>
                </c:pt>
                <c:pt idx="1422">
                  <c:v>112.32015</c:v>
                </c:pt>
                <c:pt idx="1423">
                  <c:v>111.80153</c:v>
                </c:pt>
                <c:pt idx="1424">
                  <c:v>110.80722</c:v>
                </c:pt>
                <c:pt idx="1425">
                  <c:v>109.90854</c:v>
                </c:pt>
                <c:pt idx="1426">
                  <c:v>110.76600999999999</c:v>
                </c:pt>
                <c:pt idx="1427">
                  <c:v>113.72981</c:v>
                </c:pt>
                <c:pt idx="1428">
                  <c:v>114.93119</c:v>
                </c:pt>
                <c:pt idx="1429">
                  <c:v>114.73338</c:v>
                </c:pt>
                <c:pt idx="1430">
                  <c:v>113.83736399999999</c:v>
                </c:pt>
                <c:pt idx="1431">
                  <c:v>113.65861</c:v>
                </c:pt>
                <c:pt idx="1432">
                  <c:v>115.696236</c:v>
                </c:pt>
                <c:pt idx="1433">
                  <c:v>117.50669000000001</c:v>
                </c:pt>
                <c:pt idx="1434">
                  <c:v>117.79397</c:v>
                </c:pt>
                <c:pt idx="1435">
                  <c:v>117.40197999999999</c:v>
                </c:pt>
                <c:pt idx="1436">
                  <c:v>117.85386</c:v>
                </c:pt>
                <c:pt idx="1437">
                  <c:v>116.58951</c:v>
                </c:pt>
                <c:pt idx="1438">
                  <c:v>116.246765</c:v>
                </c:pt>
                <c:pt idx="1439">
                  <c:v>116.39134</c:v>
                </c:pt>
                <c:pt idx="1440">
                  <c:v>116.98015599999999</c:v>
                </c:pt>
                <c:pt idx="1441">
                  <c:v>117.29674</c:v>
                </c:pt>
                <c:pt idx="1442">
                  <c:v>113.13339000000001</c:v>
                </c:pt>
                <c:pt idx="1443">
                  <c:v>111.493965</c:v>
                </c:pt>
                <c:pt idx="1444">
                  <c:v>108.43011</c:v>
                </c:pt>
                <c:pt idx="1445">
                  <c:v>108.049126</c:v>
                </c:pt>
                <c:pt idx="1446">
                  <c:v>108.558334</c:v>
                </c:pt>
                <c:pt idx="1447">
                  <c:v>108.25897000000001</c:v>
                </c:pt>
                <c:pt idx="1448">
                  <c:v>106.52291</c:v>
                </c:pt>
                <c:pt idx="1449">
                  <c:v>105.99670999999999</c:v>
                </c:pt>
                <c:pt idx="1450">
                  <c:v>105.68786</c:v>
                </c:pt>
                <c:pt idx="1451">
                  <c:v>105.90568500000001</c:v>
                </c:pt>
                <c:pt idx="1452">
                  <c:v>106.0258</c:v>
                </c:pt>
                <c:pt idx="1453">
                  <c:v>105.50363</c:v>
                </c:pt>
                <c:pt idx="1454">
                  <c:v>104.55861</c:v>
                </c:pt>
                <c:pt idx="1455">
                  <c:v>104.08212</c:v>
                </c:pt>
                <c:pt idx="1456">
                  <c:v>103.49797</c:v>
                </c:pt>
                <c:pt idx="1457">
                  <c:v>104.077866</c:v>
                </c:pt>
                <c:pt idx="1458">
                  <c:v>104.22069999999999</c:v>
                </c:pt>
                <c:pt idx="1459">
                  <c:v>105.0437</c:v>
                </c:pt>
                <c:pt idx="1460">
                  <c:v>105.18079</c:v>
                </c:pt>
                <c:pt idx="1461">
                  <c:v>105.812325</c:v>
                </c:pt>
                <c:pt idx="1462">
                  <c:v>105.93103000000001</c:v>
                </c:pt>
                <c:pt idx="1463">
                  <c:v>105.01600999999999</c:v>
                </c:pt>
                <c:pt idx="1464">
                  <c:v>104.78391000000001</c:v>
                </c:pt>
                <c:pt idx="1465">
                  <c:v>103.8305</c:v>
                </c:pt>
                <c:pt idx="1466">
                  <c:v>103.712265</c:v>
                </c:pt>
                <c:pt idx="1467">
                  <c:v>103.67201</c:v>
                </c:pt>
                <c:pt idx="1468">
                  <c:v>103.86094</c:v>
                </c:pt>
                <c:pt idx="1469">
                  <c:v>103.80115499999999</c:v>
                </c:pt>
                <c:pt idx="1470">
                  <c:v>103.045135</c:v>
                </c:pt>
                <c:pt idx="1471">
                  <c:v>102.05356999999999</c:v>
                </c:pt>
                <c:pt idx="1472">
                  <c:v>101.69839</c:v>
                </c:pt>
                <c:pt idx="1473">
                  <c:v>101.143265</c:v>
                </c:pt>
                <c:pt idx="1474">
                  <c:v>100.44822000000001</c:v>
                </c:pt>
                <c:pt idx="1475">
                  <c:v>99.800644000000005</c:v>
                </c:pt>
                <c:pt idx="1476">
                  <c:v>98.383309999999994</c:v>
                </c:pt>
                <c:pt idx="1477">
                  <c:v>99.615129999999994</c:v>
                </c:pt>
                <c:pt idx="1478">
                  <c:v>100.20291</c:v>
                </c:pt>
                <c:pt idx="1479">
                  <c:v>100.34835</c:v>
                </c:pt>
                <c:pt idx="1480">
                  <c:v>100.63852</c:v>
                </c:pt>
                <c:pt idx="1481">
                  <c:v>100.80271</c:v>
                </c:pt>
                <c:pt idx="1482">
                  <c:v>100.03832</c:v>
                </c:pt>
                <c:pt idx="1483">
                  <c:v>100.83973</c:v>
                </c:pt>
                <c:pt idx="1484">
                  <c:v>101.182884</c:v>
                </c:pt>
                <c:pt idx="1485">
                  <c:v>101.696106</c:v>
                </c:pt>
                <c:pt idx="1486">
                  <c:v>101.84838999999999</c:v>
                </c:pt>
                <c:pt idx="1487">
                  <c:v>102.04904000000001</c:v>
                </c:pt>
                <c:pt idx="1488">
                  <c:v>102.00683600000001</c:v>
                </c:pt>
                <c:pt idx="1489">
                  <c:v>101.85042</c:v>
                </c:pt>
                <c:pt idx="1490">
                  <c:v>102.16589999999999</c:v>
                </c:pt>
                <c:pt idx="1491">
                  <c:v>102.10962000000001</c:v>
                </c:pt>
                <c:pt idx="1492">
                  <c:v>102.39115</c:v>
                </c:pt>
                <c:pt idx="1493">
                  <c:v>102.95504</c:v>
                </c:pt>
                <c:pt idx="1494">
                  <c:v>102.55128499999999</c:v>
                </c:pt>
                <c:pt idx="1495">
                  <c:v>102.54871</c:v>
                </c:pt>
                <c:pt idx="1496">
                  <c:v>102.58517500000001</c:v>
                </c:pt>
                <c:pt idx="1497">
                  <c:v>102.83597</c:v>
                </c:pt>
                <c:pt idx="1498">
                  <c:v>102.661446</c:v>
                </c:pt>
                <c:pt idx="1499">
                  <c:v>102.51381000000001</c:v>
                </c:pt>
                <c:pt idx="1500">
                  <c:v>103.05607999999999</c:v>
                </c:pt>
                <c:pt idx="1501">
                  <c:v>103.42856999999999</c:v>
                </c:pt>
                <c:pt idx="1502">
                  <c:v>103.47616600000001</c:v>
                </c:pt>
                <c:pt idx="1503">
                  <c:v>103.790375</c:v>
                </c:pt>
                <c:pt idx="1504">
                  <c:v>104.333206</c:v>
                </c:pt>
                <c:pt idx="1505">
                  <c:v>104.401726</c:v>
                </c:pt>
                <c:pt idx="1506">
                  <c:v>103.91882</c:v>
                </c:pt>
                <c:pt idx="1507">
                  <c:v>103.98524</c:v>
                </c:pt>
                <c:pt idx="1508">
                  <c:v>104.333305</c:v>
                </c:pt>
                <c:pt idx="1509">
                  <c:v>104.77070999999999</c:v>
                </c:pt>
                <c:pt idx="1510">
                  <c:v>105.09732</c:v>
                </c:pt>
                <c:pt idx="1511">
                  <c:v>105.167404</c:v>
                </c:pt>
                <c:pt idx="1512">
                  <c:v>105.733406</c:v>
                </c:pt>
                <c:pt idx="1513">
                  <c:v>105.971115</c:v>
                </c:pt>
                <c:pt idx="1514">
                  <c:v>106.07195</c:v>
                </c:pt>
                <c:pt idx="1515">
                  <c:v>106.17295</c:v>
                </c:pt>
                <c:pt idx="1516">
                  <c:v>106.40107</c:v>
                </c:pt>
                <c:pt idx="1517">
                  <c:v>106.62757999999999</c:v>
                </c:pt>
                <c:pt idx="1518">
                  <c:v>106.73220999999999</c:v>
                </c:pt>
                <c:pt idx="1519">
                  <c:v>106.81305999999999</c:v>
                </c:pt>
                <c:pt idx="1520">
                  <c:v>106.84459</c:v>
                </c:pt>
                <c:pt idx="1521">
                  <c:v>107.23487</c:v>
                </c:pt>
                <c:pt idx="1522">
                  <c:v>107.179115</c:v>
                </c:pt>
                <c:pt idx="1523">
                  <c:v>107.06169</c:v>
                </c:pt>
                <c:pt idx="1524">
                  <c:v>106.88037</c:v>
                </c:pt>
                <c:pt idx="1525">
                  <c:v>106.372</c:v>
                </c:pt>
                <c:pt idx="1526">
                  <c:v>106.13881000000001</c:v>
                </c:pt>
                <c:pt idx="1527">
                  <c:v>106.67366</c:v>
                </c:pt>
                <c:pt idx="1528">
                  <c:v>107.20814</c:v>
                </c:pt>
                <c:pt idx="1529">
                  <c:v>108.410645</c:v>
                </c:pt>
                <c:pt idx="1530">
                  <c:v>108.66333</c:v>
                </c:pt>
                <c:pt idx="1531">
                  <c:v>109.15094999999999</c:v>
                </c:pt>
                <c:pt idx="1532">
                  <c:v>110.60635000000001</c:v>
                </c:pt>
                <c:pt idx="1533">
                  <c:v>112.95586400000001</c:v>
                </c:pt>
                <c:pt idx="1534">
                  <c:v>111.07510000000001</c:v>
                </c:pt>
                <c:pt idx="1535">
                  <c:v>109.59193</c:v>
                </c:pt>
                <c:pt idx="1536">
                  <c:v>108.55197</c:v>
                </c:pt>
                <c:pt idx="1537">
                  <c:v>108.62607</c:v>
                </c:pt>
                <c:pt idx="1538">
                  <c:v>108.30578</c:v>
                </c:pt>
                <c:pt idx="1539">
                  <c:v>108.623566</c:v>
                </c:pt>
                <c:pt idx="1540">
                  <c:v>109.83508</c:v>
                </c:pt>
                <c:pt idx="1541">
                  <c:v>111.86257000000001</c:v>
                </c:pt>
                <c:pt idx="1542">
                  <c:v>112.89946</c:v>
                </c:pt>
                <c:pt idx="1543">
                  <c:v>114.05067</c:v>
                </c:pt>
                <c:pt idx="1544">
                  <c:v>116.10148</c:v>
                </c:pt>
                <c:pt idx="1545">
                  <c:v>116.721245</c:v>
                </c:pt>
                <c:pt idx="1546">
                  <c:v>117.11771400000001</c:v>
                </c:pt>
                <c:pt idx="1547">
                  <c:v>117.00947600000001</c:v>
                </c:pt>
                <c:pt idx="1548">
                  <c:v>116.948494</c:v>
                </c:pt>
                <c:pt idx="1549">
                  <c:v>117.78573</c:v>
                </c:pt>
                <c:pt idx="1550">
                  <c:v>119.41498</c:v>
                </c:pt>
                <c:pt idx="1551">
                  <c:v>126.025375</c:v>
                </c:pt>
                <c:pt idx="1552">
                  <c:v>127.10097500000001</c:v>
                </c:pt>
                <c:pt idx="1553">
                  <c:v>130.08590000000001</c:v>
                </c:pt>
                <c:pt idx="1554">
                  <c:v>132.15844999999999</c:v>
                </c:pt>
                <c:pt idx="1555">
                  <c:v>134.48836</c:v>
                </c:pt>
                <c:pt idx="1556">
                  <c:v>134.80756</c:v>
                </c:pt>
                <c:pt idx="1557">
                  <c:v>135.21564000000001</c:v>
                </c:pt>
                <c:pt idx="1558">
                  <c:v>134.90262000000001</c:v>
                </c:pt>
                <c:pt idx="1559">
                  <c:v>135.74689000000001</c:v>
                </c:pt>
                <c:pt idx="1560">
                  <c:v>135.69105999999999</c:v>
                </c:pt>
                <c:pt idx="1561">
                  <c:v>136.30073999999999</c:v>
                </c:pt>
                <c:pt idx="1562">
                  <c:v>134.62082000000001</c:v>
                </c:pt>
                <c:pt idx="1563">
                  <c:v>133.77502000000001</c:v>
                </c:pt>
                <c:pt idx="1564">
                  <c:v>134.7611</c:v>
                </c:pt>
                <c:pt idx="1565">
                  <c:v>135.10637</c:v>
                </c:pt>
                <c:pt idx="1566">
                  <c:v>135.86569</c:v>
                </c:pt>
                <c:pt idx="1567">
                  <c:v>135.39948999999999</c:v>
                </c:pt>
                <c:pt idx="1568">
                  <c:v>135.65297000000001</c:v>
                </c:pt>
                <c:pt idx="1569">
                  <c:v>134.87947</c:v>
                </c:pt>
                <c:pt idx="1570">
                  <c:v>134.23872</c:v>
                </c:pt>
                <c:pt idx="1571">
                  <c:v>133.14359999999999</c:v>
                </c:pt>
                <c:pt idx="1572">
                  <c:v>133.16578999999999</c:v>
                </c:pt>
                <c:pt idx="1573">
                  <c:v>133.27746999999999</c:v>
                </c:pt>
                <c:pt idx="1574">
                  <c:v>134.32144</c:v>
                </c:pt>
                <c:pt idx="1575">
                  <c:v>134.86232000000001</c:v>
                </c:pt>
                <c:pt idx="1576">
                  <c:v>134.67822000000001</c:v>
                </c:pt>
                <c:pt idx="1577">
                  <c:v>135.38276999999999</c:v>
                </c:pt>
                <c:pt idx="1578">
                  <c:v>135.77527000000001</c:v>
                </c:pt>
                <c:pt idx="1579">
                  <c:v>135.46605</c:v>
                </c:pt>
                <c:pt idx="1580">
                  <c:v>134.91822999999999</c:v>
                </c:pt>
                <c:pt idx="1581">
                  <c:v>134.98482999999999</c:v>
                </c:pt>
                <c:pt idx="1582">
                  <c:v>133.64968999999999</c:v>
                </c:pt>
                <c:pt idx="1583">
                  <c:v>132.34315000000001</c:v>
                </c:pt>
                <c:pt idx="1584">
                  <c:v>130.80013</c:v>
                </c:pt>
                <c:pt idx="1585">
                  <c:v>129.47939</c:v>
                </c:pt>
                <c:pt idx="1586">
                  <c:v>130.18772999999999</c:v>
                </c:pt>
                <c:pt idx="1587">
                  <c:v>130.48418000000001</c:v>
                </c:pt>
                <c:pt idx="1588">
                  <c:v>130.76285999999999</c:v>
                </c:pt>
                <c:pt idx="1589">
                  <c:v>131.51293999999999</c:v>
                </c:pt>
                <c:pt idx="1590">
                  <c:v>132.38907</c:v>
                </c:pt>
                <c:pt idx="1591">
                  <c:v>131.77698000000001</c:v>
                </c:pt>
                <c:pt idx="1592">
                  <c:v>131.21825999999999</c:v>
                </c:pt>
                <c:pt idx="1593">
                  <c:v>133.89869999999999</c:v>
                </c:pt>
                <c:pt idx="1594">
                  <c:v>133.3184</c:v>
                </c:pt>
                <c:pt idx="1595">
                  <c:v>133.21501000000001</c:v>
                </c:pt>
                <c:pt idx="1596">
                  <c:v>134.70894000000001</c:v>
                </c:pt>
                <c:pt idx="1597">
                  <c:v>134.99369999999999</c:v>
                </c:pt>
                <c:pt idx="1598">
                  <c:v>136.43172999999999</c:v>
                </c:pt>
                <c:pt idx="1599">
                  <c:v>136.30246</c:v>
                </c:pt>
                <c:pt idx="1600">
                  <c:v>136.11241000000001</c:v>
                </c:pt>
                <c:pt idx="1601">
                  <c:v>135.72156000000001</c:v>
                </c:pt>
                <c:pt idx="1602">
                  <c:v>132.99852000000001</c:v>
                </c:pt>
                <c:pt idx="1603">
                  <c:v>132.36475999999999</c:v>
                </c:pt>
                <c:pt idx="1604">
                  <c:v>133.34370000000001</c:v>
                </c:pt>
                <c:pt idx="1605">
                  <c:v>132.80054000000001</c:v>
                </c:pt>
                <c:pt idx="1606">
                  <c:v>134.36761000000001</c:v>
                </c:pt>
                <c:pt idx="1607">
                  <c:v>136.69774000000001</c:v>
                </c:pt>
                <c:pt idx="1608">
                  <c:v>141.07687000000001</c:v>
                </c:pt>
                <c:pt idx="1609">
                  <c:v>142.64760999999999</c:v>
                </c:pt>
                <c:pt idx="1610">
                  <c:v>144.38376</c:v>
                </c:pt>
                <c:pt idx="1611">
                  <c:v>145.09228999999999</c:v>
                </c:pt>
                <c:pt idx="1612">
                  <c:v>145.29991000000001</c:v>
                </c:pt>
                <c:pt idx="1613">
                  <c:v>144.49914999999999</c:v>
                </c:pt>
                <c:pt idx="1614">
                  <c:v>143.38191</c:v>
                </c:pt>
                <c:pt idx="1615">
                  <c:v>142.53403</c:v>
                </c:pt>
                <c:pt idx="1616">
                  <c:v>141.35568000000001</c:v>
                </c:pt>
                <c:pt idx="1617">
                  <c:v>141.04035999999999</c:v>
                </c:pt>
                <c:pt idx="1618">
                  <c:v>139.35212999999999</c:v>
                </c:pt>
                <c:pt idx="1619">
                  <c:v>138.95363</c:v>
                </c:pt>
                <c:pt idx="1620">
                  <c:v>138.80378999999999</c:v>
                </c:pt>
                <c:pt idx="1621">
                  <c:v>138.32786999999999</c:v>
                </c:pt>
                <c:pt idx="1622">
                  <c:v>137.93630999999999</c:v>
                </c:pt>
                <c:pt idx="1623">
                  <c:v>137.71906999999999</c:v>
                </c:pt>
                <c:pt idx="1624">
                  <c:v>137.73694</c:v>
                </c:pt>
                <c:pt idx="1625">
                  <c:v>136.28139999999999</c:v>
                </c:pt>
                <c:pt idx="1626">
                  <c:v>135.41910999999999</c:v>
                </c:pt>
                <c:pt idx="1627">
                  <c:v>134.04910000000001</c:v>
                </c:pt>
                <c:pt idx="1628">
                  <c:v>132.56088</c:v>
                </c:pt>
                <c:pt idx="1629">
                  <c:v>130.0394</c:v>
                </c:pt>
                <c:pt idx="1630">
                  <c:v>131.19893999999999</c:v>
                </c:pt>
                <c:pt idx="1631">
                  <c:v>132.43277</c:v>
                </c:pt>
                <c:pt idx="1632">
                  <c:v>131.63903999999999</c:v>
                </c:pt>
                <c:pt idx="1633">
                  <c:v>131.43384</c:v>
                </c:pt>
                <c:pt idx="1634">
                  <c:v>129.95674</c:v>
                </c:pt>
                <c:pt idx="1635">
                  <c:v>131.69083000000001</c:v>
                </c:pt>
                <c:pt idx="1636">
                  <c:v>131.47595000000001</c:v>
                </c:pt>
                <c:pt idx="1637">
                  <c:v>131.57277999999999</c:v>
                </c:pt>
                <c:pt idx="1638">
                  <c:v>132.87155000000001</c:v>
                </c:pt>
                <c:pt idx="1639">
                  <c:v>135.66808</c:v>
                </c:pt>
                <c:pt idx="1640">
                  <c:v>135.68437</c:v>
                </c:pt>
                <c:pt idx="1641">
                  <c:v>136.17894000000001</c:v>
                </c:pt>
                <c:pt idx="1642">
                  <c:v>136.69994</c:v>
                </c:pt>
                <c:pt idx="1643">
                  <c:v>135.72918999999999</c:v>
                </c:pt>
                <c:pt idx="1644">
                  <c:v>135.72042999999999</c:v>
                </c:pt>
                <c:pt idx="1645">
                  <c:v>135.09995000000001</c:v>
                </c:pt>
                <c:pt idx="1646">
                  <c:v>135.30132</c:v>
                </c:pt>
                <c:pt idx="1647">
                  <c:v>136.30690000000001</c:v>
                </c:pt>
                <c:pt idx="1648">
                  <c:v>136.43505999999999</c:v>
                </c:pt>
                <c:pt idx="1649">
                  <c:v>135.87610000000001</c:v>
                </c:pt>
                <c:pt idx="1650">
                  <c:v>135.83112</c:v>
                </c:pt>
                <c:pt idx="1651">
                  <c:v>136.75541999999999</c:v>
                </c:pt>
                <c:pt idx="1652">
                  <c:v>136.51799</c:v>
                </c:pt>
                <c:pt idx="1653">
                  <c:v>136.38771</c:v>
                </c:pt>
                <c:pt idx="1654">
                  <c:v>137.17063999999999</c:v>
                </c:pt>
                <c:pt idx="1655">
                  <c:v>136.83394999999999</c:v>
                </c:pt>
                <c:pt idx="1656">
                  <c:v>136.73544000000001</c:v>
                </c:pt>
                <c:pt idx="1657">
                  <c:v>135.78693999999999</c:v>
                </c:pt>
                <c:pt idx="1658">
                  <c:v>134.98832999999999</c:v>
                </c:pt>
                <c:pt idx="1659">
                  <c:v>133.87021999999999</c:v>
                </c:pt>
                <c:pt idx="1660">
                  <c:v>133.1748</c:v>
                </c:pt>
                <c:pt idx="1661">
                  <c:v>133.8262</c:v>
                </c:pt>
                <c:pt idx="1662">
                  <c:v>136.67189999999999</c:v>
                </c:pt>
                <c:pt idx="1663">
                  <c:v>133.9435</c:v>
                </c:pt>
                <c:pt idx="1664">
                  <c:v>133.44269</c:v>
                </c:pt>
                <c:pt idx="1665">
                  <c:v>133.35988</c:v>
                </c:pt>
                <c:pt idx="1666">
                  <c:v>134.80893</c:v>
                </c:pt>
                <c:pt idx="1667">
                  <c:v>133.13423</c:v>
                </c:pt>
                <c:pt idx="1668">
                  <c:v>132.61242999999999</c:v>
                </c:pt>
                <c:pt idx="1669">
                  <c:v>133.59100000000001</c:v>
                </c:pt>
                <c:pt idx="1670">
                  <c:v>132.72792000000001</c:v>
                </c:pt>
                <c:pt idx="1671">
                  <c:v>132.67383000000001</c:v>
                </c:pt>
                <c:pt idx="1672">
                  <c:v>133.73572999999999</c:v>
                </c:pt>
                <c:pt idx="1673">
                  <c:v>133.38058000000001</c:v>
                </c:pt>
                <c:pt idx="1674">
                  <c:v>131.69647000000001</c:v>
                </c:pt>
                <c:pt idx="1675">
                  <c:v>131.04936000000001</c:v>
                </c:pt>
                <c:pt idx="1676">
                  <c:v>130.96028000000001</c:v>
                </c:pt>
                <c:pt idx="1677">
                  <c:v>132.13824</c:v>
                </c:pt>
                <c:pt idx="1678">
                  <c:v>131.78452999999999</c:v>
                </c:pt>
                <c:pt idx="1679">
                  <c:v>132.54661999999999</c:v>
                </c:pt>
                <c:pt idx="1680">
                  <c:v>132.92607000000001</c:v>
                </c:pt>
                <c:pt idx="1681">
                  <c:v>133.08563000000001</c:v>
                </c:pt>
                <c:pt idx="1682">
                  <c:v>132.80597</c:v>
                </c:pt>
                <c:pt idx="1683">
                  <c:v>132.55435</c:v>
                </c:pt>
                <c:pt idx="1684">
                  <c:v>132.23409000000001</c:v>
                </c:pt>
                <c:pt idx="1685">
                  <c:v>131.58378999999999</c:v>
                </c:pt>
                <c:pt idx="1686">
                  <c:v>131.54315</c:v>
                </c:pt>
                <c:pt idx="1687">
                  <c:v>131.94682</c:v>
                </c:pt>
                <c:pt idx="1688">
                  <c:v>132.67648</c:v>
                </c:pt>
                <c:pt idx="1689">
                  <c:v>132.84667999999999</c:v>
                </c:pt>
                <c:pt idx="1690">
                  <c:v>133.34003000000001</c:v>
                </c:pt>
                <c:pt idx="1691">
                  <c:v>132.58856</c:v>
                </c:pt>
                <c:pt idx="1692">
                  <c:v>132.39063999999999</c:v>
                </c:pt>
                <c:pt idx="1693">
                  <c:v>133.05860000000001</c:v>
                </c:pt>
                <c:pt idx="1694">
                  <c:v>133.3603</c:v>
                </c:pt>
                <c:pt idx="1695">
                  <c:v>134.34572</c:v>
                </c:pt>
                <c:pt idx="1696">
                  <c:v>137.25313</c:v>
                </c:pt>
                <c:pt idx="1697">
                  <c:v>139.16638</c:v>
                </c:pt>
                <c:pt idx="1698">
                  <c:v>137.71680000000001</c:v>
                </c:pt>
                <c:pt idx="1699">
                  <c:v>139.06648000000001</c:v>
                </c:pt>
                <c:pt idx="1700">
                  <c:v>143.44857999999999</c:v>
                </c:pt>
                <c:pt idx="1701">
                  <c:v>141.61547999999999</c:v>
                </c:pt>
                <c:pt idx="1702">
                  <c:v>140.89170999999999</c:v>
                </c:pt>
                <c:pt idx="1703">
                  <c:v>141.75603000000001</c:v>
                </c:pt>
                <c:pt idx="1704">
                  <c:v>141.72827000000001</c:v>
                </c:pt>
                <c:pt idx="1705">
                  <c:v>141.90522999999999</c:v>
                </c:pt>
                <c:pt idx="1706">
                  <c:v>142.35615999999999</c:v>
                </c:pt>
                <c:pt idx="1707">
                  <c:v>143.65437</c:v>
                </c:pt>
                <c:pt idx="1708">
                  <c:v>144.58643000000001</c:v>
                </c:pt>
                <c:pt idx="1709">
                  <c:v>145.75631999999999</c:v>
                </c:pt>
                <c:pt idx="1710">
                  <c:v>143.92159000000001</c:v>
                </c:pt>
                <c:pt idx="1711">
                  <c:v>144.2313</c:v>
                </c:pt>
                <c:pt idx="1712">
                  <c:v>144.3817</c:v>
                </c:pt>
                <c:pt idx="1713">
                  <c:v>143.51477</c:v>
                </c:pt>
                <c:pt idx="1714">
                  <c:v>143.89448999999999</c:v>
                </c:pt>
                <c:pt idx="1715">
                  <c:v>144.09899999999999</c:v>
                </c:pt>
                <c:pt idx="1716">
                  <c:v>144.66824</c:v>
                </c:pt>
                <c:pt idx="1717">
                  <c:v>144.5727</c:v>
                </c:pt>
                <c:pt idx="1718">
                  <c:v>144.03129999999999</c:v>
                </c:pt>
                <c:pt idx="1719">
                  <c:v>144.57730000000001</c:v>
                </c:pt>
                <c:pt idx="1720">
                  <c:v>146.08093</c:v>
                </c:pt>
                <c:pt idx="1721">
                  <c:v>146.75926000000001</c:v>
                </c:pt>
                <c:pt idx="1722">
                  <c:v>146.94968</c:v>
                </c:pt>
                <c:pt idx="1723">
                  <c:v>145.7414</c:v>
                </c:pt>
                <c:pt idx="1724">
                  <c:v>142.08636000000001</c:v>
                </c:pt>
                <c:pt idx="1725">
                  <c:v>136.94595000000001</c:v>
                </c:pt>
                <c:pt idx="1726">
                  <c:v>142.66732999999999</c:v>
                </c:pt>
                <c:pt idx="1727">
                  <c:v>147.65317999999999</c:v>
                </c:pt>
                <c:pt idx="1728">
                  <c:v>145.10811000000001</c:v>
                </c:pt>
                <c:pt idx="1729">
                  <c:v>146.97853000000001</c:v>
                </c:pt>
                <c:pt idx="1730">
                  <c:v>151.26346000000001</c:v>
                </c:pt>
                <c:pt idx="1731">
                  <c:v>150.52334999999999</c:v>
                </c:pt>
                <c:pt idx="1732">
                  <c:v>149.79568</c:v>
                </c:pt>
                <c:pt idx="1733">
                  <c:v>149.25881999999999</c:v>
                </c:pt>
                <c:pt idx="1734">
                  <c:v>147.42068</c:v>
                </c:pt>
                <c:pt idx="1735">
                  <c:v>147.10947999999999</c:v>
                </c:pt>
                <c:pt idx="1736">
                  <c:v>147.46737999999999</c:v>
                </c:pt>
                <c:pt idx="1737">
                  <c:v>147.62780000000001</c:v>
                </c:pt>
                <c:pt idx="1738">
                  <c:v>147.47382999999999</c:v>
                </c:pt>
                <c:pt idx="1739">
                  <c:v>142.76992999999999</c:v>
                </c:pt>
                <c:pt idx="1740">
                  <c:v>144.29560000000001</c:v>
                </c:pt>
                <c:pt idx="1741">
                  <c:v>144.93668</c:v>
                </c:pt>
                <c:pt idx="1742">
                  <c:v>142.66693000000001</c:v>
                </c:pt>
                <c:pt idx="1743">
                  <c:v>142.68608</c:v>
                </c:pt>
                <c:pt idx="1744">
                  <c:v>143.52914000000001</c:v>
                </c:pt>
                <c:pt idx="1745">
                  <c:v>143.43379999999999</c:v>
                </c:pt>
                <c:pt idx="1746">
                  <c:v>143.7894</c:v>
                </c:pt>
                <c:pt idx="1747">
                  <c:v>142.50359</c:v>
                </c:pt>
                <c:pt idx="1748">
                  <c:v>142.52485999999999</c:v>
                </c:pt>
                <c:pt idx="1749">
                  <c:v>141.23830000000001</c:v>
                </c:pt>
                <c:pt idx="1750">
                  <c:v>142.06671</c:v>
                </c:pt>
                <c:pt idx="1751">
                  <c:v>142.13354000000001</c:v>
                </c:pt>
                <c:pt idx="1752">
                  <c:v>142.92304999999999</c:v>
                </c:pt>
                <c:pt idx="1753">
                  <c:v>142.39185000000001</c:v>
                </c:pt>
                <c:pt idx="1754">
                  <c:v>142.81842</c:v>
                </c:pt>
                <c:pt idx="1755">
                  <c:v>144.30727999999999</c:v>
                </c:pt>
                <c:pt idx="1756">
                  <c:v>142.67558</c:v>
                </c:pt>
                <c:pt idx="1757">
                  <c:v>140.18450000000001</c:v>
                </c:pt>
                <c:pt idx="1758">
                  <c:v>144.21555000000001</c:v>
                </c:pt>
                <c:pt idx="1759">
                  <c:v>145.77575999999999</c:v>
                </c:pt>
                <c:pt idx="1760">
                  <c:v>145.7062</c:v>
                </c:pt>
                <c:pt idx="1761">
                  <c:v>144.65688</c:v>
                </c:pt>
                <c:pt idx="1762">
                  <c:v>142.30438000000001</c:v>
                </c:pt>
                <c:pt idx="1763">
                  <c:v>141.85524000000001</c:v>
                </c:pt>
                <c:pt idx="1764">
                  <c:v>139.41162</c:v>
                </c:pt>
                <c:pt idx="1765">
                  <c:v>138.15737999999999</c:v>
                </c:pt>
                <c:pt idx="1766">
                  <c:v>135.37834000000001</c:v>
                </c:pt>
                <c:pt idx="1767">
                  <c:v>132.07213999999999</c:v>
                </c:pt>
                <c:pt idx="1768">
                  <c:v>127.17409499999999</c:v>
                </c:pt>
                <c:pt idx="1769">
                  <c:v>119.84985</c:v>
                </c:pt>
                <c:pt idx="1770">
                  <c:v>118.57697</c:v>
                </c:pt>
                <c:pt idx="1771">
                  <c:v>117.40443</c:v>
                </c:pt>
                <c:pt idx="1772">
                  <c:v>113.20696</c:v>
                </c:pt>
                <c:pt idx="1773">
                  <c:v>111.63078</c:v>
                </c:pt>
                <c:pt idx="1774">
                  <c:v>109.94464000000001</c:v>
                </c:pt>
                <c:pt idx="1775">
                  <c:v>110.99502</c:v>
                </c:pt>
                <c:pt idx="1776">
                  <c:v>109.03157</c:v>
                </c:pt>
                <c:pt idx="1777">
                  <c:v>107.62079</c:v>
                </c:pt>
                <c:pt idx="1778">
                  <c:v>103.29883599999999</c:v>
                </c:pt>
                <c:pt idx="1779">
                  <c:v>104.4106</c:v>
                </c:pt>
                <c:pt idx="1780">
                  <c:v>101.48358</c:v>
                </c:pt>
                <c:pt idx="1781">
                  <c:v>96.11542</c:v>
                </c:pt>
                <c:pt idx="1782">
                  <c:v>98.313130000000001</c:v>
                </c:pt>
                <c:pt idx="1783">
                  <c:v>93.835976000000002</c:v>
                </c:pt>
                <c:pt idx="1784">
                  <c:v>94.226249999999993</c:v>
                </c:pt>
                <c:pt idx="1785">
                  <c:v>95.862639999999999</c:v>
                </c:pt>
                <c:pt idx="1786">
                  <c:v>99.812330000000003</c:v>
                </c:pt>
                <c:pt idx="1787">
                  <c:v>97.688034000000002</c:v>
                </c:pt>
                <c:pt idx="1788">
                  <c:v>96.353849999999994</c:v>
                </c:pt>
                <c:pt idx="1789">
                  <c:v>98.558530000000005</c:v>
                </c:pt>
                <c:pt idx="1790">
                  <c:v>99.692954999999998</c:v>
                </c:pt>
                <c:pt idx="1791">
                  <c:v>101.55002</c:v>
                </c:pt>
                <c:pt idx="1792">
                  <c:v>100.80126</c:v>
                </c:pt>
                <c:pt idx="1793">
                  <c:v>101.22864</c:v>
                </c:pt>
                <c:pt idx="1794">
                  <c:v>100.56161</c:v>
                </c:pt>
                <c:pt idx="1795">
                  <c:v>98.734870000000001</c:v>
                </c:pt>
                <c:pt idx="1796">
                  <c:v>98.751940000000005</c:v>
                </c:pt>
                <c:pt idx="1797">
                  <c:v>98.432990000000004</c:v>
                </c:pt>
                <c:pt idx="1798">
                  <c:v>100.74393499999999</c:v>
                </c:pt>
                <c:pt idx="1799">
                  <c:v>101.16827000000001</c:v>
                </c:pt>
                <c:pt idx="1800">
                  <c:v>102.14306999999999</c:v>
                </c:pt>
                <c:pt idx="1801">
                  <c:v>102.83942999999999</c:v>
                </c:pt>
                <c:pt idx="1802">
                  <c:v>102.14824</c:v>
                </c:pt>
                <c:pt idx="1803">
                  <c:v>102.77394</c:v>
                </c:pt>
                <c:pt idx="1804">
                  <c:v>102.07979</c:v>
                </c:pt>
                <c:pt idx="1805">
                  <c:v>101.96850000000001</c:v>
                </c:pt>
                <c:pt idx="1806">
                  <c:v>102.62703999999999</c:v>
                </c:pt>
                <c:pt idx="1807">
                  <c:v>102.02797</c:v>
                </c:pt>
                <c:pt idx="1808">
                  <c:v>100.95057</c:v>
                </c:pt>
                <c:pt idx="1809">
                  <c:v>101.66959</c:v>
                </c:pt>
                <c:pt idx="1810">
                  <c:v>101.96925</c:v>
                </c:pt>
                <c:pt idx="1811">
                  <c:v>102.5441</c:v>
                </c:pt>
                <c:pt idx="1812">
                  <c:v>103.248474</c:v>
                </c:pt>
                <c:pt idx="1813">
                  <c:v>103.210594</c:v>
                </c:pt>
                <c:pt idx="1814">
                  <c:v>103.873924</c:v>
                </c:pt>
                <c:pt idx="1815">
                  <c:v>103.499886</c:v>
                </c:pt>
                <c:pt idx="1816">
                  <c:v>102.63238</c:v>
                </c:pt>
                <c:pt idx="1817">
                  <c:v>102.90752000000001</c:v>
                </c:pt>
                <c:pt idx="1818">
                  <c:v>103.637596</c:v>
                </c:pt>
                <c:pt idx="1819">
                  <c:v>104.65031999999999</c:v>
                </c:pt>
                <c:pt idx="1820">
                  <c:v>104.13947</c:v>
                </c:pt>
                <c:pt idx="1821">
                  <c:v>105.10129000000001</c:v>
                </c:pt>
                <c:pt idx="1822">
                  <c:v>106.160095</c:v>
                </c:pt>
                <c:pt idx="1823">
                  <c:v>106.165474</c:v>
                </c:pt>
                <c:pt idx="1824">
                  <c:v>106.60617000000001</c:v>
                </c:pt>
                <c:pt idx="1825">
                  <c:v>109.15855000000001</c:v>
                </c:pt>
                <c:pt idx="1826">
                  <c:v>111.962425</c:v>
                </c:pt>
                <c:pt idx="1827">
                  <c:v>117.23542999999999</c:v>
                </c:pt>
                <c:pt idx="1828">
                  <c:v>117.55231499999999</c:v>
                </c:pt>
                <c:pt idx="1829">
                  <c:v>119.84486</c:v>
                </c:pt>
                <c:pt idx="1830">
                  <c:v>118.90322</c:v>
                </c:pt>
                <c:pt idx="1831">
                  <c:v>118.74342</c:v>
                </c:pt>
                <c:pt idx="1832">
                  <c:v>119.59968600000001</c:v>
                </c:pt>
                <c:pt idx="1833">
                  <c:v>120.96845999999999</c:v>
                </c:pt>
                <c:pt idx="1834">
                  <c:v>120.04432</c:v>
                </c:pt>
                <c:pt idx="1835">
                  <c:v>119.72262000000001</c:v>
                </c:pt>
                <c:pt idx="1836">
                  <c:v>119.047966</c:v>
                </c:pt>
                <c:pt idx="1837">
                  <c:v>119.32759</c:v>
                </c:pt>
                <c:pt idx="1838">
                  <c:v>120.14572</c:v>
                </c:pt>
                <c:pt idx="1839">
                  <c:v>119.2754</c:v>
                </c:pt>
                <c:pt idx="1840">
                  <c:v>120.91631</c:v>
                </c:pt>
                <c:pt idx="1841">
                  <c:v>121.35238</c:v>
                </c:pt>
                <c:pt idx="1842">
                  <c:v>120.719154</c:v>
                </c:pt>
                <c:pt idx="1843">
                  <c:v>120.11427</c:v>
                </c:pt>
                <c:pt idx="1844">
                  <c:v>117.18489</c:v>
                </c:pt>
                <c:pt idx="1845">
                  <c:v>115.14561500000001</c:v>
                </c:pt>
                <c:pt idx="1846">
                  <c:v>113.53585</c:v>
                </c:pt>
                <c:pt idx="1847">
                  <c:v>113.77379000000001</c:v>
                </c:pt>
                <c:pt idx="1848">
                  <c:v>113.274086</c:v>
                </c:pt>
                <c:pt idx="1849">
                  <c:v>113.394684</c:v>
                </c:pt>
                <c:pt idx="1850">
                  <c:v>114.181755</c:v>
                </c:pt>
                <c:pt idx="1851">
                  <c:v>113.84652</c:v>
                </c:pt>
                <c:pt idx="1852">
                  <c:v>113.99943500000001</c:v>
                </c:pt>
                <c:pt idx="1853">
                  <c:v>113.13141</c:v>
                </c:pt>
                <c:pt idx="1854">
                  <c:v>112.58748</c:v>
                </c:pt>
                <c:pt idx="1855">
                  <c:v>110.488716</c:v>
                </c:pt>
                <c:pt idx="1856">
                  <c:v>110.45283000000001</c:v>
                </c:pt>
                <c:pt idx="1857">
                  <c:v>111.98871</c:v>
                </c:pt>
                <c:pt idx="1858">
                  <c:v>113.24142000000001</c:v>
                </c:pt>
                <c:pt idx="1859">
                  <c:v>115.49917000000001</c:v>
                </c:pt>
                <c:pt idx="1860">
                  <c:v>117.92865999999999</c:v>
                </c:pt>
                <c:pt idx="1861">
                  <c:v>115.96789</c:v>
                </c:pt>
                <c:pt idx="1862">
                  <c:v>117.08329000000001</c:v>
                </c:pt>
                <c:pt idx="1863">
                  <c:v>118.03417</c:v>
                </c:pt>
                <c:pt idx="1864">
                  <c:v>119.95726999999999</c:v>
                </c:pt>
                <c:pt idx="1865">
                  <c:v>121.12058</c:v>
                </c:pt>
                <c:pt idx="1866">
                  <c:v>120.21773</c:v>
                </c:pt>
                <c:pt idx="1867">
                  <c:v>120.18165999999999</c:v>
                </c:pt>
                <c:pt idx="1868">
                  <c:v>119.39830000000001</c:v>
                </c:pt>
                <c:pt idx="1869">
                  <c:v>119.61781999999999</c:v>
                </c:pt>
                <c:pt idx="1870">
                  <c:v>121.21268499999999</c:v>
                </c:pt>
                <c:pt idx="1871">
                  <c:v>121.88339000000001</c:v>
                </c:pt>
                <c:pt idx="1872">
                  <c:v>121.30894000000001</c:v>
                </c:pt>
                <c:pt idx="1873">
                  <c:v>119.906296</c:v>
                </c:pt>
                <c:pt idx="1874">
                  <c:v>121.11238</c:v>
                </c:pt>
                <c:pt idx="1875">
                  <c:v>122.986694</c:v>
                </c:pt>
                <c:pt idx="1876">
                  <c:v>122.92689</c:v>
                </c:pt>
                <c:pt idx="1877">
                  <c:v>124.1224</c:v>
                </c:pt>
                <c:pt idx="1878">
                  <c:v>121.97735</c:v>
                </c:pt>
                <c:pt idx="1879">
                  <c:v>120.86353</c:v>
                </c:pt>
                <c:pt idx="1880">
                  <c:v>124.04458</c:v>
                </c:pt>
                <c:pt idx="1881">
                  <c:v>124.68886999999999</c:v>
                </c:pt>
                <c:pt idx="1882">
                  <c:v>127.254616</c:v>
                </c:pt>
                <c:pt idx="1883">
                  <c:v>127.78903</c:v>
                </c:pt>
                <c:pt idx="1884">
                  <c:v>129.17037999999999</c:v>
                </c:pt>
                <c:pt idx="1885">
                  <c:v>130.4776</c:v>
                </c:pt>
                <c:pt idx="1886">
                  <c:v>130.76245</c:v>
                </c:pt>
                <c:pt idx="1887">
                  <c:v>129.84255999999999</c:v>
                </c:pt>
                <c:pt idx="1888">
                  <c:v>129.42229</c:v>
                </c:pt>
                <c:pt idx="1889">
                  <c:v>128.13910000000001</c:v>
                </c:pt>
                <c:pt idx="1890">
                  <c:v>128.68813</c:v>
                </c:pt>
                <c:pt idx="1891">
                  <c:v>127.665474</c:v>
                </c:pt>
                <c:pt idx="1892">
                  <c:v>128.39771999999999</c:v>
                </c:pt>
                <c:pt idx="1893">
                  <c:v>129.07784000000001</c:v>
                </c:pt>
                <c:pt idx="1894">
                  <c:v>131.07094000000001</c:v>
                </c:pt>
                <c:pt idx="1895">
                  <c:v>134.91693000000001</c:v>
                </c:pt>
                <c:pt idx="1896">
                  <c:v>135.93683999999999</c:v>
                </c:pt>
                <c:pt idx="1897">
                  <c:v>141.74369999999999</c:v>
                </c:pt>
                <c:pt idx="1898">
                  <c:v>141.53528</c:v>
                </c:pt>
                <c:pt idx="1899">
                  <c:v>140.4768</c:v>
                </c:pt>
                <c:pt idx="1900">
                  <c:v>138.58401000000001</c:v>
                </c:pt>
                <c:pt idx="1901">
                  <c:v>137.46655000000001</c:v>
                </c:pt>
                <c:pt idx="1902">
                  <c:v>135.01714000000001</c:v>
                </c:pt>
                <c:pt idx="1903">
                  <c:v>130.28172000000001</c:v>
                </c:pt>
                <c:pt idx="1904">
                  <c:v>127.470894</c:v>
                </c:pt>
                <c:pt idx="1905">
                  <c:v>125.27385</c:v>
                </c:pt>
                <c:pt idx="1906">
                  <c:v>123.18901</c:v>
                </c:pt>
                <c:pt idx="1907">
                  <c:v>121.74418</c:v>
                </c:pt>
                <c:pt idx="1908">
                  <c:v>120.68445</c:v>
                </c:pt>
                <c:pt idx="1909">
                  <c:v>121.13493</c:v>
                </c:pt>
                <c:pt idx="1910">
                  <c:v>121.60338</c:v>
                </c:pt>
                <c:pt idx="1911">
                  <c:v>121.57427</c:v>
                </c:pt>
                <c:pt idx="1912">
                  <c:v>121.35687</c:v>
                </c:pt>
                <c:pt idx="1913">
                  <c:v>128.19702000000001</c:v>
                </c:pt>
                <c:pt idx="1914">
                  <c:v>138.86447000000001</c:v>
                </c:pt>
                <c:pt idx="1915">
                  <c:v>136.07465999999999</c:v>
                </c:pt>
                <c:pt idx="1916">
                  <c:v>143.23993999999999</c:v>
                </c:pt>
                <c:pt idx="1917">
                  <c:v>147.09314000000001</c:v>
                </c:pt>
                <c:pt idx="1918">
                  <c:v>147.48034999999999</c:v>
                </c:pt>
                <c:pt idx="1919">
                  <c:v>147.89473000000001</c:v>
                </c:pt>
                <c:pt idx="1920">
                  <c:v>148.31560999999999</c:v>
                </c:pt>
                <c:pt idx="1921">
                  <c:v>147.72046</c:v>
                </c:pt>
                <c:pt idx="1922">
                  <c:v>147.5343</c:v>
                </c:pt>
                <c:pt idx="1923">
                  <c:v>138.73666</c:v>
                </c:pt>
                <c:pt idx="1924">
                  <c:v>132.41970000000001</c:v>
                </c:pt>
                <c:pt idx="1925">
                  <c:v>130.05614</c:v>
                </c:pt>
                <c:pt idx="1926">
                  <c:v>125.05840000000001</c:v>
                </c:pt>
                <c:pt idx="1927">
                  <c:v>125.032394</c:v>
                </c:pt>
                <c:pt idx="1928">
                  <c:v>129.72265999999999</c:v>
                </c:pt>
                <c:pt idx="1929">
                  <c:v>136.46689000000001</c:v>
                </c:pt>
                <c:pt idx="1930">
                  <c:v>146.90134</c:v>
                </c:pt>
                <c:pt idx="1931">
                  <c:v>142.95264</c:v>
                </c:pt>
                <c:pt idx="1932">
                  <c:v>139.22742</c:v>
                </c:pt>
                <c:pt idx="1933">
                  <c:v>144.03706</c:v>
                </c:pt>
                <c:pt idx="1934">
                  <c:v>145.24576999999999</c:v>
                </c:pt>
                <c:pt idx="1935">
                  <c:v>150.99190999999999</c:v>
                </c:pt>
                <c:pt idx="1936">
                  <c:v>151.35892999999999</c:v>
                </c:pt>
                <c:pt idx="1937">
                  <c:v>152.20914999999999</c:v>
                </c:pt>
                <c:pt idx="1938">
                  <c:v>152.93517</c:v>
                </c:pt>
                <c:pt idx="1939">
                  <c:v>152.30618000000001</c:v>
                </c:pt>
                <c:pt idx="1940">
                  <c:v>151.55212</c:v>
                </c:pt>
                <c:pt idx="1941">
                  <c:v>148.29515000000001</c:v>
                </c:pt>
                <c:pt idx="1942">
                  <c:v>145.62975</c:v>
                </c:pt>
                <c:pt idx="1943">
                  <c:v>146.24652</c:v>
                </c:pt>
                <c:pt idx="1944">
                  <c:v>148.65555000000001</c:v>
                </c:pt>
                <c:pt idx="1945">
                  <c:v>148.92431999999999</c:v>
                </c:pt>
                <c:pt idx="1946">
                  <c:v>150.46869000000001</c:v>
                </c:pt>
                <c:pt idx="1947">
                  <c:v>152.05081000000001</c:v>
                </c:pt>
                <c:pt idx="1948">
                  <c:v>148.89775</c:v>
                </c:pt>
                <c:pt idx="1949">
                  <c:v>143.43929</c:v>
                </c:pt>
                <c:pt idx="1950">
                  <c:v>134.54875000000001</c:v>
                </c:pt>
                <c:pt idx="1951">
                  <c:v>146.8931</c:v>
                </c:pt>
                <c:pt idx="1952">
                  <c:v>147.42722000000001</c:v>
                </c:pt>
                <c:pt idx="1953">
                  <c:v>141.63213999999999</c:v>
                </c:pt>
                <c:pt idx="1954">
                  <c:v>133.7362</c:v>
                </c:pt>
                <c:pt idx="1955">
                  <c:v>132.16327000000001</c:v>
                </c:pt>
                <c:pt idx="1956">
                  <c:v>132.47896</c:v>
                </c:pt>
                <c:pt idx="1957">
                  <c:v>129.65088</c:v>
                </c:pt>
                <c:pt idx="1958">
                  <c:v>129.61199999999999</c:v>
                </c:pt>
                <c:pt idx="1959">
                  <c:v>129.90688</c:v>
                </c:pt>
                <c:pt idx="1960">
                  <c:v>137.12106</c:v>
                </c:pt>
                <c:pt idx="1961">
                  <c:v>136.88294999999999</c:v>
                </c:pt>
                <c:pt idx="1962">
                  <c:v>135.18888999999999</c:v>
                </c:pt>
                <c:pt idx="1963">
                  <c:v>133.45128</c:v>
                </c:pt>
                <c:pt idx="1964">
                  <c:v>132.59526</c:v>
                </c:pt>
                <c:pt idx="1965">
                  <c:v>131.93967000000001</c:v>
                </c:pt>
                <c:pt idx="1966">
                  <c:v>131.20278999999999</c:v>
                </c:pt>
                <c:pt idx="1967">
                  <c:v>131.11372</c:v>
                </c:pt>
                <c:pt idx="1968">
                  <c:v>131.09424000000001</c:v>
                </c:pt>
                <c:pt idx="1969">
                  <c:v>131.39558</c:v>
                </c:pt>
                <c:pt idx="1970">
                  <c:v>131.13297</c:v>
                </c:pt>
                <c:pt idx="1971">
                  <c:v>130.69899000000001</c:v>
                </c:pt>
                <c:pt idx="1972">
                  <c:v>135.40889999999999</c:v>
                </c:pt>
                <c:pt idx="1973">
                  <c:v>130.0438</c:v>
                </c:pt>
                <c:pt idx="1974">
                  <c:v>130.54274000000001</c:v>
                </c:pt>
                <c:pt idx="1975">
                  <c:v>130.78441000000001</c:v>
                </c:pt>
                <c:pt idx="1976">
                  <c:v>131.49194</c:v>
                </c:pt>
                <c:pt idx="1977">
                  <c:v>132.56174999999999</c:v>
                </c:pt>
                <c:pt idx="1978">
                  <c:v>131.47542999999999</c:v>
                </c:pt>
                <c:pt idx="1979">
                  <c:v>130.88936000000001</c:v>
                </c:pt>
                <c:pt idx="1980">
                  <c:v>131.26804000000001</c:v>
                </c:pt>
                <c:pt idx="1981">
                  <c:v>130.93520000000001</c:v>
                </c:pt>
                <c:pt idx="1982">
                  <c:v>132.57388</c:v>
                </c:pt>
                <c:pt idx="1983">
                  <c:v>131.92439999999999</c:v>
                </c:pt>
                <c:pt idx="1984">
                  <c:v>132.35002</c:v>
                </c:pt>
                <c:pt idx="1985">
                  <c:v>132.40423999999999</c:v>
                </c:pt>
                <c:pt idx="1986">
                  <c:v>132.05709999999999</c:v>
                </c:pt>
                <c:pt idx="1987">
                  <c:v>131.81322</c:v>
                </c:pt>
                <c:pt idx="1988">
                  <c:v>132.33296000000001</c:v>
                </c:pt>
                <c:pt idx="1989">
                  <c:v>133.42624000000001</c:v>
                </c:pt>
                <c:pt idx="1990">
                  <c:v>134.00910999999999</c:v>
                </c:pt>
                <c:pt idx="1991">
                  <c:v>133.6234</c:v>
                </c:pt>
                <c:pt idx="1992">
                  <c:v>133.85442</c:v>
                </c:pt>
                <c:pt idx="1993">
                  <c:v>133.87105</c:v>
                </c:pt>
                <c:pt idx="1994">
                  <c:v>133.83609000000001</c:v>
                </c:pt>
                <c:pt idx="1995">
                  <c:v>133.47617</c:v>
                </c:pt>
                <c:pt idx="1996">
                  <c:v>133.45672999999999</c:v>
                </c:pt>
                <c:pt idx="1997">
                  <c:v>134.68016</c:v>
                </c:pt>
                <c:pt idx="1998">
                  <c:v>134.83001999999999</c:v>
                </c:pt>
                <c:pt idx="1999">
                  <c:v>134.81859</c:v>
                </c:pt>
                <c:pt idx="2000">
                  <c:v>134.92501999999999</c:v>
                </c:pt>
                <c:pt idx="2001">
                  <c:v>134.91758999999999</c:v>
                </c:pt>
                <c:pt idx="2002">
                  <c:v>133.95918</c:v>
                </c:pt>
                <c:pt idx="2003">
                  <c:v>133.67845</c:v>
                </c:pt>
                <c:pt idx="2004">
                  <c:v>132.19234</c:v>
                </c:pt>
                <c:pt idx="2005">
                  <c:v>132.58829</c:v>
                </c:pt>
                <c:pt idx="2006">
                  <c:v>134.08646999999999</c:v>
                </c:pt>
                <c:pt idx="2007">
                  <c:v>133.75461999999999</c:v>
                </c:pt>
                <c:pt idx="2008">
                  <c:v>134.89977999999999</c:v>
                </c:pt>
                <c:pt idx="2009">
                  <c:v>135.22158999999999</c:v>
                </c:pt>
                <c:pt idx="2010">
                  <c:v>136.46616</c:v>
                </c:pt>
                <c:pt idx="2011">
                  <c:v>136.15076999999999</c:v>
                </c:pt>
                <c:pt idx="2012">
                  <c:v>136.12663000000001</c:v>
                </c:pt>
                <c:pt idx="2013">
                  <c:v>136.66820999999999</c:v>
                </c:pt>
                <c:pt idx="2014">
                  <c:v>137.35126</c:v>
                </c:pt>
                <c:pt idx="2015">
                  <c:v>136.15295</c:v>
                </c:pt>
                <c:pt idx="2016">
                  <c:v>136.29313999999999</c:v>
                </c:pt>
                <c:pt idx="2017">
                  <c:v>136.18788000000001</c:v>
                </c:pt>
                <c:pt idx="2018">
                  <c:v>135.80941999999999</c:v>
                </c:pt>
                <c:pt idx="2019">
                  <c:v>136.01704000000001</c:v>
                </c:pt>
                <c:pt idx="2020">
                  <c:v>136.04855000000001</c:v>
                </c:pt>
                <c:pt idx="2021">
                  <c:v>136.14402999999999</c:v>
                </c:pt>
                <c:pt idx="2022">
                  <c:v>134.53030000000001</c:v>
                </c:pt>
                <c:pt idx="2023">
                  <c:v>134.28304</c:v>
                </c:pt>
                <c:pt idx="2024">
                  <c:v>135.31960000000001</c:v>
                </c:pt>
                <c:pt idx="2025">
                  <c:v>134.97496000000001</c:v>
                </c:pt>
                <c:pt idx="2026">
                  <c:v>134.20901000000001</c:v>
                </c:pt>
                <c:pt idx="2027">
                  <c:v>133.45187000000001</c:v>
                </c:pt>
                <c:pt idx="2028">
                  <c:v>134.26572999999999</c:v>
                </c:pt>
                <c:pt idx="2029">
                  <c:v>135.1174</c:v>
                </c:pt>
                <c:pt idx="2030">
                  <c:v>135.55858000000001</c:v>
                </c:pt>
                <c:pt idx="2031">
                  <c:v>135.42939999999999</c:v>
                </c:pt>
                <c:pt idx="2032">
                  <c:v>136.29843</c:v>
                </c:pt>
                <c:pt idx="2033">
                  <c:v>136.74082999999999</c:v>
                </c:pt>
                <c:pt idx="2034">
                  <c:v>137.05539999999999</c:v>
                </c:pt>
                <c:pt idx="2035">
                  <c:v>137.11327</c:v>
                </c:pt>
                <c:pt idx="2036">
                  <c:v>137.64412999999999</c:v>
                </c:pt>
                <c:pt idx="2037">
                  <c:v>136.35757000000001</c:v>
                </c:pt>
                <c:pt idx="2038">
                  <c:v>137.35962000000001</c:v>
                </c:pt>
                <c:pt idx="2039">
                  <c:v>136.13890000000001</c:v>
                </c:pt>
                <c:pt idx="2040">
                  <c:v>136.11223000000001</c:v>
                </c:pt>
                <c:pt idx="2041">
                  <c:v>135.93831</c:v>
                </c:pt>
                <c:pt idx="2042">
                  <c:v>135.88745</c:v>
                </c:pt>
                <c:pt idx="2043">
                  <c:v>137.09341000000001</c:v>
                </c:pt>
                <c:pt idx="2044">
                  <c:v>137.06737000000001</c:v>
                </c:pt>
                <c:pt idx="2045">
                  <c:v>136.86497</c:v>
                </c:pt>
                <c:pt idx="2046">
                  <c:v>137.32061999999999</c:v>
                </c:pt>
                <c:pt idx="2047">
                  <c:v>138.03498999999999</c:v>
                </c:pt>
                <c:pt idx="2048">
                  <c:v>139.06540000000001</c:v>
                </c:pt>
                <c:pt idx="2049">
                  <c:v>139.21683999999999</c:v>
                </c:pt>
                <c:pt idx="2050">
                  <c:v>139.21289999999999</c:v>
                </c:pt>
                <c:pt idx="2051">
                  <c:v>139.61924999999999</c:v>
                </c:pt>
                <c:pt idx="2052">
                  <c:v>140.01154</c:v>
                </c:pt>
                <c:pt idx="2053">
                  <c:v>140.12791000000001</c:v>
                </c:pt>
                <c:pt idx="2054">
                  <c:v>140.33627000000001</c:v>
                </c:pt>
                <c:pt idx="2055">
                  <c:v>140.23267000000001</c:v>
                </c:pt>
                <c:pt idx="2056">
                  <c:v>140.70174</c:v>
                </c:pt>
                <c:pt idx="2057">
                  <c:v>141.13123999999999</c:v>
                </c:pt>
                <c:pt idx="2058">
                  <c:v>140.69681</c:v>
                </c:pt>
                <c:pt idx="2059">
                  <c:v>140.42429999999999</c:v>
                </c:pt>
                <c:pt idx="2060">
                  <c:v>140.64621</c:v>
                </c:pt>
                <c:pt idx="2061">
                  <c:v>140.18768</c:v>
                </c:pt>
                <c:pt idx="2062">
                  <c:v>140.68808000000001</c:v>
                </c:pt>
                <c:pt idx="2063">
                  <c:v>140.94228000000001</c:v>
                </c:pt>
                <c:pt idx="2064">
                  <c:v>140.91847000000001</c:v>
                </c:pt>
                <c:pt idx="2065">
                  <c:v>140.92688000000001</c:v>
                </c:pt>
                <c:pt idx="2066">
                  <c:v>141.35339999999999</c:v>
                </c:pt>
                <c:pt idx="2067">
                  <c:v>140.98665</c:v>
                </c:pt>
                <c:pt idx="2068">
                  <c:v>141.10318000000001</c:v>
                </c:pt>
                <c:pt idx="2069">
                  <c:v>140.68163000000001</c:v>
                </c:pt>
                <c:pt idx="2070">
                  <c:v>140.48451</c:v>
                </c:pt>
                <c:pt idx="2071">
                  <c:v>141.19370000000001</c:v>
                </c:pt>
                <c:pt idx="2072">
                  <c:v>141.62200999999999</c:v>
                </c:pt>
                <c:pt idx="2073">
                  <c:v>141.13097999999999</c:v>
                </c:pt>
                <c:pt idx="2074">
                  <c:v>140.61649</c:v>
                </c:pt>
                <c:pt idx="2075">
                  <c:v>138.99254999999999</c:v>
                </c:pt>
                <c:pt idx="2076">
                  <c:v>139.67509999999999</c:v>
                </c:pt>
                <c:pt idx="2077">
                  <c:v>141.63144</c:v>
                </c:pt>
                <c:pt idx="2078">
                  <c:v>140.28844000000001</c:v>
                </c:pt>
                <c:pt idx="2079">
                  <c:v>139.56236000000001</c:v>
                </c:pt>
                <c:pt idx="2080">
                  <c:v>139.57759999999999</c:v>
                </c:pt>
                <c:pt idx="2081">
                  <c:v>140.19651999999999</c:v>
                </c:pt>
                <c:pt idx="2082">
                  <c:v>140.35749999999999</c:v>
                </c:pt>
                <c:pt idx="2083">
                  <c:v>140.92771999999999</c:v>
                </c:pt>
                <c:pt idx="2084">
                  <c:v>141.02563000000001</c:v>
                </c:pt>
                <c:pt idx="2085">
                  <c:v>141.06834000000001</c:v>
                </c:pt>
                <c:pt idx="2086">
                  <c:v>141.48600999999999</c:v>
                </c:pt>
                <c:pt idx="2087">
                  <c:v>141.05902</c:v>
                </c:pt>
                <c:pt idx="2088">
                  <c:v>141.09739999999999</c:v>
                </c:pt>
                <c:pt idx="2089">
                  <c:v>141.31038000000001</c:v>
                </c:pt>
                <c:pt idx="2090">
                  <c:v>140.95464999999999</c:v>
                </c:pt>
                <c:pt idx="2091">
                  <c:v>141.53458000000001</c:v>
                </c:pt>
                <c:pt idx="2092">
                  <c:v>141.49494999999999</c:v>
                </c:pt>
                <c:pt idx="2093">
                  <c:v>141.52177</c:v>
                </c:pt>
                <c:pt idx="2094">
                  <c:v>141.47101000000001</c:v>
                </c:pt>
                <c:pt idx="2095">
                  <c:v>141.73875000000001</c:v>
                </c:pt>
                <c:pt idx="2096">
                  <c:v>141.90701000000001</c:v>
                </c:pt>
                <c:pt idx="2097">
                  <c:v>142.13744</c:v>
                </c:pt>
                <c:pt idx="2098">
                  <c:v>141.92848000000001</c:v>
                </c:pt>
                <c:pt idx="2099">
                  <c:v>141.65024</c:v>
                </c:pt>
                <c:pt idx="2100">
                  <c:v>141.58301</c:v>
                </c:pt>
                <c:pt idx="2101">
                  <c:v>140.93007</c:v>
                </c:pt>
                <c:pt idx="2102">
                  <c:v>141.24817999999999</c:v>
                </c:pt>
                <c:pt idx="2103">
                  <c:v>141.83884</c:v>
                </c:pt>
                <c:pt idx="2104">
                  <c:v>141.88994</c:v>
                </c:pt>
                <c:pt idx="2105">
                  <c:v>142.11879999999999</c:v>
                </c:pt>
                <c:pt idx="2106">
                  <c:v>142.38712000000001</c:v>
                </c:pt>
                <c:pt idx="2107">
                  <c:v>142.64693</c:v>
                </c:pt>
                <c:pt idx="2108">
                  <c:v>142.64205999999999</c:v>
                </c:pt>
                <c:pt idx="2109">
                  <c:v>142.56871000000001</c:v>
                </c:pt>
              </c:numCache>
            </c:numRef>
          </c:val>
          <c:smooth val="0"/>
          <c:extLst>
            <c:ext xmlns:c16="http://schemas.microsoft.com/office/drawing/2014/chart" uri="{C3380CC4-5D6E-409C-BE32-E72D297353CC}">
              <c16:uniqueId val="{00000001-39F2-104F-8D1D-22D1266C2E0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200"/>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5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96911906934928E-2"/>
          <c:y val="6.3059395801331297E-2"/>
          <c:w val="0.91412982031092271"/>
          <c:h val="0.78908282130056329"/>
        </c:manualLayout>
      </c:layout>
      <c:lineChart>
        <c:grouping val="standard"/>
        <c:varyColors val="0"/>
        <c:ser>
          <c:idx val="0"/>
          <c:order val="0"/>
          <c:tx>
            <c:strRef>
              <c:f>Sheet1!$B$1</c:f>
              <c:strCache>
                <c:ptCount val="1"/>
                <c:pt idx="0">
                  <c:v>Stock Price</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7.35</c:v>
                </c:pt>
                <c:pt idx="1">
                  <c:v>8.61</c:v>
                </c:pt>
                <c:pt idx="2">
                  <c:v>9.25</c:v>
                </c:pt>
                <c:pt idx="3">
                  <c:v>10.01</c:v>
                </c:pt>
                <c:pt idx="4">
                  <c:v>8.7100000000000009</c:v>
                </c:pt>
                <c:pt idx="5">
                  <c:v>8.91</c:v>
                </c:pt>
                <c:pt idx="6">
                  <c:v>5.5</c:v>
                </c:pt>
                <c:pt idx="7">
                  <c:v>5.07</c:v>
                </c:pt>
                <c:pt idx="8">
                  <c:v>7.59</c:v>
                </c:pt>
                <c:pt idx="9">
                  <c:v>13.33</c:v>
                </c:pt>
                <c:pt idx="10">
                  <c:v>10.75</c:v>
                </c:pt>
                <c:pt idx="11">
                  <c:v>13.5</c:v>
                </c:pt>
                <c:pt idx="12">
                  <c:v>16.670000000000002</c:v>
                </c:pt>
                <c:pt idx="13">
                  <c:v>16.8</c:v>
                </c:pt>
                <c:pt idx="14">
                  <c:v>18.96</c:v>
                </c:pt>
                <c:pt idx="15">
                  <c:v>25.25</c:v>
                </c:pt>
                <c:pt idx="16">
                  <c:v>36.6</c:v>
                </c:pt>
                <c:pt idx="17">
                  <c:v>42.96</c:v>
                </c:pt>
                <c:pt idx="18">
                  <c:v>35.479999999999997</c:v>
                </c:pt>
                <c:pt idx="19">
                  <c:v>53.63</c:v>
                </c:pt>
                <c:pt idx="20">
                  <c:v>52.78</c:v>
                </c:pt>
                <c:pt idx="21">
                  <c:v>39.94</c:v>
                </c:pt>
                <c:pt idx="22">
                  <c:v>38.83</c:v>
                </c:pt>
                <c:pt idx="23">
                  <c:v>42.35</c:v>
                </c:pt>
                <c:pt idx="24">
                  <c:v>41.01</c:v>
                </c:pt>
                <c:pt idx="25">
                  <c:v>28.31</c:v>
                </c:pt>
                <c:pt idx="26">
                  <c:v>36.61</c:v>
                </c:pt>
                <c:pt idx="27">
                  <c:v>46.69</c:v>
                </c:pt>
                <c:pt idx="28">
                  <c:v>42.3</c:v>
                </c:pt>
                <c:pt idx="29">
                  <c:v>50.32</c:v>
                </c:pt>
                <c:pt idx="30">
                  <c:v>47.49</c:v>
                </c:pt>
                <c:pt idx="31">
                  <c:v>52.99</c:v>
                </c:pt>
                <c:pt idx="32">
                  <c:v>49.78</c:v>
                </c:pt>
                <c:pt idx="33">
                  <c:v>37.96</c:v>
                </c:pt>
                <c:pt idx="34">
                  <c:v>39.61</c:v>
                </c:pt>
                <c:pt idx="35">
                  <c:v>32.11</c:v>
                </c:pt>
                <c:pt idx="36">
                  <c:v>32.35</c:v>
                </c:pt>
                <c:pt idx="37">
                  <c:v>32.880000000000003</c:v>
                </c:pt>
                <c:pt idx="38">
                  <c:v>26.97</c:v>
                </c:pt>
                <c:pt idx="39">
                  <c:v>28.68</c:v>
                </c:pt>
                <c:pt idx="40">
                  <c:v>12.19</c:v>
                </c:pt>
                <c:pt idx="41">
                  <c:v>13.07</c:v>
                </c:pt>
                <c:pt idx="42">
                  <c:v>12.29</c:v>
                </c:pt>
                <c:pt idx="43">
                  <c:v>15.77</c:v>
                </c:pt>
                <c:pt idx="44">
                  <c:v>23.9</c:v>
                </c:pt>
              </c:numCache>
            </c:numRef>
          </c:val>
          <c:smooth val="0"/>
          <c:extLst>
            <c:ext xmlns:c16="http://schemas.microsoft.com/office/drawing/2014/chart" uri="{C3380CC4-5D6E-409C-BE32-E72D297353CC}">
              <c16:uniqueId val="{00000000-649A-5B48-94BD-941C5188E4A8}"/>
            </c:ext>
          </c:extLst>
        </c:ser>
        <c:ser>
          <c:idx val="2"/>
          <c:order val="1"/>
          <c:tx>
            <c:strRef>
              <c:f>Sheet1!$C$1</c:f>
              <c:strCache>
                <c:ptCount val="1"/>
                <c:pt idx="0">
                  <c:v>DCF</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8.8699999999999992</c:v>
                </c:pt>
                <c:pt idx="1">
                  <c:v>10.19</c:v>
                </c:pt>
                <c:pt idx="2">
                  <c:v>10.87</c:v>
                </c:pt>
                <c:pt idx="3">
                  <c:v>11.36</c:v>
                </c:pt>
                <c:pt idx="4">
                  <c:v>11.01</c:v>
                </c:pt>
                <c:pt idx="5">
                  <c:v>11.45</c:v>
                </c:pt>
                <c:pt idx="6">
                  <c:v>7.93</c:v>
                </c:pt>
                <c:pt idx="7">
                  <c:v>7.33</c:v>
                </c:pt>
                <c:pt idx="8">
                  <c:v>10.59</c:v>
                </c:pt>
                <c:pt idx="9">
                  <c:v>16.3</c:v>
                </c:pt>
                <c:pt idx="10">
                  <c:v>14.81</c:v>
                </c:pt>
                <c:pt idx="11">
                  <c:v>17.34</c:v>
                </c:pt>
                <c:pt idx="12">
                  <c:v>21.51</c:v>
                </c:pt>
                <c:pt idx="13">
                  <c:v>21.63</c:v>
                </c:pt>
                <c:pt idx="14">
                  <c:v>24.67</c:v>
                </c:pt>
                <c:pt idx="15">
                  <c:v>30.18</c:v>
                </c:pt>
                <c:pt idx="16">
                  <c:v>38.340000000000003</c:v>
                </c:pt>
                <c:pt idx="17">
                  <c:v>44.64</c:v>
                </c:pt>
                <c:pt idx="18">
                  <c:v>37.119999999999997</c:v>
                </c:pt>
                <c:pt idx="19">
                  <c:v>55.04</c:v>
                </c:pt>
                <c:pt idx="20">
                  <c:v>54.28</c:v>
                </c:pt>
                <c:pt idx="21">
                  <c:v>41.32</c:v>
                </c:pt>
                <c:pt idx="22">
                  <c:v>40.369999999999997</c:v>
                </c:pt>
                <c:pt idx="23">
                  <c:v>42.97</c:v>
                </c:pt>
                <c:pt idx="24">
                  <c:v>41.83</c:v>
                </c:pt>
                <c:pt idx="25">
                  <c:v>29.1</c:v>
                </c:pt>
                <c:pt idx="26">
                  <c:v>37.340000000000003</c:v>
                </c:pt>
                <c:pt idx="27">
                  <c:v>47.32</c:v>
                </c:pt>
                <c:pt idx="28">
                  <c:v>43.04</c:v>
                </c:pt>
                <c:pt idx="29">
                  <c:v>51.11</c:v>
                </c:pt>
                <c:pt idx="30">
                  <c:v>48.19</c:v>
                </c:pt>
                <c:pt idx="31">
                  <c:v>53.61</c:v>
                </c:pt>
                <c:pt idx="32">
                  <c:v>50.41</c:v>
                </c:pt>
                <c:pt idx="33">
                  <c:v>38.590000000000003</c:v>
                </c:pt>
                <c:pt idx="34">
                  <c:v>40.270000000000003</c:v>
                </c:pt>
                <c:pt idx="35">
                  <c:v>32.71</c:v>
                </c:pt>
                <c:pt idx="36">
                  <c:v>33.1</c:v>
                </c:pt>
                <c:pt idx="37">
                  <c:v>33.6</c:v>
                </c:pt>
                <c:pt idx="38">
                  <c:v>27.68</c:v>
                </c:pt>
                <c:pt idx="39">
                  <c:v>29.32</c:v>
                </c:pt>
                <c:pt idx="40">
                  <c:v>13.3</c:v>
                </c:pt>
                <c:pt idx="41">
                  <c:v>14.15</c:v>
                </c:pt>
                <c:pt idx="42">
                  <c:v>12.79</c:v>
                </c:pt>
                <c:pt idx="43">
                  <c:v>16.25</c:v>
                </c:pt>
                <c:pt idx="44">
                  <c:v>24.34</c:v>
                </c:pt>
              </c:numCache>
            </c:numRef>
          </c:val>
          <c:smooth val="0"/>
          <c:extLst>
            <c:ext xmlns:c16="http://schemas.microsoft.com/office/drawing/2014/chart" uri="{C3380CC4-5D6E-409C-BE32-E72D297353CC}">
              <c16:uniqueId val="{00000002-649A-5B48-94BD-941C5188E4A8}"/>
            </c:ext>
          </c:extLst>
        </c:ser>
        <c:dLbls>
          <c:showLegendKey val="0"/>
          <c:showVal val="0"/>
          <c:showCatName val="0"/>
          <c:showSerName val="0"/>
          <c:showPercent val="0"/>
          <c:showBubbleSize val="0"/>
        </c:dLbls>
        <c:smooth val="0"/>
        <c:axId val="1111285247"/>
        <c:axId val="725402879"/>
      </c:lineChart>
      <c:catAx>
        <c:axId val="11112852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725402879"/>
        <c:crosses val="autoZero"/>
        <c:auto val="1"/>
        <c:lblAlgn val="ctr"/>
        <c:lblOffset val="100"/>
        <c:noMultiLvlLbl val="0"/>
      </c:catAx>
      <c:valAx>
        <c:axId val="72540287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b"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1285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26477981025568E-2"/>
          <c:y val="3.9286234984628063E-2"/>
          <c:w val="0.95403901905410082"/>
          <c:h val="0.82950329030625158"/>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49.891018000000003</c:v>
                </c:pt>
                <c:pt idx="1">
                  <c:v>50.554659999999998</c:v>
                </c:pt>
                <c:pt idx="2">
                  <c:v>50.663746000000003</c:v>
                </c:pt>
                <c:pt idx="3">
                  <c:v>49.636467000000003</c:v>
                </c:pt>
                <c:pt idx="4">
                  <c:v>49.245559999999998</c:v>
                </c:pt>
                <c:pt idx="5">
                  <c:v>49.318294999999999</c:v>
                </c:pt>
                <c:pt idx="6">
                  <c:v>48.718291999999998</c:v>
                </c:pt>
                <c:pt idx="7">
                  <c:v>49.000109999999999</c:v>
                </c:pt>
                <c:pt idx="8">
                  <c:v>49.527380000000001</c:v>
                </c:pt>
                <c:pt idx="9">
                  <c:v>49.627380000000002</c:v>
                </c:pt>
                <c:pt idx="10">
                  <c:v>50.300102000000003</c:v>
                </c:pt>
                <c:pt idx="11">
                  <c:v>50.727383000000003</c:v>
                </c:pt>
                <c:pt idx="12">
                  <c:v>51.345565999999998</c:v>
                </c:pt>
                <c:pt idx="13">
                  <c:v>51.236477000000001</c:v>
                </c:pt>
                <c:pt idx="14">
                  <c:v>51.200110000000002</c:v>
                </c:pt>
                <c:pt idx="15">
                  <c:v>52.172832</c:v>
                </c:pt>
                <c:pt idx="16">
                  <c:v>52.418292999999998</c:v>
                </c:pt>
                <c:pt idx="17">
                  <c:v>51.918297000000003</c:v>
                </c:pt>
                <c:pt idx="18">
                  <c:v>52.127383999999999</c:v>
                </c:pt>
                <c:pt idx="19">
                  <c:v>52.500109999999999</c:v>
                </c:pt>
                <c:pt idx="20">
                  <c:v>52.345565999999998</c:v>
                </c:pt>
                <c:pt idx="21">
                  <c:v>51.663746000000003</c:v>
                </c:pt>
                <c:pt idx="22">
                  <c:v>51.191025000000003</c:v>
                </c:pt>
                <c:pt idx="23">
                  <c:v>51.763750000000002</c:v>
                </c:pt>
                <c:pt idx="24">
                  <c:v>51.191025000000003</c:v>
                </c:pt>
                <c:pt idx="25">
                  <c:v>51.618282000000001</c:v>
                </c:pt>
                <c:pt idx="26">
                  <c:v>51.100110000000001</c:v>
                </c:pt>
                <c:pt idx="27">
                  <c:v>51.481921999999997</c:v>
                </c:pt>
                <c:pt idx="28">
                  <c:v>51.336480000000002</c:v>
                </c:pt>
                <c:pt idx="29">
                  <c:v>51.636470000000003</c:v>
                </c:pt>
                <c:pt idx="30">
                  <c:v>51.536472000000003</c:v>
                </c:pt>
                <c:pt idx="31">
                  <c:v>52.236477000000001</c:v>
                </c:pt>
                <c:pt idx="32">
                  <c:v>52.045566999999998</c:v>
                </c:pt>
                <c:pt idx="33">
                  <c:v>52.354655999999999</c:v>
                </c:pt>
                <c:pt idx="34">
                  <c:v>52.454661999999999</c:v>
                </c:pt>
                <c:pt idx="35">
                  <c:v>53.472842999999997</c:v>
                </c:pt>
                <c:pt idx="36">
                  <c:v>53.763750000000002</c:v>
                </c:pt>
                <c:pt idx="37">
                  <c:v>54.645569999999999</c:v>
                </c:pt>
                <c:pt idx="38">
                  <c:v>55.045566999999998</c:v>
                </c:pt>
                <c:pt idx="39">
                  <c:v>55.045566999999998</c:v>
                </c:pt>
                <c:pt idx="40">
                  <c:v>53.527389999999997</c:v>
                </c:pt>
                <c:pt idx="41">
                  <c:v>55.227398000000001</c:v>
                </c:pt>
                <c:pt idx="42">
                  <c:v>55.163753999999997</c:v>
                </c:pt>
                <c:pt idx="43">
                  <c:v>54.536484000000002</c:v>
                </c:pt>
                <c:pt idx="44">
                  <c:v>55.963757000000001</c:v>
                </c:pt>
                <c:pt idx="45">
                  <c:v>56.37285</c:v>
                </c:pt>
                <c:pt idx="46">
                  <c:v>56.900123999999998</c:v>
                </c:pt>
                <c:pt idx="47">
                  <c:v>56.309207999999998</c:v>
                </c:pt>
                <c:pt idx="48">
                  <c:v>56.363754</c:v>
                </c:pt>
                <c:pt idx="49">
                  <c:v>56.245570000000001</c:v>
                </c:pt>
                <c:pt idx="50">
                  <c:v>57.272841999999997</c:v>
                </c:pt>
                <c:pt idx="51">
                  <c:v>57.127400000000002</c:v>
                </c:pt>
                <c:pt idx="52">
                  <c:v>57.463760000000001</c:v>
                </c:pt>
                <c:pt idx="53">
                  <c:v>58.072853000000002</c:v>
                </c:pt>
                <c:pt idx="54">
                  <c:v>58.909213999999999</c:v>
                </c:pt>
                <c:pt idx="55">
                  <c:v>59.145575999999998</c:v>
                </c:pt>
                <c:pt idx="56">
                  <c:v>60.063766000000001</c:v>
                </c:pt>
                <c:pt idx="57">
                  <c:v>59.991030000000002</c:v>
                </c:pt>
                <c:pt idx="58">
                  <c:v>60.609214999999999</c:v>
                </c:pt>
                <c:pt idx="59">
                  <c:v>61.091037999999998</c:v>
                </c:pt>
                <c:pt idx="60">
                  <c:v>61.200133999999998</c:v>
                </c:pt>
                <c:pt idx="61">
                  <c:v>61.336486999999998</c:v>
                </c:pt>
                <c:pt idx="62">
                  <c:v>61.51831</c:v>
                </c:pt>
                <c:pt idx="63">
                  <c:v>60.427402000000001</c:v>
                </c:pt>
                <c:pt idx="64">
                  <c:v>60.527405000000002</c:v>
                </c:pt>
                <c:pt idx="65">
                  <c:v>60.109220000000001</c:v>
                </c:pt>
                <c:pt idx="66">
                  <c:v>59.845585</c:v>
                </c:pt>
                <c:pt idx="67">
                  <c:v>59.609222000000003</c:v>
                </c:pt>
                <c:pt idx="68">
                  <c:v>59.300133000000002</c:v>
                </c:pt>
                <c:pt idx="69">
                  <c:v>59.536487999999999</c:v>
                </c:pt>
                <c:pt idx="70">
                  <c:v>60.627389999999998</c:v>
                </c:pt>
                <c:pt idx="71">
                  <c:v>60.236496000000002</c:v>
                </c:pt>
                <c:pt idx="72">
                  <c:v>58.772854000000002</c:v>
                </c:pt>
                <c:pt idx="73">
                  <c:v>57.345579999999998</c:v>
                </c:pt>
                <c:pt idx="74">
                  <c:v>58.000121999999998</c:v>
                </c:pt>
                <c:pt idx="75">
                  <c:v>58.500120000000003</c:v>
                </c:pt>
                <c:pt idx="76">
                  <c:v>57.38194</c:v>
                </c:pt>
                <c:pt idx="77">
                  <c:v>57.400123999999998</c:v>
                </c:pt>
                <c:pt idx="78">
                  <c:v>58.954680000000003</c:v>
                </c:pt>
                <c:pt idx="79">
                  <c:v>58.027393000000004</c:v>
                </c:pt>
                <c:pt idx="80">
                  <c:v>58.000121999999998</c:v>
                </c:pt>
                <c:pt idx="81">
                  <c:v>57.263762999999997</c:v>
                </c:pt>
                <c:pt idx="82">
                  <c:v>58.454673999999997</c:v>
                </c:pt>
                <c:pt idx="83">
                  <c:v>58.000121999999998</c:v>
                </c:pt>
                <c:pt idx="84">
                  <c:v>58.627389999999998</c:v>
                </c:pt>
                <c:pt idx="85">
                  <c:v>59.354667999999997</c:v>
                </c:pt>
                <c:pt idx="86">
                  <c:v>58.481945000000003</c:v>
                </c:pt>
                <c:pt idx="87">
                  <c:v>56.345576999999999</c:v>
                </c:pt>
                <c:pt idx="88">
                  <c:v>57.0274</c:v>
                </c:pt>
                <c:pt idx="89">
                  <c:v>56.763759999999998</c:v>
                </c:pt>
                <c:pt idx="90">
                  <c:v>56.88194</c:v>
                </c:pt>
                <c:pt idx="91">
                  <c:v>57.463760000000001</c:v>
                </c:pt>
                <c:pt idx="92">
                  <c:v>57.927402000000001</c:v>
                </c:pt>
                <c:pt idx="93">
                  <c:v>57.409218000000003</c:v>
                </c:pt>
                <c:pt idx="94">
                  <c:v>58.118304999999999</c:v>
                </c:pt>
                <c:pt idx="95">
                  <c:v>57.509210000000003</c:v>
                </c:pt>
                <c:pt idx="96">
                  <c:v>57.827393000000001</c:v>
                </c:pt>
                <c:pt idx="97">
                  <c:v>58.018303000000003</c:v>
                </c:pt>
                <c:pt idx="98">
                  <c:v>58.827396</c:v>
                </c:pt>
                <c:pt idx="99">
                  <c:v>59.036490000000001</c:v>
                </c:pt>
                <c:pt idx="100">
                  <c:v>59.009219999999999</c:v>
                </c:pt>
                <c:pt idx="101">
                  <c:v>60.527405000000002</c:v>
                </c:pt>
                <c:pt idx="102">
                  <c:v>60.89105</c:v>
                </c:pt>
                <c:pt idx="103">
                  <c:v>59.936492999999999</c:v>
                </c:pt>
                <c:pt idx="104">
                  <c:v>59.118304999999999</c:v>
                </c:pt>
                <c:pt idx="105">
                  <c:v>59.418303999999999</c:v>
                </c:pt>
                <c:pt idx="106">
                  <c:v>59.836494000000002</c:v>
                </c:pt>
                <c:pt idx="107">
                  <c:v>59.236499999999999</c:v>
                </c:pt>
                <c:pt idx="108">
                  <c:v>58.545580000000001</c:v>
                </c:pt>
                <c:pt idx="109">
                  <c:v>58.59102</c:v>
                </c:pt>
                <c:pt idx="110">
                  <c:v>58.763756000000001</c:v>
                </c:pt>
                <c:pt idx="111">
                  <c:v>58.681950000000001</c:v>
                </c:pt>
                <c:pt idx="112">
                  <c:v>59.072856999999999</c:v>
                </c:pt>
                <c:pt idx="113">
                  <c:v>58.73648</c:v>
                </c:pt>
                <c:pt idx="114">
                  <c:v>58.345585</c:v>
                </c:pt>
                <c:pt idx="115">
                  <c:v>58.772854000000002</c:v>
                </c:pt>
                <c:pt idx="116">
                  <c:v>59.418303999999999</c:v>
                </c:pt>
                <c:pt idx="117">
                  <c:v>60.463769999999997</c:v>
                </c:pt>
                <c:pt idx="118">
                  <c:v>60.01831</c:v>
                </c:pt>
                <c:pt idx="119">
                  <c:v>60.954673999999997</c:v>
                </c:pt>
                <c:pt idx="120">
                  <c:v>59.918320000000001</c:v>
                </c:pt>
                <c:pt idx="121">
                  <c:v>59.772857999999999</c:v>
                </c:pt>
                <c:pt idx="122">
                  <c:v>58.845585</c:v>
                </c:pt>
                <c:pt idx="123">
                  <c:v>58.118304999999999</c:v>
                </c:pt>
                <c:pt idx="124">
                  <c:v>58.163756999999997</c:v>
                </c:pt>
                <c:pt idx="125">
                  <c:v>58.145572999999999</c:v>
                </c:pt>
                <c:pt idx="126">
                  <c:v>56.709209999999999</c:v>
                </c:pt>
                <c:pt idx="127">
                  <c:v>56.518300000000004</c:v>
                </c:pt>
                <c:pt idx="128">
                  <c:v>56.209209999999999</c:v>
                </c:pt>
                <c:pt idx="129">
                  <c:v>56.254660000000001</c:v>
                </c:pt>
                <c:pt idx="130">
                  <c:v>55.581940000000003</c:v>
                </c:pt>
                <c:pt idx="131">
                  <c:v>56.036484000000002</c:v>
                </c:pt>
                <c:pt idx="132">
                  <c:v>56.118304999999999</c:v>
                </c:pt>
                <c:pt idx="133">
                  <c:v>55.772846000000001</c:v>
                </c:pt>
                <c:pt idx="134">
                  <c:v>55.172848000000002</c:v>
                </c:pt>
                <c:pt idx="135">
                  <c:v>55.281936999999999</c:v>
                </c:pt>
                <c:pt idx="136">
                  <c:v>55.527397000000001</c:v>
                </c:pt>
                <c:pt idx="137">
                  <c:v>55.30012</c:v>
                </c:pt>
                <c:pt idx="138">
                  <c:v>55.391033</c:v>
                </c:pt>
                <c:pt idx="139">
                  <c:v>55.554670000000002</c:v>
                </c:pt>
                <c:pt idx="140">
                  <c:v>55.727383000000003</c:v>
                </c:pt>
                <c:pt idx="141">
                  <c:v>55.80921</c:v>
                </c:pt>
                <c:pt idx="142">
                  <c:v>55.991028</c:v>
                </c:pt>
                <c:pt idx="143">
                  <c:v>57.118304999999999</c:v>
                </c:pt>
                <c:pt idx="144">
                  <c:v>58.127389999999998</c:v>
                </c:pt>
                <c:pt idx="145">
                  <c:v>59.536487999999999</c:v>
                </c:pt>
                <c:pt idx="146">
                  <c:v>60.627389999999998</c:v>
                </c:pt>
                <c:pt idx="147">
                  <c:v>60.854675</c:v>
                </c:pt>
                <c:pt idx="148">
                  <c:v>60.89105</c:v>
                </c:pt>
                <c:pt idx="149">
                  <c:v>61.009230000000002</c:v>
                </c:pt>
                <c:pt idx="150">
                  <c:v>59.74559</c:v>
                </c:pt>
                <c:pt idx="151">
                  <c:v>59.10013</c:v>
                </c:pt>
                <c:pt idx="152">
                  <c:v>58.863759999999999</c:v>
                </c:pt>
                <c:pt idx="153">
                  <c:v>58.472850000000001</c:v>
                </c:pt>
                <c:pt idx="154">
                  <c:v>58.59102</c:v>
                </c:pt>
                <c:pt idx="155">
                  <c:v>59.309215999999999</c:v>
                </c:pt>
                <c:pt idx="156">
                  <c:v>59.263775000000003</c:v>
                </c:pt>
                <c:pt idx="157">
                  <c:v>58.627389999999998</c:v>
                </c:pt>
                <c:pt idx="158">
                  <c:v>58.936484999999998</c:v>
                </c:pt>
                <c:pt idx="159">
                  <c:v>58.981945000000003</c:v>
                </c:pt>
                <c:pt idx="160">
                  <c:v>58.200122999999998</c:v>
                </c:pt>
                <c:pt idx="161">
                  <c:v>59.363759999999999</c:v>
                </c:pt>
                <c:pt idx="162">
                  <c:v>58.718307000000003</c:v>
                </c:pt>
                <c:pt idx="163">
                  <c:v>58.181941999999999</c:v>
                </c:pt>
                <c:pt idx="164">
                  <c:v>57.809223000000003</c:v>
                </c:pt>
                <c:pt idx="165">
                  <c:v>59.618310000000001</c:v>
                </c:pt>
                <c:pt idx="166">
                  <c:v>60.191040000000001</c:v>
                </c:pt>
                <c:pt idx="167">
                  <c:v>60.75468</c:v>
                </c:pt>
                <c:pt idx="168">
                  <c:v>60.400143</c:v>
                </c:pt>
                <c:pt idx="169">
                  <c:v>60.318306</c:v>
                </c:pt>
                <c:pt idx="170">
                  <c:v>60.381943</c:v>
                </c:pt>
                <c:pt idx="171">
                  <c:v>61.045574000000002</c:v>
                </c:pt>
                <c:pt idx="172">
                  <c:v>61.463769999999997</c:v>
                </c:pt>
                <c:pt idx="173">
                  <c:v>62.727417000000003</c:v>
                </c:pt>
                <c:pt idx="174">
                  <c:v>61.927402000000001</c:v>
                </c:pt>
                <c:pt idx="175">
                  <c:v>62.772869999999998</c:v>
                </c:pt>
                <c:pt idx="176">
                  <c:v>62.963769999999997</c:v>
                </c:pt>
                <c:pt idx="177">
                  <c:v>62.727417000000003</c:v>
                </c:pt>
                <c:pt idx="178">
                  <c:v>62.654670000000003</c:v>
                </c:pt>
                <c:pt idx="179">
                  <c:v>62.245586000000003</c:v>
                </c:pt>
                <c:pt idx="180">
                  <c:v>62.354686999999998</c:v>
                </c:pt>
                <c:pt idx="181">
                  <c:v>62.736499999999999</c:v>
                </c:pt>
                <c:pt idx="182">
                  <c:v>62.554676000000001</c:v>
                </c:pt>
                <c:pt idx="183">
                  <c:v>62.591030000000003</c:v>
                </c:pt>
                <c:pt idx="184">
                  <c:v>62.727417000000003</c:v>
                </c:pt>
                <c:pt idx="185">
                  <c:v>61.045574000000002</c:v>
                </c:pt>
                <c:pt idx="186">
                  <c:v>62.345596</c:v>
                </c:pt>
                <c:pt idx="187">
                  <c:v>62.127388000000003</c:v>
                </c:pt>
                <c:pt idx="188">
                  <c:v>61.609222000000003</c:v>
                </c:pt>
                <c:pt idx="189">
                  <c:v>62.700133999999998</c:v>
                </c:pt>
                <c:pt idx="190">
                  <c:v>63.654682000000001</c:v>
                </c:pt>
                <c:pt idx="191">
                  <c:v>63.636496999999999</c:v>
                </c:pt>
                <c:pt idx="192">
                  <c:v>63.181946000000003</c:v>
                </c:pt>
                <c:pt idx="193">
                  <c:v>62.836506</c:v>
                </c:pt>
                <c:pt idx="194">
                  <c:v>62.936503999999999</c:v>
                </c:pt>
                <c:pt idx="195">
                  <c:v>63.581960000000002</c:v>
                </c:pt>
                <c:pt idx="196">
                  <c:v>63.81832</c:v>
                </c:pt>
                <c:pt idx="197">
                  <c:v>63.400126999999998</c:v>
                </c:pt>
                <c:pt idx="198">
                  <c:v>64.709236000000004</c:v>
                </c:pt>
                <c:pt idx="199">
                  <c:v>64.336500000000001</c:v>
                </c:pt>
                <c:pt idx="200">
                  <c:v>64.127409999999998</c:v>
                </c:pt>
                <c:pt idx="201">
                  <c:v>64.463769999999997</c:v>
                </c:pt>
                <c:pt idx="202">
                  <c:v>63.545597000000001</c:v>
                </c:pt>
                <c:pt idx="203">
                  <c:v>63.609220000000001</c:v>
                </c:pt>
                <c:pt idx="204">
                  <c:v>63.845590000000001</c:v>
                </c:pt>
                <c:pt idx="205">
                  <c:v>64.963769999999997</c:v>
                </c:pt>
                <c:pt idx="206">
                  <c:v>64.645589999999999</c:v>
                </c:pt>
                <c:pt idx="207">
                  <c:v>65.063800000000001</c:v>
                </c:pt>
                <c:pt idx="208">
                  <c:v>64.109219999999993</c:v>
                </c:pt>
                <c:pt idx="209">
                  <c:v>64.081609999999998</c:v>
                </c:pt>
                <c:pt idx="210">
                  <c:v>64.072410000000005</c:v>
                </c:pt>
                <c:pt idx="211">
                  <c:v>64.891499999999994</c:v>
                </c:pt>
                <c:pt idx="212">
                  <c:v>65.029539999999997</c:v>
                </c:pt>
                <c:pt idx="213">
                  <c:v>66.446820000000002</c:v>
                </c:pt>
                <c:pt idx="214">
                  <c:v>67.155469999999994</c:v>
                </c:pt>
                <c:pt idx="215">
                  <c:v>66.630889999999994</c:v>
                </c:pt>
                <c:pt idx="216">
                  <c:v>67.440770000000001</c:v>
                </c:pt>
                <c:pt idx="217">
                  <c:v>67.965339999999998</c:v>
                </c:pt>
                <c:pt idx="218">
                  <c:v>68.673990000000003</c:v>
                </c:pt>
                <c:pt idx="219">
                  <c:v>68.425510000000003</c:v>
                </c:pt>
                <c:pt idx="220">
                  <c:v>70.155709999999999</c:v>
                </c:pt>
                <c:pt idx="221">
                  <c:v>70.312160000000006</c:v>
                </c:pt>
                <c:pt idx="222">
                  <c:v>70.192499999999995</c:v>
                </c:pt>
                <c:pt idx="223">
                  <c:v>70.045270000000002</c:v>
                </c:pt>
                <c:pt idx="224">
                  <c:v>69.778369999999995</c:v>
                </c:pt>
                <c:pt idx="225">
                  <c:v>70.256929999999997</c:v>
                </c:pt>
                <c:pt idx="226">
                  <c:v>69.226190000000003</c:v>
                </c:pt>
                <c:pt idx="227">
                  <c:v>68.93168</c:v>
                </c:pt>
                <c:pt idx="228">
                  <c:v>69.382639999999995</c:v>
                </c:pt>
                <c:pt idx="229">
                  <c:v>67.431563999999995</c:v>
                </c:pt>
                <c:pt idx="230">
                  <c:v>68.517529999999994</c:v>
                </c:pt>
                <c:pt idx="231">
                  <c:v>68.361090000000004</c:v>
                </c:pt>
                <c:pt idx="232">
                  <c:v>68.296670000000006</c:v>
                </c:pt>
                <c:pt idx="233">
                  <c:v>68.085009999999997</c:v>
                </c:pt>
                <c:pt idx="234">
                  <c:v>68.287459999999996</c:v>
                </c:pt>
                <c:pt idx="235">
                  <c:v>69.309010000000001</c:v>
                </c:pt>
                <c:pt idx="236">
                  <c:v>68.830449999999999</c:v>
                </c:pt>
                <c:pt idx="237">
                  <c:v>66.925399999999996</c:v>
                </c:pt>
                <c:pt idx="238">
                  <c:v>66.492850000000004</c:v>
                </c:pt>
                <c:pt idx="239">
                  <c:v>67.072649999999996</c:v>
                </c:pt>
                <c:pt idx="240">
                  <c:v>65.646159999999995</c:v>
                </c:pt>
                <c:pt idx="241">
                  <c:v>67.385570000000001</c:v>
                </c:pt>
                <c:pt idx="242">
                  <c:v>66.824160000000006</c:v>
                </c:pt>
                <c:pt idx="243">
                  <c:v>64.412930000000003</c:v>
                </c:pt>
                <c:pt idx="244">
                  <c:v>65.388469999999998</c:v>
                </c:pt>
                <c:pt idx="245">
                  <c:v>66.041899999999998</c:v>
                </c:pt>
                <c:pt idx="246">
                  <c:v>69.539090000000002</c:v>
                </c:pt>
                <c:pt idx="247">
                  <c:v>69.640320000000003</c:v>
                </c:pt>
                <c:pt idx="248">
                  <c:v>70.919560000000004</c:v>
                </c:pt>
                <c:pt idx="249">
                  <c:v>71.591399999999993</c:v>
                </c:pt>
                <c:pt idx="250">
                  <c:v>71.701836</c:v>
                </c:pt>
                <c:pt idx="251">
                  <c:v>71.692629999999994</c:v>
                </c:pt>
                <c:pt idx="252">
                  <c:v>72.916659999999993</c:v>
                </c:pt>
                <c:pt idx="253">
                  <c:v>73.238770000000002</c:v>
                </c:pt>
                <c:pt idx="254">
                  <c:v>72.585340000000002</c:v>
                </c:pt>
                <c:pt idx="255">
                  <c:v>72.879845000000003</c:v>
                </c:pt>
                <c:pt idx="256">
                  <c:v>73.744934000000001</c:v>
                </c:pt>
                <c:pt idx="257">
                  <c:v>74.297120000000007</c:v>
                </c:pt>
                <c:pt idx="258">
                  <c:v>73.818565000000007</c:v>
                </c:pt>
                <c:pt idx="259">
                  <c:v>73.698920000000001</c:v>
                </c:pt>
                <c:pt idx="260">
                  <c:v>74.067054999999996</c:v>
                </c:pt>
                <c:pt idx="261">
                  <c:v>74.370750000000001</c:v>
                </c:pt>
                <c:pt idx="262">
                  <c:v>73.128333999999995</c:v>
                </c:pt>
                <c:pt idx="263">
                  <c:v>75.199029999999993</c:v>
                </c:pt>
                <c:pt idx="264">
                  <c:v>76.091740000000001</c:v>
                </c:pt>
                <c:pt idx="265">
                  <c:v>76.699164999999994</c:v>
                </c:pt>
                <c:pt idx="266">
                  <c:v>75.659189999999995</c:v>
                </c:pt>
                <c:pt idx="267">
                  <c:v>75.438323999999994</c:v>
                </c:pt>
                <c:pt idx="268">
                  <c:v>74.591629999999995</c:v>
                </c:pt>
                <c:pt idx="269">
                  <c:v>74.895330000000001</c:v>
                </c:pt>
                <c:pt idx="270">
                  <c:v>73.560879999999997</c:v>
                </c:pt>
                <c:pt idx="271">
                  <c:v>73.689719999999994</c:v>
                </c:pt>
                <c:pt idx="272">
                  <c:v>74.904539999999997</c:v>
                </c:pt>
                <c:pt idx="273">
                  <c:v>75.456726000000003</c:v>
                </c:pt>
                <c:pt idx="274">
                  <c:v>74.103859999999997</c:v>
                </c:pt>
                <c:pt idx="275">
                  <c:v>74.370750000000001</c:v>
                </c:pt>
                <c:pt idx="276">
                  <c:v>73.947419999999994</c:v>
                </c:pt>
                <c:pt idx="277">
                  <c:v>73.155940000000001</c:v>
                </c:pt>
                <c:pt idx="278">
                  <c:v>73.211150000000004</c:v>
                </c:pt>
                <c:pt idx="279">
                  <c:v>72.355255</c:v>
                </c:pt>
                <c:pt idx="280">
                  <c:v>72.226420000000005</c:v>
                </c:pt>
                <c:pt idx="281">
                  <c:v>72.695790000000002</c:v>
                </c:pt>
                <c:pt idx="282">
                  <c:v>73.689719999999994</c:v>
                </c:pt>
                <c:pt idx="283">
                  <c:v>75.0702</c:v>
                </c:pt>
                <c:pt idx="284">
                  <c:v>75.162223999999995</c:v>
                </c:pt>
                <c:pt idx="285">
                  <c:v>75.180629999999994</c:v>
                </c:pt>
                <c:pt idx="286">
                  <c:v>74.021029999999996</c:v>
                </c:pt>
                <c:pt idx="287">
                  <c:v>72.824614999999994</c:v>
                </c:pt>
                <c:pt idx="288">
                  <c:v>73.229569999999995</c:v>
                </c:pt>
                <c:pt idx="289">
                  <c:v>74.057845999999998</c:v>
                </c:pt>
                <c:pt idx="290">
                  <c:v>71.333709999999996</c:v>
                </c:pt>
                <c:pt idx="291">
                  <c:v>70.873540000000006</c:v>
                </c:pt>
                <c:pt idx="292">
                  <c:v>71.434950000000001</c:v>
                </c:pt>
                <c:pt idx="293">
                  <c:v>71.471755999999999</c:v>
                </c:pt>
                <c:pt idx="294">
                  <c:v>72.658966000000007</c:v>
                </c:pt>
                <c:pt idx="295">
                  <c:v>73.61609</c:v>
                </c:pt>
                <c:pt idx="296">
                  <c:v>72.806219999999996</c:v>
                </c:pt>
                <c:pt idx="297">
                  <c:v>73.119110000000006</c:v>
                </c:pt>
                <c:pt idx="298">
                  <c:v>73.183539999999994</c:v>
                </c:pt>
                <c:pt idx="299">
                  <c:v>73.247960000000006</c:v>
                </c:pt>
                <c:pt idx="300">
                  <c:v>71.996340000000004</c:v>
                </c:pt>
                <c:pt idx="301">
                  <c:v>71.582189999999997</c:v>
                </c:pt>
                <c:pt idx="302">
                  <c:v>72.373660000000001</c:v>
                </c:pt>
                <c:pt idx="303">
                  <c:v>73.017899999999997</c:v>
                </c:pt>
                <c:pt idx="304">
                  <c:v>73.220370000000003</c:v>
                </c:pt>
                <c:pt idx="305">
                  <c:v>73.910589999999999</c:v>
                </c:pt>
                <c:pt idx="306">
                  <c:v>74.748090000000005</c:v>
                </c:pt>
                <c:pt idx="307">
                  <c:v>74.573220000000006</c:v>
                </c:pt>
                <c:pt idx="308">
                  <c:v>73.892200000000003</c:v>
                </c:pt>
                <c:pt idx="309">
                  <c:v>75.097790000000003</c:v>
                </c:pt>
                <c:pt idx="310">
                  <c:v>75.419914000000006</c:v>
                </c:pt>
                <c:pt idx="311">
                  <c:v>75.852455000000006</c:v>
                </c:pt>
                <c:pt idx="312">
                  <c:v>75.539559999999994</c:v>
                </c:pt>
                <c:pt idx="313">
                  <c:v>74.471985000000004</c:v>
                </c:pt>
                <c:pt idx="314">
                  <c:v>73.763350000000003</c:v>
                </c:pt>
                <c:pt idx="315">
                  <c:v>73.984219999999993</c:v>
                </c:pt>
                <c:pt idx="316">
                  <c:v>74.591629999999995</c:v>
                </c:pt>
                <c:pt idx="317">
                  <c:v>74.628426000000005</c:v>
                </c:pt>
                <c:pt idx="318">
                  <c:v>75.640784999999994</c:v>
                </c:pt>
                <c:pt idx="319">
                  <c:v>75.788039999999995</c:v>
                </c:pt>
                <c:pt idx="320">
                  <c:v>76.680750000000003</c:v>
                </c:pt>
                <c:pt idx="321">
                  <c:v>77.067276000000007</c:v>
                </c:pt>
                <c:pt idx="322">
                  <c:v>76.938445999999999</c:v>
                </c:pt>
                <c:pt idx="323">
                  <c:v>77.334175000000002</c:v>
                </c:pt>
                <c:pt idx="324">
                  <c:v>77.315764999999999</c:v>
                </c:pt>
                <c:pt idx="325">
                  <c:v>77.555040000000005</c:v>
                </c:pt>
                <c:pt idx="326">
                  <c:v>77.196129999999997</c:v>
                </c:pt>
                <c:pt idx="327">
                  <c:v>77.527434999999997</c:v>
                </c:pt>
                <c:pt idx="328">
                  <c:v>78.0244</c:v>
                </c:pt>
                <c:pt idx="329">
                  <c:v>77.867959999999997</c:v>
                </c:pt>
                <c:pt idx="330">
                  <c:v>78.668625000000006</c:v>
                </c:pt>
                <c:pt idx="331">
                  <c:v>77.996799999999993</c:v>
                </c:pt>
                <c:pt idx="332">
                  <c:v>77.591859999999997</c:v>
                </c:pt>
                <c:pt idx="333">
                  <c:v>76.202190000000002</c:v>
                </c:pt>
                <c:pt idx="334">
                  <c:v>76.202190000000002</c:v>
                </c:pt>
                <c:pt idx="335">
                  <c:v>76.662345999999999</c:v>
                </c:pt>
                <c:pt idx="336">
                  <c:v>76.533510000000007</c:v>
                </c:pt>
                <c:pt idx="337">
                  <c:v>76.92004</c:v>
                </c:pt>
                <c:pt idx="338">
                  <c:v>77.094890000000007</c:v>
                </c:pt>
                <c:pt idx="339">
                  <c:v>76.220579999999998</c:v>
                </c:pt>
                <c:pt idx="340">
                  <c:v>76.165374999999997</c:v>
                </c:pt>
                <c:pt idx="341">
                  <c:v>76.091740000000001</c:v>
                </c:pt>
                <c:pt idx="342">
                  <c:v>77.214519999999993</c:v>
                </c:pt>
                <c:pt idx="343">
                  <c:v>77.720699999999994</c:v>
                </c:pt>
                <c:pt idx="344">
                  <c:v>78.502975000000006</c:v>
                </c:pt>
                <c:pt idx="345">
                  <c:v>78.907920000000004</c:v>
                </c:pt>
                <c:pt idx="346">
                  <c:v>79.579750000000004</c:v>
                </c:pt>
                <c:pt idx="347">
                  <c:v>79.552130000000005</c:v>
                </c:pt>
                <c:pt idx="348">
                  <c:v>79.920265000000001</c:v>
                </c:pt>
                <c:pt idx="349">
                  <c:v>79.690179999999998</c:v>
                </c:pt>
                <c:pt idx="350">
                  <c:v>79.018360000000001</c:v>
                </c:pt>
                <c:pt idx="351">
                  <c:v>80.269990000000007</c:v>
                </c:pt>
                <c:pt idx="352">
                  <c:v>79.938670000000002</c:v>
                </c:pt>
                <c:pt idx="353">
                  <c:v>79.966269999999994</c:v>
                </c:pt>
                <c:pt idx="354">
                  <c:v>79.846639999999994</c:v>
                </c:pt>
                <c:pt idx="355">
                  <c:v>79.285250000000005</c:v>
                </c:pt>
                <c:pt idx="356">
                  <c:v>78.548990000000003</c:v>
                </c:pt>
                <c:pt idx="357">
                  <c:v>78.254480000000001</c:v>
                </c:pt>
                <c:pt idx="358">
                  <c:v>78.972340000000003</c:v>
                </c:pt>
                <c:pt idx="359">
                  <c:v>78.907920000000004</c:v>
                </c:pt>
                <c:pt idx="360">
                  <c:v>79.340459999999993</c:v>
                </c:pt>
                <c:pt idx="361">
                  <c:v>79.184005999999997</c:v>
                </c:pt>
                <c:pt idx="362">
                  <c:v>79.883446000000006</c:v>
                </c:pt>
                <c:pt idx="363">
                  <c:v>79.358860000000007</c:v>
                </c:pt>
                <c:pt idx="364">
                  <c:v>80.205550000000002</c:v>
                </c:pt>
                <c:pt idx="365">
                  <c:v>79.33126</c:v>
                </c:pt>
                <c:pt idx="366">
                  <c:v>80.26079</c:v>
                </c:pt>
                <c:pt idx="367">
                  <c:v>79.036760000000001</c:v>
                </c:pt>
                <c:pt idx="368">
                  <c:v>78.576610000000002</c:v>
                </c:pt>
                <c:pt idx="369">
                  <c:v>80.288390000000007</c:v>
                </c:pt>
                <c:pt idx="370">
                  <c:v>79.837450000000004</c:v>
                </c:pt>
                <c:pt idx="371">
                  <c:v>79.690179999999998</c:v>
                </c:pt>
                <c:pt idx="372">
                  <c:v>78.696240000000003</c:v>
                </c:pt>
                <c:pt idx="373">
                  <c:v>79.929450000000003</c:v>
                </c:pt>
                <c:pt idx="374">
                  <c:v>80.527670000000001</c:v>
                </c:pt>
                <c:pt idx="375">
                  <c:v>80.26079</c:v>
                </c:pt>
                <c:pt idx="376">
                  <c:v>80.619704999999996</c:v>
                </c:pt>
                <c:pt idx="377">
                  <c:v>81.549225000000007</c:v>
                </c:pt>
                <c:pt idx="378">
                  <c:v>82.165824999999998</c:v>
                </c:pt>
                <c:pt idx="379">
                  <c:v>82.800849999999997</c:v>
                </c:pt>
                <c:pt idx="380">
                  <c:v>82.911270000000002</c:v>
                </c:pt>
                <c:pt idx="381">
                  <c:v>82.681206000000003</c:v>
                </c:pt>
                <c:pt idx="382">
                  <c:v>83.178184999999999</c:v>
                </c:pt>
                <c:pt idx="383">
                  <c:v>83.279409999999999</c:v>
                </c:pt>
                <c:pt idx="384">
                  <c:v>83.178184999999999</c:v>
                </c:pt>
                <c:pt idx="385">
                  <c:v>82.846869999999996</c:v>
                </c:pt>
                <c:pt idx="386">
                  <c:v>83.168989999999994</c:v>
                </c:pt>
                <c:pt idx="387">
                  <c:v>83.040130000000005</c:v>
                </c:pt>
                <c:pt idx="388">
                  <c:v>82.718010000000007</c:v>
                </c:pt>
                <c:pt idx="389">
                  <c:v>83.564719999999994</c:v>
                </c:pt>
                <c:pt idx="390">
                  <c:v>83.693565000000007</c:v>
                </c:pt>
                <c:pt idx="391">
                  <c:v>82.957310000000007</c:v>
                </c:pt>
                <c:pt idx="392">
                  <c:v>83.693565000000007</c:v>
                </c:pt>
                <c:pt idx="393">
                  <c:v>83.343834000000001</c:v>
                </c:pt>
                <c:pt idx="394">
                  <c:v>82.460335000000001</c:v>
                </c:pt>
                <c:pt idx="395">
                  <c:v>82.386696000000001</c:v>
                </c:pt>
                <c:pt idx="396">
                  <c:v>82.800849999999997</c:v>
                </c:pt>
                <c:pt idx="397">
                  <c:v>82.524749999999997</c:v>
                </c:pt>
                <c:pt idx="398">
                  <c:v>82.902084000000002</c:v>
                </c:pt>
                <c:pt idx="399">
                  <c:v>83.076935000000006</c:v>
                </c:pt>
                <c:pt idx="400">
                  <c:v>83.132180000000005</c:v>
                </c:pt>
                <c:pt idx="401">
                  <c:v>83.141364999999993</c:v>
                </c:pt>
                <c:pt idx="402">
                  <c:v>83.279409999999999</c:v>
                </c:pt>
                <c:pt idx="403">
                  <c:v>82.175030000000007</c:v>
                </c:pt>
                <c:pt idx="404">
                  <c:v>81.273120000000006</c:v>
                </c:pt>
                <c:pt idx="405">
                  <c:v>82.322280000000006</c:v>
                </c:pt>
                <c:pt idx="406">
                  <c:v>81.052250000000001</c:v>
                </c:pt>
                <c:pt idx="407">
                  <c:v>81.668850000000006</c:v>
                </c:pt>
                <c:pt idx="408">
                  <c:v>81.7517</c:v>
                </c:pt>
                <c:pt idx="409">
                  <c:v>81.935744999999997</c:v>
                </c:pt>
                <c:pt idx="410">
                  <c:v>80.518460000000005</c:v>
                </c:pt>
                <c:pt idx="411">
                  <c:v>79.874250000000004</c:v>
                </c:pt>
                <c:pt idx="412">
                  <c:v>81.401960000000003</c:v>
                </c:pt>
                <c:pt idx="413">
                  <c:v>81.503209999999996</c:v>
                </c:pt>
                <c:pt idx="414">
                  <c:v>80.168729999999996</c:v>
                </c:pt>
                <c:pt idx="415">
                  <c:v>81.089070000000007</c:v>
                </c:pt>
                <c:pt idx="416">
                  <c:v>78.880295000000004</c:v>
                </c:pt>
                <c:pt idx="417">
                  <c:v>79.395675999999995</c:v>
                </c:pt>
                <c:pt idx="418">
                  <c:v>77.223730000000003</c:v>
                </c:pt>
                <c:pt idx="419">
                  <c:v>77.435400000000001</c:v>
                </c:pt>
                <c:pt idx="420">
                  <c:v>75.539559999999994</c:v>
                </c:pt>
                <c:pt idx="421">
                  <c:v>75.226640000000003</c:v>
                </c:pt>
                <c:pt idx="422">
                  <c:v>77.150099999999995</c:v>
                </c:pt>
                <c:pt idx="423">
                  <c:v>78.705439999999996</c:v>
                </c:pt>
                <c:pt idx="424">
                  <c:v>80.564480000000003</c:v>
                </c:pt>
                <c:pt idx="425">
                  <c:v>80.159530000000004</c:v>
                </c:pt>
                <c:pt idx="426">
                  <c:v>80.978629999999995</c:v>
                </c:pt>
                <c:pt idx="427">
                  <c:v>81.549225000000007</c:v>
                </c:pt>
                <c:pt idx="428">
                  <c:v>81.401960000000003</c:v>
                </c:pt>
                <c:pt idx="429">
                  <c:v>82.764045999999993</c:v>
                </c:pt>
                <c:pt idx="430">
                  <c:v>82.395910000000001</c:v>
                </c:pt>
                <c:pt idx="431">
                  <c:v>83.030940000000001</c:v>
                </c:pt>
                <c:pt idx="432">
                  <c:v>84.098495</c:v>
                </c:pt>
                <c:pt idx="433">
                  <c:v>84.402180000000001</c:v>
                </c:pt>
                <c:pt idx="434">
                  <c:v>83.150565999999998</c:v>
                </c:pt>
                <c:pt idx="435">
                  <c:v>83.748769999999993</c:v>
                </c:pt>
                <c:pt idx="436">
                  <c:v>84.6691</c:v>
                </c:pt>
                <c:pt idx="437">
                  <c:v>82.828460000000007</c:v>
                </c:pt>
                <c:pt idx="438">
                  <c:v>82.625990000000002</c:v>
                </c:pt>
                <c:pt idx="439">
                  <c:v>82.810059999999993</c:v>
                </c:pt>
                <c:pt idx="440">
                  <c:v>82.736435</c:v>
                </c:pt>
                <c:pt idx="441">
                  <c:v>83.279409999999999</c:v>
                </c:pt>
                <c:pt idx="442">
                  <c:v>83.564719999999994</c:v>
                </c:pt>
                <c:pt idx="443">
                  <c:v>83.205789999999993</c:v>
                </c:pt>
                <c:pt idx="444">
                  <c:v>83.08614</c:v>
                </c:pt>
                <c:pt idx="445">
                  <c:v>82.662796</c:v>
                </c:pt>
                <c:pt idx="446">
                  <c:v>81.816090000000003</c:v>
                </c:pt>
                <c:pt idx="447">
                  <c:v>81.87133</c:v>
                </c:pt>
                <c:pt idx="448">
                  <c:v>83.362235999999996</c:v>
                </c:pt>
                <c:pt idx="449">
                  <c:v>84.346980000000002</c:v>
                </c:pt>
                <c:pt idx="450">
                  <c:v>84.595470000000006</c:v>
                </c:pt>
                <c:pt idx="451">
                  <c:v>85.138459999999995</c:v>
                </c:pt>
                <c:pt idx="452">
                  <c:v>85.313299999999998</c:v>
                </c:pt>
                <c:pt idx="453">
                  <c:v>86.021960000000007</c:v>
                </c:pt>
                <c:pt idx="454">
                  <c:v>85.690650000000005</c:v>
                </c:pt>
                <c:pt idx="455">
                  <c:v>85.801069999999996</c:v>
                </c:pt>
                <c:pt idx="456">
                  <c:v>86.288849999999996</c:v>
                </c:pt>
                <c:pt idx="457">
                  <c:v>86.325670000000002</c:v>
                </c:pt>
                <c:pt idx="458">
                  <c:v>85.534194999999997</c:v>
                </c:pt>
                <c:pt idx="459">
                  <c:v>84.328575000000001</c:v>
                </c:pt>
                <c:pt idx="460">
                  <c:v>85.512230000000002</c:v>
                </c:pt>
                <c:pt idx="461">
                  <c:v>85.269909999999996</c:v>
                </c:pt>
                <c:pt idx="462">
                  <c:v>84.72</c:v>
                </c:pt>
                <c:pt idx="463">
                  <c:v>84.039649999999995</c:v>
                </c:pt>
                <c:pt idx="464">
                  <c:v>85.167400000000001</c:v>
                </c:pt>
                <c:pt idx="465">
                  <c:v>86.313760000000002</c:v>
                </c:pt>
                <c:pt idx="466">
                  <c:v>86.574730000000002</c:v>
                </c:pt>
                <c:pt idx="467">
                  <c:v>87.795670000000001</c:v>
                </c:pt>
                <c:pt idx="468">
                  <c:v>88.252359999999996</c:v>
                </c:pt>
                <c:pt idx="469">
                  <c:v>88.000699999999995</c:v>
                </c:pt>
                <c:pt idx="470">
                  <c:v>88.569243999999998</c:v>
                </c:pt>
                <c:pt idx="471">
                  <c:v>89.007285999999993</c:v>
                </c:pt>
                <c:pt idx="472">
                  <c:v>88.261660000000006</c:v>
                </c:pt>
                <c:pt idx="473">
                  <c:v>87.786354000000003</c:v>
                </c:pt>
                <c:pt idx="474">
                  <c:v>87.376270000000005</c:v>
                </c:pt>
                <c:pt idx="475">
                  <c:v>86.099400000000003</c:v>
                </c:pt>
                <c:pt idx="476">
                  <c:v>85.642700000000005</c:v>
                </c:pt>
                <c:pt idx="477">
                  <c:v>86.518814000000006</c:v>
                </c:pt>
                <c:pt idx="478">
                  <c:v>87.413535999999993</c:v>
                </c:pt>
                <c:pt idx="479">
                  <c:v>87.842254999999994</c:v>
                </c:pt>
                <c:pt idx="480">
                  <c:v>88.037989999999994</c:v>
                </c:pt>
                <c:pt idx="481">
                  <c:v>88.718360000000004</c:v>
                </c:pt>
                <c:pt idx="482">
                  <c:v>87.823620000000005</c:v>
                </c:pt>
                <c:pt idx="483">
                  <c:v>87.935455000000005</c:v>
                </c:pt>
                <c:pt idx="484">
                  <c:v>88.709040000000002</c:v>
                </c:pt>
                <c:pt idx="485">
                  <c:v>88.298950000000005</c:v>
                </c:pt>
                <c:pt idx="486">
                  <c:v>87.767700000000005</c:v>
                </c:pt>
                <c:pt idx="487">
                  <c:v>88.681076000000004</c:v>
                </c:pt>
                <c:pt idx="488">
                  <c:v>88.28031</c:v>
                </c:pt>
                <c:pt idx="489">
                  <c:v>88.513319999999993</c:v>
                </c:pt>
                <c:pt idx="490">
                  <c:v>87.581299999999999</c:v>
                </c:pt>
                <c:pt idx="491">
                  <c:v>86.369680000000002</c:v>
                </c:pt>
                <c:pt idx="492">
                  <c:v>86.882285999999993</c:v>
                </c:pt>
                <c:pt idx="493">
                  <c:v>84.775940000000006</c:v>
                </c:pt>
                <c:pt idx="494">
                  <c:v>85.679990000000004</c:v>
                </c:pt>
                <c:pt idx="495">
                  <c:v>87.702449999999999</c:v>
                </c:pt>
                <c:pt idx="496">
                  <c:v>94.394300000000001</c:v>
                </c:pt>
                <c:pt idx="497">
                  <c:v>95.661839999999998</c:v>
                </c:pt>
                <c:pt idx="498">
                  <c:v>95.084014999999994</c:v>
                </c:pt>
                <c:pt idx="499">
                  <c:v>94.813736000000006</c:v>
                </c:pt>
                <c:pt idx="500">
                  <c:v>94.990814</c:v>
                </c:pt>
                <c:pt idx="501">
                  <c:v>94.944199999999995</c:v>
                </c:pt>
                <c:pt idx="502">
                  <c:v>96.537959999999998</c:v>
                </c:pt>
                <c:pt idx="503">
                  <c:v>97.08784</c:v>
                </c:pt>
                <c:pt idx="504">
                  <c:v>97.041240000000002</c:v>
                </c:pt>
                <c:pt idx="505">
                  <c:v>96.798903999999993</c:v>
                </c:pt>
                <c:pt idx="506">
                  <c:v>96.826890000000006</c:v>
                </c:pt>
                <c:pt idx="507">
                  <c:v>97.441990000000004</c:v>
                </c:pt>
                <c:pt idx="508">
                  <c:v>97.852069999999998</c:v>
                </c:pt>
                <c:pt idx="509">
                  <c:v>97.553830000000005</c:v>
                </c:pt>
                <c:pt idx="510">
                  <c:v>98.392660000000006</c:v>
                </c:pt>
                <c:pt idx="511">
                  <c:v>97.451324</c:v>
                </c:pt>
                <c:pt idx="512">
                  <c:v>97.003950000000003</c:v>
                </c:pt>
                <c:pt idx="513">
                  <c:v>98.690899999999999</c:v>
                </c:pt>
                <c:pt idx="514">
                  <c:v>99.119609999999994</c:v>
                </c:pt>
                <c:pt idx="515">
                  <c:v>98.392660000000006</c:v>
                </c:pt>
                <c:pt idx="516">
                  <c:v>97.889359999999996</c:v>
                </c:pt>
                <c:pt idx="517">
                  <c:v>96.761629999999997</c:v>
                </c:pt>
                <c:pt idx="518">
                  <c:v>98.103740000000002</c:v>
                </c:pt>
                <c:pt idx="519">
                  <c:v>96.081249999999997</c:v>
                </c:pt>
                <c:pt idx="520">
                  <c:v>95.894874999999999</c:v>
                </c:pt>
                <c:pt idx="521">
                  <c:v>99.883870000000002</c:v>
                </c:pt>
                <c:pt idx="522">
                  <c:v>99.203513999999998</c:v>
                </c:pt>
                <c:pt idx="523">
                  <c:v>100.070274</c:v>
                </c:pt>
                <c:pt idx="524">
                  <c:v>99.688149999999993</c:v>
                </c:pt>
                <c:pt idx="525">
                  <c:v>100.62948</c:v>
                </c:pt>
                <c:pt idx="526">
                  <c:v>100.070274</c:v>
                </c:pt>
                <c:pt idx="527">
                  <c:v>101.058205</c:v>
                </c:pt>
                <c:pt idx="528">
                  <c:v>100.86248999999999</c:v>
                </c:pt>
                <c:pt idx="529">
                  <c:v>99.827950000000001</c:v>
                </c:pt>
                <c:pt idx="530">
                  <c:v>97.861403999999993</c:v>
                </c:pt>
                <c:pt idx="531">
                  <c:v>98.085089999999994</c:v>
                </c:pt>
                <c:pt idx="532">
                  <c:v>98.308769999999996</c:v>
                </c:pt>
                <c:pt idx="533">
                  <c:v>98.905265999999997</c:v>
                </c:pt>
                <c:pt idx="534">
                  <c:v>97.758889999999994</c:v>
                </c:pt>
                <c:pt idx="535">
                  <c:v>98.271479999999997</c:v>
                </c:pt>
                <c:pt idx="536">
                  <c:v>98.793430000000001</c:v>
                </c:pt>
                <c:pt idx="537">
                  <c:v>98.448570000000004</c:v>
                </c:pt>
                <c:pt idx="538">
                  <c:v>98.262169999999998</c:v>
                </c:pt>
                <c:pt idx="539">
                  <c:v>99.128944000000004</c:v>
                </c:pt>
                <c:pt idx="540">
                  <c:v>99.511070000000004</c:v>
                </c:pt>
                <c:pt idx="541">
                  <c:v>99.678849999999997</c:v>
                </c:pt>
                <c:pt idx="542">
                  <c:v>99.268744999999996</c:v>
                </c:pt>
                <c:pt idx="543">
                  <c:v>99.408559999999994</c:v>
                </c:pt>
                <c:pt idx="544">
                  <c:v>99.706789999999998</c:v>
                </c:pt>
                <c:pt idx="545">
                  <c:v>100.75065600000001</c:v>
                </c:pt>
                <c:pt idx="546">
                  <c:v>99.436515999999997</c:v>
                </c:pt>
                <c:pt idx="547">
                  <c:v>100.86248999999999</c:v>
                </c:pt>
                <c:pt idx="548">
                  <c:v>100.3592</c:v>
                </c:pt>
                <c:pt idx="549">
                  <c:v>100.60154</c:v>
                </c:pt>
                <c:pt idx="550">
                  <c:v>101.58947000000001</c:v>
                </c:pt>
                <c:pt idx="551">
                  <c:v>102.08343000000001</c:v>
                </c:pt>
                <c:pt idx="552">
                  <c:v>102.67061</c:v>
                </c:pt>
                <c:pt idx="553">
                  <c:v>102.44691</c:v>
                </c:pt>
                <c:pt idx="554">
                  <c:v>102.34438</c:v>
                </c:pt>
                <c:pt idx="555">
                  <c:v>101.32849</c:v>
                </c:pt>
                <c:pt idx="556">
                  <c:v>103.00611000000001</c:v>
                </c:pt>
                <c:pt idx="557">
                  <c:v>103.48144499999999</c:v>
                </c:pt>
                <c:pt idx="558">
                  <c:v>103.27639000000001</c:v>
                </c:pt>
                <c:pt idx="559">
                  <c:v>102.26050600000001</c:v>
                </c:pt>
                <c:pt idx="560">
                  <c:v>101.83177000000001</c:v>
                </c:pt>
                <c:pt idx="561">
                  <c:v>102.62401</c:v>
                </c:pt>
                <c:pt idx="562">
                  <c:v>101.21666</c:v>
                </c:pt>
                <c:pt idx="563">
                  <c:v>101.81314</c:v>
                </c:pt>
                <c:pt idx="564">
                  <c:v>101.76654000000001</c:v>
                </c:pt>
                <c:pt idx="565">
                  <c:v>102.45623000000001</c:v>
                </c:pt>
                <c:pt idx="566">
                  <c:v>102.80109400000001</c:v>
                </c:pt>
                <c:pt idx="567">
                  <c:v>102.82904000000001</c:v>
                </c:pt>
                <c:pt idx="568">
                  <c:v>103.04339</c:v>
                </c:pt>
                <c:pt idx="569">
                  <c:v>102.70787</c:v>
                </c:pt>
                <c:pt idx="570">
                  <c:v>102.88496000000001</c:v>
                </c:pt>
                <c:pt idx="571">
                  <c:v>102.76379</c:v>
                </c:pt>
                <c:pt idx="572">
                  <c:v>101.99955</c:v>
                </c:pt>
                <c:pt idx="573">
                  <c:v>102.866325</c:v>
                </c:pt>
                <c:pt idx="574">
                  <c:v>103.01544</c:v>
                </c:pt>
                <c:pt idx="575">
                  <c:v>102.866325</c:v>
                </c:pt>
                <c:pt idx="576">
                  <c:v>103.41619</c:v>
                </c:pt>
                <c:pt idx="577">
                  <c:v>103.22049</c:v>
                </c:pt>
                <c:pt idx="578">
                  <c:v>103.61194</c:v>
                </c:pt>
                <c:pt idx="579">
                  <c:v>102.80109400000001</c:v>
                </c:pt>
                <c:pt idx="580">
                  <c:v>102.80109400000001</c:v>
                </c:pt>
                <c:pt idx="581">
                  <c:v>101.85975999999999</c:v>
                </c:pt>
                <c:pt idx="582">
                  <c:v>101.1421</c:v>
                </c:pt>
                <c:pt idx="583">
                  <c:v>102.52148</c:v>
                </c:pt>
                <c:pt idx="584">
                  <c:v>103.09932000000001</c:v>
                </c:pt>
                <c:pt idx="585">
                  <c:v>102.474884</c:v>
                </c:pt>
                <c:pt idx="586">
                  <c:v>102.689255</c:v>
                </c:pt>
                <c:pt idx="587">
                  <c:v>103.509415</c:v>
                </c:pt>
                <c:pt idx="588">
                  <c:v>103.91018</c:v>
                </c:pt>
                <c:pt idx="589">
                  <c:v>105.52256</c:v>
                </c:pt>
                <c:pt idx="590">
                  <c:v>104.963356</c:v>
                </c:pt>
                <c:pt idx="591">
                  <c:v>105.81149000000001</c:v>
                </c:pt>
                <c:pt idx="592">
                  <c:v>106.63166</c:v>
                </c:pt>
                <c:pt idx="593">
                  <c:v>106.03515</c:v>
                </c:pt>
                <c:pt idx="594">
                  <c:v>106.66893</c:v>
                </c:pt>
                <c:pt idx="595">
                  <c:v>107.17222</c:v>
                </c:pt>
                <c:pt idx="596">
                  <c:v>105.36412</c:v>
                </c:pt>
                <c:pt idx="597">
                  <c:v>106.38002</c:v>
                </c:pt>
                <c:pt idx="598">
                  <c:v>107.926765</c:v>
                </c:pt>
                <c:pt idx="599">
                  <c:v>107.77678</c:v>
                </c:pt>
                <c:pt idx="600">
                  <c:v>108.46111999999999</c:v>
                </c:pt>
                <c:pt idx="601">
                  <c:v>109.77352999999999</c:v>
                </c:pt>
                <c:pt idx="602">
                  <c:v>107.983025</c:v>
                </c:pt>
                <c:pt idx="603">
                  <c:v>108.36736000000001</c:v>
                </c:pt>
                <c:pt idx="604">
                  <c:v>109.154816</c:v>
                </c:pt>
                <c:pt idx="605">
                  <c:v>110.66409</c:v>
                </c:pt>
                <c:pt idx="606">
                  <c:v>110.47659</c:v>
                </c:pt>
                <c:pt idx="607">
                  <c:v>110.89843999999999</c:v>
                </c:pt>
                <c:pt idx="608">
                  <c:v>111.62026</c:v>
                </c:pt>
                <c:pt idx="609">
                  <c:v>111.42338599999999</c:v>
                </c:pt>
                <c:pt idx="610">
                  <c:v>112.098366</c:v>
                </c:pt>
                <c:pt idx="611">
                  <c:v>111.84524500000001</c:v>
                </c:pt>
                <c:pt idx="612">
                  <c:v>111.864</c:v>
                </c:pt>
                <c:pt idx="613">
                  <c:v>111.36717</c:v>
                </c:pt>
                <c:pt idx="614">
                  <c:v>111.47028</c:v>
                </c:pt>
                <c:pt idx="615">
                  <c:v>110.85156000000001</c:v>
                </c:pt>
                <c:pt idx="616">
                  <c:v>111.04845</c:v>
                </c:pt>
                <c:pt idx="617">
                  <c:v>112.342094</c:v>
                </c:pt>
                <c:pt idx="618">
                  <c:v>112.5202</c:v>
                </c:pt>
                <c:pt idx="619">
                  <c:v>112.49207</c:v>
                </c:pt>
                <c:pt idx="620">
                  <c:v>113.542</c:v>
                </c:pt>
                <c:pt idx="621">
                  <c:v>114.07635500000001</c:v>
                </c:pt>
                <c:pt idx="622">
                  <c:v>103.61458</c:v>
                </c:pt>
                <c:pt idx="623">
                  <c:v>101.75846</c:v>
                </c:pt>
                <c:pt idx="624">
                  <c:v>102.50841</c:v>
                </c:pt>
                <c:pt idx="625">
                  <c:v>104.055176</c:v>
                </c:pt>
                <c:pt idx="626">
                  <c:v>101.24288</c:v>
                </c:pt>
                <c:pt idx="627">
                  <c:v>100.29606</c:v>
                </c:pt>
                <c:pt idx="628">
                  <c:v>100.79289</c:v>
                </c:pt>
                <c:pt idx="629">
                  <c:v>100.45544</c:v>
                </c:pt>
                <c:pt idx="630">
                  <c:v>102.22718</c:v>
                </c:pt>
                <c:pt idx="631">
                  <c:v>100.24918</c:v>
                </c:pt>
                <c:pt idx="632">
                  <c:v>99.789856</c:v>
                </c:pt>
                <c:pt idx="633">
                  <c:v>93.762140000000002</c:v>
                </c:pt>
                <c:pt idx="634">
                  <c:v>92.65598</c:v>
                </c:pt>
                <c:pt idx="635">
                  <c:v>89.393699999999995</c:v>
                </c:pt>
                <c:pt idx="636">
                  <c:v>89.890540000000001</c:v>
                </c:pt>
                <c:pt idx="637">
                  <c:v>93.021575999999996</c:v>
                </c:pt>
                <c:pt idx="638">
                  <c:v>95.777625999999998</c:v>
                </c:pt>
                <c:pt idx="639">
                  <c:v>96.068240000000003</c:v>
                </c:pt>
                <c:pt idx="640">
                  <c:v>95.505775</c:v>
                </c:pt>
                <c:pt idx="641">
                  <c:v>93.284064999999998</c:v>
                </c:pt>
                <c:pt idx="642">
                  <c:v>95.515144000000006</c:v>
                </c:pt>
                <c:pt idx="643">
                  <c:v>95.608894000000006</c:v>
                </c:pt>
                <c:pt idx="644">
                  <c:v>94.652694999999994</c:v>
                </c:pt>
                <c:pt idx="645">
                  <c:v>97.502510000000001</c:v>
                </c:pt>
                <c:pt idx="646">
                  <c:v>95.533905000000004</c:v>
                </c:pt>
                <c:pt idx="647">
                  <c:v>96.180719999999994</c:v>
                </c:pt>
                <c:pt idx="648">
                  <c:v>97.943100000000001</c:v>
                </c:pt>
                <c:pt idx="649">
                  <c:v>97.324389999999994</c:v>
                </c:pt>
                <c:pt idx="650">
                  <c:v>96.95881</c:v>
                </c:pt>
                <c:pt idx="651">
                  <c:v>97.455629999999999</c:v>
                </c:pt>
                <c:pt idx="652">
                  <c:v>97.680620000000005</c:v>
                </c:pt>
                <c:pt idx="653">
                  <c:v>96.405709999999999</c:v>
                </c:pt>
                <c:pt idx="654">
                  <c:v>96.940060000000003</c:v>
                </c:pt>
                <c:pt idx="655">
                  <c:v>96.077619999999996</c:v>
                </c:pt>
                <c:pt idx="656">
                  <c:v>95.215164000000001</c:v>
                </c:pt>
                <c:pt idx="657">
                  <c:v>94.324610000000007</c:v>
                </c:pt>
                <c:pt idx="658">
                  <c:v>94.024640000000005</c:v>
                </c:pt>
                <c:pt idx="659">
                  <c:v>92.327866</c:v>
                </c:pt>
                <c:pt idx="660">
                  <c:v>93.199690000000004</c:v>
                </c:pt>
                <c:pt idx="661">
                  <c:v>95.805756000000002</c:v>
                </c:pt>
                <c:pt idx="662">
                  <c:v>96.246346000000003</c:v>
                </c:pt>
                <c:pt idx="663">
                  <c:v>96.555710000000005</c:v>
                </c:pt>
                <c:pt idx="664">
                  <c:v>97.352519999999998</c:v>
                </c:pt>
                <c:pt idx="665">
                  <c:v>97.277529999999999</c:v>
                </c:pt>
                <c:pt idx="666">
                  <c:v>96.921295000000001</c:v>
                </c:pt>
                <c:pt idx="667">
                  <c:v>98.064964000000003</c:v>
                </c:pt>
                <c:pt idx="668">
                  <c:v>98.955529999999996</c:v>
                </c:pt>
                <c:pt idx="669">
                  <c:v>99.696110000000004</c:v>
                </c:pt>
                <c:pt idx="670">
                  <c:v>99.921090000000007</c:v>
                </c:pt>
                <c:pt idx="671">
                  <c:v>99.114890000000003</c:v>
                </c:pt>
                <c:pt idx="672">
                  <c:v>101.13975000000001</c:v>
                </c:pt>
                <c:pt idx="673">
                  <c:v>101.46785</c:v>
                </c:pt>
                <c:pt idx="674">
                  <c:v>102.62090000000001</c:v>
                </c:pt>
                <c:pt idx="675">
                  <c:v>102.96775</c:v>
                </c:pt>
                <c:pt idx="676">
                  <c:v>103.2021</c:v>
                </c:pt>
                <c:pt idx="677">
                  <c:v>106.16437999999999</c:v>
                </c:pt>
                <c:pt idx="678">
                  <c:v>106.01442</c:v>
                </c:pt>
                <c:pt idx="679">
                  <c:v>106.41750999999999</c:v>
                </c:pt>
                <c:pt idx="680">
                  <c:v>106.65185</c:v>
                </c:pt>
                <c:pt idx="681">
                  <c:v>107.1862</c:v>
                </c:pt>
                <c:pt idx="682">
                  <c:v>107.84241</c:v>
                </c:pt>
                <c:pt idx="683">
                  <c:v>106.62375</c:v>
                </c:pt>
                <c:pt idx="684">
                  <c:v>107.84241</c:v>
                </c:pt>
                <c:pt idx="685">
                  <c:v>108.31112</c:v>
                </c:pt>
                <c:pt idx="686">
                  <c:v>106.16437999999999</c:v>
                </c:pt>
                <c:pt idx="687">
                  <c:v>105.930046</c:v>
                </c:pt>
                <c:pt idx="688">
                  <c:v>108.43298</c:v>
                </c:pt>
                <c:pt idx="689">
                  <c:v>109.13606</c:v>
                </c:pt>
                <c:pt idx="690">
                  <c:v>110.0735</c:v>
                </c:pt>
                <c:pt idx="691">
                  <c:v>109.22981</c:v>
                </c:pt>
                <c:pt idx="692">
                  <c:v>108.9392</c:v>
                </c:pt>
                <c:pt idx="693">
                  <c:v>107.654915</c:v>
                </c:pt>
                <c:pt idx="694">
                  <c:v>108.66734</c:v>
                </c:pt>
                <c:pt idx="695">
                  <c:v>108.86421</c:v>
                </c:pt>
                <c:pt idx="696">
                  <c:v>110.74844</c:v>
                </c:pt>
                <c:pt idx="697">
                  <c:v>111.28279000000001</c:v>
                </c:pt>
                <c:pt idx="698">
                  <c:v>112.5577</c:v>
                </c:pt>
                <c:pt idx="699">
                  <c:v>111.948364</c:v>
                </c:pt>
                <c:pt idx="700">
                  <c:v>110.570335</c:v>
                </c:pt>
                <c:pt idx="701">
                  <c:v>111.2453</c:v>
                </c:pt>
                <c:pt idx="702">
                  <c:v>107.926765</c:v>
                </c:pt>
                <c:pt idx="703">
                  <c:v>106.37065</c:v>
                </c:pt>
                <c:pt idx="704">
                  <c:v>108.1705</c:v>
                </c:pt>
                <c:pt idx="705">
                  <c:v>106.86748</c:v>
                </c:pt>
                <c:pt idx="706">
                  <c:v>104.88949</c:v>
                </c:pt>
                <c:pt idx="707">
                  <c:v>107.09245</c:v>
                </c:pt>
                <c:pt idx="708">
                  <c:v>106.7081</c:v>
                </c:pt>
                <c:pt idx="709">
                  <c:v>105.442566</c:v>
                </c:pt>
                <c:pt idx="710">
                  <c:v>104.49576999999999</c:v>
                </c:pt>
                <c:pt idx="711">
                  <c:v>104.49576999999999</c:v>
                </c:pt>
                <c:pt idx="712">
                  <c:v>101.92961</c:v>
                </c:pt>
                <c:pt idx="713">
                  <c:v>103.16551</c:v>
                </c:pt>
                <c:pt idx="714">
                  <c:v>105.81658</c:v>
                </c:pt>
                <c:pt idx="715">
                  <c:v>107.3544</c:v>
                </c:pt>
                <c:pt idx="716">
                  <c:v>105.67507000000001</c:v>
                </c:pt>
                <c:pt idx="717">
                  <c:v>101.62770999999999</c:v>
                </c:pt>
                <c:pt idx="718">
                  <c:v>100.56159</c:v>
                </c:pt>
                <c:pt idx="719">
                  <c:v>100.703125</c:v>
                </c:pt>
                <c:pt idx="720">
                  <c:v>99.589860000000002</c:v>
                </c:pt>
                <c:pt idx="721">
                  <c:v>99.872894000000002</c:v>
                </c:pt>
                <c:pt idx="722">
                  <c:v>101.184265</c:v>
                </c:pt>
                <c:pt idx="723">
                  <c:v>101.02388999999999</c:v>
                </c:pt>
                <c:pt idx="724">
                  <c:v>100.32574</c:v>
                </c:pt>
                <c:pt idx="725">
                  <c:v>99.137010000000004</c:v>
                </c:pt>
                <c:pt idx="726">
                  <c:v>97.155784999999995</c:v>
                </c:pt>
                <c:pt idx="727">
                  <c:v>95.193420000000003</c:v>
                </c:pt>
                <c:pt idx="728">
                  <c:v>94.683949999999996</c:v>
                </c:pt>
                <c:pt idx="729">
                  <c:v>93.872603999999995</c:v>
                </c:pt>
                <c:pt idx="730">
                  <c:v>93.636734000000004</c:v>
                </c:pt>
                <c:pt idx="731">
                  <c:v>94.268839999999997</c:v>
                </c:pt>
                <c:pt idx="732">
                  <c:v>95.721739999999997</c:v>
                </c:pt>
                <c:pt idx="733">
                  <c:v>92.910285999999999</c:v>
                </c:pt>
                <c:pt idx="734">
                  <c:v>93.504654000000002</c:v>
                </c:pt>
                <c:pt idx="735">
                  <c:v>88.589325000000002</c:v>
                </c:pt>
                <c:pt idx="736">
                  <c:v>88.655365000000003</c:v>
                </c:pt>
                <c:pt idx="737">
                  <c:v>87.306219999999996</c:v>
                </c:pt>
                <c:pt idx="738">
                  <c:v>88.702515000000005</c:v>
                </c:pt>
                <c:pt idx="739">
                  <c:v>91.419629999999998</c:v>
                </c:pt>
                <c:pt idx="740">
                  <c:v>89.900700000000001</c:v>
                </c:pt>
                <c:pt idx="741">
                  <c:v>90.825270000000003</c:v>
                </c:pt>
                <c:pt idx="742">
                  <c:v>88.985564999999994</c:v>
                </c:pt>
                <c:pt idx="743">
                  <c:v>88.240234000000001</c:v>
                </c:pt>
                <c:pt idx="744">
                  <c:v>90.400729999999996</c:v>
                </c:pt>
                <c:pt idx="745">
                  <c:v>89.768615999999994</c:v>
                </c:pt>
                <c:pt idx="746">
                  <c:v>87.853430000000003</c:v>
                </c:pt>
                <c:pt idx="747">
                  <c:v>89.759180000000001</c:v>
                </c:pt>
                <c:pt idx="748">
                  <c:v>90.032775999999998</c:v>
                </c:pt>
                <c:pt idx="749">
                  <c:v>88.589325000000002</c:v>
                </c:pt>
                <c:pt idx="750">
                  <c:v>86.909989999999993</c:v>
                </c:pt>
                <c:pt idx="751">
                  <c:v>87.098680000000002</c:v>
                </c:pt>
                <c:pt idx="752">
                  <c:v>83.824929999999995</c:v>
                </c:pt>
                <c:pt idx="753">
                  <c:v>85.202340000000007</c:v>
                </c:pt>
                <c:pt idx="754">
                  <c:v>85.994839999999996</c:v>
                </c:pt>
                <c:pt idx="755">
                  <c:v>87.65531</c:v>
                </c:pt>
                <c:pt idx="756">
                  <c:v>90.098820000000003</c:v>
                </c:pt>
                <c:pt idx="757">
                  <c:v>89.787475999999998</c:v>
                </c:pt>
                <c:pt idx="758">
                  <c:v>89.636536000000007</c:v>
                </c:pt>
                <c:pt idx="759">
                  <c:v>90.919619999999995</c:v>
                </c:pt>
                <c:pt idx="760">
                  <c:v>89.985600000000005</c:v>
                </c:pt>
                <c:pt idx="761">
                  <c:v>90.032775999999998</c:v>
                </c:pt>
                <c:pt idx="762">
                  <c:v>90.240340000000003</c:v>
                </c:pt>
                <c:pt idx="763">
                  <c:v>89.919569999999993</c:v>
                </c:pt>
                <c:pt idx="764">
                  <c:v>90.117689999999996</c:v>
                </c:pt>
                <c:pt idx="765">
                  <c:v>92.127229999999997</c:v>
                </c:pt>
                <c:pt idx="766">
                  <c:v>91.513999999999996</c:v>
                </c:pt>
                <c:pt idx="767">
                  <c:v>93.231059999999999</c:v>
                </c:pt>
                <c:pt idx="768">
                  <c:v>92.910285999999999</c:v>
                </c:pt>
                <c:pt idx="769">
                  <c:v>93.768820000000005</c:v>
                </c:pt>
                <c:pt idx="770">
                  <c:v>92.287610000000001</c:v>
                </c:pt>
                <c:pt idx="771">
                  <c:v>92.136660000000006</c:v>
                </c:pt>
                <c:pt idx="772">
                  <c:v>91.551720000000003</c:v>
                </c:pt>
                <c:pt idx="773">
                  <c:v>92.400840000000002</c:v>
                </c:pt>
                <c:pt idx="774">
                  <c:v>93.221620000000001</c:v>
                </c:pt>
                <c:pt idx="775">
                  <c:v>92.683846000000003</c:v>
                </c:pt>
                <c:pt idx="776">
                  <c:v>92.872550000000004</c:v>
                </c:pt>
                <c:pt idx="777">
                  <c:v>93.966933999999995</c:v>
                </c:pt>
                <c:pt idx="778">
                  <c:v>93.589554000000007</c:v>
                </c:pt>
                <c:pt idx="779">
                  <c:v>92.891409999999993</c:v>
                </c:pt>
                <c:pt idx="780">
                  <c:v>92.061189999999996</c:v>
                </c:pt>
                <c:pt idx="781">
                  <c:v>91.353610000000003</c:v>
                </c:pt>
                <c:pt idx="782">
                  <c:v>91.721549999999993</c:v>
                </c:pt>
                <c:pt idx="783">
                  <c:v>92.542330000000007</c:v>
                </c:pt>
                <c:pt idx="784">
                  <c:v>92.608379999999997</c:v>
                </c:pt>
                <c:pt idx="785">
                  <c:v>93.315969999999993</c:v>
                </c:pt>
                <c:pt idx="786">
                  <c:v>93.693343999999996</c:v>
                </c:pt>
                <c:pt idx="787">
                  <c:v>93.466920000000002</c:v>
                </c:pt>
                <c:pt idx="788">
                  <c:v>93.098969999999994</c:v>
                </c:pt>
                <c:pt idx="789">
                  <c:v>91.513999999999996</c:v>
                </c:pt>
                <c:pt idx="790">
                  <c:v>91.966840000000005</c:v>
                </c:pt>
                <c:pt idx="791">
                  <c:v>90.721503999999996</c:v>
                </c:pt>
                <c:pt idx="792">
                  <c:v>90.966790000000003</c:v>
                </c:pt>
                <c:pt idx="793">
                  <c:v>90.825270000000003</c:v>
                </c:pt>
                <c:pt idx="794">
                  <c:v>91.844210000000004</c:v>
                </c:pt>
                <c:pt idx="795">
                  <c:v>93.853740000000002</c:v>
                </c:pt>
                <c:pt idx="796">
                  <c:v>93.051789999999997</c:v>
                </c:pt>
                <c:pt idx="797">
                  <c:v>93.014049999999997</c:v>
                </c:pt>
                <c:pt idx="798">
                  <c:v>95.740610000000004</c:v>
                </c:pt>
                <c:pt idx="799">
                  <c:v>96.834999999999994</c:v>
                </c:pt>
                <c:pt idx="800">
                  <c:v>97.429374999999993</c:v>
                </c:pt>
                <c:pt idx="801">
                  <c:v>97.089730000000003</c:v>
                </c:pt>
                <c:pt idx="802">
                  <c:v>97.9011</c:v>
                </c:pt>
                <c:pt idx="803">
                  <c:v>98.655850000000001</c:v>
                </c:pt>
                <c:pt idx="804">
                  <c:v>98.957759999999993</c:v>
                </c:pt>
                <c:pt idx="805">
                  <c:v>99.325689999999994</c:v>
                </c:pt>
                <c:pt idx="806">
                  <c:v>98.146389999999997</c:v>
                </c:pt>
                <c:pt idx="807">
                  <c:v>97.419939999999997</c:v>
                </c:pt>
                <c:pt idx="808">
                  <c:v>98.457740000000001</c:v>
                </c:pt>
                <c:pt idx="809">
                  <c:v>97.910529999999994</c:v>
                </c:pt>
                <c:pt idx="810">
                  <c:v>97.806749999999994</c:v>
                </c:pt>
                <c:pt idx="811">
                  <c:v>98.995490000000004</c:v>
                </c:pt>
                <c:pt idx="812">
                  <c:v>99.570989999999995</c:v>
                </c:pt>
                <c:pt idx="813">
                  <c:v>99.382300000000001</c:v>
                </c:pt>
                <c:pt idx="814">
                  <c:v>100.571045</c:v>
                </c:pt>
                <c:pt idx="815">
                  <c:v>96.504810000000006</c:v>
                </c:pt>
                <c:pt idx="816">
                  <c:v>95.957595999999995</c:v>
                </c:pt>
                <c:pt idx="817">
                  <c:v>94.834900000000005</c:v>
                </c:pt>
                <c:pt idx="818">
                  <c:v>94.683949999999996</c:v>
                </c:pt>
                <c:pt idx="819">
                  <c:v>94.287719999999993</c:v>
                </c:pt>
                <c:pt idx="820">
                  <c:v>93.400869999999998</c:v>
                </c:pt>
                <c:pt idx="821">
                  <c:v>92.844250000000002</c:v>
                </c:pt>
                <c:pt idx="822">
                  <c:v>94.136759999999995</c:v>
                </c:pt>
                <c:pt idx="823">
                  <c:v>93.570689999999999</c:v>
                </c:pt>
                <c:pt idx="824">
                  <c:v>93.882040000000003</c:v>
                </c:pt>
                <c:pt idx="825">
                  <c:v>94.212239999999994</c:v>
                </c:pt>
                <c:pt idx="826">
                  <c:v>94.165053999999998</c:v>
                </c:pt>
                <c:pt idx="827">
                  <c:v>94.617909999999995</c:v>
                </c:pt>
                <c:pt idx="828">
                  <c:v>93.608440000000002</c:v>
                </c:pt>
                <c:pt idx="829">
                  <c:v>92.94802</c:v>
                </c:pt>
                <c:pt idx="830">
                  <c:v>93.136709999999994</c:v>
                </c:pt>
                <c:pt idx="831">
                  <c:v>93.165015999999994</c:v>
                </c:pt>
                <c:pt idx="832">
                  <c:v>93.19332</c:v>
                </c:pt>
                <c:pt idx="833">
                  <c:v>92.787639999999996</c:v>
                </c:pt>
                <c:pt idx="834">
                  <c:v>92.495159999999998</c:v>
                </c:pt>
                <c:pt idx="835">
                  <c:v>92.306470000000004</c:v>
                </c:pt>
                <c:pt idx="836">
                  <c:v>91.834770000000006</c:v>
                </c:pt>
                <c:pt idx="837">
                  <c:v>92.051739999999995</c:v>
                </c:pt>
                <c:pt idx="838">
                  <c:v>92.834810000000004</c:v>
                </c:pt>
                <c:pt idx="839">
                  <c:v>92.712159999999997</c:v>
                </c:pt>
                <c:pt idx="840">
                  <c:v>92.815939999999998</c:v>
                </c:pt>
                <c:pt idx="841">
                  <c:v>93.400869999999998</c:v>
                </c:pt>
                <c:pt idx="842">
                  <c:v>93.938630000000003</c:v>
                </c:pt>
                <c:pt idx="843">
                  <c:v>93.231059999999999</c:v>
                </c:pt>
                <c:pt idx="844">
                  <c:v>93.202759999999998</c:v>
                </c:pt>
                <c:pt idx="845">
                  <c:v>93.419740000000004</c:v>
                </c:pt>
                <c:pt idx="846">
                  <c:v>90.306370000000001</c:v>
                </c:pt>
                <c:pt idx="847">
                  <c:v>89.042169999999999</c:v>
                </c:pt>
                <c:pt idx="848">
                  <c:v>90.617710000000002</c:v>
                </c:pt>
                <c:pt idx="849">
                  <c:v>91.495130000000003</c:v>
                </c:pt>
                <c:pt idx="850">
                  <c:v>92.287610000000001</c:v>
                </c:pt>
                <c:pt idx="851">
                  <c:v>92.485725000000002</c:v>
                </c:pt>
                <c:pt idx="852">
                  <c:v>92.136660000000006</c:v>
                </c:pt>
                <c:pt idx="853">
                  <c:v>92.881966000000006</c:v>
                </c:pt>
                <c:pt idx="854">
                  <c:v>93.518690000000007</c:v>
                </c:pt>
                <c:pt idx="855">
                  <c:v>94.668539999999993</c:v>
                </c:pt>
                <c:pt idx="856">
                  <c:v>95.010649999999998</c:v>
                </c:pt>
                <c:pt idx="857">
                  <c:v>95.219700000000003</c:v>
                </c:pt>
                <c:pt idx="858">
                  <c:v>94.915599999999998</c:v>
                </c:pt>
                <c:pt idx="859">
                  <c:v>95.001140000000007</c:v>
                </c:pt>
                <c:pt idx="860">
                  <c:v>94.839590000000001</c:v>
                </c:pt>
                <c:pt idx="861">
                  <c:v>95.172200000000004</c:v>
                </c:pt>
                <c:pt idx="862">
                  <c:v>94.525999999999996</c:v>
                </c:pt>
                <c:pt idx="863">
                  <c:v>93.338120000000004</c:v>
                </c:pt>
                <c:pt idx="864">
                  <c:v>93.138565</c:v>
                </c:pt>
                <c:pt idx="865">
                  <c:v>92.853470000000002</c:v>
                </c:pt>
                <c:pt idx="866">
                  <c:v>92.549369999999996</c:v>
                </c:pt>
                <c:pt idx="867">
                  <c:v>91.884159999999994</c:v>
                </c:pt>
                <c:pt idx="868">
                  <c:v>91.542075999999994</c:v>
                </c:pt>
                <c:pt idx="869">
                  <c:v>91.142944</c:v>
                </c:pt>
                <c:pt idx="870">
                  <c:v>91.180949999999996</c:v>
                </c:pt>
                <c:pt idx="871">
                  <c:v>90.791340000000005</c:v>
                </c:pt>
                <c:pt idx="872">
                  <c:v>90.287673999999996</c:v>
                </c:pt>
                <c:pt idx="873">
                  <c:v>91.313990000000004</c:v>
                </c:pt>
                <c:pt idx="874">
                  <c:v>90.430220000000006</c:v>
                </c:pt>
                <c:pt idx="875">
                  <c:v>91.066919999999996</c:v>
                </c:pt>
                <c:pt idx="876">
                  <c:v>90.990889999999993</c:v>
                </c:pt>
                <c:pt idx="877">
                  <c:v>91.865160000000003</c:v>
                </c:pt>
                <c:pt idx="878">
                  <c:v>92.996009999999998</c:v>
                </c:pt>
                <c:pt idx="879">
                  <c:v>92.910483999999997</c:v>
                </c:pt>
                <c:pt idx="880">
                  <c:v>92.026709999999994</c:v>
                </c:pt>
                <c:pt idx="881">
                  <c:v>92.273796000000004</c:v>
                </c:pt>
                <c:pt idx="882">
                  <c:v>92.064729999999997</c:v>
                </c:pt>
                <c:pt idx="883">
                  <c:v>92.055239999999998</c:v>
                </c:pt>
                <c:pt idx="884">
                  <c:v>91.846170000000001</c:v>
                </c:pt>
                <c:pt idx="885">
                  <c:v>91.599080000000001</c:v>
                </c:pt>
                <c:pt idx="886">
                  <c:v>91.104929999999996</c:v>
                </c:pt>
                <c:pt idx="887">
                  <c:v>91.199960000000004</c:v>
                </c:pt>
                <c:pt idx="888">
                  <c:v>91.057410000000004</c:v>
                </c:pt>
                <c:pt idx="889">
                  <c:v>90.800835000000006</c:v>
                </c:pt>
                <c:pt idx="890">
                  <c:v>90.477739999999997</c:v>
                </c:pt>
                <c:pt idx="891">
                  <c:v>90.154624999999996</c:v>
                </c:pt>
                <c:pt idx="892">
                  <c:v>90.145120000000006</c:v>
                </c:pt>
                <c:pt idx="893">
                  <c:v>89.765015000000005</c:v>
                </c:pt>
                <c:pt idx="894">
                  <c:v>89.574939999999998</c:v>
                </c:pt>
                <c:pt idx="895">
                  <c:v>89.726990000000001</c:v>
                </c:pt>
                <c:pt idx="896">
                  <c:v>89.137820000000005</c:v>
                </c:pt>
                <c:pt idx="897">
                  <c:v>89.052289999999999</c:v>
                </c:pt>
                <c:pt idx="898">
                  <c:v>89.413380000000004</c:v>
                </c:pt>
                <c:pt idx="899">
                  <c:v>87.826409999999996</c:v>
                </c:pt>
                <c:pt idx="900">
                  <c:v>88.985780000000005</c:v>
                </c:pt>
                <c:pt idx="901">
                  <c:v>88.092470000000006</c:v>
                </c:pt>
                <c:pt idx="902">
                  <c:v>87.674340000000001</c:v>
                </c:pt>
                <c:pt idx="903">
                  <c:v>87.902420000000006</c:v>
                </c:pt>
                <c:pt idx="904">
                  <c:v>87.959460000000007</c:v>
                </c:pt>
                <c:pt idx="905">
                  <c:v>88.025970000000001</c:v>
                </c:pt>
                <c:pt idx="906">
                  <c:v>88.330060000000003</c:v>
                </c:pt>
                <c:pt idx="907">
                  <c:v>87.797899999999998</c:v>
                </c:pt>
                <c:pt idx="908">
                  <c:v>88.767204000000007</c:v>
                </c:pt>
                <c:pt idx="909">
                  <c:v>88.634150000000005</c:v>
                </c:pt>
                <c:pt idx="910">
                  <c:v>87.389274999999998</c:v>
                </c:pt>
                <c:pt idx="911">
                  <c:v>87.161193999999995</c:v>
                </c:pt>
                <c:pt idx="912">
                  <c:v>87.617329999999995</c:v>
                </c:pt>
                <c:pt idx="913">
                  <c:v>87.237229999999997</c:v>
                </c:pt>
                <c:pt idx="914">
                  <c:v>88.244529999999997</c:v>
                </c:pt>
                <c:pt idx="915">
                  <c:v>87.892920000000004</c:v>
                </c:pt>
                <c:pt idx="916">
                  <c:v>87.987949999999998</c:v>
                </c:pt>
                <c:pt idx="917">
                  <c:v>87.854904000000005</c:v>
                </c:pt>
                <c:pt idx="918">
                  <c:v>88.216030000000003</c:v>
                </c:pt>
                <c:pt idx="919">
                  <c:v>87.892920000000004</c:v>
                </c:pt>
                <c:pt idx="920">
                  <c:v>87.892920000000004</c:v>
                </c:pt>
                <c:pt idx="921">
                  <c:v>87.294240000000002</c:v>
                </c:pt>
                <c:pt idx="922">
                  <c:v>86.866614999999996</c:v>
                </c:pt>
                <c:pt idx="923">
                  <c:v>86.591030000000003</c:v>
                </c:pt>
                <c:pt idx="924">
                  <c:v>86.762069999999994</c:v>
                </c:pt>
                <c:pt idx="925">
                  <c:v>86.315430000000006</c:v>
                </c:pt>
                <c:pt idx="926">
                  <c:v>86.63852</c:v>
                </c:pt>
                <c:pt idx="927">
                  <c:v>87.360759999999999</c:v>
                </c:pt>
                <c:pt idx="928">
                  <c:v>87.455794999999995</c:v>
                </c:pt>
                <c:pt idx="929">
                  <c:v>88.406080000000003</c:v>
                </c:pt>
                <c:pt idx="930">
                  <c:v>88.729190000000003</c:v>
                </c:pt>
                <c:pt idx="931">
                  <c:v>88.14</c:v>
                </c:pt>
                <c:pt idx="932">
                  <c:v>88.843220000000002</c:v>
                </c:pt>
                <c:pt idx="933">
                  <c:v>89.346879999999999</c:v>
                </c:pt>
                <c:pt idx="934">
                  <c:v>89.185320000000004</c:v>
                </c:pt>
                <c:pt idx="935">
                  <c:v>88.082980000000006</c:v>
                </c:pt>
                <c:pt idx="936">
                  <c:v>87.797899999999998</c:v>
                </c:pt>
                <c:pt idx="937">
                  <c:v>87.341759999999994</c:v>
                </c:pt>
                <c:pt idx="938">
                  <c:v>88.729190000000003</c:v>
                </c:pt>
                <c:pt idx="939">
                  <c:v>87.854904000000005</c:v>
                </c:pt>
                <c:pt idx="940">
                  <c:v>89.736500000000007</c:v>
                </c:pt>
                <c:pt idx="941">
                  <c:v>89.688980000000001</c:v>
                </c:pt>
                <c:pt idx="942">
                  <c:v>89.936059999999998</c:v>
                </c:pt>
                <c:pt idx="943">
                  <c:v>90.240166000000002</c:v>
                </c:pt>
                <c:pt idx="944">
                  <c:v>92.824960000000004</c:v>
                </c:pt>
                <c:pt idx="945">
                  <c:v>93.053030000000007</c:v>
                </c:pt>
                <c:pt idx="946">
                  <c:v>92.843959999999996</c:v>
                </c:pt>
                <c:pt idx="947">
                  <c:v>94.193404999999998</c:v>
                </c:pt>
                <c:pt idx="948">
                  <c:v>94.430970000000002</c:v>
                </c:pt>
                <c:pt idx="949">
                  <c:v>93.357123999999999</c:v>
                </c:pt>
                <c:pt idx="950">
                  <c:v>92.777460000000005</c:v>
                </c:pt>
                <c:pt idx="951">
                  <c:v>92.853470000000002</c:v>
                </c:pt>
                <c:pt idx="952">
                  <c:v>93.376143999999996</c:v>
                </c:pt>
                <c:pt idx="953">
                  <c:v>93.90831</c:v>
                </c:pt>
                <c:pt idx="954">
                  <c:v>94.050849999999997</c:v>
                </c:pt>
                <c:pt idx="955">
                  <c:v>94.716059999999999</c:v>
                </c:pt>
                <c:pt idx="956">
                  <c:v>94.193404999999998</c:v>
                </c:pt>
                <c:pt idx="957">
                  <c:v>94.022350000000003</c:v>
                </c:pt>
                <c:pt idx="958">
                  <c:v>93.604219999999998</c:v>
                </c:pt>
                <c:pt idx="959">
                  <c:v>94.991640000000004</c:v>
                </c:pt>
                <c:pt idx="960">
                  <c:v>95.656845000000004</c:v>
                </c:pt>
                <c:pt idx="961">
                  <c:v>96.920745999999994</c:v>
                </c:pt>
                <c:pt idx="962">
                  <c:v>98.998769999999993</c:v>
                </c:pt>
                <c:pt idx="963">
                  <c:v>100.41605</c:v>
                </c:pt>
                <c:pt idx="964">
                  <c:v>99.649959999999993</c:v>
                </c:pt>
                <c:pt idx="965">
                  <c:v>99.448859999999996</c:v>
                </c:pt>
                <c:pt idx="966">
                  <c:v>99.640389999999996</c:v>
                </c:pt>
                <c:pt idx="967">
                  <c:v>99.965964999999997</c:v>
                </c:pt>
                <c:pt idx="968">
                  <c:v>99.506330000000005</c:v>
                </c:pt>
                <c:pt idx="969">
                  <c:v>100.8374</c:v>
                </c:pt>
                <c:pt idx="970">
                  <c:v>100.99062000000001</c:v>
                </c:pt>
                <c:pt idx="971">
                  <c:v>101.08638000000001</c:v>
                </c:pt>
                <c:pt idx="972">
                  <c:v>100.952324</c:v>
                </c:pt>
                <c:pt idx="973">
                  <c:v>100.69376</c:v>
                </c:pt>
                <c:pt idx="974">
                  <c:v>100.71290999999999</c:v>
                </c:pt>
                <c:pt idx="975">
                  <c:v>99.87979</c:v>
                </c:pt>
                <c:pt idx="976">
                  <c:v>100.12876</c:v>
                </c:pt>
                <c:pt idx="977">
                  <c:v>99.803190000000001</c:v>
                </c:pt>
                <c:pt idx="978">
                  <c:v>101.58436</c:v>
                </c:pt>
                <c:pt idx="979">
                  <c:v>102.88672</c:v>
                </c:pt>
                <c:pt idx="980">
                  <c:v>102.82925400000001</c:v>
                </c:pt>
                <c:pt idx="981">
                  <c:v>104.36145</c:v>
                </c:pt>
                <c:pt idx="982">
                  <c:v>103.76773</c:v>
                </c:pt>
                <c:pt idx="983">
                  <c:v>103.78688</c:v>
                </c:pt>
                <c:pt idx="984">
                  <c:v>104.80195999999999</c:v>
                </c:pt>
                <c:pt idx="985">
                  <c:v>102.97289000000001</c:v>
                </c:pt>
                <c:pt idx="986">
                  <c:v>103.48044</c:v>
                </c:pt>
                <c:pt idx="987">
                  <c:v>103.39426</c:v>
                </c:pt>
                <c:pt idx="988">
                  <c:v>103.57621</c:v>
                </c:pt>
                <c:pt idx="989">
                  <c:v>102.73350000000001</c:v>
                </c:pt>
                <c:pt idx="990">
                  <c:v>103.09739999999999</c:v>
                </c:pt>
                <c:pt idx="991">
                  <c:v>102.58027</c:v>
                </c:pt>
                <c:pt idx="992">
                  <c:v>103.327225</c:v>
                </c:pt>
                <c:pt idx="993">
                  <c:v>103.461296</c:v>
                </c:pt>
                <c:pt idx="994">
                  <c:v>103.48044</c:v>
                </c:pt>
                <c:pt idx="995">
                  <c:v>104.667885</c:v>
                </c:pt>
                <c:pt idx="996">
                  <c:v>106.23839</c:v>
                </c:pt>
                <c:pt idx="997">
                  <c:v>105.96068</c:v>
                </c:pt>
                <c:pt idx="998">
                  <c:v>106.58314</c:v>
                </c:pt>
                <c:pt idx="999">
                  <c:v>105.922386</c:v>
                </c:pt>
                <c:pt idx="1000">
                  <c:v>105.62551999999999</c:v>
                </c:pt>
                <c:pt idx="1001">
                  <c:v>104.926445</c:v>
                </c:pt>
                <c:pt idx="1002">
                  <c:v>104.3806</c:v>
                </c:pt>
                <c:pt idx="1003">
                  <c:v>104.3806</c:v>
                </c:pt>
                <c:pt idx="1004">
                  <c:v>104.84984</c:v>
                </c:pt>
                <c:pt idx="1005">
                  <c:v>104.62958999999999</c:v>
                </c:pt>
                <c:pt idx="1006">
                  <c:v>105.00306999999999</c:v>
                </c:pt>
                <c:pt idx="1007">
                  <c:v>105.65424</c:v>
                </c:pt>
                <c:pt idx="1008">
                  <c:v>105.510605</c:v>
                </c:pt>
                <c:pt idx="1009">
                  <c:v>106.01814</c:v>
                </c:pt>
                <c:pt idx="1010">
                  <c:v>105.39567599999999</c:v>
                </c:pt>
                <c:pt idx="1011">
                  <c:v>105.34781</c:v>
                </c:pt>
                <c:pt idx="1012">
                  <c:v>105.45314</c:v>
                </c:pt>
                <c:pt idx="1013">
                  <c:v>105.079666</c:v>
                </c:pt>
                <c:pt idx="1014">
                  <c:v>105.64467</c:v>
                </c:pt>
                <c:pt idx="1015">
                  <c:v>105.55847</c:v>
                </c:pt>
                <c:pt idx="1016">
                  <c:v>105.42440000000001</c:v>
                </c:pt>
                <c:pt idx="1017">
                  <c:v>106.33414999999999</c:v>
                </c:pt>
                <c:pt idx="1018">
                  <c:v>105.90322</c:v>
                </c:pt>
                <c:pt idx="1019">
                  <c:v>106.525665</c:v>
                </c:pt>
                <c:pt idx="1020">
                  <c:v>105.97983600000001</c:v>
                </c:pt>
                <c:pt idx="1021">
                  <c:v>106.16177</c:v>
                </c:pt>
                <c:pt idx="1022">
                  <c:v>106.14261999999999</c:v>
                </c:pt>
                <c:pt idx="1023">
                  <c:v>106.32458</c:v>
                </c:pt>
                <c:pt idx="1024">
                  <c:v>106.21924</c:v>
                </c:pt>
                <c:pt idx="1025">
                  <c:v>106.79380999999999</c:v>
                </c:pt>
                <c:pt idx="1026">
                  <c:v>107.55032</c:v>
                </c:pt>
                <c:pt idx="1027">
                  <c:v>107.128975</c:v>
                </c:pt>
                <c:pt idx="1028">
                  <c:v>106.97575000000001</c:v>
                </c:pt>
                <c:pt idx="1029">
                  <c:v>107.023636</c:v>
                </c:pt>
                <c:pt idx="1030">
                  <c:v>107.93337</c:v>
                </c:pt>
                <c:pt idx="1031">
                  <c:v>107.01405</c:v>
                </c:pt>
                <c:pt idx="1032">
                  <c:v>107.33008</c:v>
                </c:pt>
                <c:pt idx="1033">
                  <c:v>107.4833</c:v>
                </c:pt>
                <c:pt idx="1034">
                  <c:v>107.387535</c:v>
                </c:pt>
                <c:pt idx="1035">
                  <c:v>107.61735</c:v>
                </c:pt>
                <c:pt idx="1036">
                  <c:v>108.25897000000001</c:v>
                </c:pt>
                <c:pt idx="1037">
                  <c:v>107.76101</c:v>
                </c:pt>
                <c:pt idx="1038">
                  <c:v>108.38344600000001</c:v>
                </c:pt>
                <c:pt idx="1039">
                  <c:v>108.584564</c:v>
                </c:pt>
                <c:pt idx="1040">
                  <c:v>108.40260000000001</c:v>
                </c:pt>
                <c:pt idx="1041">
                  <c:v>108.24939000000001</c:v>
                </c:pt>
                <c:pt idx="1042">
                  <c:v>108.21109</c:v>
                </c:pt>
                <c:pt idx="1043">
                  <c:v>108.25897000000001</c:v>
                </c:pt>
                <c:pt idx="1044">
                  <c:v>107.80888</c:v>
                </c:pt>
                <c:pt idx="1045">
                  <c:v>107.665245</c:v>
                </c:pt>
                <c:pt idx="1046">
                  <c:v>108.27812</c:v>
                </c:pt>
                <c:pt idx="1047">
                  <c:v>108.24939000000001</c:v>
                </c:pt>
                <c:pt idx="1048">
                  <c:v>108.40260000000001</c:v>
                </c:pt>
                <c:pt idx="1049">
                  <c:v>108.95802999999999</c:v>
                </c:pt>
                <c:pt idx="1050">
                  <c:v>109.35066</c:v>
                </c:pt>
                <c:pt idx="1051">
                  <c:v>108.91015</c:v>
                </c:pt>
                <c:pt idx="1052">
                  <c:v>109.925224</c:v>
                </c:pt>
                <c:pt idx="1053">
                  <c:v>109.59005999999999</c:v>
                </c:pt>
                <c:pt idx="1054">
                  <c:v>108.881424</c:v>
                </c:pt>
                <c:pt idx="1055">
                  <c:v>110.298706</c:v>
                </c:pt>
                <c:pt idx="1056">
                  <c:v>110.68174</c:v>
                </c:pt>
                <c:pt idx="1057">
                  <c:v>110.930725</c:v>
                </c:pt>
                <c:pt idx="1058">
                  <c:v>110.7009</c:v>
                </c:pt>
                <c:pt idx="1059">
                  <c:v>109.86777499999999</c:v>
                </c:pt>
                <c:pt idx="1060">
                  <c:v>109.523026</c:v>
                </c:pt>
                <c:pt idx="1061">
                  <c:v>106.88958</c:v>
                </c:pt>
                <c:pt idx="1062">
                  <c:v>106.45864</c:v>
                </c:pt>
                <c:pt idx="1063">
                  <c:v>107.243866</c:v>
                </c:pt>
                <c:pt idx="1064">
                  <c:v>106.69804000000001</c:v>
                </c:pt>
                <c:pt idx="1065">
                  <c:v>107.32049600000001</c:v>
                </c:pt>
                <c:pt idx="1066">
                  <c:v>105.01264</c:v>
                </c:pt>
                <c:pt idx="1067">
                  <c:v>104.93603</c:v>
                </c:pt>
                <c:pt idx="1068">
                  <c:v>105.04137</c:v>
                </c:pt>
                <c:pt idx="1069">
                  <c:v>104.5051</c:v>
                </c:pt>
                <c:pt idx="1070">
                  <c:v>103.40383</c:v>
                </c:pt>
                <c:pt idx="1071">
                  <c:v>101.804596</c:v>
                </c:pt>
                <c:pt idx="1072">
                  <c:v>102.15893</c:v>
                </c:pt>
                <c:pt idx="1073">
                  <c:v>102.963326</c:v>
                </c:pt>
                <c:pt idx="1074">
                  <c:v>103.06867</c:v>
                </c:pt>
                <c:pt idx="1075">
                  <c:v>102.48451</c:v>
                </c:pt>
                <c:pt idx="1076">
                  <c:v>103.14527</c:v>
                </c:pt>
                <c:pt idx="1077">
                  <c:v>102.72391500000001</c:v>
                </c:pt>
                <c:pt idx="1078">
                  <c:v>103.81560500000001</c:v>
                </c:pt>
                <c:pt idx="1079">
                  <c:v>103.748566</c:v>
                </c:pt>
                <c:pt idx="1080">
                  <c:v>103.36553000000001</c:v>
                </c:pt>
                <c:pt idx="1081">
                  <c:v>103.624084</c:v>
                </c:pt>
                <c:pt idx="1082">
                  <c:v>102.63773</c:v>
                </c:pt>
                <c:pt idx="1083">
                  <c:v>102.0057</c:v>
                </c:pt>
                <c:pt idx="1084">
                  <c:v>101.02894000000001</c:v>
                </c:pt>
                <c:pt idx="1085">
                  <c:v>101.43113</c:v>
                </c:pt>
                <c:pt idx="1086">
                  <c:v>99.898949999999999</c:v>
                </c:pt>
                <c:pt idx="1087">
                  <c:v>101.143845</c:v>
                </c:pt>
                <c:pt idx="1088">
                  <c:v>102.50367</c:v>
                </c:pt>
                <c:pt idx="1089">
                  <c:v>102.04402</c:v>
                </c:pt>
                <c:pt idx="1090">
                  <c:v>101.64181499999999</c:v>
                </c:pt>
                <c:pt idx="1091">
                  <c:v>101.48860000000001</c:v>
                </c:pt>
                <c:pt idx="1092">
                  <c:v>101.03852000000001</c:v>
                </c:pt>
                <c:pt idx="1093">
                  <c:v>100.90445</c:v>
                </c:pt>
                <c:pt idx="1094">
                  <c:v>99.535049999999998</c:v>
                </c:pt>
                <c:pt idx="1095">
                  <c:v>100.3586</c:v>
                </c:pt>
                <c:pt idx="1096">
                  <c:v>99.803190000000001</c:v>
                </c:pt>
                <c:pt idx="1097">
                  <c:v>99.937250000000006</c:v>
                </c:pt>
                <c:pt idx="1098">
                  <c:v>101.09598</c:v>
                </c:pt>
                <c:pt idx="1099">
                  <c:v>100.94276000000001</c:v>
                </c:pt>
                <c:pt idx="1100">
                  <c:v>102.3313</c:v>
                </c:pt>
                <c:pt idx="1101">
                  <c:v>101.230034</c:v>
                </c:pt>
                <c:pt idx="1102">
                  <c:v>101.74715399999999</c:v>
                </c:pt>
                <c:pt idx="1103">
                  <c:v>102.90587600000001</c:v>
                </c:pt>
                <c:pt idx="1104">
                  <c:v>101.15342</c:v>
                </c:pt>
                <c:pt idx="1105">
                  <c:v>99.706299999999999</c:v>
                </c:pt>
                <c:pt idx="1106">
                  <c:v>99.677359999999993</c:v>
                </c:pt>
                <c:pt idx="1107">
                  <c:v>99.937849999999997</c:v>
                </c:pt>
                <c:pt idx="1108">
                  <c:v>100.17901999999999</c:v>
                </c:pt>
                <c:pt idx="1109">
                  <c:v>100.69999</c:v>
                </c:pt>
                <c:pt idx="1110">
                  <c:v>100.613174</c:v>
                </c:pt>
                <c:pt idx="1111">
                  <c:v>101.384964</c:v>
                </c:pt>
                <c:pt idx="1112">
                  <c:v>101.095535</c:v>
                </c:pt>
                <c:pt idx="1113">
                  <c:v>102.02169000000001</c:v>
                </c:pt>
                <c:pt idx="1114">
                  <c:v>103.05396</c:v>
                </c:pt>
                <c:pt idx="1115">
                  <c:v>103.57494</c:v>
                </c:pt>
                <c:pt idx="1116">
                  <c:v>103.31444500000001</c:v>
                </c:pt>
                <c:pt idx="1117">
                  <c:v>103.22763</c:v>
                </c:pt>
                <c:pt idx="1118">
                  <c:v>102.66807</c:v>
                </c:pt>
                <c:pt idx="1119">
                  <c:v>103.16973</c:v>
                </c:pt>
                <c:pt idx="1120">
                  <c:v>106.12186</c:v>
                </c:pt>
                <c:pt idx="1121">
                  <c:v>106.08327</c:v>
                </c:pt>
                <c:pt idx="1122">
                  <c:v>106.05431</c:v>
                </c:pt>
                <c:pt idx="1123">
                  <c:v>106.71035999999999</c:v>
                </c:pt>
                <c:pt idx="1124">
                  <c:v>104.83874</c:v>
                </c:pt>
                <c:pt idx="1125">
                  <c:v>105.27288</c:v>
                </c:pt>
                <c:pt idx="1126">
                  <c:v>103.8933</c:v>
                </c:pt>
                <c:pt idx="1127">
                  <c:v>102.60053000000001</c:v>
                </c:pt>
                <c:pt idx="1128">
                  <c:v>103.20832</c:v>
                </c:pt>
                <c:pt idx="1129">
                  <c:v>99.204635999999994</c:v>
                </c:pt>
                <c:pt idx="1130">
                  <c:v>97.776809999999998</c:v>
                </c:pt>
                <c:pt idx="1131">
                  <c:v>98.394260000000003</c:v>
                </c:pt>
                <c:pt idx="1132">
                  <c:v>97.825059999999993</c:v>
                </c:pt>
                <c:pt idx="1133">
                  <c:v>97.931174999999996</c:v>
                </c:pt>
                <c:pt idx="1134">
                  <c:v>98.596850000000003</c:v>
                </c:pt>
                <c:pt idx="1135">
                  <c:v>97.805760000000006</c:v>
                </c:pt>
                <c:pt idx="1136">
                  <c:v>97.149730000000005</c:v>
                </c:pt>
                <c:pt idx="1137">
                  <c:v>97.603160000000003</c:v>
                </c:pt>
                <c:pt idx="1138">
                  <c:v>99.146749999999997</c:v>
                </c:pt>
                <c:pt idx="1139">
                  <c:v>97.921530000000004</c:v>
                </c:pt>
                <c:pt idx="1140">
                  <c:v>97.940830000000005</c:v>
                </c:pt>
                <c:pt idx="1141">
                  <c:v>98.799449999999993</c:v>
                </c:pt>
                <c:pt idx="1142">
                  <c:v>98.944149999999993</c:v>
                </c:pt>
                <c:pt idx="1143">
                  <c:v>98.953804000000005</c:v>
                </c:pt>
                <c:pt idx="1144">
                  <c:v>99.243229999999997</c:v>
                </c:pt>
                <c:pt idx="1145">
                  <c:v>97.63212</c:v>
                </c:pt>
                <c:pt idx="1146">
                  <c:v>97.921530000000004</c:v>
                </c:pt>
                <c:pt idx="1147">
                  <c:v>98.018005000000002</c:v>
                </c:pt>
                <c:pt idx="1148">
                  <c:v>97.921530000000004</c:v>
                </c:pt>
                <c:pt idx="1149">
                  <c:v>93.638069999999999</c:v>
                </c:pt>
                <c:pt idx="1150">
                  <c:v>93.647710000000004</c:v>
                </c:pt>
                <c:pt idx="1151">
                  <c:v>93.667010000000005</c:v>
                </c:pt>
                <c:pt idx="1152">
                  <c:v>94.438805000000002</c:v>
                </c:pt>
                <c:pt idx="1153">
                  <c:v>95.336010000000002</c:v>
                </c:pt>
                <c:pt idx="1154">
                  <c:v>94.448449999999994</c:v>
                </c:pt>
                <c:pt idx="1155">
                  <c:v>95.046584999999993</c:v>
                </c:pt>
                <c:pt idx="1156">
                  <c:v>94.641396</c:v>
                </c:pt>
                <c:pt idx="1157">
                  <c:v>94.959760000000003</c:v>
                </c:pt>
                <c:pt idx="1158">
                  <c:v>95.712265000000002</c:v>
                </c:pt>
                <c:pt idx="1159">
                  <c:v>95.403540000000007</c:v>
                </c:pt>
                <c:pt idx="1160">
                  <c:v>95.123769999999993</c:v>
                </c:pt>
                <c:pt idx="1161">
                  <c:v>96.059569999999994</c:v>
                </c:pt>
                <c:pt idx="1162">
                  <c:v>95.152709999999999</c:v>
                </c:pt>
                <c:pt idx="1163">
                  <c:v>95.741209999999995</c:v>
                </c:pt>
                <c:pt idx="1164">
                  <c:v>94.593159999999997</c:v>
                </c:pt>
                <c:pt idx="1165">
                  <c:v>95.094830000000002</c:v>
                </c:pt>
                <c:pt idx="1166">
                  <c:v>96.339349999999996</c:v>
                </c:pt>
                <c:pt idx="1167">
                  <c:v>97.236559999999997</c:v>
                </c:pt>
                <c:pt idx="1168">
                  <c:v>97.005030000000005</c:v>
                </c:pt>
                <c:pt idx="1169">
                  <c:v>96.580529999999996</c:v>
                </c:pt>
                <c:pt idx="1170">
                  <c:v>96.541939999999997</c:v>
                </c:pt>
                <c:pt idx="1171">
                  <c:v>96.059569999999994</c:v>
                </c:pt>
                <c:pt idx="1172">
                  <c:v>96.069230000000005</c:v>
                </c:pt>
                <c:pt idx="1173">
                  <c:v>95.075540000000004</c:v>
                </c:pt>
                <c:pt idx="1174">
                  <c:v>93.512649999999994</c:v>
                </c:pt>
                <c:pt idx="1175">
                  <c:v>93.946785000000006</c:v>
                </c:pt>
                <c:pt idx="1176">
                  <c:v>94.670333999999997</c:v>
                </c:pt>
                <c:pt idx="1177">
                  <c:v>94.892240000000001</c:v>
                </c:pt>
                <c:pt idx="1178">
                  <c:v>94.786109999999994</c:v>
                </c:pt>
                <c:pt idx="1179">
                  <c:v>95.519324999999995</c:v>
                </c:pt>
                <c:pt idx="1180">
                  <c:v>95.895579999999995</c:v>
                </c:pt>
                <c:pt idx="1181">
                  <c:v>95.220245000000006</c:v>
                </c:pt>
                <c:pt idx="1182">
                  <c:v>94.824700000000007</c:v>
                </c:pt>
                <c:pt idx="1183">
                  <c:v>94.351969999999994</c:v>
                </c:pt>
                <c:pt idx="1184">
                  <c:v>95.085179999999994</c:v>
                </c:pt>
                <c:pt idx="1185">
                  <c:v>94.843999999999994</c:v>
                </c:pt>
                <c:pt idx="1186">
                  <c:v>94.583510000000004</c:v>
                </c:pt>
                <c:pt idx="1187">
                  <c:v>94.361626000000001</c:v>
                </c:pt>
                <c:pt idx="1188">
                  <c:v>95.538605000000004</c:v>
                </c:pt>
                <c:pt idx="1189">
                  <c:v>94.882589999999993</c:v>
                </c:pt>
                <c:pt idx="1190">
                  <c:v>95.162369999999996</c:v>
                </c:pt>
                <c:pt idx="1191">
                  <c:v>97.091849999999994</c:v>
                </c:pt>
                <c:pt idx="1192">
                  <c:v>98.027659999999997</c:v>
                </c:pt>
                <c:pt idx="1193">
                  <c:v>97.612809999999996</c:v>
                </c:pt>
                <c:pt idx="1194">
                  <c:v>99.059920000000005</c:v>
                </c:pt>
                <c:pt idx="1195">
                  <c:v>101.08589000000001</c:v>
                </c:pt>
                <c:pt idx="1196">
                  <c:v>101.04730000000001</c:v>
                </c:pt>
                <c:pt idx="1197">
                  <c:v>99.532650000000004</c:v>
                </c:pt>
                <c:pt idx="1198">
                  <c:v>100.03431999999999</c:v>
                </c:pt>
                <c:pt idx="1199">
                  <c:v>99.947495000000004</c:v>
                </c:pt>
                <c:pt idx="1200">
                  <c:v>99.793130000000005</c:v>
                </c:pt>
                <c:pt idx="1201">
                  <c:v>99.127459999999999</c:v>
                </c:pt>
                <c:pt idx="1202">
                  <c:v>99.368639999999999</c:v>
                </c:pt>
                <c:pt idx="1203">
                  <c:v>99.117810000000006</c:v>
                </c:pt>
                <c:pt idx="1204">
                  <c:v>99.021330000000006</c:v>
                </c:pt>
                <c:pt idx="1205">
                  <c:v>99.166045999999994</c:v>
                </c:pt>
                <c:pt idx="1206">
                  <c:v>99.764200000000002</c:v>
                </c:pt>
                <c:pt idx="1207">
                  <c:v>101.52967</c:v>
                </c:pt>
                <c:pt idx="1208">
                  <c:v>101.12447</c:v>
                </c:pt>
                <c:pt idx="1209">
                  <c:v>101.53932</c:v>
                </c:pt>
                <c:pt idx="1210">
                  <c:v>106.33409</c:v>
                </c:pt>
                <c:pt idx="1211">
                  <c:v>103.43986</c:v>
                </c:pt>
                <c:pt idx="1212">
                  <c:v>101.74191</c:v>
                </c:pt>
                <c:pt idx="1213">
                  <c:v>101.54897</c:v>
                </c:pt>
                <c:pt idx="1214">
                  <c:v>101.3642</c:v>
                </c:pt>
                <c:pt idx="1215">
                  <c:v>103.89270999999999</c:v>
                </c:pt>
                <c:pt idx="1216">
                  <c:v>104.476204</c:v>
                </c:pt>
                <c:pt idx="1217">
                  <c:v>104.65125999999999</c:v>
                </c:pt>
                <c:pt idx="1218">
                  <c:v>107.52988000000001</c:v>
                </c:pt>
                <c:pt idx="1219">
                  <c:v>108.21062499999999</c:v>
                </c:pt>
                <c:pt idx="1220">
                  <c:v>107.97723000000001</c:v>
                </c:pt>
                <c:pt idx="1221">
                  <c:v>108.73578000000001</c:v>
                </c:pt>
                <c:pt idx="1222">
                  <c:v>106.67407</c:v>
                </c:pt>
                <c:pt idx="1223">
                  <c:v>106.557365</c:v>
                </c:pt>
                <c:pt idx="1224">
                  <c:v>105.682106</c:v>
                </c:pt>
                <c:pt idx="1225">
                  <c:v>105.14724</c:v>
                </c:pt>
                <c:pt idx="1226">
                  <c:v>104.680435</c:v>
                </c:pt>
                <c:pt idx="1227">
                  <c:v>104.80686</c:v>
                </c:pt>
                <c:pt idx="1228">
                  <c:v>104.55401000000001</c:v>
                </c:pt>
                <c:pt idx="1229">
                  <c:v>108.72607000000001</c:v>
                </c:pt>
                <c:pt idx="1230">
                  <c:v>109.19285600000001</c:v>
                </c:pt>
                <c:pt idx="1231">
                  <c:v>109.14424</c:v>
                </c:pt>
                <c:pt idx="1232">
                  <c:v>108.551</c:v>
                </c:pt>
                <c:pt idx="1233">
                  <c:v>106.994995</c:v>
                </c:pt>
                <c:pt idx="1234">
                  <c:v>106.91719000000001</c:v>
                </c:pt>
                <c:pt idx="1235">
                  <c:v>106.46011</c:v>
                </c:pt>
                <c:pt idx="1236">
                  <c:v>107.93832</c:v>
                </c:pt>
                <c:pt idx="1237">
                  <c:v>109.37763</c:v>
                </c:pt>
                <c:pt idx="1238">
                  <c:v>107.64657</c:v>
                </c:pt>
                <c:pt idx="1239">
                  <c:v>108.89138</c:v>
                </c:pt>
                <c:pt idx="1240">
                  <c:v>107.384</c:v>
                </c:pt>
                <c:pt idx="1241">
                  <c:v>107.54931999999999</c:v>
                </c:pt>
                <c:pt idx="1242">
                  <c:v>108.04529599999999</c:v>
                </c:pt>
                <c:pt idx="1243">
                  <c:v>107.37428</c:v>
                </c:pt>
                <c:pt idx="1244">
                  <c:v>107.46178399999999</c:v>
                </c:pt>
                <c:pt idx="1245">
                  <c:v>107.51042</c:v>
                </c:pt>
                <c:pt idx="1246">
                  <c:v>109.10532000000001</c:v>
                </c:pt>
                <c:pt idx="1247">
                  <c:v>108.47320000000001</c:v>
                </c:pt>
                <c:pt idx="1248">
                  <c:v>107.08251</c:v>
                </c:pt>
                <c:pt idx="1249">
                  <c:v>105.682106</c:v>
                </c:pt>
                <c:pt idx="1250">
                  <c:v>107.45207000000001</c:v>
                </c:pt>
                <c:pt idx="1251">
                  <c:v>105.71128</c:v>
                </c:pt>
                <c:pt idx="1252">
                  <c:v>101.82125000000001</c:v>
                </c:pt>
                <c:pt idx="1253">
                  <c:v>103.250854</c:v>
                </c:pt>
                <c:pt idx="1254">
                  <c:v>101.87962</c:v>
                </c:pt>
                <c:pt idx="1255">
                  <c:v>98.563379999999995</c:v>
                </c:pt>
                <c:pt idx="1256">
                  <c:v>100.25552999999999</c:v>
                </c:pt>
                <c:pt idx="1257">
                  <c:v>100.54728</c:v>
                </c:pt>
                <c:pt idx="1258">
                  <c:v>101.25722</c:v>
                </c:pt>
                <c:pt idx="1259">
                  <c:v>101.72401000000001</c:v>
                </c:pt>
                <c:pt idx="1260">
                  <c:v>102.28807</c:v>
                </c:pt>
                <c:pt idx="1261">
                  <c:v>103.60095</c:v>
                </c:pt>
                <c:pt idx="1262">
                  <c:v>103.06608</c:v>
                </c:pt>
                <c:pt idx="1263">
                  <c:v>102.161644</c:v>
                </c:pt>
                <c:pt idx="1264">
                  <c:v>102.34641999999999</c:v>
                </c:pt>
                <c:pt idx="1265">
                  <c:v>104.30115499999999</c:v>
                </c:pt>
                <c:pt idx="1266">
                  <c:v>106.790764</c:v>
                </c:pt>
                <c:pt idx="1267">
                  <c:v>101.98659499999999</c:v>
                </c:pt>
                <c:pt idx="1268">
                  <c:v>100.32361</c:v>
                </c:pt>
                <c:pt idx="1269">
                  <c:v>99.749830000000003</c:v>
                </c:pt>
                <c:pt idx="1270">
                  <c:v>100.15828999999999</c:v>
                </c:pt>
                <c:pt idx="1271">
                  <c:v>100.56674</c:v>
                </c:pt>
                <c:pt idx="1272">
                  <c:v>102.05468</c:v>
                </c:pt>
                <c:pt idx="1273">
                  <c:v>100.74178999999999</c:v>
                </c:pt>
                <c:pt idx="1274">
                  <c:v>101.169685</c:v>
                </c:pt>
                <c:pt idx="1275">
                  <c:v>101.85045</c:v>
                </c:pt>
                <c:pt idx="1276">
                  <c:v>102.27834</c:v>
                </c:pt>
                <c:pt idx="1277">
                  <c:v>100.87794</c:v>
                </c:pt>
                <c:pt idx="1278">
                  <c:v>101.04327000000001</c:v>
                </c:pt>
                <c:pt idx="1279">
                  <c:v>100.401405</c:v>
                </c:pt>
                <c:pt idx="1280">
                  <c:v>100.04159</c:v>
                </c:pt>
                <c:pt idx="1281">
                  <c:v>98.689803999999995</c:v>
                </c:pt>
                <c:pt idx="1282">
                  <c:v>98.563379999999995</c:v>
                </c:pt>
                <c:pt idx="1283">
                  <c:v>99.020449999999997</c:v>
                </c:pt>
                <c:pt idx="1284">
                  <c:v>97.834000000000003</c:v>
                </c:pt>
                <c:pt idx="1285">
                  <c:v>95.830640000000002</c:v>
                </c:pt>
                <c:pt idx="1286">
                  <c:v>97.882614000000004</c:v>
                </c:pt>
                <c:pt idx="1287">
                  <c:v>96.62809</c:v>
                </c:pt>
                <c:pt idx="1288">
                  <c:v>95.830640000000002</c:v>
                </c:pt>
                <c:pt idx="1289">
                  <c:v>97.678399999999996</c:v>
                </c:pt>
                <c:pt idx="1290">
                  <c:v>95.947333999999998</c:v>
                </c:pt>
                <c:pt idx="1291">
                  <c:v>96.686440000000005</c:v>
                </c:pt>
                <c:pt idx="1292">
                  <c:v>98.174379999999999</c:v>
                </c:pt>
                <c:pt idx="1293">
                  <c:v>99.302480000000003</c:v>
                </c:pt>
                <c:pt idx="1294">
                  <c:v>97.590869999999995</c:v>
                </c:pt>
                <c:pt idx="1295">
                  <c:v>96.958740000000006</c:v>
                </c:pt>
                <c:pt idx="1296">
                  <c:v>98.582830000000001</c:v>
                </c:pt>
                <c:pt idx="1297">
                  <c:v>98.028499999999994</c:v>
                </c:pt>
                <c:pt idx="1298">
                  <c:v>97.629760000000005</c:v>
                </c:pt>
                <c:pt idx="1299">
                  <c:v>97.590869999999995</c:v>
                </c:pt>
                <c:pt idx="1300">
                  <c:v>97.483894000000006</c:v>
                </c:pt>
                <c:pt idx="1301">
                  <c:v>99.360825000000006</c:v>
                </c:pt>
                <c:pt idx="1302">
                  <c:v>98.427220000000005</c:v>
                </c:pt>
                <c:pt idx="1303">
                  <c:v>98.116020000000006</c:v>
                </c:pt>
                <c:pt idx="1304">
                  <c:v>97.483894000000006</c:v>
                </c:pt>
                <c:pt idx="1305">
                  <c:v>97.396370000000005</c:v>
                </c:pt>
                <c:pt idx="1306">
                  <c:v>96.725340000000003</c:v>
                </c:pt>
                <c:pt idx="1307">
                  <c:v>98.368870000000001</c:v>
                </c:pt>
                <c:pt idx="1308">
                  <c:v>97.094893999999996</c:v>
                </c:pt>
                <c:pt idx="1309">
                  <c:v>96.501660000000001</c:v>
                </c:pt>
                <c:pt idx="1310">
                  <c:v>97.571430000000007</c:v>
                </c:pt>
                <c:pt idx="1311">
                  <c:v>97.308846000000003</c:v>
                </c:pt>
                <c:pt idx="1312">
                  <c:v>96.880939999999995</c:v>
                </c:pt>
                <c:pt idx="1313">
                  <c:v>96.044589999999999</c:v>
                </c:pt>
                <c:pt idx="1314">
                  <c:v>98.368870000000001</c:v>
                </c:pt>
                <c:pt idx="1315">
                  <c:v>99.662310000000005</c:v>
                </c:pt>
                <c:pt idx="1316">
                  <c:v>98.99127</c:v>
                </c:pt>
                <c:pt idx="1317">
                  <c:v>97.221320000000006</c:v>
                </c:pt>
                <c:pt idx="1318">
                  <c:v>98.884309999999999</c:v>
                </c:pt>
                <c:pt idx="1319">
                  <c:v>99.263580000000005</c:v>
                </c:pt>
                <c:pt idx="1320">
                  <c:v>99.623405000000005</c:v>
                </c:pt>
                <c:pt idx="1321">
                  <c:v>100.0902</c:v>
                </c:pt>
                <c:pt idx="1322">
                  <c:v>102.15192399999999</c:v>
                </c:pt>
                <c:pt idx="1323">
                  <c:v>101.47117</c:v>
                </c:pt>
                <c:pt idx="1324">
                  <c:v>101.07244</c:v>
                </c:pt>
                <c:pt idx="1325">
                  <c:v>101.19886</c:v>
                </c:pt>
                <c:pt idx="1326">
                  <c:v>101.20859</c:v>
                </c:pt>
                <c:pt idx="1327">
                  <c:v>100.06104000000001</c:v>
                </c:pt>
                <c:pt idx="1328">
                  <c:v>99.302480000000003</c:v>
                </c:pt>
                <c:pt idx="1329">
                  <c:v>99.39</c:v>
                </c:pt>
                <c:pt idx="1330">
                  <c:v>96.949020000000004</c:v>
                </c:pt>
                <c:pt idx="1331">
                  <c:v>97.231049999999996</c:v>
                </c:pt>
                <c:pt idx="1332">
                  <c:v>96.735069999999993</c:v>
                </c:pt>
                <c:pt idx="1333">
                  <c:v>96.62809</c:v>
                </c:pt>
                <c:pt idx="1334">
                  <c:v>97.483894000000006</c:v>
                </c:pt>
                <c:pt idx="1335">
                  <c:v>97.192149999999998</c:v>
                </c:pt>
                <c:pt idx="1336">
                  <c:v>99.107979999999998</c:v>
                </c:pt>
                <c:pt idx="1337">
                  <c:v>99.65258</c:v>
                </c:pt>
                <c:pt idx="1338">
                  <c:v>101.12107</c:v>
                </c:pt>
                <c:pt idx="1339">
                  <c:v>101.480896</c:v>
                </c:pt>
                <c:pt idx="1340">
                  <c:v>101.46144</c:v>
                </c:pt>
                <c:pt idx="1341">
                  <c:v>103.387</c:v>
                </c:pt>
                <c:pt idx="1342">
                  <c:v>105.75991999999999</c:v>
                </c:pt>
                <c:pt idx="1343">
                  <c:v>105.85717</c:v>
                </c:pt>
                <c:pt idx="1344">
                  <c:v>104.11638000000001</c:v>
                </c:pt>
                <c:pt idx="1345">
                  <c:v>103.18277999999999</c:v>
                </c:pt>
                <c:pt idx="1346">
                  <c:v>104.2039</c:v>
                </c:pt>
                <c:pt idx="1347">
                  <c:v>102.97854599999999</c:v>
                </c:pt>
                <c:pt idx="1348">
                  <c:v>103.41616999999999</c:v>
                </c:pt>
                <c:pt idx="1349">
                  <c:v>101.57814</c:v>
                </c:pt>
                <c:pt idx="1350">
                  <c:v>101.39336400000001</c:v>
                </c:pt>
                <c:pt idx="1351">
                  <c:v>101.10161600000001</c:v>
                </c:pt>
                <c:pt idx="1352">
                  <c:v>101.88934999999999</c:v>
                </c:pt>
                <c:pt idx="1353">
                  <c:v>101.928246</c:v>
                </c:pt>
                <c:pt idx="1354">
                  <c:v>102.43394499999999</c:v>
                </c:pt>
                <c:pt idx="1355">
                  <c:v>101.17941</c:v>
                </c:pt>
                <c:pt idx="1356">
                  <c:v>102.44367</c:v>
                </c:pt>
                <c:pt idx="1357">
                  <c:v>102.71816</c:v>
                </c:pt>
                <c:pt idx="1358">
                  <c:v>103.93376000000001</c:v>
                </c:pt>
                <c:pt idx="1359">
                  <c:v>103.94356500000001</c:v>
                </c:pt>
                <c:pt idx="1360">
                  <c:v>105.91401999999999</c:v>
                </c:pt>
                <c:pt idx="1361">
                  <c:v>106.11989</c:v>
                </c:pt>
                <c:pt idx="1362">
                  <c:v>107.83544000000001</c:v>
                </c:pt>
                <c:pt idx="1363">
                  <c:v>108.03149999999999</c:v>
                </c:pt>
                <c:pt idx="1364">
                  <c:v>108.12954999999999</c:v>
                </c:pt>
                <c:pt idx="1365">
                  <c:v>108.51187</c:v>
                </c:pt>
                <c:pt idx="1366">
                  <c:v>109.92354</c:v>
                </c:pt>
                <c:pt idx="1367">
                  <c:v>109.28632</c:v>
                </c:pt>
                <c:pt idx="1368">
                  <c:v>108.90398999999999</c:v>
                </c:pt>
                <c:pt idx="1369">
                  <c:v>108.52167</c:v>
                </c:pt>
                <c:pt idx="1370">
                  <c:v>108.992226</c:v>
                </c:pt>
                <c:pt idx="1371">
                  <c:v>111.276375</c:v>
                </c:pt>
                <c:pt idx="1372">
                  <c:v>110.40389</c:v>
                </c:pt>
                <c:pt idx="1373">
                  <c:v>110.41370000000001</c:v>
                </c:pt>
                <c:pt idx="1374">
                  <c:v>111.32539</c:v>
                </c:pt>
                <c:pt idx="1375">
                  <c:v>110.74701</c:v>
                </c:pt>
                <c:pt idx="1376">
                  <c:v>110.53133</c:v>
                </c:pt>
                <c:pt idx="1377">
                  <c:v>111.84496</c:v>
                </c:pt>
                <c:pt idx="1378">
                  <c:v>113.65855999999999</c:v>
                </c:pt>
                <c:pt idx="1379">
                  <c:v>114.26635</c:v>
                </c:pt>
                <c:pt idx="1380">
                  <c:v>111.73712999999999</c:v>
                </c:pt>
                <c:pt idx="1381">
                  <c:v>111.9136</c:v>
                </c:pt>
                <c:pt idx="1382">
                  <c:v>110.46271</c:v>
                </c:pt>
                <c:pt idx="1383">
                  <c:v>109.91373</c:v>
                </c:pt>
                <c:pt idx="1384">
                  <c:v>110.53133</c:v>
                </c:pt>
                <c:pt idx="1385">
                  <c:v>110.629364</c:v>
                </c:pt>
                <c:pt idx="1386">
                  <c:v>110.26665</c:v>
                </c:pt>
                <c:pt idx="1387">
                  <c:v>110.26665</c:v>
                </c:pt>
                <c:pt idx="1388">
                  <c:v>109.78628</c:v>
                </c:pt>
                <c:pt idx="1389">
                  <c:v>110.17841</c:v>
                </c:pt>
                <c:pt idx="1390">
                  <c:v>109.737274</c:v>
                </c:pt>
                <c:pt idx="1391">
                  <c:v>109.79609000000001</c:v>
                </c:pt>
                <c:pt idx="1392">
                  <c:v>109.72748</c:v>
                </c:pt>
                <c:pt idx="1393">
                  <c:v>110.11959</c:v>
                </c:pt>
                <c:pt idx="1394">
                  <c:v>110.36468000000001</c:v>
                </c:pt>
                <c:pt idx="1395">
                  <c:v>110.23723</c:v>
                </c:pt>
                <c:pt idx="1396">
                  <c:v>109.71767</c:v>
                </c:pt>
                <c:pt idx="1397">
                  <c:v>109.81569</c:v>
                </c:pt>
                <c:pt idx="1398">
                  <c:v>108.66871</c:v>
                </c:pt>
                <c:pt idx="1399">
                  <c:v>107.70801</c:v>
                </c:pt>
                <c:pt idx="1400">
                  <c:v>108.09032999999999</c:v>
                </c:pt>
                <c:pt idx="1401">
                  <c:v>108.78636</c:v>
                </c:pt>
                <c:pt idx="1402">
                  <c:v>108.50207</c:v>
                </c:pt>
                <c:pt idx="1403">
                  <c:v>107.44331</c:v>
                </c:pt>
                <c:pt idx="1404">
                  <c:v>107.30607000000001</c:v>
                </c:pt>
                <c:pt idx="1405">
                  <c:v>108.49226</c:v>
                </c:pt>
                <c:pt idx="1406">
                  <c:v>107.110016</c:v>
                </c:pt>
                <c:pt idx="1407">
                  <c:v>107.20804</c:v>
                </c:pt>
                <c:pt idx="1408">
                  <c:v>107.374695</c:v>
                </c:pt>
                <c:pt idx="1409">
                  <c:v>107.62958</c:v>
                </c:pt>
                <c:pt idx="1410">
                  <c:v>109.42357</c:v>
                </c:pt>
                <c:pt idx="1411">
                  <c:v>108.22758</c:v>
                </c:pt>
                <c:pt idx="1412">
                  <c:v>110.55092999999999</c:v>
                </c:pt>
                <c:pt idx="1413">
                  <c:v>111.39400999999999</c:v>
                </c:pt>
                <c:pt idx="1414">
                  <c:v>112.942924</c:v>
                </c:pt>
                <c:pt idx="1415">
                  <c:v>113.75660000000001</c:v>
                </c:pt>
                <c:pt idx="1416">
                  <c:v>114.638885</c:v>
                </c:pt>
                <c:pt idx="1417">
                  <c:v>113.95265999999999</c:v>
                </c:pt>
                <c:pt idx="1418">
                  <c:v>115.34471000000001</c:v>
                </c:pt>
                <c:pt idx="1419">
                  <c:v>114.60947</c:v>
                </c:pt>
                <c:pt idx="1420">
                  <c:v>113.84482</c:v>
                </c:pt>
                <c:pt idx="1421">
                  <c:v>112.52139</c:v>
                </c:pt>
                <c:pt idx="1422">
                  <c:v>113.73698400000001</c:v>
                </c:pt>
                <c:pt idx="1423">
                  <c:v>114.58987</c:v>
                </c:pt>
                <c:pt idx="1424">
                  <c:v>110.63917499999999</c:v>
                </c:pt>
                <c:pt idx="1425">
                  <c:v>108.96281999999999</c:v>
                </c:pt>
                <c:pt idx="1426">
                  <c:v>110.39408</c:v>
                </c:pt>
                <c:pt idx="1427">
                  <c:v>111.207756</c:v>
                </c:pt>
                <c:pt idx="1428">
                  <c:v>113.90364</c:v>
                </c:pt>
                <c:pt idx="1429">
                  <c:v>114.82513400000001</c:v>
                </c:pt>
                <c:pt idx="1430">
                  <c:v>113.89384</c:v>
                </c:pt>
                <c:pt idx="1431">
                  <c:v>116.56032</c:v>
                </c:pt>
                <c:pt idx="1432">
                  <c:v>115.94271000000001</c:v>
                </c:pt>
                <c:pt idx="1433">
                  <c:v>115.530975</c:v>
                </c:pt>
                <c:pt idx="1434">
                  <c:v>109.413765</c:v>
                </c:pt>
                <c:pt idx="1435">
                  <c:v>111.9136</c:v>
                </c:pt>
                <c:pt idx="1436">
                  <c:v>110.96268000000001</c:v>
                </c:pt>
                <c:pt idx="1437">
                  <c:v>110.81562</c:v>
                </c:pt>
                <c:pt idx="1438">
                  <c:v>112.501785</c:v>
                </c:pt>
                <c:pt idx="1439">
                  <c:v>112.570404</c:v>
                </c:pt>
                <c:pt idx="1440">
                  <c:v>113.81541</c:v>
                </c:pt>
                <c:pt idx="1441">
                  <c:v>112.91352000000001</c:v>
                </c:pt>
                <c:pt idx="1442">
                  <c:v>113.1782</c:v>
                </c:pt>
                <c:pt idx="1443">
                  <c:v>114.413414</c:v>
                </c:pt>
                <c:pt idx="1444">
                  <c:v>114.74670999999999</c:v>
                </c:pt>
                <c:pt idx="1445">
                  <c:v>113.717384</c:v>
                </c:pt>
                <c:pt idx="1446">
                  <c:v>115.67802399999999</c:v>
                </c:pt>
                <c:pt idx="1447">
                  <c:v>114.4036</c:v>
                </c:pt>
                <c:pt idx="1448">
                  <c:v>114.55064400000001</c:v>
                </c:pt>
                <c:pt idx="1449">
                  <c:v>114.81534000000001</c:v>
                </c:pt>
                <c:pt idx="1450">
                  <c:v>114.80553999999999</c:v>
                </c:pt>
                <c:pt idx="1451">
                  <c:v>113.90364</c:v>
                </c:pt>
                <c:pt idx="1452">
                  <c:v>113.14879000000001</c:v>
                </c:pt>
                <c:pt idx="1453">
                  <c:v>109.668655</c:v>
                </c:pt>
                <c:pt idx="1454">
                  <c:v>110.80582</c:v>
                </c:pt>
                <c:pt idx="1455">
                  <c:v>109.87452</c:v>
                </c:pt>
                <c:pt idx="1456">
                  <c:v>110.33526999999999</c:v>
                </c:pt>
                <c:pt idx="1457">
                  <c:v>111.65871</c:v>
                </c:pt>
                <c:pt idx="1458">
                  <c:v>113.81541</c:v>
                </c:pt>
                <c:pt idx="1459">
                  <c:v>114.31538</c:v>
                </c:pt>
                <c:pt idx="1460">
                  <c:v>113.217415</c:v>
                </c:pt>
                <c:pt idx="1461">
                  <c:v>113.46248</c:v>
                </c:pt>
                <c:pt idx="1462">
                  <c:v>110.64897999999999</c:v>
                </c:pt>
                <c:pt idx="1463">
                  <c:v>112.080246</c:v>
                </c:pt>
                <c:pt idx="1464">
                  <c:v>110.628</c:v>
                </c:pt>
                <c:pt idx="1465">
                  <c:v>110.50944</c:v>
                </c:pt>
                <c:pt idx="1466">
                  <c:v>110.61812</c:v>
                </c:pt>
                <c:pt idx="1467">
                  <c:v>110.85522</c:v>
                </c:pt>
                <c:pt idx="1468">
                  <c:v>112.020966</c:v>
                </c:pt>
                <c:pt idx="1469">
                  <c:v>110.84533999999999</c:v>
                </c:pt>
                <c:pt idx="1470">
                  <c:v>109.28442</c:v>
                </c:pt>
                <c:pt idx="1471">
                  <c:v>108.12853</c:v>
                </c:pt>
                <c:pt idx="1472">
                  <c:v>107.90132</c:v>
                </c:pt>
                <c:pt idx="1473">
                  <c:v>105.70811999999999</c:v>
                </c:pt>
                <c:pt idx="1474">
                  <c:v>102.961685</c:v>
                </c:pt>
                <c:pt idx="1475">
                  <c:v>99.138405000000006</c:v>
                </c:pt>
                <c:pt idx="1476">
                  <c:v>104.55225</c:v>
                </c:pt>
                <c:pt idx="1477">
                  <c:v>105.23390999999999</c:v>
                </c:pt>
                <c:pt idx="1478">
                  <c:v>106.00449999999999</c:v>
                </c:pt>
                <c:pt idx="1479">
                  <c:v>108.326126</c:v>
                </c:pt>
                <c:pt idx="1480">
                  <c:v>107.65434</c:v>
                </c:pt>
                <c:pt idx="1481">
                  <c:v>105.04621</c:v>
                </c:pt>
                <c:pt idx="1482">
                  <c:v>108.28660600000001</c:v>
                </c:pt>
                <c:pt idx="1483">
                  <c:v>109.22513600000001</c:v>
                </c:pt>
                <c:pt idx="1484">
                  <c:v>110.07474999999999</c:v>
                </c:pt>
                <c:pt idx="1485">
                  <c:v>111.30965399999999</c:v>
                </c:pt>
                <c:pt idx="1486">
                  <c:v>111.438095</c:v>
                </c:pt>
                <c:pt idx="1487">
                  <c:v>111.28991000000001</c:v>
                </c:pt>
                <c:pt idx="1488">
                  <c:v>111.062675</c:v>
                </c:pt>
                <c:pt idx="1489">
                  <c:v>110.41065</c:v>
                </c:pt>
                <c:pt idx="1490">
                  <c:v>109.57091</c:v>
                </c:pt>
                <c:pt idx="1491">
                  <c:v>109.66970999999999</c:v>
                </c:pt>
                <c:pt idx="1492">
                  <c:v>109.69935</c:v>
                </c:pt>
                <c:pt idx="1493">
                  <c:v>109.264656</c:v>
                </c:pt>
                <c:pt idx="1494">
                  <c:v>109.77838</c:v>
                </c:pt>
                <c:pt idx="1495">
                  <c:v>109.21526</c:v>
                </c:pt>
                <c:pt idx="1496">
                  <c:v>109.74872999999999</c:v>
                </c:pt>
                <c:pt idx="1497">
                  <c:v>109.472115</c:v>
                </c:pt>
                <c:pt idx="1498">
                  <c:v>109.56103</c:v>
                </c:pt>
                <c:pt idx="1499">
                  <c:v>108.80033</c:v>
                </c:pt>
                <c:pt idx="1500">
                  <c:v>110.173546</c:v>
                </c:pt>
                <c:pt idx="1501">
                  <c:v>109.95621</c:v>
                </c:pt>
                <c:pt idx="1502">
                  <c:v>110.45017</c:v>
                </c:pt>
                <c:pt idx="1503">
                  <c:v>111.29979</c:v>
                </c:pt>
                <c:pt idx="1504">
                  <c:v>110.06488</c:v>
                </c:pt>
                <c:pt idx="1505">
                  <c:v>109.61042</c:v>
                </c:pt>
                <c:pt idx="1506">
                  <c:v>110.16367</c:v>
                </c:pt>
                <c:pt idx="1507">
                  <c:v>108.11866999999999</c:v>
                </c:pt>
                <c:pt idx="1508">
                  <c:v>107.88155</c:v>
                </c:pt>
                <c:pt idx="1509">
                  <c:v>108.86947000000001</c:v>
                </c:pt>
                <c:pt idx="1510">
                  <c:v>109.32393</c:v>
                </c:pt>
                <c:pt idx="1511">
                  <c:v>111.23062</c:v>
                </c:pt>
                <c:pt idx="1512">
                  <c:v>112.13952</c:v>
                </c:pt>
                <c:pt idx="1513">
                  <c:v>112.30746499999999</c:v>
                </c:pt>
                <c:pt idx="1514">
                  <c:v>112.9101</c:v>
                </c:pt>
                <c:pt idx="1515">
                  <c:v>113.85851</c:v>
                </c:pt>
                <c:pt idx="1516">
                  <c:v>112.21854999999999</c:v>
                </c:pt>
                <c:pt idx="1517">
                  <c:v>112.12963000000001</c:v>
                </c:pt>
                <c:pt idx="1518">
                  <c:v>111.418335</c:v>
                </c:pt>
                <c:pt idx="1519">
                  <c:v>111.47761</c:v>
                </c:pt>
                <c:pt idx="1520">
                  <c:v>112.633484</c:v>
                </c:pt>
                <c:pt idx="1521">
                  <c:v>112.94961499999999</c:v>
                </c:pt>
                <c:pt idx="1522">
                  <c:v>112.623604</c:v>
                </c:pt>
                <c:pt idx="1523">
                  <c:v>113.46334</c:v>
                </c:pt>
                <c:pt idx="1524">
                  <c:v>112.633484</c:v>
                </c:pt>
                <c:pt idx="1525">
                  <c:v>112.4359</c:v>
                </c:pt>
                <c:pt idx="1526">
                  <c:v>113.36454999999999</c:v>
                </c:pt>
                <c:pt idx="1527">
                  <c:v>113.344795</c:v>
                </c:pt>
                <c:pt idx="1528">
                  <c:v>112.71250999999999</c:v>
                </c:pt>
                <c:pt idx="1529">
                  <c:v>113.09781</c:v>
                </c:pt>
                <c:pt idx="1530">
                  <c:v>113.572014</c:v>
                </c:pt>
                <c:pt idx="1531">
                  <c:v>111.75423000000001</c:v>
                </c:pt>
                <c:pt idx="1532">
                  <c:v>108.67189999999999</c:v>
                </c:pt>
                <c:pt idx="1533">
                  <c:v>108.66202</c:v>
                </c:pt>
                <c:pt idx="1534">
                  <c:v>107.34808</c:v>
                </c:pt>
                <c:pt idx="1535">
                  <c:v>106.92328000000001</c:v>
                </c:pt>
                <c:pt idx="1536">
                  <c:v>106.48859</c:v>
                </c:pt>
                <c:pt idx="1537">
                  <c:v>108.81021</c:v>
                </c:pt>
                <c:pt idx="1538">
                  <c:v>108.94852</c:v>
                </c:pt>
                <c:pt idx="1539">
                  <c:v>109.37333</c:v>
                </c:pt>
                <c:pt idx="1540">
                  <c:v>109.68944999999999</c:v>
                </c:pt>
                <c:pt idx="1541">
                  <c:v>111.151596</c:v>
                </c:pt>
                <c:pt idx="1542">
                  <c:v>110.60824</c:v>
                </c:pt>
                <c:pt idx="1543">
                  <c:v>111.16146000000001</c:v>
                </c:pt>
                <c:pt idx="1544">
                  <c:v>113.36454999999999</c:v>
                </c:pt>
                <c:pt idx="1545">
                  <c:v>113.61152</c:v>
                </c:pt>
                <c:pt idx="1546">
                  <c:v>113.572014</c:v>
                </c:pt>
                <c:pt idx="1547">
                  <c:v>115.44907000000001</c:v>
                </c:pt>
                <c:pt idx="1548">
                  <c:v>115.74545999999999</c:v>
                </c:pt>
                <c:pt idx="1549">
                  <c:v>115.192215</c:v>
                </c:pt>
                <c:pt idx="1550">
                  <c:v>128.4897</c:v>
                </c:pt>
                <c:pt idx="1551">
                  <c:v>130.44578999999999</c:v>
                </c:pt>
                <c:pt idx="1552">
                  <c:v>128.33161999999999</c:v>
                </c:pt>
                <c:pt idx="1553">
                  <c:v>130.1593</c:v>
                </c:pt>
                <c:pt idx="1554">
                  <c:v>130.85085000000001</c:v>
                </c:pt>
                <c:pt idx="1555">
                  <c:v>130.09012999999999</c:v>
                </c:pt>
                <c:pt idx="1556">
                  <c:v>131.74986000000001</c:v>
                </c:pt>
                <c:pt idx="1557">
                  <c:v>133.46886000000001</c:v>
                </c:pt>
                <c:pt idx="1558">
                  <c:v>135.58301</c:v>
                </c:pt>
                <c:pt idx="1559">
                  <c:v>138.23067</c:v>
                </c:pt>
                <c:pt idx="1560">
                  <c:v>137.61815000000001</c:v>
                </c:pt>
                <c:pt idx="1561">
                  <c:v>135.31627</c:v>
                </c:pt>
                <c:pt idx="1562">
                  <c:v>134.73339999999999</c:v>
                </c:pt>
                <c:pt idx="1563">
                  <c:v>132.52045000000001</c:v>
                </c:pt>
                <c:pt idx="1564">
                  <c:v>132.70814999999999</c:v>
                </c:pt>
                <c:pt idx="1565">
                  <c:v>133.37006</c:v>
                </c:pt>
                <c:pt idx="1566">
                  <c:v>131.82889</c:v>
                </c:pt>
                <c:pt idx="1567">
                  <c:v>133.36018000000001</c:v>
                </c:pt>
                <c:pt idx="1568">
                  <c:v>131.97708</c:v>
                </c:pt>
                <c:pt idx="1569">
                  <c:v>132.42165</c:v>
                </c:pt>
                <c:pt idx="1570">
                  <c:v>129.75424000000001</c:v>
                </c:pt>
                <c:pt idx="1571">
                  <c:v>131.59178</c:v>
                </c:pt>
                <c:pt idx="1572">
                  <c:v>133.05391</c:v>
                </c:pt>
                <c:pt idx="1573">
                  <c:v>133.86401000000001</c:v>
                </c:pt>
                <c:pt idx="1574">
                  <c:v>133.40958000000001</c:v>
                </c:pt>
                <c:pt idx="1575">
                  <c:v>132.29322999999999</c:v>
                </c:pt>
                <c:pt idx="1576">
                  <c:v>132.47103999999999</c:v>
                </c:pt>
                <c:pt idx="1577">
                  <c:v>132.23394999999999</c:v>
                </c:pt>
                <c:pt idx="1578">
                  <c:v>131.12746999999999</c:v>
                </c:pt>
                <c:pt idx="1579">
                  <c:v>131.18672000000001</c:v>
                </c:pt>
                <c:pt idx="1580">
                  <c:v>131.01877999999999</c:v>
                </c:pt>
                <c:pt idx="1581">
                  <c:v>129.98149000000001</c:v>
                </c:pt>
                <c:pt idx="1582">
                  <c:v>130.60384999999999</c:v>
                </c:pt>
                <c:pt idx="1583">
                  <c:v>130.44578999999999</c:v>
                </c:pt>
                <c:pt idx="1584">
                  <c:v>130.87062</c:v>
                </c:pt>
                <c:pt idx="1585">
                  <c:v>133.19225</c:v>
                </c:pt>
                <c:pt idx="1586">
                  <c:v>134.29872</c:v>
                </c:pt>
                <c:pt idx="1587">
                  <c:v>135.55339000000001</c:v>
                </c:pt>
                <c:pt idx="1588">
                  <c:v>136.37334999999999</c:v>
                </c:pt>
                <c:pt idx="1589">
                  <c:v>135.41506999999999</c:v>
                </c:pt>
                <c:pt idx="1590">
                  <c:v>133.44909999999999</c:v>
                </c:pt>
                <c:pt idx="1591">
                  <c:v>134.08138</c:v>
                </c:pt>
                <c:pt idx="1592">
                  <c:v>140.02869000000001</c:v>
                </c:pt>
                <c:pt idx="1593">
                  <c:v>139.93977000000001</c:v>
                </c:pt>
                <c:pt idx="1594">
                  <c:v>139.26796999999999</c:v>
                </c:pt>
                <c:pt idx="1595">
                  <c:v>137.55887000000001</c:v>
                </c:pt>
                <c:pt idx="1596">
                  <c:v>139.21858</c:v>
                </c:pt>
                <c:pt idx="1597">
                  <c:v>140.30529999999999</c:v>
                </c:pt>
                <c:pt idx="1598">
                  <c:v>138.5369</c:v>
                </c:pt>
                <c:pt idx="1599">
                  <c:v>137.53910999999999</c:v>
                </c:pt>
                <c:pt idx="1600">
                  <c:v>138.25040999999999</c:v>
                </c:pt>
                <c:pt idx="1601">
                  <c:v>138.70484999999999</c:v>
                </c:pt>
                <c:pt idx="1602">
                  <c:v>137.61815000000001</c:v>
                </c:pt>
                <c:pt idx="1603">
                  <c:v>137.95402999999999</c:v>
                </c:pt>
                <c:pt idx="1604">
                  <c:v>139.93977000000001</c:v>
                </c:pt>
                <c:pt idx="1605">
                  <c:v>140.80914000000001</c:v>
                </c:pt>
                <c:pt idx="1606">
                  <c:v>141.25371000000001</c:v>
                </c:pt>
                <c:pt idx="1607">
                  <c:v>141.60162</c:v>
                </c:pt>
                <c:pt idx="1608">
                  <c:v>140.18015</c:v>
                </c:pt>
                <c:pt idx="1609">
                  <c:v>140.76662999999999</c:v>
                </c:pt>
                <c:pt idx="1610">
                  <c:v>142.68512999999999</c:v>
                </c:pt>
                <c:pt idx="1611">
                  <c:v>142.70501999999999</c:v>
                </c:pt>
                <c:pt idx="1612">
                  <c:v>144.01716999999999</c:v>
                </c:pt>
                <c:pt idx="1613">
                  <c:v>144.19607999999999</c:v>
                </c:pt>
                <c:pt idx="1614">
                  <c:v>143.44060999999999</c:v>
                </c:pt>
                <c:pt idx="1615">
                  <c:v>141.72092000000001</c:v>
                </c:pt>
                <c:pt idx="1616">
                  <c:v>140.78650999999999</c:v>
                </c:pt>
                <c:pt idx="1617">
                  <c:v>139.01712000000001</c:v>
                </c:pt>
                <c:pt idx="1618">
                  <c:v>140.00120000000001</c:v>
                </c:pt>
                <c:pt idx="1619">
                  <c:v>140.41872000000001</c:v>
                </c:pt>
                <c:pt idx="1620">
                  <c:v>140.44853000000001</c:v>
                </c:pt>
                <c:pt idx="1621">
                  <c:v>142.3571</c:v>
                </c:pt>
                <c:pt idx="1622">
                  <c:v>143.78851</c:v>
                </c:pt>
                <c:pt idx="1623">
                  <c:v>145.51815999999999</c:v>
                </c:pt>
                <c:pt idx="1624">
                  <c:v>144.06684999999999</c:v>
                </c:pt>
                <c:pt idx="1625">
                  <c:v>142.1583</c:v>
                </c:pt>
                <c:pt idx="1626">
                  <c:v>141.0052</c:v>
                </c:pt>
                <c:pt idx="1627">
                  <c:v>140.86604</c:v>
                </c:pt>
                <c:pt idx="1628">
                  <c:v>137.47635</c:v>
                </c:pt>
                <c:pt idx="1629">
                  <c:v>141.02507</c:v>
                </c:pt>
                <c:pt idx="1630">
                  <c:v>134.05683999999999</c:v>
                </c:pt>
                <c:pt idx="1631">
                  <c:v>137.06879000000001</c:v>
                </c:pt>
                <c:pt idx="1632">
                  <c:v>137.69504000000001</c:v>
                </c:pt>
                <c:pt idx="1633">
                  <c:v>134.94153</c:v>
                </c:pt>
                <c:pt idx="1634">
                  <c:v>136.19401999999999</c:v>
                </c:pt>
                <c:pt idx="1635">
                  <c:v>132.05879999999999</c:v>
                </c:pt>
                <c:pt idx="1636">
                  <c:v>132.61546000000001</c:v>
                </c:pt>
                <c:pt idx="1637">
                  <c:v>134.3948</c:v>
                </c:pt>
                <c:pt idx="1638">
                  <c:v>134.48427000000001</c:v>
                </c:pt>
                <c:pt idx="1639">
                  <c:v>134.32523</c:v>
                </c:pt>
                <c:pt idx="1640">
                  <c:v>134.95146</c:v>
                </c:pt>
                <c:pt idx="1641">
                  <c:v>135.26956000000001</c:v>
                </c:pt>
                <c:pt idx="1642">
                  <c:v>130.88583</c:v>
                </c:pt>
                <c:pt idx="1643">
                  <c:v>133.80832000000001</c:v>
                </c:pt>
                <c:pt idx="1644">
                  <c:v>133.68904000000001</c:v>
                </c:pt>
                <c:pt idx="1645">
                  <c:v>135.73677000000001</c:v>
                </c:pt>
                <c:pt idx="1646">
                  <c:v>137.01907</c:v>
                </c:pt>
                <c:pt idx="1647">
                  <c:v>136.44254000000001</c:v>
                </c:pt>
                <c:pt idx="1648">
                  <c:v>135.4982</c:v>
                </c:pt>
                <c:pt idx="1649">
                  <c:v>137.06879000000001</c:v>
                </c:pt>
                <c:pt idx="1650">
                  <c:v>138.01311999999999</c:v>
                </c:pt>
                <c:pt idx="1651">
                  <c:v>138.71889999999999</c:v>
                </c:pt>
                <c:pt idx="1652">
                  <c:v>138.00318999999999</c:v>
                </c:pt>
                <c:pt idx="1653">
                  <c:v>134.9813</c:v>
                </c:pt>
                <c:pt idx="1654">
                  <c:v>135.37889999999999</c:v>
                </c:pt>
                <c:pt idx="1655">
                  <c:v>136.68109999999999</c:v>
                </c:pt>
                <c:pt idx="1656">
                  <c:v>137.19801000000001</c:v>
                </c:pt>
                <c:pt idx="1657">
                  <c:v>134.99124</c:v>
                </c:pt>
                <c:pt idx="1658">
                  <c:v>135.4982</c:v>
                </c:pt>
                <c:pt idx="1659">
                  <c:v>135.98527999999999</c:v>
                </c:pt>
                <c:pt idx="1660">
                  <c:v>132.50612000000001</c:v>
                </c:pt>
                <c:pt idx="1661">
                  <c:v>131.48224999999999</c:v>
                </c:pt>
                <c:pt idx="1662">
                  <c:v>131.67113000000001</c:v>
                </c:pt>
                <c:pt idx="1663">
                  <c:v>131.18404000000001</c:v>
                </c:pt>
                <c:pt idx="1664">
                  <c:v>132.29736</c:v>
                </c:pt>
                <c:pt idx="1665">
                  <c:v>130.48822000000001</c:v>
                </c:pt>
                <c:pt idx="1666">
                  <c:v>129.18602000000001</c:v>
                </c:pt>
                <c:pt idx="1667">
                  <c:v>129.54387</c:v>
                </c:pt>
                <c:pt idx="1668">
                  <c:v>128.77846</c:v>
                </c:pt>
                <c:pt idx="1669">
                  <c:v>128.37090000000001</c:v>
                </c:pt>
                <c:pt idx="1670">
                  <c:v>127.38679500000001</c:v>
                </c:pt>
                <c:pt idx="1671">
                  <c:v>129.49417</c:v>
                </c:pt>
                <c:pt idx="1672">
                  <c:v>130.12039999999999</c:v>
                </c:pt>
                <c:pt idx="1673">
                  <c:v>127.70489000000001</c:v>
                </c:pt>
                <c:pt idx="1674">
                  <c:v>128.55976999999999</c:v>
                </c:pt>
                <c:pt idx="1675">
                  <c:v>128.56970000000001</c:v>
                </c:pt>
                <c:pt idx="1676">
                  <c:v>129.24566999999999</c:v>
                </c:pt>
                <c:pt idx="1677">
                  <c:v>128.92755</c:v>
                </c:pt>
                <c:pt idx="1678">
                  <c:v>128.9872</c:v>
                </c:pt>
                <c:pt idx="1679">
                  <c:v>130.08065999999999</c:v>
                </c:pt>
                <c:pt idx="1680">
                  <c:v>131.58165</c:v>
                </c:pt>
                <c:pt idx="1681">
                  <c:v>130.11046999999999</c:v>
                </c:pt>
                <c:pt idx="1682">
                  <c:v>129.48421999999999</c:v>
                </c:pt>
                <c:pt idx="1683">
                  <c:v>131.61148</c:v>
                </c:pt>
                <c:pt idx="1684">
                  <c:v>130.34904</c:v>
                </c:pt>
                <c:pt idx="1685">
                  <c:v>129.48421999999999</c:v>
                </c:pt>
                <c:pt idx="1686">
                  <c:v>130.12039999999999</c:v>
                </c:pt>
                <c:pt idx="1687">
                  <c:v>129.75262000000001</c:v>
                </c:pt>
                <c:pt idx="1688">
                  <c:v>128.70885999999999</c:v>
                </c:pt>
                <c:pt idx="1689">
                  <c:v>128.82817</c:v>
                </c:pt>
                <c:pt idx="1690">
                  <c:v>129.14626000000001</c:v>
                </c:pt>
                <c:pt idx="1691">
                  <c:v>131.95939999999999</c:v>
                </c:pt>
                <c:pt idx="1692">
                  <c:v>132.12839</c:v>
                </c:pt>
                <c:pt idx="1693">
                  <c:v>130.66712999999999</c:v>
                </c:pt>
                <c:pt idx="1694">
                  <c:v>130.48822000000001</c:v>
                </c:pt>
                <c:pt idx="1695">
                  <c:v>132.16815</c:v>
                </c:pt>
                <c:pt idx="1696">
                  <c:v>137.13838000000001</c:v>
                </c:pt>
                <c:pt idx="1697">
                  <c:v>135.92563999999999</c:v>
                </c:pt>
                <c:pt idx="1698">
                  <c:v>137.75468000000001</c:v>
                </c:pt>
                <c:pt idx="1699">
                  <c:v>147.83429000000001</c:v>
                </c:pt>
                <c:pt idx="1700">
                  <c:v>146.27364</c:v>
                </c:pt>
                <c:pt idx="1701">
                  <c:v>143.80841000000001</c:v>
                </c:pt>
                <c:pt idx="1702">
                  <c:v>146.77065999999999</c:v>
                </c:pt>
                <c:pt idx="1703">
                  <c:v>147.49632</c:v>
                </c:pt>
                <c:pt idx="1704">
                  <c:v>146.05494999999999</c:v>
                </c:pt>
                <c:pt idx="1705">
                  <c:v>146.02511999999999</c:v>
                </c:pt>
                <c:pt idx="1706">
                  <c:v>147.40684999999999</c:v>
                </c:pt>
                <c:pt idx="1707">
                  <c:v>148.79850999999999</c:v>
                </c:pt>
                <c:pt idx="1708">
                  <c:v>150.73689999999999</c:v>
                </c:pt>
                <c:pt idx="1709">
                  <c:v>150.57785000000001</c:v>
                </c:pt>
                <c:pt idx="1710">
                  <c:v>150.67725999999999</c:v>
                </c:pt>
                <c:pt idx="1711">
                  <c:v>149.72296</c:v>
                </c:pt>
                <c:pt idx="1712">
                  <c:v>147.69513000000001</c:v>
                </c:pt>
                <c:pt idx="1713">
                  <c:v>147.39690999999999</c:v>
                </c:pt>
                <c:pt idx="1714">
                  <c:v>146.56190000000001</c:v>
                </c:pt>
                <c:pt idx="1715">
                  <c:v>146.78061</c:v>
                </c:pt>
                <c:pt idx="1716">
                  <c:v>145.33924999999999</c:v>
                </c:pt>
                <c:pt idx="1717">
                  <c:v>145.22989000000001</c:v>
                </c:pt>
                <c:pt idx="1718">
                  <c:v>146.71100999999999</c:v>
                </c:pt>
                <c:pt idx="1719">
                  <c:v>146.88</c:v>
                </c:pt>
                <c:pt idx="1720">
                  <c:v>146.38</c:v>
                </c:pt>
                <c:pt idx="1721">
                  <c:v>148.46</c:v>
                </c:pt>
                <c:pt idx="1722">
                  <c:v>147.72999999999999</c:v>
                </c:pt>
                <c:pt idx="1723">
                  <c:v>146.26</c:v>
                </c:pt>
                <c:pt idx="1724">
                  <c:v>146.15</c:v>
                </c:pt>
                <c:pt idx="1725">
                  <c:v>146.88</c:v>
                </c:pt>
                <c:pt idx="1726">
                  <c:v>144.68</c:v>
                </c:pt>
                <c:pt idx="1727">
                  <c:v>145.29</c:v>
                </c:pt>
                <c:pt idx="1728">
                  <c:v>145.69999999999999</c:v>
                </c:pt>
                <c:pt idx="1729">
                  <c:v>145.75</c:v>
                </c:pt>
                <c:pt idx="1730">
                  <c:v>143.77000000000001</c:v>
                </c:pt>
                <c:pt idx="1731">
                  <c:v>144.63</c:v>
                </c:pt>
                <c:pt idx="1732">
                  <c:v>148.19999999999999</c:v>
                </c:pt>
                <c:pt idx="1733">
                  <c:v>146.5</c:v>
                </c:pt>
                <c:pt idx="1734">
                  <c:v>145.65</c:v>
                </c:pt>
                <c:pt idx="1735">
                  <c:v>145.69999999999999</c:v>
                </c:pt>
                <c:pt idx="1736">
                  <c:v>145.4</c:v>
                </c:pt>
                <c:pt idx="1737">
                  <c:v>144.83000000000001</c:v>
                </c:pt>
                <c:pt idx="1738">
                  <c:v>144.62</c:v>
                </c:pt>
                <c:pt idx="1739">
                  <c:v>143.88</c:v>
                </c:pt>
                <c:pt idx="1740">
                  <c:v>145.19999999999999</c:v>
                </c:pt>
                <c:pt idx="1741">
                  <c:v>144.32</c:v>
                </c:pt>
                <c:pt idx="1742">
                  <c:v>145.12</c:v>
                </c:pt>
                <c:pt idx="1743">
                  <c:v>144.33000000000001</c:v>
                </c:pt>
                <c:pt idx="1744">
                  <c:v>143.56</c:v>
                </c:pt>
                <c:pt idx="1745">
                  <c:v>144.01</c:v>
                </c:pt>
                <c:pt idx="1746">
                  <c:v>142.19999999999999</c:v>
                </c:pt>
                <c:pt idx="1747">
                  <c:v>140.08000000000001</c:v>
                </c:pt>
                <c:pt idx="1748">
                  <c:v>135.9</c:v>
                </c:pt>
                <c:pt idx="1749">
                  <c:v>138.37</c:v>
                </c:pt>
                <c:pt idx="1750">
                  <c:v>136.06</c:v>
                </c:pt>
                <c:pt idx="1751">
                  <c:v>137.81</c:v>
                </c:pt>
                <c:pt idx="1752">
                  <c:v>138.31</c:v>
                </c:pt>
                <c:pt idx="1753">
                  <c:v>141.32</c:v>
                </c:pt>
                <c:pt idx="1754">
                  <c:v>144.72999999999999</c:v>
                </c:pt>
                <c:pt idx="1755">
                  <c:v>141.37</c:v>
                </c:pt>
                <c:pt idx="1756">
                  <c:v>142.69999999999999</c:v>
                </c:pt>
                <c:pt idx="1757">
                  <c:v>141.02000000000001</c:v>
                </c:pt>
                <c:pt idx="1758">
                  <c:v>142.59</c:v>
                </c:pt>
                <c:pt idx="1759">
                  <c:v>141.01</c:v>
                </c:pt>
                <c:pt idx="1760">
                  <c:v>141.85</c:v>
                </c:pt>
                <c:pt idx="1761">
                  <c:v>140.9</c:v>
                </c:pt>
                <c:pt idx="1762">
                  <c:v>139.54</c:v>
                </c:pt>
                <c:pt idx="1763">
                  <c:v>139.13999999999999</c:v>
                </c:pt>
                <c:pt idx="1764">
                  <c:v>141.30000000000001</c:v>
                </c:pt>
                <c:pt idx="1765">
                  <c:v>140.37</c:v>
                </c:pt>
                <c:pt idx="1766">
                  <c:v>138.97</c:v>
                </c:pt>
                <c:pt idx="1767">
                  <c:v>133.01</c:v>
                </c:pt>
                <c:pt idx="1768">
                  <c:v>128.19</c:v>
                </c:pt>
                <c:pt idx="1769">
                  <c:v>123.36</c:v>
                </c:pt>
                <c:pt idx="1770">
                  <c:v>118.04</c:v>
                </c:pt>
                <c:pt idx="1771">
                  <c:v>117.65</c:v>
                </c:pt>
                <c:pt idx="1772">
                  <c:v>119.98</c:v>
                </c:pt>
                <c:pt idx="1773">
                  <c:v>116.45</c:v>
                </c:pt>
                <c:pt idx="1774">
                  <c:v>119.18</c:v>
                </c:pt>
                <c:pt idx="1775">
                  <c:v>113.98</c:v>
                </c:pt>
                <c:pt idx="1776">
                  <c:v>115.27</c:v>
                </c:pt>
                <c:pt idx="1777">
                  <c:v>104.34999000000001</c:v>
                </c:pt>
                <c:pt idx="1778">
                  <c:v>111.46</c:v>
                </c:pt>
                <c:pt idx="1779">
                  <c:v>105.51</c:v>
                </c:pt>
                <c:pt idx="1780">
                  <c:v>91.81</c:v>
                </c:pt>
                <c:pt idx="1781">
                  <c:v>102.52</c:v>
                </c:pt>
                <c:pt idx="1782">
                  <c:v>95.009995000000004</c:v>
                </c:pt>
                <c:pt idx="1783">
                  <c:v>93.53</c:v>
                </c:pt>
                <c:pt idx="1784">
                  <c:v>88.8</c:v>
                </c:pt>
                <c:pt idx="1785">
                  <c:v>94.93</c:v>
                </c:pt>
                <c:pt idx="1786">
                  <c:v>85.98</c:v>
                </c:pt>
                <c:pt idx="1787">
                  <c:v>85.76</c:v>
                </c:pt>
                <c:pt idx="1788">
                  <c:v>98.12</c:v>
                </c:pt>
                <c:pt idx="1789">
                  <c:v>100.73</c:v>
                </c:pt>
                <c:pt idx="1790">
                  <c:v>105.35999</c:v>
                </c:pt>
                <c:pt idx="1791">
                  <c:v>96.4</c:v>
                </c:pt>
                <c:pt idx="1792">
                  <c:v>99.8</c:v>
                </c:pt>
                <c:pt idx="1793">
                  <c:v>96.599990000000005</c:v>
                </c:pt>
                <c:pt idx="1794">
                  <c:v>94.919989999999999</c:v>
                </c:pt>
                <c:pt idx="1795">
                  <c:v>96.97</c:v>
                </c:pt>
                <c:pt idx="1796">
                  <c:v>93.88</c:v>
                </c:pt>
                <c:pt idx="1797">
                  <c:v>99.58</c:v>
                </c:pt>
                <c:pt idx="1798">
                  <c:v>101.24</c:v>
                </c:pt>
                <c:pt idx="1799">
                  <c:v>101.07</c:v>
                </c:pt>
                <c:pt idx="1800">
                  <c:v>104.5</c:v>
                </c:pt>
                <c:pt idx="1801">
                  <c:v>103.5</c:v>
                </c:pt>
                <c:pt idx="1802">
                  <c:v>106.02999</c:v>
                </c:pt>
                <c:pt idx="1803">
                  <c:v>103.37</c:v>
                </c:pt>
                <c:pt idx="1804">
                  <c:v>102.02</c:v>
                </c:pt>
                <c:pt idx="1805">
                  <c:v>106.63</c:v>
                </c:pt>
                <c:pt idx="1806">
                  <c:v>102.259995</c:v>
                </c:pt>
                <c:pt idx="1807">
                  <c:v>100.53999</c:v>
                </c:pt>
                <c:pt idx="1808">
                  <c:v>100.99</c:v>
                </c:pt>
                <c:pt idx="1809">
                  <c:v>100.99999</c:v>
                </c:pt>
                <c:pt idx="1810">
                  <c:v>101.19</c:v>
                </c:pt>
                <c:pt idx="1811">
                  <c:v>106.06</c:v>
                </c:pt>
                <c:pt idx="1812">
                  <c:v>106.21</c:v>
                </c:pt>
                <c:pt idx="1813">
                  <c:v>112.25</c:v>
                </c:pt>
                <c:pt idx="1814">
                  <c:v>108.15</c:v>
                </c:pt>
                <c:pt idx="1815">
                  <c:v>105.5</c:v>
                </c:pt>
                <c:pt idx="1816">
                  <c:v>103.17999</c:v>
                </c:pt>
                <c:pt idx="1817">
                  <c:v>101.06</c:v>
                </c:pt>
                <c:pt idx="1818">
                  <c:v>100.88</c:v>
                </c:pt>
                <c:pt idx="1819">
                  <c:v>105.56999</c:v>
                </c:pt>
                <c:pt idx="1820">
                  <c:v>109.16</c:v>
                </c:pt>
                <c:pt idx="1821">
                  <c:v>107.77</c:v>
                </c:pt>
                <c:pt idx="1822">
                  <c:v>104.55999</c:v>
                </c:pt>
                <c:pt idx="1823">
                  <c:v>102.92</c:v>
                </c:pt>
                <c:pt idx="1824">
                  <c:v>105.91001</c:v>
                </c:pt>
                <c:pt idx="1825">
                  <c:v>109.049995</c:v>
                </c:pt>
                <c:pt idx="1826">
                  <c:v>116.85</c:v>
                </c:pt>
                <c:pt idx="1827">
                  <c:v>114.369995</c:v>
                </c:pt>
                <c:pt idx="1828">
                  <c:v>119.92</c:v>
                </c:pt>
                <c:pt idx="1829">
                  <c:v>117.83</c:v>
                </c:pt>
                <c:pt idx="1830">
                  <c:v>118.02</c:v>
                </c:pt>
                <c:pt idx="1831">
                  <c:v>120.94999</c:v>
                </c:pt>
                <c:pt idx="1832">
                  <c:v>121.53</c:v>
                </c:pt>
                <c:pt idx="1833">
                  <c:v>116.75</c:v>
                </c:pt>
                <c:pt idx="1834">
                  <c:v>117.3</c:v>
                </c:pt>
                <c:pt idx="1835">
                  <c:v>118.76999000000001</c:v>
                </c:pt>
                <c:pt idx="1836">
                  <c:v>118.75</c:v>
                </c:pt>
                <c:pt idx="1837">
                  <c:v>122.18</c:v>
                </c:pt>
                <c:pt idx="1838">
                  <c:v>123.69</c:v>
                </c:pt>
                <c:pt idx="1839">
                  <c:v>124.82</c:v>
                </c:pt>
                <c:pt idx="1840">
                  <c:v>127.28001</c:v>
                </c:pt>
                <c:pt idx="1841">
                  <c:v>123.88999</c:v>
                </c:pt>
                <c:pt idx="1842">
                  <c:v>122.18</c:v>
                </c:pt>
                <c:pt idx="1843">
                  <c:v>112.64</c:v>
                </c:pt>
                <c:pt idx="1844">
                  <c:v>115.49</c:v>
                </c:pt>
                <c:pt idx="1845">
                  <c:v>117.08</c:v>
                </c:pt>
                <c:pt idx="1846">
                  <c:v>118.439995</c:v>
                </c:pt>
                <c:pt idx="1847">
                  <c:v>117.65</c:v>
                </c:pt>
                <c:pt idx="1848">
                  <c:v>118.37</c:v>
                </c:pt>
                <c:pt idx="1849">
                  <c:v>114.35</c:v>
                </c:pt>
                <c:pt idx="1850">
                  <c:v>115.91999</c:v>
                </c:pt>
                <c:pt idx="1851">
                  <c:v>116.58999</c:v>
                </c:pt>
                <c:pt idx="1852">
                  <c:v>112.07</c:v>
                </c:pt>
                <c:pt idx="1853">
                  <c:v>111.36</c:v>
                </c:pt>
                <c:pt idx="1854">
                  <c:v>109.1</c:v>
                </c:pt>
                <c:pt idx="1855">
                  <c:v>111.520004</c:v>
                </c:pt>
                <c:pt idx="1856">
                  <c:v>111.51</c:v>
                </c:pt>
                <c:pt idx="1857">
                  <c:v>113.01</c:v>
                </c:pt>
                <c:pt idx="1858">
                  <c:v>112.18</c:v>
                </c:pt>
                <c:pt idx="1859">
                  <c:v>114.43</c:v>
                </c:pt>
                <c:pt idx="1860">
                  <c:v>113.63</c:v>
                </c:pt>
                <c:pt idx="1861">
                  <c:v>116.66</c:v>
                </c:pt>
                <c:pt idx="1862">
                  <c:v>116.81</c:v>
                </c:pt>
                <c:pt idx="1863">
                  <c:v>119.34</c:v>
                </c:pt>
                <c:pt idx="1864">
                  <c:v>116.21999</c:v>
                </c:pt>
                <c:pt idx="1865">
                  <c:v>118.66</c:v>
                </c:pt>
                <c:pt idx="1866">
                  <c:v>120.9</c:v>
                </c:pt>
                <c:pt idx="1867">
                  <c:v>119.43</c:v>
                </c:pt>
                <c:pt idx="1868">
                  <c:v>118.65000999999999</c:v>
                </c:pt>
                <c:pt idx="1869">
                  <c:v>117.79</c:v>
                </c:pt>
                <c:pt idx="1870">
                  <c:v>118.62</c:v>
                </c:pt>
                <c:pt idx="1871">
                  <c:v>119.03</c:v>
                </c:pt>
                <c:pt idx="1872">
                  <c:v>118.12</c:v>
                </c:pt>
                <c:pt idx="1873">
                  <c:v>117.61</c:v>
                </c:pt>
                <c:pt idx="1874">
                  <c:v>116.31</c:v>
                </c:pt>
                <c:pt idx="1875">
                  <c:v>116.18</c:v>
                </c:pt>
                <c:pt idx="1876">
                  <c:v>115.61</c:v>
                </c:pt>
                <c:pt idx="1877">
                  <c:v>115.66</c:v>
                </c:pt>
                <c:pt idx="1878">
                  <c:v>116.94</c:v>
                </c:pt>
                <c:pt idx="1879">
                  <c:v>116.35</c:v>
                </c:pt>
                <c:pt idx="1880">
                  <c:v>117.29</c:v>
                </c:pt>
                <c:pt idx="1881">
                  <c:v>127.61001</c:v>
                </c:pt>
                <c:pt idx="1882">
                  <c:v>130.82</c:v>
                </c:pt>
                <c:pt idx="1883">
                  <c:v>129.93</c:v>
                </c:pt>
                <c:pt idx="1884">
                  <c:v>128.79</c:v>
                </c:pt>
                <c:pt idx="1885">
                  <c:v>130.49</c:v>
                </c:pt>
                <c:pt idx="1886">
                  <c:v>131.79</c:v>
                </c:pt>
                <c:pt idx="1887">
                  <c:v>130.96</c:v>
                </c:pt>
                <c:pt idx="1888">
                  <c:v>130.53</c:v>
                </c:pt>
                <c:pt idx="1889">
                  <c:v>129.37</c:v>
                </c:pt>
                <c:pt idx="1890">
                  <c:v>128.91999999999999</c:v>
                </c:pt>
                <c:pt idx="1891">
                  <c:v>127.77</c:v>
                </c:pt>
                <c:pt idx="1892">
                  <c:v>128.12</c:v>
                </c:pt>
                <c:pt idx="1893">
                  <c:v>127.44</c:v>
                </c:pt>
                <c:pt idx="1894">
                  <c:v>130.69</c:v>
                </c:pt>
                <c:pt idx="1895">
                  <c:v>129.79</c:v>
                </c:pt>
                <c:pt idx="1896">
                  <c:v>132.18</c:v>
                </c:pt>
                <c:pt idx="1897">
                  <c:v>133.72999999999999</c:v>
                </c:pt>
                <c:pt idx="1898">
                  <c:v>135.54</c:v>
                </c:pt>
                <c:pt idx="1899">
                  <c:v>131.87</c:v>
                </c:pt>
                <c:pt idx="1900">
                  <c:v>133.55000000000001</c:v>
                </c:pt>
                <c:pt idx="1901">
                  <c:v>135.38999999999999</c:v>
                </c:pt>
                <c:pt idx="1902">
                  <c:v>133.24</c:v>
                </c:pt>
                <c:pt idx="1903">
                  <c:v>131.99</c:v>
                </c:pt>
                <c:pt idx="1904">
                  <c:v>134.19999999999999</c:v>
                </c:pt>
                <c:pt idx="1905">
                  <c:v>133.36000000000001</c:v>
                </c:pt>
                <c:pt idx="1906">
                  <c:v>133.22</c:v>
                </c:pt>
                <c:pt idx="1907">
                  <c:v>131.75</c:v>
                </c:pt>
                <c:pt idx="1908">
                  <c:v>131.25</c:v>
                </c:pt>
                <c:pt idx="1909">
                  <c:v>131.24</c:v>
                </c:pt>
                <c:pt idx="1910">
                  <c:v>132.09</c:v>
                </c:pt>
                <c:pt idx="1911">
                  <c:v>130.22</c:v>
                </c:pt>
                <c:pt idx="1912">
                  <c:v>128.63</c:v>
                </c:pt>
                <c:pt idx="1913">
                  <c:v>125.41</c:v>
                </c:pt>
                <c:pt idx="1914">
                  <c:v>127.21</c:v>
                </c:pt>
                <c:pt idx="1915">
                  <c:v>123.28</c:v>
                </c:pt>
                <c:pt idx="1916">
                  <c:v>122.49</c:v>
                </c:pt>
                <c:pt idx="1917">
                  <c:v>124</c:v>
                </c:pt>
                <c:pt idx="1918">
                  <c:v>125.99</c:v>
                </c:pt>
                <c:pt idx="1919">
                  <c:v>125.4</c:v>
                </c:pt>
                <c:pt idx="1920">
                  <c:v>124.08</c:v>
                </c:pt>
                <c:pt idx="1921">
                  <c:v>123.31</c:v>
                </c:pt>
                <c:pt idx="1922">
                  <c:v>122.549995</c:v>
                </c:pt>
                <c:pt idx="1923">
                  <c:v>123.37</c:v>
                </c:pt>
                <c:pt idx="1924">
                  <c:v>120.93</c:v>
                </c:pt>
                <c:pt idx="1925">
                  <c:v>122.91</c:v>
                </c:pt>
                <c:pt idx="1926">
                  <c:v>123.08999</c:v>
                </c:pt>
                <c:pt idx="1927">
                  <c:v>124.98000999999999</c:v>
                </c:pt>
                <c:pt idx="1928">
                  <c:v>124.97</c:v>
                </c:pt>
                <c:pt idx="1929">
                  <c:v>128.96</c:v>
                </c:pt>
                <c:pt idx="1930">
                  <c:v>126.59</c:v>
                </c:pt>
                <c:pt idx="1931">
                  <c:v>127.36001</c:v>
                </c:pt>
                <c:pt idx="1932">
                  <c:v>126.810005</c:v>
                </c:pt>
                <c:pt idx="1933">
                  <c:v>124.23</c:v>
                </c:pt>
                <c:pt idx="1934">
                  <c:v>124.95</c:v>
                </c:pt>
                <c:pt idx="1935">
                  <c:v>126.63</c:v>
                </c:pt>
                <c:pt idx="1936">
                  <c:v>127.56</c:v>
                </c:pt>
                <c:pt idx="1937">
                  <c:v>128.35</c:v>
                </c:pt>
                <c:pt idx="1938">
                  <c:v>124.06</c:v>
                </c:pt>
                <c:pt idx="1939">
                  <c:v>123.31</c:v>
                </c:pt>
                <c:pt idx="1940">
                  <c:v>118.47</c:v>
                </c:pt>
                <c:pt idx="1941">
                  <c:v>121.53999</c:v>
                </c:pt>
                <c:pt idx="1942">
                  <c:v>121.25</c:v>
                </c:pt>
                <c:pt idx="1943">
                  <c:v>120.13</c:v>
                </c:pt>
                <c:pt idx="1944">
                  <c:v>124.02</c:v>
                </c:pt>
                <c:pt idx="1945">
                  <c:v>125.07</c:v>
                </c:pt>
                <c:pt idx="1946">
                  <c:v>126.96</c:v>
                </c:pt>
                <c:pt idx="1947">
                  <c:v>127.46</c:v>
                </c:pt>
                <c:pt idx="1948">
                  <c:v>142.59</c:v>
                </c:pt>
                <c:pt idx="1949">
                  <c:v>142.11000000000001</c:v>
                </c:pt>
                <c:pt idx="1950">
                  <c:v>137.82</c:v>
                </c:pt>
                <c:pt idx="1951">
                  <c:v>135.52000000000001</c:v>
                </c:pt>
                <c:pt idx="1952">
                  <c:v>138.36000000000001</c:v>
                </c:pt>
                <c:pt idx="1953">
                  <c:v>144.66999999999999</c:v>
                </c:pt>
                <c:pt idx="1954">
                  <c:v>144.5</c:v>
                </c:pt>
                <c:pt idx="1955">
                  <c:v>143.9</c:v>
                </c:pt>
                <c:pt idx="1956">
                  <c:v>141.72</c:v>
                </c:pt>
                <c:pt idx="1957">
                  <c:v>141.07</c:v>
                </c:pt>
                <c:pt idx="1958">
                  <c:v>145.97999999999999</c:v>
                </c:pt>
                <c:pt idx="1959">
                  <c:v>151.49</c:v>
                </c:pt>
                <c:pt idx="1960">
                  <c:v>149.09</c:v>
                </c:pt>
                <c:pt idx="1961">
                  <c:v>147.13</c:v>
                </c:pt>
                <c:pt idx="1962">
                  <c:v>148.01</c:v>
                </c:pt>
                <c:pt idx="1963">
                  <c:v>149.44</c:v>
                </c:pt>
                <c:pt idx="1964">
                  <c:v>153.61000000000001</c:v>
                </c:pt>
                <c:pt idx="1965">
                  <c:v>153.24</c:v>
                </c:pt>
                <c:pt idx="1966">
                  <c:v>154.13999999999999</c:v>
                </c:pt>
                <c:pt idx="1967">
                  <c:v>153.68</c:v>
                </c:pt>
                <c:pt idx="1968">
                  <c:v>153.72</c:v>
                </c:pt>
                <c:pt idx="1969">
                  <c:v>154.43</c:v>
                </c:pt>
                <c:pt idx="1970">
                  <c:v>154.69</c:v>
                </c:pt>
                <c:pt idx="1971">
                  <c:v>175.72</c:v>
                </c:pt>
                <c:pt idx="1972">
                  <c:v>169.29999000000001</c:v>
                </c:pt>
                <c:pt idx="1973">
                  <c:v>173.94</c:v>
                </c:pt>
                <c:pt idx="1974">
                  <c:v>173.12</c:v>
                </c:pt>
                <c:pt idx="1975">
                  <c:v>173.54999000000001</c:v>
                </c:pt>
                <c:pt idx="1976">
                  <c:v>172.89</c:v>
                </c:pt>
                <c:pt idx="1977">
                  <c:v>170.68998999999999</c:v>
                </c:pt>
                <c:pt idx="1978">
                  <c:v>170.45</c:v>
                </c:pt>
                <c:pt idx="1979">
                  <c:v>173.54999000000001</c:v>
                </c:pt>
                <c:pt idx="1980">
                  <c:v>173.73</c:v>
                </c:pt>
                <c:pt idx="1981">
                  <c:v>178.85999000000001</c:v>
                </c:pt>
                <c:pt idx="1982">
                  <c:v>177.3</c:v>
                </c:pt>
                <c:pt idx="1983">
                  <c:v>181.16998000000001</c:v>
                </c:pt>
                <c:pt idx="1984">
                  <c:v>181.18</c:v>
                </c:pt>
                <c:pt idx="1985">
                  <c:v>177.67998</c:v>
                </c:pt>
                <c:pt idx="1986">
                  <c:v>178.43998999999999</c:v>
                </c:pt>
                <c:pt idx="1987">
                  <c:v>179.11998</c:v>
                </c:pt>
                <c:pt idx="1988">
                  <c:v>178.58</c:v>
                </c:pt>
                <c:pt idx="1989">
                  <c:v>178.69</c:v>
                </c:pt>
                <c:pt idx="1990">
                  <c:v>179.09</c:v>
                </c:pt>
                <c:pt idx="1991">
                  <c:v>175.99</c:v>
                </c:pt>
                <c:pt idx="1992">
                  <c:v>176.12</c:v>
                </c:pt>
                <c:pt idx="1993">
                  <c:v>173.43</c:v>
                </c:pt>
                <c:pt idx="1994">
                  <c:v>171.44</c:v>
                </c:pt>
                <c:pt idx="1995">
                  <c:v>172.26</c:v>
                </c:pt>
                <c:pt idx="1996">
                  <c:v>173.64</c:v>
                </c:pt>
                <c:pt idx="1997">
                  <c:v>171.28</c:v>
                </c:pt>
                <c:pt idx="1998">
                  <c:v>172.78</c:v>
                </c:pt>
                <c:pt idx="1999">
                  <c:v>171.89</c:v>
                </c:pt>
                <c:pt idx="2000">
                  <c:v>169.55998</c:v>
                </c:pt>
                <c:pt idx="2001">
                  <c:v>163.03</c:v>
                </c:pt>
                <c:pt idx="2002">
                  <c:v>171.88</c:v>
                </c:pt>
                <c:pt idx="2003">
                  <c:v>168.16998000000001</c:v>
                </c:pt>
                <c:pt idx="2004">
                  <c:v>170.97</c:v>
                </c:pt>
                <c:pt idx="2005">
                  <c:v>176.96</c:v>
                </c:pt>
                <c:pt idx="2006">
                  <c:v>176.43</c:v>
                </c:pt>
                <c:pt idx="2007">
                  <c:v>180.23</c:v>
                </c:pt>
                <c:pt idx="2008">
                  <c:v>181.16</c:v>
                </c:pt>
                <c:pt idx="2009">
                  <c:v>190</c:v>
                </c:pt>
                <c:pt idx="2010">
                  <c:v>188.20999</c:v>
                </c:pt>
                <c:pt idx="2011">
                  <c:v>189.62998999999999</c:v>
                </c:pt>
                <c:pt idx="2012">
                  <c:v>190.91</c:v>
                </c:pt>
                <c:pt idx="2013">
                  <c:v>187.67</c:v>
                </c:pt>
                <c:pt idx="2014">
                  <c:v>186.35</c:v>
                </c:pt>
                <c:pt idx="2015">
                  <c:v>186.44</c:v>
                </c:pt>
                <c:pt idx="2016">
                  <c:v>183</c:v>
                </c:pt>
                <c:pt idx="2017">
                  <c:v>183.65</c:v>
                </c:pt>
                <c:pt idx="2018">
                  <c:v>191.75998000000001</c:v>
                </c:pt>
                <c:pt idx="2019">
                  <c:v>197.08998</c:v>
                </c:pt>
                <c:pt idx="2020">
                  <c:v>197.50998000000001</c:v>
                </c:pt>
                <c:pt idx="2021">
                  <c:v>190.98</c:v>
                </c:pt>
                <c:pt idx="2022">
                  <c:v>189.04</c:v>
                </c:pt>
                <c:pt idx="2023">
                  <c:v>194.98</c:v>
                </c:pt>
                <c:pt idx="2024">
                  <c:v>193.94</c:v>
                </c:pt>
                <c:pt idx="2025">
                  <c:v>192.25998000000001</c:v>
                </c:pt>
                <c:pt idx="2026">
                  <c:v>188.03</c:v>
                </c:pt>
                <c:pt idx="2027">
                  <c:v>189.98999000000001</c:v>
                </c:pt>
                <c:pt idx="2028">
                  <c:v>201.91</c:v>
                </c:pt>
                <c:pt idx="2029">
                  <c:v>194.51</c:v>
                </c:pt>
                <c:pt idx="2030">
                  <c:v>195.06</c:v>
                </c:pt>
                <c:pt idx="2031">
                  <c:v>196.75</c:v>
                </c:pt>
                <c:pt idx="2032">
                  <c:v>197.16</c:v>
                </c:pt>
                <c:pt idx="2033">
                  <c:v>196.76</c:v>
                </c:pt>
                <c:pt idx="2034">
                  <c:v>194.24</c:v>
                </c:pt>
                <c:pt idx="2035">
                  <c:v>195.24</c:v>
                </c:pt>
                <c:pt idx="2036">
                  <c:v>192.27997999999999</c:v>
                </c:pt>
                <c:pt idx="2037">
                  <c:v>191.14</c:v>
                </c:pt>
                <c:pt idx="2038">
                  <c:v>192.85999000000001</c:v>
                </c:pt>
                <c:pt idx="2039">
                  <c:v>188.73</c:v>
                </c:pt>
                <c:pt idx="2040">
                  <c:v>184.72</c:v>
                </c:pt>
                <c:pt idx="2041">
                  <c:v>186.91</c:v>
                </c:pt>
                <c:pt idx="2042">
                  <c:v>185.92</c:v>
                </c:pt>
                <c:pt idx="2043">
                  <c:v>184.85</c:v>
                </c:pt>
                <c:pt idx="2044">
                  <c:v>185.52997999999999</c:v>
                </c:pt>
                <c:pt idx="2045">
                  <c:v>184.52</c:v>
                </c:pt>
                <c:pt idx="2046">
                  <c:v>188.96999</c:v>
                </c:pt>
                <c:pt idx="2047">
                  <c:v>188.49997999999999</c:v>
                </c:pt>
                <c:pt idx="2048">
                  <c:v>189.73</c:v>
                </c:pt>
                <c:pt idx="2049">
                  <c:v>187.56</c:v>
                </c:pt>
                <c:pt idx="2050">
                  <c:v>187.32</c:v>
                </c:pt>
                <c:pt idx="2051">
                  <c:v>187.89</c:v>
                </c:pt>
                <c:pt idx="2052">
                  <c:v>186.49</c:v>
                </c:pt>
                <c:pt idx="2053">
                  <c:v>185.49</c:v>
                </c:pt>
                <c:pt idx="2054">
                  <c:v>187.46</c:v>
                </c:pt>
                <c:pt idx="2055">
                  <c:v>185.93001000000001</c:v>
                </c:pt>
                <c:pt idx="2056">
                  <c:v>187.26</c:v>
                </c:pt>
                <c:pt idx="2057">
                  <c:v>187.43001000000001</c:v>
                </c:pt>
                <c:pt idx="2058">
                  <c:v>182.79</c:v>
                </c:pt>
                <c:pt idx="2059">
                  <c:v>183.10999000000001</c:v>
                </c:pt>
                <c:pt idx="2060">
                  <c:v>182.76</c:v>
                </c:pt>
                <c:pt idx="2061">
                  <c:v>183.02</c:v>
                </c:pt>
                <c:pt idx="2062">
                  <c:v>184.26999000000001</c:v>
                </c:pt>
                <c:pt idx="2063">
                  <c:v>184.63998000000001</c:v>
                </c:pt>
                <c:pt idx="2064">
                  <c:v>183.39</c:v>
                </c:pt>
                <c:pt idx="2065">
                  <c:v>185.33</c:v>
                </c:pt>
                <c:pt idx="2066">
                  <c:v>186.01999000000001</c:v>
                </c:pt>
                <c:pt idx="2067">
                  <c:v>185.51000999999999</c:v>
                </c:pt>
                <c:pt idx="2068">
                  <c:v>184.25</c:v>
                </c:pt>
                <c:pt idx="2069">
                  <c:v>181.51</c:v>
                </c:pt>
                <c:pt idx="2070">
                  <c:v>181.79</c:v>
                </c:pt>
                <c:pt idx="2071">
                  <c:v>184.84</c:v>
                </c:pt>
                <c:pt idx="2072">
                  <c:v>184.3</c:v>
                </c:pt>
                <c:pt idx="2073">
                  <c:v>181.66998000000001</c:v>
                </c:pt>
                <c:pt idx="2074">
                  <c:v>177.84998999999999</c:v>
                </c:pt>
                <c:pt idx="2075">
                  <c:v>178.34</c:v>
                </c:pt>
                <c:pt idx="2076">
                  <c:v>173.7</c:v>
                </c:pt>
                <c:pt idx="2077">
                  <c:v>170.07999000000001</c:v>
                </c:pt>
                <c:pt idx="2078">
                  <c:v>169.68</c:v>
                </c:pt>
                <c:pt idx="2079">
                  <c:v>169.26999000000001</c:v>
                </c:pt>
                <c:pt idx="2080">
                  <c:v>171.36</c:v>
                </c:pt>
                <c:pt idx="2081">
                  <c:v>172.40001000000001</c:v>
                </c:pt>
                <c:pt idx="2082">
                  <c:v>174.31</c:v>
                </c:pt>
                <c:pt idx="2083">
                  <c:v>176.17</c:v>
                </c:pt>
                <c:pt idx="2084">
                  <c:v>176.46999</c:v>
                </c:pt>
                <c:pt idx="2085">
                  <c:v>179.04</c:v>
                </c:pt>
                <c:pt idx="2086">
                  <c:v>178.65001000000001</c:v>
                </c:pt>
                <c:pt idx="2087">
                  <c:v>178.84</c:v>
                </c:pt>
                <c:pt idx="2088">
                  <c:v>177</c:v>
                </c:pt>
                <c:pt idx="2089">
                  <c:v>176.24</c:v>
                </c:pt>
                <c:pt idx="2090">
                  <c:v>177.18001000000001</c:v>
                </c:pt>
                <c:pt idx="2091">
                  <c:v>176.98999000000001</c:v>
                </c:pt>
                <c:pt idx="2092">
                  <c:v>176.33</c:v>
                </c:pt>
                <c:pt idx="2093">
                  <c:v>176.04</c:v>
                </c:pt>
                <c:pt idx="2094">
                  <c:v>176.56998999999999</c:v>
                </c:pt>
                <c:pt idx="2095">
                  <c:v>177.37998999999999</c:v>
                </c:pt>
                <c:pt idx="2096">
                  <c:v>178.18001000000001</c:v>
                </c:pt>
                <c:pt idx="2097">
                  <c:v>175.86</c:v>
                </c:pt>
                <c:pt idx="2098">
                  <c:v>174.66</c:v>
                </c:pt>
                <c:pt idx="2099">
                  <c:v>174.65</c:v>
                </c:pt>
                <c:pt idx="2100">
                  <c:v>172.42</c:v>
                </c:pt>
                <c:pt idx="2101">
                  <c:v>173.96999</c:v>
                </c:pt>
                <c:pt idx="2102">
                  <c:v>173.49997999999999</c:v>
                </c:pt>
                <c:pt idx="2103">
                  <c:v>175.33</c:v>
                </c:pt>
                <c:pt idx="2104">
                  <c:v>177.93</c:v>
                </c:pt>
                <c:pt idx="2105">
                  <c:v>178.34998999999999</c:v>
                </c:pt>
                <c:pt idx="2106">
                  <c:v>176.56998999999999</c:v>
                </c:pt>
                <c:pt idx="2107">
                  <c:v>173.93</c:v>
                </c:pt>
                <c:pt idx="2108">
                  <c:v>175.77</c:v>
                </c:pt>
                <c:pt idx="2109">
                  <c:v>177.26000999999999</c:v>
                </c:pt>
              </c:numCache>
            </c:numRef>
          </c:val>
          <c:smooth val="0"/>
          <c:extLst>
            <c:ext xmlns:c16="http://schemas.microsoft.com/office/drawing/2014/chart" uri="{C3380CC4-5D6E-409C-BE32-E72D297353CC}">
              <c16:uniqueId val="{00000000-2D94-3E47-9F2A-6F98A173A096}"/>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52.974080000000001</c:v>
                </c:pt>
                <c:pt idx="1">
                  <c:v>52.903216999999998</c:v>
                </c:pt>
                <c:pt idx="2">
                  <c:v>52.478943000000001</c:v>
                </c:pt>
                <c:pt idx="3">
                  <c:v>52.580150000000003</c:v>
                </c:pt>
                <c:pt idx="4">
                  <c:v>52.457920000000001</c:v>
                </c:pt>
                <c:pt idx="5">
                  <c:v>52.394917</c:v>
                </c:pt>
                <c:pt idx="6">
                  <c:v>52.427784000000003</c:v>
                </c:pt>
                <c:pt idx="7">
                  <c:v>52.137680000000003</c:v>
                </c:pt>
                <c:pt idx="8">
                  <c:v>52.185302999999998</c:v>
                </c:pt>
                <c:pt idx="9">
                  <c:v>52.322116999999999</c:v>
                </c:pt>
                <c:pt idx="10">
                  <c:v>52.475147</c:v>
                </c:pt>
                <c:pt idx="11">
                  <c:v>52.506664000000001</c:v>
                </c:pt>
                <c:pt idx="12">
                  <c:v>52.670876</c:v>
                </c:pt>
                <c:pt idx="13">
                  <c:v>52.827174999999997</c:v>
                </c:pt>
                <c:pt idx="14">
                  <c:v>53.008200000000002</c:v>
                </c:pt>
                <c:pt idx="15">
                  <c:v>53.143528000000003</c:v>
                </c:pt>
                <c:pt idx="16">
                  <c:v>53.078586999999999</c:v>
                </c:pt>
                <c:pt idx="17">
                  <c:v>53.13935</c:v>
                </c:pt>
                <c:pt idx="18">
                  <c:v>53.143616000000002</c:v>
                </c:pt>
                <c:pt idx="19">
                  <c:v>53.274276999999998</c:v>
                </c:pt>
                <c:pt idx="20">
                  <c:v>53.410606000000001</c:v>
                </c:pt>
                <c:pt idx="21">
                  <c:v>53.190173999999999</c:v>
                </c:pt>
                <c:pt idx="22">
                  <c:v>53.375107</c:v>
                </c:pt>
                <c:pt idx="23">
                  <c:v>53.261800000000001</c:v>
                </c:pt>
                <c:pt idx="24">
                  <c:v>53.453625000000002</c:v>
                </c:pt>
                <c:pt idx="25">
                  <c:v>53.497750000000003</c:v>
                </c:pt>
                <c:pt idx="26">
                  <c:v>53.588164999999996</c:v>
                </c:pt>
                <c:pt idx="27">
                  <c:v>53.459049999999998</c:v>
                </c:pt>
                <c:pt idx="28">
                  <c:v>53.634987000000002</c:v>
                </c:pt>
                <c:pt idx="29">
                  <c:v>53.6203</c:v>
                </c:pt>
                <c:pt idx="30">
                  <c:v>53.655684999999998</c:v>
                </c:pt>
                <c:pt idx="31">
                  <c:v>53.6143</c:v>
                </c:pt>
                <c:pt idx="32">
                  <c:v>53.662309999999998</c:v>
                </c:pt>
                <c:pt idx="33">
                  <c:v>53.487273999999999</c:v>
                </c:pt>
                <c:pt idx="34">
                  <c:v>53.505446999999997</c:v>
                </c:pt>
                <c:pt idx="35">
                  <c:v>53.433056000000001</c:v>
                </c:pt>
                <c:pt idx="36">
                  <c:v>53.371184999999997</c:v>
                </c:pt>
                <c:pt idx="37">
                  <c:v>53.466327999999997</c:v>
                </c:pt>
                <c:pt idx="38">
                  <c:v>53.760240000000003</c:v>
                </c:pt>
                <c:pt idx="39">
                  <c:v>54.024135999999999</c:v>
                </c:pt>
                <c:pt idx="40">
                  <c:v>54.212029999999999</c:v>
                </c:pt>
                <c:pt idx="41">
                  <c:v>53.858049999999999</c:v>
                </c:pt>
                <c:pt idx="42">
                  <c:v>53.834476000000002</c:v>
                </c:pt>
                <c:pt idx="43">
                  <c:v>53.594287999999999</c:v>
                </c:pt>
                <c:pt idx="44">
                  <c:v>53.423335999999999</c:v>
                </c:pt>
                <c:pt idx="45">
                  <c:v>53.442489999999999</c:v>
                </c:pt>
                <c:pt idx="46">
                  <c:v>53.703130000000002</c:v>
                </c:pt>
                <c:pt idx="47">
                  <c:v>54.060493000000001</c:v>
                </c:pt>
                <c:pt idx="48">
                  <c:v>54.26764</c:v>
                </c:pt>
                <c:pt idx="49">
                  <c:v>54.466515000000001</c:v>
                </c:pt>
                <c:pt idx="50">
                  <c:v>54.497757</c:v>
                </c:pt>
                <c:pt idx="51">
                  <c:v>54.544525</c:v>
                </c:pt>
                <c:pt idx="52">
                  <c:v>54.540439999999997</c:v>
                </c:pt>
                <c:pt idx="53">
                  <c:v>54.421073999999997</c:v>
                </c:pt>
                <c:pt idx="54">
                  <c:v>54.566783999999998</c:v>
                </c:pt>
                <c:pt idx="55">
                  <c:v>55.005074</c:v>
                </c:pt>
                <c:pt idx="56">
                  <c:v>55.867313000000003</c:v>
                </c:pt>
                <c:pt idx="57">
                  <c:v>54.973815999999999</c:v>
                </c:pt>
                <c:pt idx="58">
                  <c:v>55.183369999999996</c:v>
                </c:pt>
                <c:pt idx="59">
                  <c:v>55.481453000000002</c:v>
                </c:pt>
                <c:pt idx="60">
                  <c:v>55.918343</c:v>
                </c:pt>
                <c:pt idx="61">
                  <c:v>56.402509999999999</c:v>
                </c:pt>
                <c:pt idx="62">
                  <c:v>56.705306999999998</c:v>
                </c:pt>
                <c:pt idx="63">
                  <c:v>57.019035000000002</c:v>
                </c:pt>
                <c:pt idx="64">
                  <c:v>57.087960000000002</c:v>
                </c:pt>
                <c:pt idx="65">
                  <c:v>57.235460000000003</c:v>
                </c:pt>
                <c:pt idx="66">
                  <c:v>57.415874000000002</c:v>
                </c:pt>
                <c:pt idx="67">
                  <c:v>57.518619999999999</c:v>
                </c:pt>
                <c:pt idx="68">
                  <c:v>57.432022000000003</c:v>
                </c:pt>
                <c:pt idx="69">
                  <c:v>57.328364999999998</c:v>
                </c:pt>
                <c:pt idx="70">
                  <c:v>57.226692</c:v>
                </c:pt>
                <c:pt idx="71">
                  <c:v>57.319070000000004</c:v>
                </c:pt>
                <c:pt idx="72">
                  <c:v>57.397709999999996</c:v>
                </c:pt>
                <c:pt idx="73">
                  <c:v>57.357402999999998</c:v>
                </c:pt>
                <c:pt idx="74">
                  <c:v>57.151108000000001</c:v>
                </c:pt>
                <c:pt idx="75">
                  <c:v>57.144260000000003</c:v>
                </c:pt>
                <c:pt idx="76">
                  <c:v>57.073425</c:v>
                </c:pt>
                <c:pt idx="77">
                  <c:v>56.736114999999998</c:v>
                </c:pt>
                <c:pt idx="78">
                  <c:v>56.578136000000001</c:v>
                </c:pt>
                <c:pt idx="79">
                  <c:v>56.706862999999998</c:v>
                </c:pt>
                <c:pt idx="80">
                  <c:v>58.552140000000001</c:v>
                </c:pt>
                <c:pt idx="81">
                  <c:v>56.738815000000002</c:v>
                </c:pt>
                <c:pt idx="82">
                  <c:v>56.408313999999997</c:v>
                </c:pt>
                <c:pt idx="83">
                  <c:v>56.449150000000003</c:v>
                </c:pt>
                <c:pt idx="84">
                  <c:v>56.414610000000003</c:v>
                </c:pt>
                <c:pt idx="85">
                  <c:v>56.423020000000001</c:v>
                </c:pt>
                <c:pt idx="86">
                  <c:v>56.639557000000003</c:v>
                </c:pt>
                <c:pt idx="87">
                  <c:v>56.472855000000003</c:v>
                </c:pt>
                <c:pt idx="88">
                  <c:v>55.708613999999997</c:v>
                </c:pt>
                <c:pt idx="89">
                  <c:v>55.207127</c:v>
                </c:pt>
                <c:pt idx="90">
                  <c:v>54.914214999999999</c:v>
                </c:pt>
                <c:pt idx="91">
                  <c:v>54.906227000000001</c:v>
                </c:pt>
                <c:pt idx="92">
                  <c:v>55.151474</c:v>
                </c:pt>
                <c:pt idx="93">
                  <c:v>55.504855999999997</c:v>
                </c:pt>
                <c:pt idx="94">
                  <c:v>55.385914</c:v>
                </c:pt>
                <c:pt idx="95">
                  <c:v>55.424103000000002</c:v>
                </c:pt>
                <c:pt idx="96">
                  <c:v>55.422460000000001</c:v>
                </c:pt>
                <c:pt idx="97">
                  <c:v>55.595844</c:v>
                </c:pt>
                <c:pt idx="98">
                  <c:v>55.679512000000003</c:v>
                </c:pt>
                <c:pt idx="99">
                  <c:v>55.750996000000001</c:v>
                </c:pt>
                <c:pt idx="100">
                  <c:v>55.993716999999997</c:v>
                </c:pt>
                <c:pt idx="101">
                  <c:v>56.120902999999998</c:v>
                </c:pt>
                <c:pt idx="102">
                  <c:v>56.380817</c:v>
                </c:pt>
                <c:pt idx="103">
                  <c:v>56.78051</c:v>
                </c:pt>
                <c:pt idx="104">
                  <c:v>57.109287000000002</c:v>
                </c:pt>
                <c:pt idx="105">
                  <c:v>57.255189999999999</c:v>
                </c:pt>
                <c:pt idx="106">
                  <c:v>57.394370000000002</c:v>
                </c:pt>
                <c:pt idx="107">
                  <c:v>57.631210000000003</c:v>
                </c:pt>
                <c:pt idx="108">
                  <c:v>57.752665999999998</c:v>
                </c:pt>
                <c:pt idx="109">
                  <c:v>57.960889999999999</c:v>
                </c:pt>
                <c:pt idx="110">
                  <c:v>58.145381999999998</c:v>
                </c:pt>
                <c:pt idx="111">
                  <c:v>58.137813999999999</c:v>
                </c:pt>
                <c:pt idx="112">
                  <c:v>58.13158</c:v>
                </c:pt>
                <c:pt idx="113">
                  <c:v>58.178584999999998</c:v>
                </c:pt>
                <c:pt idx="114">
                  <c:v>58.228070000000002</c:v>
                </c:pt>
                <c:pt idx="115">
                  <c:v>58.181857999999998</c:v>
                </c:pt>
                <c:pt idx="116">
                  <c:v>58.137540000000001</c:v>
                </c:pt>
                <c:pt idx="117">
                  <c:v>58.358890000000002</c:v>
                </c:pt>
                <c:pt idx="118">
                  <c:v>58.573889999999999</c:v>
                </c:pt>
                <c:pt idx="119">
                  <c:v>58.685920000000003</c:v>
                </c:pt>
                <c:pt idx="120">
                  <c:v>58.533355999999998</c:v>
                </c:pt>
                <c:pt idx="121">
                  <c:v>58.268889999999999</c:v>
                </c:pt>
                <c:pt idx="122">
                  <c:v>58.312683</c:v>
                </c:pt>
                <c:pt idx="123">
                  <c:v>58.404426999999998</c:v>
                </c:pt>
                <c:pt idx="124">
                  <c:v>58.49718</c:v>
                </c:pt>
                <c:pt idx="125">
                  <c:v>58.724148</c:v>
                </c:pt>
                <c:pt idx="126">
                  <c:v>58.770744000000001</c:v>
                </c:pt>
                <c:pt idx="127">
                  <c:v>58.414709999999999</c:v>
                </c:pt>
                <c:pt idx="128">
                  <c:v>58.027892999999999</c:v>
                </c:pt>
                <c:pt idx="129">
                  <c:v>57.699196000000001</c:v>
                </c:pt>
                <c:pt idx="130">
                  <c:v>57.571494999999999</c:v>
                </c:pt>
                <c:pt idx="131">
                  <c:v>57.326169999999998</c:v>
                </c:pt>
                <c:pt idx="132">
                  <c:v>57.371853000000002</c:v>
                </c:pt>
                <c:pt idx="133">
                  <c:v>57.503734999999999</c:v>
                </c:pt>
                <c:pt idx="134">
                  <c:v>57.593269999999997</c:v>
                </c:pt>
                <c:pt idx="135">
                  <c:v>57.186570000000003</c:v>
                </c:pt>
                <c:pt idx="136">
                  <c:v>56.89817</c:v>
                </c:pt>
                <c:pt idx="137">
                  <c:v>56.765582999999999</c:v>
                </c:pt>
                <c:pt idx="138">
                  <c:v>56.539850000000001</c:v>
                </c:pt>
                <c:pt idx="139">
                  <c:v>56.358643000000001</c:v>
                </c:pt>
                <c:pt idx="140">
                  <c:v>56.193686999999997</c:v>
                </c:pt>
                <c:pt idx="141">
                  <c:v>56.414574000000002</c:v>
                </c:pt>
                <c:pt idx="142">
                  <c:v>56.596755999999999</c:v>
                </c:pt>
                <c:pt idx="143">
                  <c:v>56.952843000000001</c:v>
                </c:pt>
                <c:pt idx="144">
                  <c:v>57.273519999999998</c:v>
                </c:pt>
                <c:pt idx="145">
                  <c:v>57.56391</c:v>
                </c:pt>
                <c:pt idx="146">
                  <c:v>57.57817</c:v>
                </c:pt>
                <c:pt idx="147">
                  <c:v>57.737575999999997</c:v>
                </c:pt>
                <c:pt idx="148">
                  <c:v>58.153680000000001</c:v>
                </c:pt>
                <c:pt idx="149">
                  <c:v>58.751570000000001</c:v>
                </c:pt>
                <c:pt idx="150">
                  <c:v>59.377180000000003</c:v>
                </c:pt>
                <c:pt idx="151">
                  <c:v>59.807865</c:v>
                </c:pt>
                <c:pt idx="152">
                  <c:v>60.185912999999999</c:v>
                </c:pt>
                <c:pt idx="153">
                  <c:v>60.278193999999999</c:v>
                </c:pt>
                <c:pt idx="154">
                  <c:v>60.447519999999997</c:v>
                </c:pt>
                <c:pt idx="155">
                  <c:v>60.609363999999999</c:v>
                </c:pt>
                <c:pt idx="156">
                  <c:v>60.787075000000002</c:v>
                </c:pt>
                <c:pt idx="157">
                  <c:v>60.788032999999999</c:v>
                </c:pt>
                <c:pt idx="158">
                  <c:v>60.489113000000003</c:v>
                </c:pt>
                <c:pt idx="159">
                  <c:v>60.421233999999998</c:v>
                </c:pt>
                <c:pt idx="160">
                  <c:v>60.292990000000003</c:v>
                </c:pt>
                <c:pt idx="161">
                  <c:v>60.03246</c:v>
                </c:pt>
                <c:pt idx="162">
                  <c:v>59.985860000000002</c:v>
                </c:pt>
                <c:pt idx="163">
                  <c:v>59.765470000000001</c:v>
                </c:pt>
                <c:pt idx="164">
                  <c:v>59.177826000000003</c:v>
                </c:pt>
                <c:pt idx="165">
                  <c:v>58.652866000000003</c:v>
                </c:pt>
                <c:pt idx="166">
                  <c:v>58.733780000000003</c:v>
                </c:pt>
                <c:pt idx="167">
                  <c:v>59.090249999999997</c:v>
                </c:pt>
                <c:pt idx="168">
                  <c:v>59.480879999999999</c:v>
                </c:pt>
                <c:pt idx="169">
                  <c:v>59.566074</c:v>
                </c:pt>
                <c:pt idx="170">
                  <c:v>59.642769999999999</c:v>
                </c:pt>
                <c:pt idx="171">
                  <c:v>59.874634</c:v>
                </c:pt>
                <c:pt idx="172">
                  <c:v>60.172294999999998</c:v>
                </c:pt>
                <c:pt idx="173">
                  <c:v>60.50976</c:v>
                </c:pt>
                <c:pt idx="174">
                  <c:v>60.73319</c:v>
                </c:pt>
                <c:pt idx="175">
                  <c:v>60.874138000000002</c:v>
                </c:pt>
                <c:pt idx="176">
                  <c:v>60.958393000000001</c:v>
                </c:pt>
                <c:pt idx="177">
                  <c:v>61.194991999999999</c:v>
                </c:pt>
                <c:pt idx="178">
                  <c:v>61.598723999999997</c:v>
                </c:pt>
                <c:pt idx="179">
                  <c:v>62.158825</c:v>
                </c:pt>
                <c:pt idx="180">
                  <c:v>62.462048000000003</c:v>
                </c:pt>
                <c:pt idx="181">
                  <c:v>62.535384999999998</c:v>
                </c:pt>
                <c:pt idx="182">
                  <c:v>62.453026000000001</c:v>
                </c:pt>
                <c:pt idx="183">
                  <c:v>62.568866999999997</c:v>
                </c:pt>
                <c:pt idx="184">
                  <c:v>62.555897000000002</c:v>
                </c:pt>
                <c:pt idx="185">
                  <c:v>62.578960000000002</c:v>
                </c:pt>
                <c:pt idx="186">
                  <c:v>62.23865</c:v>
                </c:pt>
                <c:pt idx="187">
                  <c:v>62.21996</c:v>
                </c:pt>
                <c:pt idx="188">
                  <c:v>62.458770000000001</c:v>
                </c:pt>
                <c:pt idx="189">
                  <c:v>62.685425000000002</c:v>
                </c:pt>
                <c:pt idx="190">
                  <c:v>63.096755999999999</c:v>
                </c:pt>
                <c:pt idx="191">
                  <c:v>63.486370000000001</c:v>
                </c:pt>
                <c:pt idx="192">
                  <c:v>63.901949999999999</c:v>
                </c:pt>
                <c:pt idx="193">
                  <c:v>64.123313999999993</c:v>
                </c:pt>
                <c:pt idx="194">
                  <c:v>64.1036</c:v>
                </c:pt>
                <c:pt idx="195">
                  <c:v>63.936399999999999</c:v>
                </c:pt>
                <c:pt idx="196">
                  <c:v>63.989513000000002</c:v>
                </c:pt>
                <c:pt idx="197">
                  <c:v>64.179680000000005</c:v>
                </c:pt>
                <c:pt idx="198">
                  <c:v>65.690250000000006</c:v>
                </c:pt>
                <c:pt idx="199">
                  <c:v>64.391480000000001</c:v>
                </c:pt>
                <c:pt idx="200">
                  <c:v>64.939766000000006</c:v>
                </c:pt>
                <c:pt idx="201">
                  <c:v>65.443669999999997</c:v>
                </c:pt>
                <c:pt idx="202">
                  <c:v>65.742320000000007</c:v>
                </c:pt>
                <c:pt idx="203">
                  <c:v>65.885369999999995</c:v>
                </c:pt>
                <c:pt idx="204">
                  <c:v>65.733245999999994</c:v>
                </c:pt>
                <c:pt idx="205">
                  <c:v>65.336060000000003</c:v>
                </c:pt>
                <c:pt idx="206">
                  <c:v>65.203569999999999</c:v>
                </c:pt>
                <c:pt idx="207">
                  <c:v>65.20993</c:v>
                </c:pt>
                <c:pt idx="208">
                  <c:v>65.239879999999999</c:v>
                </c:pt>
                <c:pt idx="209">
                  <c:v>64.957909999999998</c:v>
                </c:pt>
                <c:pt idx="210">
                  <c:v>64.634094000000005</c:v>
                </c:pt>
                <c:pt idx="211">
                  <c:v>64.516369999999995</c:v>
                </c:pt>
                <c:pt idx="212">
                  <c:v>64.674589999999995</c:v>
                </c:pt>
                <c:pt idx="213">
                  <c:v>64.843670000000003</c:v>
                </c:pt>
                <c:pt idx="214">
                  <c:v>65.365219999999994</c:v>
                </c:pt>
                <c:pt idx="215">
                  <c:v>65.798546000000002</c:v>
                </c:pt>
                <c:pt idx="216">
                  <c:v>66.011030000000005</c:v>
                </c:pt>
                <c:pt idx="217">
                  <c:v>66.324359999999999</c:v>
                </c:pt>
                <c:pt idx="218">
                  <c:v>67.024910000000006</c:v>
                </c:pt>
                <c:pt idx="219">
                  <c:v>67.560646000000006</c:v>
                </c:pt>
                <c:pt idx="220">
                  <c:v>67.882429999999999</c:v>
                </c:pt>
                <c:pt idx="221">
                  <c:v>67.809783999999993</c:v>
                </c:pt>
                <c:pt idx="222">
                  <c:v>67.883269999999996</c:v>
                </c:pt>
                <c:pt idx="223">
                  <c:v>67.843315000000004</c:v>
                </c:pt>
                <c:pt idx="224">
                  <c:v>67.991209999999995</c:v>
                </c:pt>
                <c:pt idx="225">
                  <c:v>68.138829999999999</c:v>
                </c:pt>
                <c:pt idx="226">
                  <c:v>68.529563999999993</c:v>
                </c:pt>
                <c:pt idx="227">
                  <c:v>68.763409999999993</c:v>
                </c:pt>
                <c:pt idx="228">
                  <c:v>69.068920000000006</c:v>
                </c:pt>
                <c:pt idx="229">
                  <c:v>69.409310000000005</c:v>
                </c:pt>
                <c:pt idx="230">
                  <c:v>69.524924999999996</c:v>
                </c:pt>
                <c:pt idx="231">
                  <c:v>69.771540000000002</c:v>
                </c:pt>
                <c:pt idx="232">
                  <c:v>69.724670000000003</c:v>
                </c:pt>
                <c:pt idx="233">
                  <c:v>69.446200000000005</c:v>
                </c:pt>
                <c:pt idx="234">
                  <c:v>69.076999999999998</c:v>
                </c:pt>
                <c:pt idx="235">
                  <c:v>68.911026000000007</c:v>
                </c:pt>
                <c:pt idx="236">
                  <c:v>69.020060000000001</c:v>
                </c:pt>
                <c:pt idx="237">
                  <c:v>68.988079999999997</c:v>
                </c:pt>
                <c:pt idx="238">
                  <c:v>68.418539999999993</c:v>
                </c:pt>
                <c:pt idx="239">
                  <c:v>67.739875999999995</c:v>
                </c:pt>
                <c:pt idx="240">
                  <c:v>67.479259999999996</c:v>
                </c:pt>
                <c:pt idx="241">
                  <c:v>67.276579999999996</c:v>
                </c:pt>
                <c:pt idx="242">
                  <c:v>67.533134000000004</c:v>
                </c:pt>
                <c:pt idx="243">
                  <c:v>67.642290000000003</c:v>
                </c:pt>
                <c:pt idx="244">
                  <c:v>67.017105000000001</c:v>
                </c:pt>
                <c:pt idx="245">
                  <c:v>66.488849999999999</c:v>
                </c:pt>
                <c:pt idx="246">
                  <c:v>66.667360000000002</c:v>
                </c:pt>
                <c:pt idx="247">
                  <c:v>65.649150000000006</c:v>
                </c:pt>
                <c:pt idx="248">
                  <c:v>66.010869999999997</c:v>
                </c:pt>
                <c:pt idx="249">
                  <c:v>66.465540000000004</c:v>
                </c:pt>
                <c:pt idx="250">
                  <c:v>67.219480000000004</c:v>
                </c:pt>
                <c:pt idx="251">
                  <c:v>67.772390000000001</c:v>
                </c:pt>
                <c:pt idx="252">
                  <c:v>68.413086000000007</c:v>
                </c:pt>
                <c:pt idx="253">
                  <c:v>68.905230000000003</c:v>
                </c:pt>
                <c:pt idx="254">
                  <c:v>69.295950000000005</c:v>
                </c:pt>
                <c:pt idx="255">
                  <c:v>69.31044</c:v>
                </c:pt>
                <c:pt idx="256">
                  <c:v>69.590969999999999</c:v>
                </c:pt>
                <c:pt idx="257">
                  <c:v>69.648960000000002</c:v>
                </c:pt>
                <c:pt idx="258">
                  <c:v>70.178275999999997</c:v>
                </c:pt>
                <c:pt idx="259">
                  <c:v>71.014979999999994</c:v>
                </c:pt>
                <c:pt idx="260">
                  <c:v>72.409790000000001</c:v>
                </c:pt>
                <c:pt idx="261">
                  <c:v>72.872579999999999</c:v>
                </c:pt>
                <c:pt idx="262">
                  <c:v>73.486220000000003</c:v>
                </c:pt>
                <c:pt idx="263">
                  <c:v>73.497200000000007</c:v>
                </c:pt>
                <c:pt idx="264">
                  <c:v>73.414199999999994</c:v>
                </c:pt>
                <c:pt idx="265">
                  <c:v>73.057180000000002</c:v>
                </c:pt>
                <c:pt idx="266">
                  <c:v>72.744709999999998</c:v>
                </c:pt>
                <c:pt idx="267">
                  <c:v>72.506280000000004</c:v>
                </c:pt>
                <c:pt idx="268">
                  <c:v>72.374529999999993</c:v>
                </c:pt>
                <c:pt idx="269">
                  <c:v>72.154619999999994</c:v>
                </c:pt>
                <c:pt idx="270">
                  <c:v>72.169600000000003</c:v>
                </c:pt>
                <c:pt idx="271">
                  <c:v>71.914599999999993</c:v>
                </c:pt>
                <c:pt idx="272">
                  <c:v>71.863784999999993</c:v>
                </c:pt>
                <c:pt idx="273">
                  <c:v>72.202179999999998</c:v>
                </c:pt>
                <c:pt idx="274">
                  <c:v>72.657646</c:v>
                </c:pt>
                <c:pt idx="275">
                  <c:v>73.003524999999996</c:v>
                </c:pt>
                <c:pt idx="276">
                  <c:v>73.396969999999996</c:v>
                </c:pt>
                <c:pt idx="277">
                  <c:v>73.24991</c:v>
                </c:pt>
                <c:pt idx="278">
                  <c:v>73.088759999999994</c:v>
                </c:pt>
                <c:pt idx="279">
                  <c:v>72.981020000000001</c:v>
                </c:pt>
                <c:pt idx="280">
                  <c:v>72.570620000000005</c:v>
                </c:pt>
                <c:pt idx="281">
                  <c:v>72.075965999999994</c:v>
                </c:pt>
                <c:pt idx="282">
                  <c:v>71.84357</c:v>
                </c:pt>
                <c:pt idx="283">
                  <c:v>71.893320000000003</c:v>
                </c:pt>
                <c:pt idx="284">
                  <c:v>72.377889999999994</c:v>
                </c:pt>
                <c:pt idx="285">
                  <c:v>73.022803999999994</c:v>
                </c:pt>
                <c:pt idx="286">
                  <c:v>73.697479999999999</c:v>
                </c:pt>
                <c:pt idx="287">
                  <c:v>73.542434999999998</c:v>
                </c:pt>
                <c:pt idx="288">
                  <c:v>73.025925000000001</c:v>
                </c:pt>
                <c:pt idx="289">
                  <c:v>72.596869999999996</c:v>
                </c:pt>
                <c:pt idx="290">
                  <c:v>72.565285000000003</c:v>
                </c:pt>
                <c:pt idx="291">
                  <c:v>72.273539999999997</c:v>
                </c:pt>
                <c:pt idx="292">
                  <c:v>71.859089999999995</c:v>
                </c:pt>
                <c:pt idx="293">
                  <c:v>71.737369999999999</c:v>
                </c:pt>
                <c:pt idx="294">
                  <c:v>71.886925000000005</c:v>
                </c:pt>
                <c:pt idx="295">
                  <c:v>72.353269999999995</c:v>
                </c:pt>
                <c:pt idx="296">
                  <c:v>72.826614000000006</c:v>
                </c:pt>
                <c:pt idx="297">
                  <c:v>73.090996000000004</c:v>
                </c:pt>
                <c:pt idx="298">
                  <c:v>73.408966000000007</c:v>
                </c:pt>
                <c:pt idx="299">
                  <c:v>73.41534</c:v>
                </c:pt>
                <c:pt idx="300">
                  <c:v>73.298996000000002</c:v>
                </c:pt>
                <c:pt idx="301">
                  <c:v>72.681650000000005</c:v>
                </c:pt>
                <c:pt idx="302">
                  <c:v>72.210890000000006</c:v>
                </c:pt>
                <c:pt idx="303">
                  <c:v>72.161270000000002</c:v>
                </c:pt>
                <c:pt idx="304">
                  <c:v>73.419989999999999</c:v>
                </c:pt>
                <c:pt idx="305">
                  <c:v>73.155524999999997</c:v>
                </c:pt>
                <c:pt idx="306">
                  <c:v>73.785820000000001</c:v>
                </c:pt>
                <c:pt idx="307">
                  <c:v>74.177040000000005</c:v>
                </c:pt>
                <c:pt idx="308">
                  <c:v>74.033869999999993</c:v>
                </c:pt>
                <c:pt idx="309">
                  <c:v>74.041319999999999</c:v>
                </c:pt>
                <c:pt idx="310">
                  <c:v>73.965860000000006</c:v>
                </c:pt>
                <c:pt idx="311">
                  <c:v>73.805533999999994</c:v>
                </c:pt>
                <c:pt idx="312">
                  <c:v>73.946719999999999</c:v>
                </c:pt>
                <c:pt idx="313">
                  <c:v>73.948269999999994</c:v>
                </c:pt>
                <c:pt idx="314">
                  <c:v>73.789529999999999</c:v>
                </c:pt>
                <c:pt idx="315">
                  <c:v>73.486249999999998</c:v>
                </c:pt>
                <c:pt idx="316">
                  <c:v>73.554810000000003</c:v>
                </c:pt>
                <c:pt idx="317">
                  <c:v>73.644030000000001</c:v>
                </c:pt>
                <c:pt idx="318">
                  <c:v>73.563934000000003</c:v>
                </c:pt>
                <c:pt idx="319">
                  <c:v>73.8613</c:v>
                </c:pt>
                <c:pt idx="320">
                  <c:v>74.311310000000006</c:v>
                </c:pt>
                <c:pt idx="321">
                  <c:v>74.661330000000007</c:v>
                </c:pt>
                <c:pt idx="322">
                  <c:v>75.147360000000006</c:v>
                </c:pt>
                <c:pt idx="323">
                  <c:v>75.737579999999994</c:v>
                </c:pt>
                <c:pt idx="324">
                  <c:v>76.008390000000006</c:v>
                </c:pt>
                <c:pt idx="325">
                  <c:v>75.870189999999994</c:v>
                </c:pt>
                <c:pt idx="326">
                  <c:v>75.384029999999996</c:v>
                </c:pt>
                <c:pt idx="327">
                  <c:v>74.883520000000004</c:v>
                </c:pt>
                <c:pt idx="328">
                  <c:v>74.675460000000001</c:v>
                </c:pt>
                <c:pt idx="329">
                  <c:v>74.934489999999997</c:v>
                </c:pt>
                <c:pt idx="330">
                  <c:v>75.384383999999997</c:v>
                </c:pt>
                <c:pt idx="331">
                  <c:v>75.725290000000001</c:v>
                </c:pt>
                <c:pt idx="332">
                  <c:v>76.00985</c:v>
                </c:pt>
                <c:pt idx="333">
                  <c:v>76.376159999999999</c:v>
                </c:pt>
                <c:pt idx="334">
                  <c:v>76.240264999999994</c:v>
                </c:pt>
                <c:pt idx="335">
                  <c:v>76.207210000000003</c:v>
                </c:pt>
                <c:pt idx="336">
                  <c:v>76.184119999999993</c:v>
                </c:pt>
                <c:pt idx="337">
                  <c:v>76.514979999999994</c:v>
                </c:pt>
                <c:pt idx="338">
                  <c:v>76.656170000000003</c:v>
                </c:pt>
                <c:pt idx="339">
                  <c:v>76.681244000000007</c:v>
                </c:pt>
                <c:pt idx="340">
                  <c:v>76.71651</c:v>
                </c:pt>
                <c:pt idx="341">
                  <c:v>76.983440000000002</c:v>
                </c:pt>
                <c:pt idx="342">
                  <c:v>79.551659999999998</c:v>
                </c:pt>
                <c:pt idx="343">
                  <c:v>77.262314000000003</c:v>
                </c:pt>
                <c:pt idx="344">
                  <c:v>77.338040000000007</c:v>
                </c:pt>
                <c:pt idx="345">
                  <c:v>77.268960000000007</c:v>
                </c:pt>
                <c:pt idx="346">
                  <c:v>77.244230000000002</c:v>
                </c:pt>
                <c:pt idx="347">
                  <c:v>77.614189999999994</c:v>
                </c:pt>
                <c:pt idx="348">
                  <c:v>78.255454999999998</c:v>
                </c:pt>
                <c:pt idx="349">
                  <c:v>79.231894999999994</c:v>
                </c:pt>
                <c:pt idx="350">
                  <c:v>79.664664999999999</c:v>
                </c:pt>
                <c:pt idx="351">
                  <c:v>79.457350000000005</c:v>
                </c:pt>
                <c:pt idx="352">
                  <c:v>79.337119999999999</c:v>
                </c:pt>
                <c:pt idx="353">
                  <c:v>79.442763999999997</c:v>
                </c:pt>
                <c:pt idx="354">
                  <c:v>79.444694999999996</c:v>
                </c:pt>
                <c:pt idx="355">
                  <c:v>79.556759999999997</c:v>
                </c:pt>
                <c:pt idx="356">
                  <c:v>79.951256000000001</c:v>
                </c:pt>
                <c:pt idx="357">
                  <c:v>80.830740000000006</c:v>
                </c:pt>
                <c:pt idx="358">
                  <c:v>81.356870000000001</c:v>
                </c:pt>
                <c:pt idx="359">
                  <c:v>81.837000000000003</c:v>
                </c:pt>
                <c:pt idx="360">
                  <c:v>81.673339999999996</c:v>
                </c:pt>
                <c:pt idx="361">
                  <c:v>80.950400000000002</c:v>
                </c:pt>
                <c:pt idx="362">
                  <c:v>80.347014999999999</c:v>
                </c:pt>
                <c:pt idx="363">
                  <c:v>80.128889999999998</c:v>
                </c:pt>
                <c:pt idx="364">
                  <c:v>79.772589999999994</c:v>
                </c:pt>
                <c:pt idx="365">
                  <c:v>80.154396000000006</c:v>
                </c:pt>
                <c:pt idx="366">
                  <c:v>80.314049999999995</c:v>
                </c:pt>
                <c:pt idx="367">
                  <c:v>80.566299999999998</c:v>
                </c:pt>
                <c:pt idx="368">
                  <c:v>80.476166000000006</c:v>
                </c:pt>
                <c:pt idx="369">
                  <c:v>80.688286000000005</c:v>
                </c:pt>
                <c:pt idx="370">
                  <c:v>80.02422</c:v>
                </c:pt>
                <c:pt idx="371">
                  <c:v>80.615700000000004</c:v>
                </c:pt>
                <c:pt idx="372">
                  <c:v>80.766914</c:v>
                </c:pt>
                <c:pt idx="373">
                  <c:v>80.534485000000004</c:v>
                </c:pt>
                <c:pt idx="374">
                  <c:v>80.914990000000003</c:v>
                </c:pt>
                <c:pt idx="375">
                  <c:v>79.778946000000005</c:v>
                </c:pt>
                <c:pt idx="376">
                  <c:v>79.285560000000004</c:v>
                </c:pt>
                <c:pt idx="377">
                  <c:v>78.939480000000003</c:v>
                </c:pt>
                <c:pt idx="378">
                  <c:v>78.851653999999996</c:v>
                </c:pt>
                <c:pt idx="379">
                  <c:v>79.252629999999996</c:v>
                </c:pt>
                <c:pt idx="380">
                  <c:v>79.8673</c:v>
                </c:pt>
                <c:pt idx="381">
                  <c:v>80.7637</c:v>
                </c:pt>
                <c:pt idx="382">
                  <c:v>81.352620000000002</c:v>
                </c:pt>
                <c:pt idx="383">
                  <c:v>81.708889999999997</c:v>
                </c:pt>
                <c:pt idx="384">
                  <c:v>82.394949999999994</c:v>
                </c:pt>
                <c:pt idx="385">
                  <c:v>83.316220000000001</c:v>
                </c:pt>
                <c:pt idx="386">
                  <c:v>83.203760000000003</c:v>
                </c:pt>
                <c:pt idx="387">
                  <c:v>82.277649999999994</c:v>
                </c:pt>
                <c:pt idx="388">
                  <c:v>81.493965000000003</c:v>
                </c:pt>
                <c:pt idx="389">
                  <c:v>81.086839999999995</c:v>
                </c:pt>
                <c:pt idx="390">
                  <c:v>80.871880000000004</c:v>
                </c:pt>
                <c:pt idx="391">
                  <c:v>80.855360000000005</c:v>
                </c:pt>
                <c:pt idx="392">
                  <c:v>81.047263999999998</c:v>
                </c:pt>
                <c:pt idx="393">
                  <c:v>81.058719999999994</c:v>
                </c:pt>
                <c:pt idx="394">
                  <c:v>80.588329999999999</c:v>
                </c:pt>
                <c:pt idx="395">
                  <c:v>79.95729</c:v>
                </c:pt>
                <c:pt idx="396">
                  <c:v>79.601150000000004</c:v>
                </c:pt>
                <c:pt idx="397">
                  <c:v>79.400720000000007</c:v>
                </c:pt>
                <c:pt idx="398">
                  <c:v>79.361130000000003</c:v>
                </c:pt>
                <c:pt idx="399">
                  <c:v>79.408199999999994</c:v>
                </c:pt>
                <c:pt idx="400">
                  <c:v>79.655760000000001</c:v>
                </c:pt>
                <c:pt idx="401">
                  <c:v>79.767300000000006</c:v>
                </c:pt>
                <c:pt idx="402">
                  <c:v>79.908559999999994</c:v>
                </c:pt>
                <c:pt idx="403">
                  <c:v>80.309030000000007</c:v>
                </c:pt>
                <c:pt idx="404">
                  <c:v>80.728806000000006</c:v>
                </c:pt>
                <c:pt idx="405">
                  <c:v>81.017790000000005</c:v>
                </c:pt>
                <c:pt idx="406">
                  <c:v>81.703370000000007</c:v>
                </c:pt>
                <c:pt idx="407">
                  <c:v>81.730670000000003</c:v>
                </c:pt>
                <c:pt idx="408">
                  <c:v>80.341719999999995</c:v>
                </c:pt>
                <c:pt idx="409">
                  <c:v>80.161299999999997</c:v>
                </c:pt>
                <c:pt idx="410">
                  <c:v>80.278594999999996</c:v>
                </c:pt>
                <c:pt idx="411">
                  <c:v>80.444540000000003</c:v>
                </c:pt>
                <c:pt idx="412">
                  <c:v>80.61336</c:v>
                </c:pt>
                <c:pt idx="413">
                  <c:v>80.907120000000006</c:v>
                </c:pt>
                <c:pt idx="414">
                  <c:v>81.277630000000002</c:v>
                </c:pt>
                <c:pt idx="415">
                  <c:v>81.535570000000007</c:v>
                </c:pt>
                <c:pt idx="416">
                  <c:v>81.975746000000001</c:v>
                </c:pt>
                <c:pt idx="417">
                  <c:v>81.463009999999997</c:v>
                </c:pt>
                <c:pt idx="418">
                  <c:v>80.58578</c:v>
                </c:pt>
                <c:pt idx="419">
                  <c:v>79.518879999999996</c:v>
                </c:pt>
                <c:pt idx="420">
                  <c:v>78.854804999999999</c:v>
                </c:pt>
                <c:pt idx="421">
                  <c:v>78.716949999999997</c:v>
                </c:pt>
                <c:pt idx="422">
                  <c:v>78.314670000000007</c:v>
                </c:pt>
                <c:pt idx="423">
                  <c:v>78.998024000000001</c:v>
                </c:pt>
                <c:pt idx="424">
                  <c:v>80.667599999999993</c:v>
                </c:pt>
                <c:pt idx="425">
                  <c:v>82.426900000000003</c:v>
                </c:pt>
                <c:pt idx="426">
                  <c:v>82.986720000000005</c:v>
                </c:pt>
                <c:pt idx="427">
                  <c:v>83.289259999999999</c:v>
                </c:pt>
                <c:pt idx="428">
                  <c:v>83.514470000000003</c:v>
                </c:pt>
                <c:pt idx="429">
                  <c:v>83.347915999999998</c:v>
                </c:pt>
                <c:pt idx="430">
                  <c:v>83.593059999999994</c:v>
                </c:pt>
                <c:pt idx="431">
                  <c:v>84.094229999999996</c:v>
                </c:pt>
                <c:pt idx="432">
                  <c:v>85.380843999999996</c:v>
                </c:pt>
                <c:pt idx="433">
                  <c:v>85.83587</c:v>
                </c:pt>
                <c:pt idx="434">
                  <c:v>88.026179999999997</c:v>
                </c:pt>
                <c:pt idx="435">
                  <c:v>89.232900000000001</c:v>
                </c:pt>
                <c:pt idx="436">
                  <c:v>89.877529999999993</c:v>
                </c:pt>
                <c:pt idx="437">
                  <c:v>89.388769999999994</c:v>
                </c:pt>
                <c:pt idx="438">
                  <c:v>89.653914999999998</c:v>
                </c:pt>
                <c:pt idx="439">
                  <c:v>89.863945000000001</c:v>
                </c:pt>
                <c:pt idx="440">
                  <c:v>90.301544000000007</c:v>
                </c:pt>
                <c:pt idx="441">
                  <c:v>89.906006000000005</c:v>
                </c:pt>
                <c:pt idx="442">
                  <c:v>88.559899999999999</c:v>
                </c:pt>
                <c:pt idx="443">
                  <c:v>88.124529999999993</c:v>
                </c:pt>
                <c:pt idx="444">
                  <c:v>89.87997</c:v>
                </c:pt>
                <c:pt idx="445">
                  <c:v>91.333275</c:v>
                </c:pt>
                <c:pt idx="446">
                  <c:v>93.17501</c:v>
                </c:pt>
                <c:pt idx="447">
                  <c:v>95.068290000000005</c:v>
                </c:pt>
                <c:pt idx="448">
                  <c:v>96.359059999999999</c:v>
                </c:pt>
                <c:pt idx="449">
                  <c:v>98.729799999999997</c:v>
                </c:pt>
                <c:pt idx="450">
                  <c:v>99.615290000000002</c:v>
                </c:pt>
                <c:pt idx="451">
                  <c:v>98.599869999999996</c:v>
                </c:pt>
                <c:pt idx="452">
                  <c:v>96.616500000000002</c:v>
                </c:pt>
                <c:pt idx="453">
                  <c:v>93.941379999999995</c:v>
                </c:pt>
                <c:pt idx="454">
                  <c:v>91.257805000000005</c:v>
                </c:pt>
                <c:pt idx="455">
                  <c:v>89.627144000000001</c:v>
                </c:pt>
                <c:pt idx="456">
                  <c:v>88.146129999999999</c:v>
                </c:pt>
                <c:pt idx="457">
                  <c:v>88.132859999999994</c:v>
                </c:pt>
                <c:pt idx="458">
                  <c:v>89.532646</c:v>
                </c:pt>
                <c:pt idx="459">
                  <c:v>90.250410000000002</c:v>
                </c:pt>
                <c:pt idx="460">
                  <c:v>90.348404000000002</c:v>
                </c:pt>
                <c:pt idx="461">
                  <c:v>89.342910000000003</c:v>
                </c:pt>
                <c:pt idx="462">
                  <c:v>88.023309999999995</c:v>
                </c:pt>
                <c:pt idx="463">
                  <c:v>86.086365000000001</c:v>
                </c:pt>
                <c:pt idx="464">
                  <c:v>85.873540000000006</c:v>
                </c:pt>
                <c:pt idx="465">
                  <c:v>86.775469999999999</c:v>
                </c:pt>
                <c:pt idx="466">
                  <c:v>90.792820000000006</c:v>
                </c:pt>
                <c:pt idx="467">
                  <c:v>91.309970000000007</c:v>
                </c:pt>
                <c:pt idx="468">
                  <c:v>91.198170000000005</c:v>
                </c:pt>
                <c:pt idx="469">
                  <c:v>90.389859999999999</c:v>
                </c:pt>
                <c:pt idx="470">
                  <c:v>88.836510000000004</c:v>
                </c:pt>
                <c:pt idx="471">
                  <c:v>87.282089999999997</c:v>
                </c:pt>
                <c:pt idx="472">
                  <c:v>86.577545000000001</c:v>
                </c:pt>
                <c:pt idx="473">
                  <c:v>87.344825999999998</c:v>
                </c:pt>
                <c:pt idx="474">
                  <c:v>88.672529999999995</c:v>
                </c:pt>
                <c:pt idx="475">
                  <c:v>89.527916000000005</c:v>
                </c:pt>
                <c:pt idx="476">
                  <c:v>89.848029999999994</c:v>
                </c:pt>
                <c:pt idx="477">
                  <c:v>90.116394</c:v>
                </c:pt>
                <c:pt idx="478">
                  <c:v>90.969666000000004</c:v>
                </c:pt>
                <c:pt idx="479">
                  <c:v>92.353279999999998</c:v>
                </c:pt>
                <c:pt idx="480">
                  <c:v>92.097920000000002</c:v>
                </c:pt>
                <c:pt idx="481">
                  <c:v>90.184830000000005</c:v>
                </c:pt>
                <c:pt idx="482">
                  <c:v>87.876519999999999</c:v>
                </c:pt>
                <c:pt idx="483">
                  <c:v>83.97972</c:v>
                </c:pt>
                <c:pt idx="484">
                  <c:v>79.962745999999996</c:v>
                </c:pt>
                <c:pt idx="485">
                  <c:v>78.681460000000001</c:v>
                </c:pt>
                <c:pt idx="486">
                  <c:v>79.937139999999999</c:v>
                </c:pt>
                <c:pt idx="487">
                  <c:v>83.632990000000007</c:v>
                </c:pt>
                <c:pt idx="488">
                  <c:v>86.97851</c:v>
                </c:pt>
                <c:pt idx="489">
                  <c:v>88.369399999999999</c:v>
                </c:pt>
                <c:pt idx="490">
                  <c:v>88.657970000000006</c:v>
                </c:pt>
                <c:pt idx="491">
                  <c:v>87.716064000000003</c:v>
                </c:pt>
                <c:pt idx="492">
                  <c:v>85.881900000000002</c:v>
                </c:pt>
                <c:pt idx="493">
                  <c:v>85.806786000000002</c:v>
                </c:pt>
                <c:pt idx="494">
                  <c:v>87.591740000000001</c:v>
                </c:pt>
                <c:pt idx="495">
                  <c:v>89.069749999999999</c:v>
                </c:pt>
                <c:pt idx="496">
                  <c:v>88.470410000000001</c:v>
                </c:pt>
                <c:pt idx="497">
                  <c:v>88.146799999999999</c:v>
                </c:pt>
                <c:pt idx="498">
                  <c:v>89.239949999999993</c:v>
                </c:pt>
                <c:pt idx="499">
                  <c:v>89.108130000000003</c:v>
                </c:pt>
                <c:pt idx="500">
                  <c:v>91.166780000000003</c:v>
                </c:pt>
                <c:pt idx="501">
                  <c:v>91.455250000000007</c:v>
                </c:pt>
                <c:pt idx="502">
                  <c:v>92.59075</c:v>
                </c:pt>
                <c:pt idx="503">
                  <c:v>95.848939999999999</c:v>
                </c:pt>
                <c:pt idx="504">
                  <c:v>98.65401</c:v>
                </c:pt>
                <c:pt idx="505">
                  <c:v>100.272255</c:v>
                </c:pt>
                <c:pt idx="506">
                  <c:v>100.55718</c:v>
                </c:pt>
                <c:pt idx="507">
                  <c:v>100.965935</c:v>
                </c:pt>
                <c:pt idx="508">
                  <c:v>102.12886</c:v>
                </c:pt>
                <c:pt idx="509">
                  <c:v>103.36474</c:v>
                </c:pt>
                <c:pt idx="510">
                  <c:v>103.38831999999999</c:v>
                </c:pt>
                <c:pt idx="511">
                  <c:v>102.33243</c:v>
                </c:pt>
                <c:pt idx="512">
                  <c:v>101.034386</c:v>
                </c:pt>
                <c:pt idx="513">
                  <c:v>99.832954000000001</c:v>
                </c:pt>
                <c:pt idx="514">
                  <c:v>98.69126</c:v>
                </c:pt>
                <c:pt idx="515">
                  <c:v>97.354065000000006</c:v>
                </c:pt>
                <c:pt idx="516">
                  <c:v>95.518940000000001</c:v>
                </c:pt>
                <c:pt idx="517">
                  <c:v>93.652630000000002</c:v>
                </c:pt>
                <c:pt idx="518">
                  <c:v>92.005949999999999</c:v>
                </c:pt>
                <c:pt idx="519">
                  <c:v>91.393234000000007</c:v>
                </c:pt>
                <c:pt idx="520">
                  <c:v>90.617769999999993</c:v>
                </c:pt>
                <c:pt idx="521">
                  <c:v>90.028120000000001</c:v>
                </c:pt>
                <c:pt idx="522">
                  <c:v>91.810559999999995</c:v>
                </c:pt>
                <c:pt idx="523">
                  <c:v>93.340620000000001</c:v>
                </c:pt>
                <c:pt idx="524">
                  <c:v>96.639304999999993</c:v>
                </c:pt>
                <c:pt idx="525">
                  <c:v>97.501040000000003</c:v>
                </c:pt>
                <c:pt idx="526">
                  <c:v>99.604740000000007</c:v>
                </c:pt>
                <c:pt idx="527">
                  <c:v>100.58781999999999</c:v>
                </c:pt>
                <c:pt idx="528">
                  <c:v>101.43479000000001</c:v>
                </c:pt>
                <c:pt idx="529">
                  <c:v>101.809265</c:v>
                </c:pt>
                <c:pt idx="530">
                  <c:v>101.646225</c:v>
                </c:pt>
                <c:pt idx="531">
                  <c:v>100.631805</c:v>
                </c:pt>
                <c:pt idx="532">
                  <c:v>100.03749999999999</c:v>
                </c:pt>
                <c:pt idx="533">
                  <c:v>100.415245</c:v>
                </c:pt>
                <c:pt idx="534">
                  <c:v>101.60211</c:v>
                </c:pt>
                <c:pt idx="535">
                  <c:v>102.662125</c:v>
                </c:pt>
                <c:pt idx="536">
                  <c:v>103.20815</c:v>
                </c:pt>
                <c:pt idx="537">
                  <c:v>103.62506999999999</c:v>
                </c:pt>
                <c:pt idx="538">
                  <c:v>103.74314</c:v>
                </c:pt>
                <c:pt idx="539">
                  <c:v>103.23154</c:v>
                </c:pt>
                <c:pt idx="540">
                  <c:v>102.10016</c:v>
                </c:pt>
                <c:pt idx="541">
                  <c:v>100.38779</c:v>
                </c:pt>
                <c:pt idx="542">
                  <c:v>99.316789999999997</c:v>
                </c:pt>
                <c:pt idx="543">
                  <c:v>99.057450000000003</c:v>
                </c:pt>
                <c:pt idx="544">
                  <c:v>98.205864000000005</c:v>
                </c:pt>
                <c:pt idx="545">
                  <c:v>98.024635000000004</c:v>
                </c:pt>
                <c:pt idx="546">
                  <c:v>98.040139999999994</c:v>
                </c:pt>
                <c:pt idx="547">
                  <c:v>98.284935000000004</c:v>
                </c:pt>
                <c:pt idx="548">
                  <c:v>99.083693999999994</c:v>
                </c:pt>
                <c:pt idx="549">
                  <c:v>99.598330000000004</c:v>
                </c:pt>
                <c:pt idx="550">
                  <c:v>100.82822400000001</c:v>
                </c:pt>
                <c:pt idx="551">
                  <c:v>102.055595</c:v>
                </c:pt>
                <c:pt idx="552">
                  <c:v>103.00555</c:v>
                </c:pt>
                <c:pt idx="553">
                  <c:v>103.532555</c:v>
                </c:pt>
                <c:pt idx="554">
                  <c:v>103.13646</c:v>
                </c:pt>
                <c:pt idx="555">
                  <c:v>102.47159000000001</c:v>
                </c:pt>
                <c:pt idx="556">
                  <c:v>100.73734</c:v>
                </c:pt>
                <c:pt idx="557">
                  <c:v>99.218419999999995</c:v>
                </c:pt>
                <c:pt idx="558">
                  <c:v>98.019065999999995</c:v>
                </c:pt>
                <c:pt idx="559">
                  <c:v>97.971199999999996</c:v>
                </c:pt>
                <c:pt idx="560">
                  <c:v>96.716549999999998</c:v>
                </c:pt>
                <c:pt idx="561">
                  <c:v>97.500219999999999</c:v>
                </c:pt>
                <c:pt idx="562">
                  <c:v>96.920944000000006</c:v>
                </c:pt>
                <c:pt idx="563">
                  <c:v>98.423370000000006</c:v>
                </c:pt>
                <c:pt idx="564">
                  <c:v>97.995819999999995</c:v>
                </c:pt>
                <c:pt idx="565">
                  <c:v>98.887209999999996</c:v>
                </c:pt>
                <c:pt idx="566">
                  <c:v>99.300799999999995</c:v>
                </c:pt>
                <c:pt idx="567">
                  <c:v>100.02231999999999</c:v>
                </c:pt>
                <c:pt idx="568">
                  <c:v>100.38718</c:v>
                </c:pt>
                <c:pt idx="569">
                  <c:v>100.73197999999999</c:v>
                </c:pt>
                <c:pt idx="570">
                  <c:v>100.64113999999999</c:v>
                </c:pt>
                <c:pt idx="571">
                  <c:v>100.215225</c:v>
                </c:pt>
                <c:pt idx="572">
                  <c:v>99.250950000000003</c:v>
                </c:pt>
                <c:pt idx="573">
                  <c:v>98.618030000000005</c:v>
                </c:pt>
                <c:pt idx="574">
                  <c:v>98.267960000000002</c:v>
                </c:pt>
                <c:pt idx="575">
                  <c:v>97.727519999999998</c:v>
                </c:pt>
                <c:pt idx="576">
                  <c:v>96.754069999999999</c:v>
                </c:pt>
                <c:pt idx="577">
                  <c:v>99.463134999999994</c:v>
                </c:pt>
                <c:pt idx="578">
                  <c:v>101.759766</c:v>
                </c:pt>
                <c:pt idx="579">
                  <c:v>100.7004</c:v>
                </c:pt>
                <c:pt idx="580">
                  <c:v>99.254974000000004</c:v>
                </c:pt>
                <c:pt idx="581">
                  <c:v>98.71884</c:v>
                </c:pt>
                <c:pt idx="582">
                  <c:v>98.394264000000007</c:v>
                </c:pt>
                <c:pt idx="583">
                  <c:v>99.577950000000001</c:v>
                </c:pt>
                <c:pt idx="584">
                  <c:v>100.54228999999999</c:v>
                </c:pt>
                <c:pt idx="585">
                  <c:v>100.974594</c:v>
                </c:pt>
                <c:pt idx="586">
                  <c:v>101.685356</c:v>
                </c:pt>
                <c:pt idx="587">
                  <c:v>100.70914500000001</c:v>
                </c:pt>
                <c:pt idx="588">
                  <c:v>100.065834</c:v>
                </c:pt>
                <c:pt idx="589">
                  <c:v>101.87381999999999</c:v>
                </c:pt>
                <c:pt idx="590">
                  <c:v>103.04067999999999</c:v>
                </c:pt>
                <c:pt idx="591">
                  <c:v>103.94249000000001</c:v>
                </c:pt>
                <c:pt idx="592">
                  <c:v>104.16307999999999</c:v>
                </c:pt>
                <c:pt idx="593">
                  <c:v>104.55047999999999</c:v>
                </c:pt>
                <c:pt idx="594">
                  <c:v>104.67771999999999</c:v>
                </c:pt>
                <c:pt idx="595">
                  <c:v>104.4375</c:v>
                </c:pt>
                <c:pt idx="596">
                  <c:v>104.383804</c:v>
                </c:pt>
                <c:pt idx="597">
                  <c:v>103.796425</c:v>
                </c:pt>
                <c:pt idx="598">
                  <c:v>103.183136</c:v>
                </c:pt>
                <c:pt idx="599">
                  <c:v>103.69139</c:v>
                </c:pt>
                <c:pt idx="600">
                  <c:v>103.30961000000001</c:v>
                </c:pt>
                <c:pt idx="601">
                  <c:v>103.88198</c:v>
                </c:pt>
                <c:pt idx="602">
                  <c:v>105.30704</c:v>
                </c:pt>
                <c:pt idx="603">
                  <c:v>104.600914</c:v>
                </c:pt>
                <c:pt idx="604">
                  <c:v>103.30472</c:v>
                </c:pt>
                <c:pt idx="605">
                  <c:v>101.95227</c:v>
                </c:pt>
                <c:pt idx="606">
                  <c:v>102.810455</c:v>
                </c:pt>
                <c:pt idx="607">
                  <c:v>102.242256</c:v>
                </c:pt>
                <c:pt idx="608">
                  <c:v>102.38879</c:v>
                </c:pt>
                <c:pt idx="609">
                  <c:v>102.30642</c:v>
                </c:pt>
                <c:pt idx="610">
                  <c:v>102.32963599999999</c:v>
                </c:pt>
                <c:pt idx="611">
                  <c:v>101.59139</c:v>
                </c:pt>
                <c:pt idx="612">
                  <c:v>101.14885</c:v>
                </c:pt>
                <c:pt idx="613">
                  <c:v>101.36127</c:v>
                </c:pt>
                <c:pt idx="614">
                  <c:v>100.497925</c:v>
                </c:pt>
                <c:pt idx="615">
                  <c:v>99.798730000000006</c:v>
                </c:pt>
                <c:pt idx="616">
                  <c:v>99.489684999999994</c:v>
                </c:pt>
                <c:pt idx="617">
                  <c:v>101.11881</c:v>
                </c:pt>
                <c:pt idx="618">
                  <c:v>101.936165</c:v>
                </c:pt>
                <c:pt idx="619">
                  <c:v>104.35769999999999</c:v>
                </c:pt>
                <c:pt idx="620">
                  <c:v>103.07174000000001</c:v>
                </c:pt>
                <c:pt idx="621">
                  <c:v>102.917305</c:v>
                </c:pt>
                <c:pt idx="622">
                  <c:v>100.82266</c:v>
                </c:pt>
                <c:pt idx="623">
                  <c:v>101.34542999999999</c:v>
                </c:pt>
                <c:pt idx="624">
                  <c:v>99.291340000000005</c:v>
                </c:pt>
                <c:pt idx="625">
                  <c:v>99.254990000000006</c:v>
                </c:pt>
                <c:pt idx="626">
                  <c:v>97.545810000000003</c:v>
                </c:pt>
                <c:pt idx="627">
                  <c:v>97.3827</c:v>
                </c:pt>
                <c:pt idx="628">
                  <c:v>99.581119999999999</c:v>
                </c:pt>
                <c:pt idx="629">
                  <c:v>102.162834</c:v>
                </c:pt>
                <c:pt idx="630">
                  <c:v>103.382706</c:v>
                </c:pt>
                <c:pt idx="631">
                  <c:v>100.755554</c:v>
                </c:pt>
                <c:pt idx="632">
                  <c:v>97.052666000000002</c:v>
                </c:pt>
                <c:pt idx="633">
                  <c:v>94.609269999999995</c:v>
                </c:pt>
                <c:pt idx="634">
                  <c:v>94.321849999999998</c:v>
                </c:pt>
                <c:pt idx="635">
                  <c:v>95.254490000000004</c:v>
                </c:pt>
                <c:pt idx="636">
                  <c:v>94.76182</c:v>
                </c:pt>
                <c:pt idx="637">
                  <c:v>92.284450000000007</c:v>
                </c:pt>
                <c:pt idx="638">
                  <c:v>92.883279999999999</c:v>
                </c:pt>
                <c:pt idx="639">
                  <c:v>95.726230000000001</c:v>
                </c:pt>
                <c:pt idx="640">
                  <c:v>98.800849999999997</c:v>
                </c:pt>
                <c:pt idx="641">
                  <c:v>100.77678</c:v>
                </c:pt>
                <c:pt idx="642">
                  <c:v>100.19696999999999</c:v>
                </c:pt>
                <c:pt idx="643">
                  <c:v>98.681489999999997</c:v>
                </c:pt>
                <c:pt idx="644">
                  <c:v>97.215323999999995</c:v>
                </c:pt>
                <c:pt idx="645">
                  <c:v>95.864249999999998</c:v>
                </c:pt>
                <c:pt idx="646">
                  <c:v>95.312389999999994</c:v>
                </c:pt>
                <c:pt idx="647">
                  <c:v>95.099429999999998</c:v>
                </c:pt>
                <c:pt idx="648">
                  <c:v>96.318939999999998</c:v>
                </c:pt>
                <c:pt idx="649">
                  <c:v>95.950739999999996</c:v>
                </c:pt>
                <c:pt idx="650">
                  <c:v>95.552999999999997</c:v>
                </c:pt>
                <c:pt idx="651">
                  <c:v>94.205770000000001</c:v>
                </c:pt>
                <c:pt idx="652">
                  <c:v>93.082229999999996</c:v>
                </c:pt>
                <c:pt idx="653">
                  <c:v>93.782690000000002</c:v>
                </c:pt>
                <c:pt idx="654">
                  <c:v>94.439660000000003</c:v>
                </c:pt>
                <c:pt idx="655">
                  <c:v>94.008930000000007</c:v>
                </c:pt>
                <c:pt idx="656">
                  <c:v>94.148444999999995</c:v>
                </c:pt>
                <c:pt idx="657">
                  <c:v>94.098699999999994</c:v>
                </c:pt>
                <c:pt idx="658">
                  <c:v>93.701710000000006</c:v>
                </c:pt>
                <c:pt idx="659">
                  <c:v>92.832459999999998</c:v>
                </c:pt>
                <c:pt idx="660">
                  <c:v>91.810874999999996</c:v>
                </c:pt>
                <c:pt idx="661">
                  <c:v>91.541349999999994</c:v>
                </c:pt>
                <c:pt idx="662">
                  <c:v>92.281899999999993</c:v>
                </c:pt>
                <c:pt idx="663">
                  <c:v>94.051339999999996</c:v>
                </c:pt>
                <c:pt idx="664">
                  <c:v>94.479740000000007</c:v>
                </c:pt>
                <c:pt idx="665">
                  <c:v>94.802840000000003</c:v>
                </c:pt>
                <c:pt idx="666">
                  <c:v>93.758660000000006</c:v>
                </c:pt>
                <c:pt idx="667">
                  <c:v>92.623949999999994</c:v>
                </c:pt>
                <c:pt idx="668">
                  <c:v>93.131399999999999</c:v>
                </c:pt>
                <c:pt idx="669">
                  <c:v>93.474500000000006</c:v>
                </c:pt>
                <c:pt idx="670">
                  <c:v>92.737390000000005</c:v>
                </c:pt>
                <c:pt idx="671">
                  <c:v>93.275856000000005</c:v>
                </c:pt>
                <c:pt idx="672">
                  <c:v>92.551230000000004</c:v>
                </c:pt>
                <c:pt idx="673">
                  <c:v>92.716949999999997</c:v>
                </c:pt>
                <c:pt idx="674">
                  <c:v>94.862526000000003</c:v>
                </c:pt>
                <c:pt idx="675">
                  <c:v>96.722229999999996</c:v>
                </c:pt>
                <c:pt idx="676">
                  <c:v>97.708010000000002</c:v>
                </c:pt>
                <c:pt idx="677">
                  <c:v>97.497405999999998</c:v>
                </c:pt>
                <c:pt idx="678">
                  <c:v>97.223304999999996</c:v>
                </c:pt>
                <c:pt idx="679">
                  <c:v>96.596664000000004</c:v>
                </c:pt>
                <c:pt idx="680">
                  <c:v>96.760999999999996</c:v>
                </c:pt>
                <c:pt idx="681">
                  <c:v>95.769360000000006</c:v>
                </c:pt>
                <c:pt idx="682">
                  <c:v>96.327539999999999</c:v>
                </c:pt>
                <c:pt idx="683">
                  <c:v>96.508709999999994</c:v>
                </c:pt>
                <c:pt idx="684">
                  <c:v>95.699290000000005</c:v>
                </c:pt>
                <c:pt idx="685">
                  <c:v>97.165469999999999</c:v>
                </c:pt>
                <c:pt idx="686">
                  <c:v>98.553443999999999</c:v>
                </c:pt>
                <c:pt idx="687">
                  <c:v>100.55813999999999</c:v>
                </c:pt>
                <c:pt idx="688">
                  <c:v>101.575485</c:v>
                </c:pt>
                <c:pt idx="689">
                  <c:v>103.14979</c:v>
                </c:pt>
                <c:pt idx="690">
                  <c:v>103.66875</c:v>
                </c:pt>
                <c:pt idx="691">
                  <c:v>103.83987399999999</c:v>
                </c:pt>
                <c:pt idx="692">
                  <c:v>103.89774</c:v>
                </c:pt>
                <c:pt idx="693">
                  <c:v>103.853264</c:v>
                </c:pt>
                <c:pt idx="694">
                  <c:v>103.28548000000001</c:v>
                </c:pt>
                <c:pt idx="695">
                  <c:v>103.44435</c:v>
                </c:pt>
                <c:pt idx="696">
                  <c:v>103.55609</c:v>
                </c:pt>
                <c:pt idx="697">
                  <c:v>103.78561000000001</c:v>
                </c:pt>
                <c:pt idx="698">
                  <c:v>103.85663</c:v>
                </c:pt>
                <c:pt idx="699">
                  <c:v>103.91029</c:v>
                </c:pt>
                <c:pt idx="700">
                  <c:v>102.840065</c:v>
                </c:pt>
                <c:pt idx="701">
                  <c:v>101.00263</c:v>
                </c:pt>
                <c:pt idx="702">
                  <c:v>97.935540000000003</c:v>
                </c:pt>
                <c:pt idx="703">
                  <c:v>96.057220000000001</c:v>
                </c:pt>
                <c:pt idx="704">
                  <c:v>94.568219999999997</c:v>
                </c:pt>
                <c:pt idx="705">
                  <c:v>93.430419999999998</c:v>
                </c:pt>
                <c:pt idx="706">
                  <c:v>92.624534999999995</c:v>
                </c:pt>
                <c:pt idx="707">
                  <c:v>92.301130000000001</c:v>
                </c:pt>
                <c:pt idx="708">
                  <c:v>93.561583999999996</c:v>
                </c:pt>
                <c:pt idx="709">
                  <c:v>94.747924999999995</c:v>
                </c:pt>
                <c:pt idx="710">
                  <c:v>95.183520000000001</c:v>
                </c:pt>
                <c:pt idx="711">
                  <c:v>95.062250000000006</c:v>
                </c:pt>
                <c:pt idx="712">
                  <c:v>94.777054000000007</c:v>
                </c:pt>
                <c:pt idx="713">
                  <c:v>94.417180000000002</c:v>
                </c:pt>
                <c:pt idx="714">
                  <c:v>94.483310000000003</c:v>
                </c:pt>
                <c:pt idx="715">
                  <c:v>97.100200000000001</c:v>
                </c:pt>
                <c:pt idx="716">
                  <c:v>95.153599999999997</c:v>
                </c:pt>
                <c:pt idx="717">
                  <c:v>95.949029999999993</c:v>
                </c:pt>
                <c:pt idx="718">
                  <c:v>96.478160000000003</c:v>
                </c:pt>
                <c:pt idx="719">
                  <c:v>97.266013999999998</c:v>
                </c:pt>
                <c:pt idx="720">
                  <c:v>98.604740000000007</c:v>
                </c:pt>
                <c:pt idx="721">
                  <c:v>96.821979999999996</c:v>
                </c:pt>
                <c:pt idx="722">
                  <c:v>96.800200000000004</c:v>
                </c:pt>
                <c:pt idx="723">
                  <c:v>96.979849999999999</c:v>
                </c:pt>
                <c:pt idx="724">
                  <c:v>97.309073999999995</c:v>
                </c:pt>
                <c:pt idx="725">
                  <c:v>97.069550000000007</c:v>
                </c:pt>
                <c:pt idx="726">
                  <c:v>96.055269999999993</c:v>
                </c:pt>
                <c:pt idx="727">
                  <c:v>95.001580000000004</c:v>
                </c:pt>
                <c:pt idx="728">
                  <c:v>94.590805000000003</c:v>
                </c:pt>
                <c:pt idx="729">
                  <c:v>94.625659999999996</c:v>
                </c:pt>
                <c:pt idx="730">
                  <c:v>94.505570000000006</c:v>
                </c:pt>
                <c:pt idx="731">
                  <c:v>94.348389999999995</c:v>
                </c:pt>
                <c:pt idx="732">
                  <c:v>94.558660000000003</c:v>
                </c:pt>
                <c:pt idx="733">
                  <c:v>95.951995999999994</c:v>
                </c:pt>
                <c:pt idx="734">
                  <c:v>96.831829999999997</c:v>
                </c:pt>
                <c:pt idx="735">
                  <c:v>97.289159999999995</c:v>
                </c:pt>
                <c:pt idx="736">
                  <c:v>96.676169999999999</c:v>
                </c:pt>
                <c:pt idx="737">
                  <c:v>95.071910000000003</c:v>
                </c:pt>
                <c:pt idx="738">
                  <c:v>93.942999999999998</c:v>
                </c:pt>
                <c:pt idx="739">
                  <c:v>93.039439999999999</c:v>
                </c:pt>
                <c:pt idx="740">
                  <c:v>93.001175000000003</c:v>
                </c:pt>
                <c:pt idx="741">
                  <c:v>92.648259999999993</c:v>
                </c:pt>
                <c:pt idx="742">
                  <c:v>92.803319999999999</c:v>
                </c:pt>
                <c:pt idx="743">
                  <c:v>91.714929999999995</c:v>
                </c:pt>
                <c:pt idx="744">
                  <c:v>90.579920000000001</c:v>
                </c:pt>
                <c:pt idx="745">
                  <c:v>90.251434000000003</c:v>
                </c:pt>
                <c:pt idx="746">
                  <c:v>90.727140000000006</c:v>
                </c:pt>
                <c:pt idx="747">
                  <c:v>91.462029999999999</c:v>
                </c:pt>
                <c:pt idx="748">
                  <c:v>90.415099999999995</c:v>
                </c:pt>
                <c:pt idx="749">
                  <c:v>90.680015999999995</c:v>
                </c:pt>
                <c:pt idx="750">
                  <c:v>90.501890000000003</c:v>
                </c:pt>
                <c:pt idx="751">
                  <c:v>89.851906</c:v>
                </c:pt>
                <c:pt idx="752">
                  <c:v>88.984409999999997</c:v>
                </c:pt>
                <c:pt idx="753">
                  <c:v>90.004509999999996</c:v>
                </c:pt>
                <c:pt idx="754">
                  <c:v>90.846789999999999</c:v>
                </c:pt>
                <c:pt idx="755">
                  <c:v>92.230193999999997</c:v>
                </c:pt>
                <c:pt idx="756">
                  <c:v>93.092200000000005</c:v>
                </c:pt>
                <c:pt idx="757">
                  <c:v>90.765320000000003</c:v>
                </c:pt>
                <c:pt idx="758">
                  <c:v>89.080910000000003</c:v>
                </c:pt>
                <c:pt idx="759">
                  <c:v>86.084410000000005</c:v>
                </c:pt>
                <c:pt idx="760">
                  <c:v>86.984725999999995</c:v>
                </c:pt>
                <c:pt idx="761">
                  <c:v>85.983444000000006</c:v>
                </c:pt>
                <c:pt idx="762">
                  <c:v>85.409869999999998</c:v>
                </c:pt>
                <c:pt idx="763">
                  <c:v>85.919524999999993</c:v>
                </c:pt>
                <c:pt idx="764">
                  <c:v>86.936930000000004</c:v>
                </c:pt>
                <c:pt idx="765">
                  <c:v>88.483869999999996</c:v>
                </c:pt>
                <c:pt idx="766">
                  <c:v>89.693169999999995</c:v>
                </c:pt>
                <c:pt idx="767">
                  <c:v>90.937730000000002</c:v>
                </c:pt>
                <c:pt idx="768">
                  <c:v>91.006349999999998</c:v>
                </c:pt>
                <c:pt idx="769">
                  <c:v>90.552300000000002</c:v>
                </c:pt>
                <c:pt idx="770">
                  <c:v>89.440089999999998</c:v>
                </c:pt>
                <c:pt idx="771">
                  <c:v>88.079260000000005</c:v>
                </c:pt>
                <c:pt idx="772">
                  <c:v>86.890839999999997</c:v>
                </c:pt>
                <c:pt idx="773">
                  <c:v>86.139174999999994</c:v>
                </c:pt>
                <c:pt idx="774">
                  <c:v>86.031930000000003</c:v>
                </c:pt>
                <c:pt idx="775">
                  <c:v>85.999984999999995</c:v>
                </c:pt>
                <c:pt idx="776">
                  <c:v>86.525024000000002</c:v>
                </c:pt>
                <c:pt idx="777">
                  <c:v>87.271180000000001</c:v>
                </c:pt>
                <c:pt idx="778">
                  <c:v>87.519553999999999</c:v>
                </c:pt>
                <c:pt idx="779">
                  <c:v>88.500990000000002</c:v>
                </c:pt>
                <c:pt idx="780">
                  <c:v>90.493920000000003</c:v>
                </c:pt>
                <c:pt idx="781">
                  <c:v>90.241849999999999</c:v>
                </c:pt>
                <c:pt idx="782">
                  <c:v>89.846140000000005</c:v>
                </c:pt>
                <c:pt idx="783">
                  <c:v>88.815520000000006</c:v>
                </c:pt>
                <c:pt idx="784">
                  <c:v>88.23366</c:v>
                </c:pt>
                <c:pt idx="785">
                  <c:v>89.235939999999999</c:v>
                </c:pt>
                <c:pt idx="786">
                  <c:v>91.409760000000006</c:v>
                </c:pt>
                <c:pt idx="787">
                  <c:v>91.830699999999993</c:v>
                </c:pt>
                <c:pt idx="788">
                  <c:v>94.063689999999994</c:v>
                </c:pt>
                <c:pt idx="789">
                  <c:v>95.878105000000005</c:v>
                </c:pt>
                <c:pt idx="790">
                  <c:v>95.410610000000005</c:v>
                </c:pt>
                <c:pt idx="791">
                  <c:v>93.618454</c:v>
                </c:pt>
                <c:pt idx="792">
                  <c:v>91.379109999999997</c:v>
                </c:pt>
                <c:pt idx="793">
                  <c:v>89.631339999999994</c:v>
                </c:pt>
                <c:pt idx="794">
                  <c:v>88.545689999999993</c:v>
                </c:pt>
                <c:pt idx="795">
                  <c:v>87.898719999999997</c:v>
                </c:pt>
                <c:pt idx="796">
                  <c:v>89.48903</c:v>
                </c:pt>
                <c:pt idx="797">
                  <c:v>91.363470000000007</c:v>
                </c:pt>
                <c:pt idx="798">
                  <c:v>91.702515000000005</c:v>
                </c:pt>
                <c:pt idx="799">
                  <c:v>94.12424</c:v>
                </c:pt>
                <c:pt idx="800">
                  <c:v>92.798289999999994</c:v>
                </c:pt>
                <c:pt idx="801">
                  <c:v>93.164400000000001</c:v>
                </c:pt>
                <c:pt idx="802">
                  <c:v>93.252610000000004</c:v>
                </c:pt>
                <c:pt idx="803">
                  <c:v>93.471860000000007</c:v>
                </c:pt>
                <c:pt idx="804">
                  <c:v>94.06165</c:v>
                </c:pt>
                <c:pt idx="805">
                  <c:v>95.001945000000006</c:v>
                </c:pt>
                <c:pt idx="806">
                  <c:v>96.05547</c:v>
                </c:pt>
                <c:pt idx="807">
                  <c:v>96.563860000000005</c:v>
                </c:pt>
                <c:pt idx="808">
                  <c:v>96.615970000000004</c:v>
                </c:pt>
                <c:pt idx="809">
                  <c:v>96.740790000000004</c:v>
                </c:pt>
                <c:pt idx="810">
                  <c:v>96.608879999999999</c:v>
                </c:pt>
                <c:pt idx="811">
                  <c:v>96.183359999999993</c:v>
                </c:pt>
                <c:pt idx="812">
                  <c:v>95.158190000000005</c:v>
                </c:pt>
                <c:pt idx="813">
                  <c:v>94.027534000000003</c:v>
                </c:pt>
                <c:pt idx="814">
                  <c:v>93.236014999999995</c:v>
                </c:pt>
                <c:pt idx="815">
                  <c:v>95.106414999999998</c:v>
                </c:pt>
                <c:pt idx="816">
                  <c:v>98.773383999999993</c:v>
                </c:pt>
                <c:pt idx="817">
                  <c:v>95.808329999999998</c:v>
                </c:pt>
                <c:pt idx="818">
                  <c:v>94.396240000000006</c:v>
                </c:pt>
                <c:pt idx="819">
                  <c:v>93.209869999999995</c:v>
                </c:pt>
                <c:pt idx="820">
                  <c:v>93.331085000000002</c:v>
                </c:pt>
                <c:pt idx="821">
                  <c:v>93.758120000000005</c:v>
                </c:pt>
                <c:pt idx="822">
                  <c:v>93.946594000000005</c:v>
                </c:pt>
                <c:pt idx="823">
                  <c:v>93.770439999999994</c:v>
                </c:pt>
                <c:pt idx="824">
                  <c:v>92.315544000000003</c:v>
                </c:pt>
                <c:pt idx="825">
                  <c:v>93.161680000000004</c:v>
                </c:pt>
                <c:pt idx="826">
                  <c:v>94.458529999999996</c:v>
                </c:pt>
                <c:pt idx="827">
                  <c:v>95.387169999999998</c:v>
                </c:pt>
                <c:pt idx="828">
                  <c:v>95.321759999999998</c:v>
                </c:pt>
                <c:pt idx="829">
                  <c:v>95.475129999999993</c:v>
                </c:pt>
                <c:pt idx="830">
                  <c:v>96.028850000000006</c:v>
                </c:pt>
                <c:pt idx="831">
                  <c:v>95.472099999999998</c:v>
                </c:pt>
                <c:pt idx="832">
                  <c:v>94.803259999999995</c:v>
                </c:pt>
                <c:pt idx="833">
                  <c:v>94.451774999999998</c:v>
                </c:pt>
                <c:pt idx="834">
                  <c:v>94.704229999999995</c:v>
                </c:pt>
                <c:pt idx="835">
                  <c:v>95.250460000000004</c:v>
                </c:pt>
                <c:pt idx="836">
                  <c:v>95.562706000000006</c:v>
                </c:pt>
                <c:pt idx="837">
                  <c:v>95.377719999999997</c:v>
                </c:pt>
                <c:pt idx="838">
                  <c:v>94.931939999999997</c:v>
                </c:pt>
                <c:pt idx="839">
                  <c:v>94.669049999999999</c:v>
                </c:pt>
                <c:pt idx="840">
                  <c:v>94.159970000000001</c:v>
                </c:pt>
                <c:pt idx="841">
                  <c:v>94.386430000000004</c:v>
                </c:pt>
                <c:pt idx="842">
                  <c:v>94.96293</c:v>
                </c:pt>
                <c:pt idx="843">
                  <c:v>95.612564000000006</c:v>
                </c:pt>
                <c:pt idx="844">
                  <c:v>95.523055999999997</c:v>
                </c:pt>
                <c:pt idx="845">
                  <c:v>95.059349999999995</c:v>
                </c:pt>
                <c:pt idx="846">
                  <c:v>95.083389999999994</c:v>
                </c:pt>
                <c:pt idx="847">
                  <c:v>94.284805000000006</c:v>
                </c:pt>
                <c:pt idx="848">
                  <c:v>92.622119999999995</c:v>
                </c:pt>
                <c:pt idx="849">
                  <c:v>91.313580000000002</c:v>
                </c:pt>
                <c:pt idx="850">
                  <c:v>92.1524</c:v>
                </c:pt>
                <c:pt idx="851">
                  <c:v>95.467169999999996</c:v>
                </c:pt>
                <c:pt idx="852">
                  <c:v>99.46781</c:v>
                </c:pt>
                <c:pt idx="853">
                  <c:v>102.253624</c:v>
                </c:pt>
                <c:pt idx="854">
                  <c:v>103.23386000000001</c:v>
                </c:pt>
                <c:pt idx="855">
                  <c:v>101.984436</c:v>
                </c:pt>
                <c:pt idx="856">
                  <c:v>100.43456999999999</c:v>
                </c:pt>
                <c:pt idx="857">
                  <c:v>98.404079999999993</c:v>
                </c:pt>
                <c:pt idx="858">
                  <c:v>97.427980000000005</c:v>
                </c:pt>
                <c:pt idx="859">
                  <c:v>99.437669999999997</c:v>
                </c:pt>
                <c:pt idx="860">
                  <c:v>100.916405</c:v>
                </c:pt>
                <c:pt idx="861">
                  <c:v>102.065</c:v>
                </c:pt>
                <c:pt idx="862">
                  <c:v>101.85736</c:v>
                </c:pt>
                <c:pt idx="863">
                  <c:v>100.58477999999999</c:v>
                </c:pt>
                <c:pt idx="864">
                  <c:v>99.465453999999994</c:v>
                </c:pt>
                <c:pt idx="865">
                  <c:v>98.021630000000002</c:v>
                </c:pt>
                <c:pt idx="866">
                  <c:v>96.980099999999993</c:v>
                </c:pt>
                <c:pt idx="867">
                  <c:v>96.816419999999994</c:v>
                </c:pt>
                <c:pt idx="868">
                  <c:v>97.505030000000005</c:v>
                </c:pt>
                <c:pt idx="869">
                  <c:v>97.970349999999996</c:v>
                </c:pt>
                <c:pt idx="870">
                  <c:v>98.392426</c:v>
                </c:pt>
                <c:pt idx="871">
                  <c:v>98.661019999999994</c:v>
                </c:pt>
                <c:pt idx="872">
                  <c:v>98.755579999999995</c:v>
                </c:pt>
                <c:pt idx="873">
                  <c:v>98.407684000000003</c:v>
                </c:pt>
                <c:pt idx="874">
                  <c:v>97.833669999999998</c:v>
                </c:pt>
                <c:pt idx="875">
                  <c:v>96.795529999999999</c:v>
                </c:pt>
                <c:pt idx="876">
                  <c:v>95.057914999999994</c:v>
                </c:pt>
                <c:pt idx="877">
                  <c:v>94.627600000000001</c:v>
                </c:pt>
                <c:pt idx="878">
                  <c:v>95.044390000000007</c:v>
                </c:pt>
                <c:pt idx="879">
                  <c:v>95.283585000000002</c:v>
                </c:pt>
                <c:pt idx="880">
                  <c:v>93.950310000000002</c:v>
                </c:pt>
                <c:pt idx="881">
                  <c:v>92.82235</c:v>
                </c:pt>
                <c:pt idx="882">
                  <c:v>91.779396000000006</c:v>
                </c:pt>
                <c:pt idx="883">
                  <c:v>91.564009999999996</c:v>
                </c:pt>
                <c:pt idx="884">
                  <c:v>91.886390000000006</c:v>
                </c:pt>
                <c:pt idx="885">
                  <c:v>91.917969999999997</c:v>
                </c:pt>
                <c:pt idx="886">
                  <c:v>91.835669999999993</c:v>
                </c:pt>
                <c:pt idx="887">
                  <c:v>92.114810000000006</c:v>
                </c:pt>
                <c:pt idx="888">
                  <c:v>92.188770000000005</c:v>
                </c:pt>
                <c:pt idx="889">
                  <c:v>92.216300000000004</c:v>
                </c:pt>
                <c:pt idx="890">
                  <c:v>91.790559999999999</c:v>
                </c:pt>
                <c:pt idx="891">
                  <c:v>91.678473999999994</c:v>
                </c:pt>
                <c:pt idx="892">
                  <c:v>92.020920000000004</c:v>
                </c:pt>
                <c:pt idx="893">
                  <c:v>92.054929999999999</c:v>
                </c:pt>
                <c:pt idx="894">
                  <c:v>91.481549999999999</c:v>
                </c:pt>
                <c:pt idx="895">
                  <c:v>91.023635999999996</c:v>
                </c:pt>
                <c:pt idx="896">
                  <c:v>90.600340000000003</c:v>
                </c:pt>
                <c:pt idx="897">
                  <c:v>90.518265</c:v>
                </c:pt>
                <c:pt idx="898">
                  <c:v>90.140320000000003</c:v>
                </c:pt>
                <c:pt idx="899">
                  <c:v>89.721209999999999</c:v>
                </c:pt>
                <c:pt idx="900">
                  <c:v>88.970370000000003</c:v>
                </c:pt>
                <c:pt idx="901">
                  <c:v>88.604470000000006</c:v>
                </c:pt>
                <c:pt idx="902">
                  <c:v>88.055319999999995</c:v>
                </c:pt>
                <c:pt idx="903">
                  <c:v>87.555449999999993</c:v>
                </c:pt>
                <c:pt idx="904">
                  <c:v>87.838486000000003</c:v>
                </c:pt>
                <c:pt idx="905">
                  <c:v>88.763626000000002</c:v>
                </c:pt>
                <c:pt idx="906">
                  <c:v>88.600279999999998</c:v>
                </c:pt>
                <c:pt idx="907">
                  <c:v>88.203509999999994</c:v>
                </c:pt>
                <c:pt idx="908">
                  <c:v>88.332189999999997</c:v>
                </c:pt>
                <c:pt idx="909">
                  <c:v>88.537450000000007</c:v>
                </c:pt>
                <c:pt idx="910">
                  <c:v>88.075119999999998</c:v>
                </c:pt>
                <c:pt idx="911">
                  <c:v>88.457809999999995</c:v>
                </c:pt>
                <c:pt idx="912">
                  <c:v>87.07826</c:v>
                </c:pt>
                <c:pt idx="913">
                  <c:v>88.309960000000004</c:v>
                </c:pt>
                <c:pt idx="914">
                  <c:v>88.285030000000006</c:v>
                </c:pt>
                <c:pt idx="915">
                  <c:v>88.417029999999997</c:v>
                </c:pt>
                <c:pt idx="916">
                  <c:v>88.049544999999995</c:v>
                </c:pt>
                <c:pt idx="917">
                  <c:v>89.197044000000005</c:v>
                </c:pt>
                <c:pt idx="918">
                  <c:v>88.359719999999996</c:v>
                </c:pt>
                <c:pt idx="919">
                  <c:v>89.400880000000001</c:v>
                </c:pt>
                <c:pt idx="920">
                  <c:v>88.652799999999999</c:v>
                </c:pt>
                <c:pt idx="921">
                  <c:v>89.365523999999994</c:v>
                </c:pt>
                <c:pt idx="922">
                  <c:v>89.392179999999996</c:v>
                </c:pt>
                <c:pt idx="923">
                  <c:v>89.488990000000001</c:v>
                </c:pt>
                <c:pt idx="924">
                  <c:v>89.610820000000004</c:v>
                </c:pt>
                <c:pt idx="925">
                  <c:v>90.793235999999993</c:v>
                </c:pt>
                <c:pt idx="926">
                  <c:v>89.045845</c:v>
                </c:pt>
                <c:pt idx="927">
                  <c:v>89.425920000000005</c:v>
                </c:pt>
                <c:pt idx="928">
                  <c:v>89.418469999999999</c:v>
                </c:pt>
                <c:pt idx="929">
                  <c:v>89.958404999999999</c:v>
                </c:pt>
                <c:pt idx="930">
                  <c:v>89.704120000000003</c:v>
                </c:pt>
                <c:pt idx="931">
                  <c:v>89.645225999999994</c:v>
                </c:pt>
                <c:pt idx="932">
                  <c:v>88.722809999999996</c:v>
                </c:pt>
                <c:pt idx="933">
                  <c:v>87.913200000000003</c:v>
                </c:pt>
                <c:pt idx="934">
                  <c:v>87.239059999999995</c:v>
                </c:pt>
                <c:pt idx="935">
                  <c:v>87.968284999999995</c:v>
                </c:pt>
                <c:pt idx="936">
                  <c:v>87.474815000000007</c:v>
                </c:pt>
                <c:pt idx="937">
                  <c:v>87.23921</c:v>
                </c:pt>
                <c:pt idx="938">
                  <c:v>88.976410000000001</c:v>
                </c:pt>
                <c:pt idx="939">
                  <c:v>88.810079999999999</c:v>
                </c:pt>
                <c:pt idx="940">
                  <c:v>87.677480000000003</c:v>
                </c:pt>
                <c:pt idx="941">
                  <c:v>89.659750000000003</c:v>
                </c:pt>
                <c:pt idx="942">
                  <c:v>91.792699999999996</c:v>
                </c:pt>
                <c:pt idx="943">
                  <c:v>92.628579999999999</c:v>
                </c:pt>
                <c:pt idx="944">
                  <c:v>94.743669999999995</c:v>
                </c:pt>
                <c:pt idx="945">
                  <c:v>97.976240000000004</c:v>
                </c:pt>
                <c:pt idx="946">
                  <c:v>96.199449999999999</c:v>
                </c:pt>
                <c:pt idx="947">
                  <c:v>93.839164999999994</c:v>
                </c:pt>
                <c:pt idx="948">
                  <c:v>91.894469999999998</c:v>
                </c:pt>
                <c:pt idx="949">
                  <c:v>92.083020000000005</c:v>
                </c:pt>
                <c:pt idx="950">
                  <c:v>92.232519999999994</c:v>
                </c:pt>
                <c:pt idx="951">
                  <c:v>91.881559999999993</c:v>
                </c:pt>
                <c:pt idx="952">
                  <c:v>92.167240000000007</c:v>
                </c:pt>
                <c:pt idx="953">
                  <c:v>92.520515000000003</c:v>
                </c:pt>
                <c:pt idx="954">
                  <c:v>92.950005000000004</c:v>
                </c:pt>
                <c:pt idx="955">
                  <c:v>93.519195999999994</c:v>
                </c:pt>
                <c:pt idx="956">
                  <c:v>94.000439999999998</c:v>
                </c:pt>
                <c:pt idx="957">
                  <c:v>94.319990000000004</c:v>
                </c:pt>
                <c:pt idx="958">
                  <c:v>94.520259999999993</c:v>
                </c:pt>
                <c:pt idx="959">
                  <c:v>94.77346</c:v>
                </c:pt>
                <c:pt idx="960">
                  <c:v>95.309070000000006</c:v>
                </c:pt>
                <c:pt idx="961">
                  <c:v>95.352509999999995</c:v>
                </c:pt>
                <c:pt idx="962">
                  <c:v>97.071680000000001</c:v>
                </c:pt>
                <c:pt idx="963">
                  <c:v>97.869649999999993</c:v>
                </c:pt>
                <c:pt idx="964">
                  <c:v>98.177760000000006</c:v>
                </c:pt>
                <c:pt idx="965">
                  <c:v>98.106700000000004</c:v>
                </c:pt>
                <c:pt idx="966">
                  <c:v>97.847305000000006</c:v>
                </c:pt>
                <c:pt idx="967">
                  <c:v>97.807149999999993</c:v>
                </c:pt>
                <c:pt idx="968">
                  <c:v>97.777209999999997</c:v>
                </c:pt>
                <c:pt idx="969">
                  <c:v>97.644199999999998</c:v>
                </c:pt>
                <c:pt idx="970">
                  <c:v>97.553049999999999</c:v>
                </c:pt>
                <c:pt idx="971">
                  <c:v>98.423410000000004</c:v>
                </c:pt>
                <c:pt idx="972">
                  <c:v>99.800439999999995</c:v>
                </c:pt>
                <c:pt idx="973">
                  <c:v>101.12175000000001</c:v>
                </c:pt>
                <c:pt idx="974">
                  <c:v>101.61078000000001</c:v>
                </c:pt>
                <c:pt idx="975">
                  <c:v>101.26111</c:v>
                </c:pt>
                <c:pt idx="976">
                  <c:v>100.87168</c:v>
                </c:pt>
                <c:pt idx="977">
                  <c:v>101.49611</c:v>
                </c:pt>
                <c:pt idx="978">
                  <c:v>101.427216</c:v>
                </c:pt>
                <c:pt idx="979">
                  <c:v>101.78268</c:v>
                </c:pt>
                <c:pt idx="980">
                  <c:v>101.99093000000001</c:v>
                </c:pt>
                <c:pt idx="981">
                  <c:v>101.38526</c:v>
                </c:pt>
                <c:pt idx="982">
                  <c:v>102.22423999999999</c:v>
                </c:pt>
                <c:pt idx="983">
                  <c:v>102.52221</c:v>
                </c:pt>
                <c:pt idx="984">
                  <c:v>103.55109400000001</c:v>
                </c:pt>
                <c:pt idx="985">
                  <c:v>103.91207</c:v>
                </c:pt>
                <c:pt idx="986">
                  <c:v>104.08524</c:v>
                </c:pt>
                <c:pt idx="987">
                  <c:v>103.603775</c:v>
                </c:pt>
                <c:pt idx="988">
                  <c:v>103.48260000000001</c:v>
                </c:pt>
                <c:pt idx="989">
                  <c:v>104.06501</c:v>
                </c:pt>
                <c:pt idx="990">
                  <c:v>103.87474</c:v>
                </c:pt>
                <c:pt idx="991">
                  <c:v>104.69555</c:v>
                </c:pt>
                <c:pt idx="992">
                  <c:v>104.55501</c:v>
                </c:pt>
                <c:pt idx="993">
                  <c:v>103.44262000000001</c:v>
                </c:pt>
                <c:pt idx="994">
                  <c:v>102.63534</c:v>
                </c:pt>
                <c:pt idx="995">
                  <c:v>102.26817</c:v>
                </c:pt>
                <c:pt idx="996">
                  <c:v>103.1421</c:v>
                </c:pt>
                <c:pt idx="997">
                  <c:v>103.73479500000001</c:v>
                </c:pt>
                <c:pt idx="998">
                  <c:v>103.65942</c:v>
                </c:pt>
                <c:pt idx="999">
                  <c:v>102.50198</c:v>
                </c:pt>
                <c:pt idx="1000">
                  <c:v>100.94485</c:v>
                </c:pt>
                <c:pt idx="1001">
                  <c:v>100.52374</c:v>
                </c:pt>
                <c:pt idx="1002">
                  <c:v>100.96024</c:v>
                </c:pt>
                <c:pt idx="1003">
                  <c:v>101.26778400000001</c:v>
                </c:pt>
                <c:pt idx="1004">
                  <c:v>103.25065600000001</c:v>
                </c:pt>
                <c:pt idx="1005">
                  <c:v>104.68897</c:v>
                </c:pt>
                <c:pt idx="1006">
                  <c:v>105.613106</c:v>
                </c:pt>
                <c:pt idx="1007">
                  <c:v>106.39453</c:v>
                </c:pt>
                <c:pt idx="1008">
                  <c:v>106.79855999999999</c:v>
                </c:pt>
                <c:pt idx="1009">
                  <c:v>106.81372</c:v>
                </c:pt>
                <c:pt idx="1010">
                  <c:v>106.79130600000001</c:v>
                </c:pt>
                <c:pt idx="1011">
                  <c:v>107.05826</c:v>
                </c:pt>
                <c:pt idx="1012">
                  <c:v>106.56977999999999</c:v>
                </c:pt>
                <c:pt idx="1013">
                  <c:v>106.83562000000001</c:v>
                </c:pt>
                <c:pt idx="1014">
                  <c:v>106.72179</c:v>
                </c:pt>
                <c:pt idx="1015">
                  <c:v>106.69132999999999</c:v>
                </c:pt>
                <c:pt idx="1016">
                  <c:v>106.48184000000001</c:v>
                </c:pt>
                <c:pt idx="1017">
                  <c:v>106.6147</c:v>
                </c:pt>
                <c:pt idx="1018">
                  <c:v>106.92699</c:v>
                </c:pt>
                <c:pt idx="1019">
                  <c:v>106.96941</c:v>
                </c:pt>
                <c:pt idx="1020">
                  <c:v>107.20219</c:v>
                </c:pt>
                <c:pt idx="1021">
                  <c:v>107.11474</c:v>
                </c:pt>
                <c:pt idx="1022">
                  <c:v>106.99606</c:v>
                </c:pt>
                <c:pt idx="1023">
                  <c:v>107.07213</c:v>
                </c:pt>
                <c:pt idx="1024">
                  <c:v>107.3403</c:v>
                </c:pt>
                <c:pt idx="1025">
                  <c:v>107.802475</c:v>
                </c:pt>
                <c:pt idx="1026">
                  <c:v>108.083015</c:v>
                </c:pt>
                <c:pt idx="1027">
                  <c:v>108.45014</c:v>
                </c:pt>
                <c:pt idx="1028">
                  <c:v>108.59254</c:v>
                </c:pt>
                <c:pt idx="1029">
                  <c:v>108.66709</c:v>
                </c:pt>
                <c:pt idx="1030">
                  <c:v>108.59681</c:v>
                </c:pt>
                <c:pt idx="1031">
                  <c:v>108.24767</c:v>
                </c:pt>
                <c:pt idx="1032">
                  <c:v>107.1005</c:v>
                </c:pt>
                <c:pt idx="1033">
                  <c:v>106.57810000000001</c:v>
                </c:pt>
                <c:pt idx="1034">
                  <c:v>106.97506</c:v>
                </c:pt>
                <c:pt idx="1035">
                  <c:v>106.7127</c:v>
                </c:pt>
                <c:pt idx="1036">
                  <c:v>106.750984</c:v>
                </c:pt>
                <c:pt idx="1037">
                  <c:v>106.778786</c:v>
                </c:pt>
                <c:pt idx="1038">
                  <c:v>106.465576</c:v>
                </c:pt>
                <c:pt idx="1039">
                  <c:v>106.70425400000001</c:v>
                </c:pt>
                <c:pt idx="1040">
                  <c:v>106.89091000000001</c:v>
                </c:pt>
                <c:pt idx="1041">
                  <c:v>106.85057</c:v>
                </c:pt>
                <c:pt idx="1042">
                  <c:v>106.62721999999999</c:v>
                </c:pt>
                <c:pt idx="1043">
                  <c:v>106.53129</c:v>
                </c:pt>
                <c:pt idx="1044">
                  <c:v>106.59442</c:v>
                </c:pt>
                <c:pt idx="1045">
                  <c:v>106.47421</c:v>
                </c:pt>
                <c:pt idx="1046">
                  <c:v>106.07147000000001</c:v>
                </c:pt>
                <c:pt idx="1047">
                  <c:v>106.13446</c:v>
                </c:pt>
                <c:pt idx="1048">
                  <c:v>106.75975</c:v>
                </c:pt>
                <c:pt idx="1049">
                  <c:v>106.75143</c:v>
                </c:pt>
                <c:pt idx="1050">
                  <c:v>107.20560999999999</c:v>
                </c:pt>
                <c:pt idx="1051">
                  <c:v>107.5412</c:v>
                </c:pt>
                <c:pt idx="1052">
                  <c:v>107.83139</c:v>
                </c:pt>
                <c:pt idx="1053">
                  <c:v>108.24665</c:v>
                </c:pt>
                <c:pt idx="1054">
                  <c:v>108.41176</c:v>
                </c:pt>
                <c:pt idx="1055">
                  <c:v>108.81693</c:v>
                </c:pt>
                <c:pt idx="1056">
                  <c:v>109.48318500000001</c:v>
                </c:pt>
                <c:pt idx="1057">
                  <c:v>109.98536</c:v>
                </c:pt>
                <c:pt idx="1058">
                  <c:v>109.89295</c:v>
                </c:pt>
                <c:pt idx="1059">
                  <c:v>109.57284</c:v>
                </c:pt>
                <c:pt idx="1060">
                  <c:v>109.74406</c:v>
                </c:pt>
                <c:pt idx="1061">
                  <c:v>110.25682</c:v>
                </c:pt>
                <c:pt idx="1062">
                  <c:v>109.786766</c:v>
                </c:pt>
                <c:pt idx="1063">
                  <c:v>109.50429</c:v>
                </c:pt>
                <c:pt idx="1064">
                  <c:v>109.07843</c:v>
                </c:pt>
                <c:pt idx="1065">
                  <c:v>108.44215</c:v>
                </c:pt>
                <c:pt idx="1066">
                  <c:v>108.69325000000001</c:v>
                </c:pt>
                <c:pt idx="1067">
                  <c:v>109.075424</c:v>
                </c:pt>
                <c:pt idx="1068">
                  <c:v>108.32837000000001</c:v>
                </c:pt>
                <c:pt idx="1069">
                  <c:v>107.47662</c:v>
                </c:pt>
                <c:pt idx="1070">
                  <c:v>107.156784</c:v>
                </c:pt>
                <c:pt idx="1071">
                  <c:v>107.0988</c:v>
                </c:pt>
                <c:pt idx="1072">
                  <c:v>106.25407</c:v>
                </c:pt>
                <c:pt idx="1073">
                  <c:v>105.26946</c:v>
                </c:pt>
                <c:pt idx="1074">
                  <c:v>104.73387</c:v>
                </c:pt>
                <c:pt idx="1075">
                  <c:v>104.44833</c:v>
                </c:pt>
                <c:pt idx="1076">
                  <c:v>104.25564</c:v>
                </c:pt>
                <c:pt idx="1077">
                  <c:v>103.94795000000001</c:v>
                </c:pt>
                <c:pt idx="1078">
                  <c:v>103.61924999999999</c:v>
                </c:pt>
                <c:pt idx="1079">
                  <c:v>103.25615000000001</c:v>
                </c:pt>
                <c:pt idx="1080">
                  <c:v>104.692795</c:v>
                </c:pt>
                <c:pt idx="1081">
                  <c:v>102.375244</c:v>
                </c:pt>
                <c:pt idx="1082">
                  <c:v>101.39632400000001</c:v>
                </c:pt>
                <c:pt idx="1083">
                  <c:v>101.63554999999999</c:v>
                </c:pt>
                <c:pt idx="1084">
                  <c:v>101.17747</c:v>
                </c:pt>
                <c:pt idx="1085">
                  <c:v>100.84412</c:v>
                </c:pt>
                <c:pt idx="1086">
                  <c:v>100.42261499999999</c:v>
                </c:pt>
                <c:pt idx="1087">
                  <c:v>100.20638</c:v>
                </c:pt>
                <c:pt idx="1088">
                  <c:v>100.03308</c:v>
                </c:pt>
                <c:pt idx="1089">
                  <c:v>99.965900000000005</c:v>
                </c:pt>
                <c:pt idx="1090">
                  <c:v>100.02063</c:v>
                </c:pt>
                <c:pt idx="1091">
                  <c:v>100.11284000000001</c:v>
                </c:pt>
                <c:pt idx="1092">
                  <c:v>99.981834000000006</c:v>
                </c:pt>
                <c:pt idx="1093">
                  <c:v>99.897530000000003</c:v>
                </c:pt>
                <c:pt idx="1094">
                  <c:v>100.17007</c:v>
                </c:pt>
                <c:pt idx="1095">
                  <c:v>100.86734</c:v>
                </c:pt>
                <c:pt idx="1096">
                  <c:v>100.49559000000001</c:v>
                </c:pt>
                <c:pt idx="1097">
                  <c:v>101.8605</c:v>
                </c:pt>
                <c:pt idx="1098">
                  <c:v>100.41857</c:v>
                </c:pt>
                <c:pt idx="1099">
                  <c:v>100.44092999999999</c:v>
                </c:pt>
                <c:pt idx="1100">
                  <c:v>100.4551</c:v>
                </c:pt>
                <c:pt idx="1101">
                  <c:v>100.41879</c:v>
                </c:pt>
                <c:pt idx="1102">
                  <c:v>99.826509999999999</c:v>
                </c:pt>
                <c:pt idx="1103">
                  <c:v>99.437700000000007</c:v>
                </c:pt>
                <c:pt idx="1104">
                  <c:v>99.188090000000003</c:v>
                </c:pt>
                <c:pt idx="1105">
                  <c:v>99.119399999999999</c:v>
                </c:pt>
                <c:pt idx="1106">
                  <c:v>98.749510000000001</c:v>
                </c:pt>
                <c:pt idx="1107">
                  <c:v>98.734880000000004</c:v>
                </c:pt>
                <c:pt idx="1108">
                  <c:v>98.573139999999995</c:v>
                </c:pt>
                <c:pt idx="1109">
                  <c:v>98.656586000000004</c:v>
                </c:pt>
                <c:pt idx="1110">
                  <c:v>99.121719999999996</c:v>
                </c:pt>
                <c:pt idx="1111">
                  <c:v>99.119439999999997</c:v>
                </c:pt>
                <c:pt idx="1112">
                  <c:v>99.541929999999994</c:v>
                </c:pt>
                <c:pt idx="1113">
                  <c:v>99.509029999999996</c:v>
                </c:pt>
                <c:pt idx="1114">
                  <c:v>99.725399999999993</c:v>
                </c:pt>
                <c:pt idx="1115">
                  <c:v>99.631775000000005</c:v>
                </c:pt>
                <c:pt idx="1116">
                  <c:v>99.652214000000001</c:v>
                </c:pt>
                <c:pt idx="1117">
                  <c:v>99.224490000000003</c:v>
                </c:pt>
                <c:pt idx="1118">
                  <c:v>98.777119999999996</c:v>
                </c:pt>
                <c:pt idx="1119">
                  <c:v>98.454859999999996</c:v>
                </c:pt>
                <c:pt idx="1120">
                  <c:v>98.388850000000005</c:v>
                </c:pt>
                <c:pt idx="1121">
                  <c:v>98.624579999999995</c:v>
                </c:pt>
                <c:pt idx="1122">
                  <c:v>98.707809999999995</c:v>
                </c:pt>
                <c:pt idx="1123">
                  <c:v>98.643935999999997</c:v>
                </c:pt>
                <c:pt idx="1124">
                  <c:v>98.922129999999996</c:v>
                </c:pt>
                <c:pt idx="1125">
                  <c:v>99.033820000000006</c:v>
                </c:pt>
                <c:pt idx="1126">
                  <c:v>99.072180000000003</c:v>
                </c:pt>
                <c:pt idx="1127">
                  <c:v>99.387694999999994</c:v>
                </c:pt>
                <c:pt idx="1128">
                  <c:v>98.240359999999995</c:v>
                </c:pt>
                <c:pt idx="1129">
                  <c:v>99.739525</c:v>
                </c:pt>
                <c:pt idx="1130">
                  <c:v>100.01738</c:v>
                </c:pt>
                <c:pt idx="1131">
                  <c:v>99.867949999999993</c:v>
                </c:pt>
                <c:pt idx="1132">
                  <c:v>99.703130000000002</c:v>
                </c:pt>
                <c:pt idx="1133">
                  <c:v>100.28968</c:v>
                </c:pt>
                <c:pt idx="1134">
                  <c:v>100.442154</c:v>
                </c:pt>
                <c:pt idx="1135">
                  <c:v>100.49438000000001</c:v>
                </c:pt>
                <c:pt idx="1136">
                  <c:v>99.923064999999994</c:v>
                </c:pt>
                <c:pt idx="1137">
                  <c:v>99.570689999999999</c:v>
                </c:pt>
                <c:pt idx="1138">
                  <c:v>99.441310000000001</c:v>
                </c:pt>
                <c:pt idx="1139">
                  <c:v>99.384050000000002</c:v>
                </c:pt>
                <c:pt idx="1140">
                  <c:v>99.218950000000007</c:v>
                </c:pt>
                <c:pt idx="1141">
                  <c:v>98.940259999999995</c:v>
                </c:pt>
                <c:pt idx="1142">
                  <c:v>98.861990000000006</c:v>
                </c:pt>
                <c:pt idx="1143">
                  <c:v>98.869736000000003</c:v>
                </c:pt>
                <c:pt idx="1144">
                  <c:v>98.673220000000001</c:v>
                </c:pt>
                <c:pt idx="1145">
                  <c:v>98.580153999999993</c:v>
                </c:pt>
                <c:pt idx="1146">
                  <c:v>98.506164999999996</c:v>
                </c:pt>
                <c:pt idx="1147">
                  <c:v>98.531829999999999</c:v>
                </c:pt>
                <c:pt idx="1148">
                  <c:v>98.364879999999999</c:v>
                </c:pt>
                <c:pt idx="1149">
                  <c:v>98.064353999999994</c:v>
                </c:pt>
                <c:pt idx="1150">
                  <c:v>97.15719</c:v>
                </c:pt>
                <c:pt idx="1151">
                  <c:v>97.50591</c:v>
                </c:pt>
                <c:pt idx="1152">
                  <c:v>97.416849999999997</c:v>
                </c:pt>
                <c:pt idx="1153">
                  <c:v>97.509379999999993</c:v>
                </c:pt>
                <c:pt idx="1154">
                  <c:v>97.748694999999998</c:v>
                </c:pt>
                <c:pt idx="1155">
                  <c:v>97.58766</c:v>
                </c:pt>
                <c:pt idx="1156">
                  <c:v>98.674580000000006</c:v>
                </c:pt>
                <c:pt idx="1157">
                  <c:v>98.651820000000001</c:v>
                </c:pt>
                <c:pt idx="1158">
                  <c:v>99.760210000000001</c:v>
                </c:pt>
                <c:pt idx="1159">
                  <c:v>100.34625</c:v>
                </c:pt>
                <c:pt idx="1160">
                  <c:v>100.53167999999999</c:v>
                </c:pt>
                <c:pt idx="1161">
                  <c:v>100.46165499999999</c:v>
                </c:pt>
                <c:pt idx="1162">
                  <c:v>100.39396000000001</c:v>
                </c:pt>
                <c:pt idx="1163">
                  <c:v>100.31100000000001</c:v>
                </c:pt>
                <c:pt idx="1164">
                  <c:v>100.24335000000001</c:v>
                </c:pt>
                <c:pt idx="1165">
                  <c:v>100.30887</c:v>
                </c:pt>
                <c:pt idx="1166">
                  <c:v>100.119316</c:v>
                </c:pt>
                <c:pt idx="1167">
                  <c:v>99.78519</c:v>
                </c:pt>
                <c:pt idx="1168">
                  <c:v>99.349429999999998</c:v>
                </c:pt>
                <c:pt idx="1169">
                  <c:v>98.863780000000006</c:v>
                </c:pt>
                <c:pt idx="1170">
                  <c:v>98.443184000000002</c:v>
                </c:pt>
                <c:pt idx="1171">
                  <c:v>98.143199999999993</c:v>
                </c:pt>
                <c:pt idx="1172">
                  <c:v>98.071815000000001</c:v>
                </c:pt>
                <c:pt idx="1173">
                  <c:v>98.133799999999994</c:v>
                </c:pt>
                <c:pt idx="1174">
                  <c:v>98.190190000000001</c:v>
                </c:pt>
                <c:pt idx="1175">
                  <c:v>98.226616000000007</c:v>
                </c:pt>
                <c:pt idx="1176">
                  <c:v>98.238560000000007</c:v>
                </c:pt>
                <c:pt idx="1177">
                  <c:v>98.063879999999997</c:v>
                </c:pt>
                <c:pt idx="1178">
                  <c:v>98.04965</c:v>
                </c:pt>
                <c:pt idx="1179">
                  <c:v>97.836464000000007</c:v>
                </c:pt>
                <c:pt idx="1180">
                  <c:v>98.072295999999994</c:v>
                </c:pt>
                <c:pt idx="1181">
                  <c:v>98.534583999999995</c:v>
                </c:pt>
                <c:pt idx="1182">
                  <c:v>98.462130000000002</c:v>
                </c:pt>
                <c:pt idx="1183">
                  <c:v>98.702579999999998</c:v>
                </c:pt>
                <c:pt idx="1184">
                  <c:v>98.628339999999994</c:v>
                </c:pt>
                <c:pt idx="1185">
                  <c:v>98.989519999999999</c:v>
                </c:pt>
                <c:pt idx="1186">
                  <c:v>100.16920500000001</c:v>
                </c:pt>
                <c:pt idx="1187">
                  <c:v>100.537094</c:v>
                </c:pt>
                <c:pt idx="1188">
                  <c:v>100.762794</c:v>
                </c:pt>
                <c:pt idx="1189">
                  <c:v>101.01665</c:v>
                </c:pt>
                <c:pt idx="1190">
                  <c:v>100.43988</c:v>
                </c:pt>
                <c:pt idx="1191">
                  <c:v>100.2907</c:v>
                </c:pt>
                <c:pt idx="1192">
                  <c:v>100.920906</c:v>
                </c:pt>
                <c:pt idx="1193">
                  <c:v>101.063354</c:v>
                </c:pt>
                <c:pt idx="1194">
                  <c:v>100.67027</c:v>
                </c:pt>
                <c:pt idx="1195">
                  <c:v>102.05995</c:v>
                </c:pt>
                <c:pt idx="1196">
                  <c:v>102.40094999999999</c:v>
                </c:pt>
                <c:pt idx="1197">
                  <c:v>102.41495999999999</c:v>
                </c:pt>
                <c:pt idx="1198">
                  <c:v>102.07382</c:v>
                </c:pt>
                <c:pt idx="1199">
                  <c:v>102.37862</c:v>
                </c:pt>
                <c:pt idx="1200">
                  <c:v>102.57838</c:v>
                </c:pt>
                <c:pt idx="1201">
                  <c:v>102.63453</c:v>
                </c:pt>
                <c:pt idx="1202">
                  <c:v>102.55922</c:v>
                </c:pt>
                <c:pt idx="1203">
                  <c:v>102.65363000000001</c:v>
                </c:pt>
                <c:pt idx="1204">
                  <c:v>102.676445</c:v>
                </c:pt>
                <c:pt idx="1205">
                  <c:v>103.07328</c:v>
                </c:pt>
                <c:pt idx="1206">
                  <c:v>103.32001</c:v>
                </c:pt>
                <c:pt idx="1207">
                  <c:v>103.670525</c:v>
                </c:pt>
                <c:pt idx="1208">
                  <c:v>104.00514</c:v>
                </c:pt>
                <c:pt idx="1209">
                  <c:v>104.19764000000001</c:v>
                </c:pt>
                <c:pt idx="1210">
                  <c:v>104.24482</c:v>
                </c:pt>
                <c:pt idx="1211">
                  <c:v>104.30005</c:v>
                </c:pt>
                <c:pt idx="1212">
                  <c:v>103.68581399999999</c:v>
                </c:pt>
                <c:pt idx="1213">
                  <c:v>104.81356</c:v>
                </c:pt>
                <c:pt idx="1214">
                  <c:v>103.811165</c:v>
                </c:pt>
                <c:pt idx="1215">
                  <c:v>103.77692399999999</c:v>
                </c:pt>
                <c:pt idx="1216">
                  <c:v>103.77809000000001</c:v>
                </c:pt>
                <c:pt idx="1217">
                  <c:v>103.889015</c:v>
                </c:pt>
                <c:pt idx="1218">
                  <c:v>104.14027400000001</c:v>
                </c:pt>
                <c:pt idx="1219">
                  <c:v>105.93859999999999</c:v>
                </c:pt>
                <c:pt idx="1220">
                  <c:v>105.20565999999999</c:v>
                </c:pt>
                <c:pt idx="1221">
                  <c:v>105.26239</c:v>
                </c:pt>
                <c:pt idx="1222">
                  <c:v>104.945564</c:v>
                </c:pt>
                <c:pt idx="1223">
                  <c:v>104.77135</c:v>
                </c:pt>
                <c:pt idx="1224">
                  <c:v>104.73572</c:v>
                </c:pt>
                <c:pt idx="1225">
                  <c:v>104.88042</c:v>
                </c:pt>
                <c:pt idx="1226">
                  <c:v>105.26015</c:v>
                </c:pt>
                <c:pt idx="1227">
                  <c:v>105.71872</c:v>
                </c:pt>
                <c:pt idx="1228">
                  <c:v>106.2099</c:v>
                </c:pt>
                <c:pt idx="1229">
                  <c:v>106.515236</c:v>
                </c:pt>
                <c:pt idx="1230">
                  <c:v>106.70035</c:v>
                </c:pt>
                <c:pt idx="1231">
                  <c:v>106.39246</c:v>
                </c:pt>
                <c:pt idx="1232">
                  <c:v>106.04619599999999</c:v>
                </c:pt>
                <c:pt idx="1233">
                  <c:v>105.292114</c:v>
                </c:pt>
                <c:pt idx="1234">
                  <c:v>104.54581</c:v>
                </c:pt>
                <c:pt idx="1235">
                  <c:v>104.823166</c:v>
                </c:pt>
                <c:pt idx="1236">
                  <c:v>105.74675999999999</c:v>
                </c:pt>
                <c:pt idx="1237">
                  <c:v>106.164635</c:v>
                </c:pt>
                <c:pt idx="1238">
                  <c:v>105.49850000000001</c:v>
                </c:pt>
                <c:pt idx="1239">
                  <c:v>105.347336</c:v>
                </c:pt>
                <c:pt idx="1240">
                  <c:v>105.41902</c:v>
                </c:pt>
                <c:pt idx="1241">
                  <c:v>104.21791</c:v>
                </c:pt>
                <c:pt idx="1242">
                  <c:v>103.2253</c:v>
                </c:pt>
                <c:pt idx="1243">
                  <c:v>103.23943</c:v>
                </c:pt>
                <c:pt idx="1244">
                  <c:v>102.75479</c:v>
                </c:pt>
                <c:pt idx="1245">
                  <c:v>103.46714</c:v>
                </c:pt>
                <c:pt idx="1246">
                  <c:v>104.462845</c:v>
                </c:pt>
                <c:pt idx="1247">
                  <c:v>106.52151000000001</c:v>
                </c:pt>
                <c:pt idx="1248">
                  <c:v>107.98272</c:v>
                </c:pt>
                <c:pt idx="1249">
                  <c:v>107.8601</c:v>
                </c:pt>
                <c:pt idx="1250">
                  <c:v>107.12662</c:v>
                </c:pt>
                <c:pt idx="1251">
                  <c:v>106.68695</c:v>
                </c:pt>
                <c:pt idx="1252">
                  <c:v>105.87953</c:v>
                </c:pt>
                <c:pt idx="1253">
                  <c:v>104.05501</c:v>
                </c:pt>
                <c:pt idx="1254">
                  <c:v>103.84756</c:v>
                </c:pt>
                <c:pt idx="1255">
                  <c:v>103.665695</c:v>
                </c:pt>
                <c:pt idx="1256">
                  <c:v>103.361496</c:v>
                </c:pt>
                <c:pt idx="1257">
                  <c:v>102.21702999999999</c:v>
                </c:pt>
                <c:pt idx="1258">
                  <c:v>100.045525</c:v>
                </c:pt>
                <c:pt idx="1259">
                  <c:v>99.849230000000006</c:v>
                </c:pt>
                <c:pt idx="1260">
                  <c:v>99.902010000000004</c:v>
                </c:pt>
                <c:pt idx="1261">
                  <c:v>101.13933</c:v>
                </c:pt>
                <c:pt idx="1262">
                  <c:v>102.40559</c:v>
                </c:pt>
                <c:pt idx="1263">
                  <c:v>102.87005000000001</c:v>
                </c:pt>
                <c:pt idx="1264">
                  <c:v>103.67912</c:v>
                </c:pt>
                <c:pt idx="1265">
                  <c:v>103.44736</c:v>
                </c:pt>
                <c:pt idx="1266">
                  <c:v>104.042885</c:v>
                </c:pt>
                <c:pt idx="1267">
                  <c:v>105.34216000000001</c:v>
                </c:pt>
                <c:pt idx="1268">
                  <c:v>106.41028</c:v>
                </c:pt>
                <c:pt idx="1269">
                  <c:v>106.441086</c:v>
                </c:pt>
                <c:pt idx="1270">
                  <c:v>106.32584</c:v>
                </c:pt>
                <c:pt idx="1271">
                  <c:v>104.71146400000001</c:v>
                </c:pt>
                <c:pt idx="1272">
                  <c:v>104.17864</c:v>
                </c:pt>
                <c:pt idx="1273">
                  <c:v>105.37236</c:v>
                </c:pt>
                <c:pt idx="1274">
                  <c:v>105.20019000000001</c:v>
                </c:pt>
                <c:pt idx="1275">
                  <c:v>106.37853</c:v>
                </c:pt>
                <c:pt idx="1276">
                  <c:v>107.76654000000001</c:v>
                </c:pt>
                <c:pt idx="1277">
                  <c:v>108.96984</c:v>
                </c:pt>
                <c:pt idx="1278">
                  <c:v>109.05811</c:v>
                </c:pt>
                <c:pt idx="1279">
                  <c:v>108.17541</c:v>
                </c:pt>
                <c:pt idx="1280">
                  <c:v>106.69801</c:v>
                </c:pt>
                <c:pt idx="1281">
                  <c:v>106.34938</c:v>
                </c:pt>
                <c:pt idx="1282">
                  <c:v>106.41428000000001</c:v>
                </c:pt>
                <c:pt idx="1283">
                  <c:v>106.09832</c:v>
                </c:pt>
                <c:pt idx="1284">
                  <c:v>105.65755</c:v>
                </c:pt>
                <c:pt idx="1285">
                  <c:v>105.19785</c:v>
                </c:pt>
                <c:pt idx="1286">
                  <c:v>103.85713</c:v>
                </c:pt>
                <c:pt idx="1287">
                  <c:v>103.15665</c:v>
                </c:pt>
                <c:pt idx="1288">
                  <c:v>102.685936</c:v>
                </c:pt>
                <c:pt idx="1289">
                  <c:v>102.60239</c:v>
                </c:pt>
                <c:pt idx="1290">
                  <c:v>103.15737</c:v>
                </c:pt>
                <c:pt idx="1291">
                  <c:v>103.74448</c:v>
                </c:pt>
                <c:pt idx="1292">
                  <c:v>102.32677</c:v>
                </c:pt>
                <c:pt idx="1293">
                  <c:v>102.135475</c:v>
                </c:pt>
                <c:pt idx="1294">
                  <c:v>101.9237</c:v>
                </c:pt>
                <c:pt idx="1295">
                  <c:v>102.35202</c:v>
                </c:pt>
                <c:pt idx="1296">
                  <c:v>102.47581</c:v>
                </c:pt>
                <c:pt idx="1297">
                  <c:v>102.73381999999999</c:v>
                </c:pt>
                <c:pt idx="1298">
                  <c:v>101.70907</c:v>
                </c:pt>
                <c:pt idx="1299">
                  <c:v>101.207054</c:v>
                </c:pt>
                <c:pt idx="1300">
                  <c:v>100.10881000000001</c:v>
                </c:pt>
                <c:pt idx="1301">
                  <c:v>99.688820000000007</c:v>
                </c:pt>
                <c:pt idx="1302">
                  <c:v>100.21219000000001</c:v>
                </c:pt>
                <c:pt idx="1303">
                  <c:v>100.36875999999999</c:v>
                </c:pt>
                <c:pt idx="1304">
                  <c:v>99.443854999999999</c:v>
                </c:pt>
                <c:pt idx="1305">
                  <c:v>99.221159999999998</c:v>
                </c:pt>
                <c:pt idx="1306">
                  <c:v>99.085175000000007</c:v>
                </c:pt>
                <c:pt idx="1307">
                  <c:v>98.671135000000007</c:v>
                </c:pt>
                <c:pt idx="1308">
                  <c:v>98.437179999999998</c:v>
                </c:pt>
                <c:pt idx="1309">
                  <c:v>98.716769999999997</c:v>
                </c:pt>
                <c:pt idx="1310">
                  <c:v>99.822540000000004</c:v>
                </c:pt>
                <c:pt idx="1311">
                  <c:v>99.977356</c:v>
                </c:pt>
                <c:pt idx="1312">
                  <c:v>100.83656000000001</c:v>
                </c:pt>
                <c:pt idx="1313">
                  <c:v>101.4008</c:v>
                </c:pt>
                <c:pt idx="1314">
                  <c:v>102.60764</c:v>
                </c:pt>
                <c:pt idx="1315">
                  <c:v>102.70928000000001</c:v>
                </c:pt>
                <c:pt idx="1316">
                  <c:v>100.46496</c:v>
                </c:pt>
                <c:pt idx="1317">
                  <c:v>101.54616</c:v>
                </c:pt>
                <c:pt idx="1318">
                  <c:v>103.768974</c:v>
                </c:pt>
                <c:pt idx="1319">
                  <c:v>103.917496</c:v>
                </c:pt>
                <c:pt idx="1320">
                  <c:v>104.32522</c:v>
                </c:pt>
                <c:pt idx="1321">
                  <c:v>104.169785</c:v>
                </c:pt>
                <c:pt idx="1322">
                  <c:v>103.67704000000001</c:v>
                </c:pt>
                <c:pt idx="1323">
                  <c:v>103.38788</c:v>
                </c:pt>
                <c:pt idx="1324">
                  <c:v>103.84381</c:v>
                </c:pt>
                <c:pt idx="1325">
                  <c:v>103.56174</c:v>
                </c:pt>
                <c:pt idx="1326">
                  <c:v>103.48497</c:v>
                </c:pt>
                <c:pt idx="1327">
                  <c:v>103.45374</c:v>
                </c:pt>
                <c:pt idx="1328">
                  <c:v>103.35624</c:v>
                </c:pt>
                <c:pt idx="1329">
                  <c:v>103.615105</c:v>
                </c:pt>
                <c:pt idx="1330">
                  <c:v>103.59792</c:v>
                </c:pt>
                <c:pt idx="1331">
                  <c:v>102.256226</c:v>
                </c:pt>
                <c:pt idx="1332">
                  <c:v>101.303505</c:v>
                </c:pt>
                <c:pt idx="1333">
                  <c:v>101.63453</c:v>
                </c:pt>
                <c:pt idx="1334">
                  <c:v>101.9301</c:v>
                </c:pt>
                <c:pt idx="1335">
                  <c:v>102.70533</c:v>
                </c:pt>
                <c:pt idx="1336">
                  <c:v>104.18098999999999</c:v>
                </c:pt>
                <c:pt idx="1337">
                  <c:v>105.47868</c:v>
                </c:pt>
                <c:pt idx="1338">
                  <c:v>105.63149</c:v>
                </c:pt>
                <c:pt idx="1339">
                  <c:v>106.032</c:v>
                </c:pt>
                <c:pt idx="1340">
                  <c:v>106.43473</c:v>
                </c:pt>
                <c:pt idx="1341">
                  <c:v>106.74923</c:v>
                </c:pt>
                <c:pt idx="1342">
                  <c:v>107.93841999999999</c:v>
                </c:pt>
                <c:pt idx="1343">
                  <c:v>108.34667</c:v>
                </c:pt>
                <c:pt idx="1344">
                  <c:v>108.06886</c:v>
                </c:pt>
                <c:pt idx="1345">
                  <c:v>107.36441000000001</c:v>
                </c:pt>
                <c:pt idx="1346">
                  <c:v>107.69645</c:v>
                </c:pt>
                <c:pt idx="1347">
                  <c:v>105.87926</c:v>
                </c:pt>
                <c:pt idx="1348">
                  <c:v>104.89984</c:v>
                </c:pt>
                <c:pt idx="1349">
                  <c:v>105.12927000000001</c:v>
                </c:pt>
                <c:pt idx="1350">
                  <c:v>105.32791</c:v>
                </c:pt>
                <c:pt idx="1351">
                  <c:v>105.42895</c:v>
                </c:pt>
                <c:pt idx="1352">
                  <c:v>103.71874</c:v>
                </c:pt>
                <c:pt idx="1353">
                  <c:v>105.49518999999999</c:v>
                </c:pt>
                <c:pt idx="1354">
                  <c:v>105.72393</c:v>
                </c:pt>
                <c:pt idx="1355">
                  <c:v>104.99527</c:v>
                </c:pt>
                <c:pt idx="1356">
                  <c:v>104.13979</c:v>
                </c:pt>
                <c:pt idx="1357">
                  <c:v>104.17133</c:v>
                </c:pt>
                <c:pt idx="1358">
                  <c:v>104.63141</c:v>
                </c:pt>
                <c:pt idx="1359">
                  <c:v>105.23459</c:v>
                </c:pt>
                <c:pt idx="1360">
                  <c:v>105.85714</c:v>
                </c:pt>
                <c:pt idx="1361">
                  <c:v>106.55546</c:v>
                </c:pt>
                <c:pt idx="1362">
                  <c:v>107.68756999999999</c:v>
                </c:pt>
                <c:pt idx="1363">
                  <c:v>107.45173</c:v>
                </c:pt>
                <c:pt idx="1364">
                  <c:v>107.56274000000001</c:v>
                </c:pt>
                <c:pt idx="1365">
                  <c:v>107.788185</c:v>
                </c:pt>
                <c:pt idx="1366">
                  <c:v>107.93002</c:v>
                </c:pt>
                <c:pt idx="1367">
                  <c:v>108.46419</c:v>
                </c:pt>
                <c:pt idx="1368">
                  <c:v>108.58976</c:v>
                </c:pt>
                <c:pt idx="1369">
                  <c:v>108.26736</c:v>
                </c:pt>
                <c:pt idx="1370">
                  <c:v>107.97387000000001</c:v>
                </c:pt>
                <c:pt idx="1371">
                  <c:v>108.13274</c:v>
                </c:pt>
                <c:pt idx="1372">
                  <c:v>108.69073</c:v>
                </c:pt>
                <c:pt idx="1373">
                  <c:v>108.50735</c:v>
                </c:pt>
                <c:pt idx="1374">
                  <c:v>108.09486</c:v>
                </c:pt>
                <c:pt idx="1375">
                  <c:v>108.02634</c:v>
                </c:pt>
                <c:pt idx="1376">
                  <c:v>107.98927999999999</c:v>
                </c:pt>
                <c:pt idx="1377">
                  <c:v>107.48366</c:v>
                </c:pt>
                <c:pt idx="1378">
                  <c:v>107.97364</c:v>
                </c:pt>
                <c:pt idx="1379">
                  <c:v>108.45134</c:v>
                </c:pt>
                <c:pt idx="1380">
                  <c:v>109.65727</c:v>
                </c:pt>
                <c:pt idx="1381">
                  <c:v>110.56115</c:v>
                </c:pt>
                <c:pt idx="1382">
                  <c:v>110.20180499999999</c:v>
                </c:pt>
                <c:pt idx="1383">
                  <c:v>109.45056</c:v>
                </c:pt>
                <c:pt idx="1384">
                  <c:v>108.50901</c:v>
                </c:pt>
                <c:pt idx="1385">
                  <c:v>108.061516</c:v>
                </c:pt>
                <c:pt idx="1386">
                  <c:v>108.533035</c:v>
                </c:pt>
                <c:pt idx="1387">
                  <c:v>108.80710999999999</c:v>
                </c:pt>
                <c:pt idx="1388">
                  <c:v>110.66858999999999</c:v>
                </c:pt>
                <c:pt idx="1389">
                  <c:v>112.64407</c:v>
                </c:pt>
                <c:pt idx="1390">
                  <c:v>114.91452</c:v>
                </c:pt>
                <c:pt idx="1391">
                  <c:v>112.67647599999999</c:v>
                </c:pt>
                <c:pt idx="1392">
                  <c:v>113.01533499999999</c:v>
                </c:pt>
                <c:pt idx="1393">
                  <c:v>112.16454</c:v>
                </c:pt>
                <c:pt idx="1394">
                  <c:v>111.66675600000001</c:v>
                </c:pt>
                <c:pt idx="1395">
                  <c:v>110.96456999999999</c:v>
                </c:pt>
                <c:pt idx="1396">
                  <c:v>111.53751</c:v>
                </c:pt>
                <c:pt idx="1397">
                  <c:v>109.55038</c:v>
                </c:pt>
                <c:pt idx="1398">
                  <c:v>109.06203499999999</c:v>
                </c:pt>
                <c:pt idx="1399">
                  <c:v>109.04409</c:v>
                </c:pt>
                <c:pt idx="1400">
                  <c:v>109.00288</c:v>
                </c:pt>
                <c:pt idx="1401">
                  <c:v>108.76881</c:v>
                </c:pt>
                <c:pt idx="1402">
                  <c:v>108.79867</c:v>
                </c:pt>
                <c:pt idx="1403">
                  <c:v>108.54546000000001</c:v>
                </c:pt>
                <c:pt idx="1404">
                  <c:v>108.59730500000001</c:v>
                </c:pt>
                <c:pt idx="1405">
                  <c:v>109.52460499999999</c:v>
                </c:pt>
                <c:pt idx="1406">
                  <c:v>110.17135</c:v>
                </c:pt>
                <c:pt idx="1407">
                  <c:v>109.99332</c:v>
                </c:pt>
                <c:pt idx="1408">
                  <c:v>109.70276</c:v>
                </c:pt>
                <c:pt idx="1409">
                  <c:v>110.50673999999999</c:v>
                </c:pt>
                <c:pt idx="1410">
                  <c:v>110.35355</c:v>
                </c:pt>
                <c:pt idx="1411">
                  <c:v>109.296364</c:v>
                </c:pt>
                <c:pt idx="1412">
                  <c:v>110.02929</c:v>
                </c:pt>
                <c:pt idx="1413">
                  <c:v>110.105576</c:v>
                </c:pt>
                <c:pt idx="1414">
                  <c:v>109.788765</c:v>
                </c:pt>
                <c:pt idx="1415">
                  <c:v>109.80540000000001</c:v>
                </c:pt>
                <c:pt idx="1416">
                  <c:v>109.24039</c:v>
                </c:pt>
                <c:pt idx="1417">
                  <c:v>109.17594</c:v>
                </c:pt>
                <c:pt idx="1418">
                  <c:v>109.82938</c:v>
                </c:pt>
                <c:pt idx="1419">
                  <c:v>111.85129000000001</c:v>
                </c:pt>
                <c:pt idx="1420">
                  <c:v>110.90365</c:v>
                </c:pt>
                <c:pt idx="1421">
                  <c:v>113.41871</c:v>
                </c:pt>
                <c:pt idx="1422">
                  <c:v>111.106255</c:v>
                </c:pt>
                <c:pt idx="1423">
                  <c:v>111.00999</c:v>
                </c:pt>
                <c:pt idx="1424">
                  <c:v>111.27737999999999</c:v>
                </c:pt>
                <c:pt idx="1425">
                  <c:v>112.03579000000001</c:v>
                </c:pt>
                <c:pt idx="1426">
                  <c:v>111.982376</c:v>
                </c:pt>
                <c:pt idx="1427">
                  <c:v>113.09034</c:v>
                </c:pt>
                <c:pt idx="1428">
                  <c:v>113.71832000000001</c:v>
                </c:pt>
                <c:pt idx="1429">
                  <c:v>115.27727</c:v>
                </c:pt>
                <c:pt idx="1430">
                  <c:v>112.282684</c:v>
                </c:pt>
                <c:pt idx="1431">
                  <c:v>112.382355</c:v>
                </c:pt>
                <c:pt idx="1432">
                  <c:v>113.19535</c:v>
                </c:pt>
                <c:pt idx="1433">
                  <c:v>115.94753</c:v>
                </c:pt>
                <c:pt idx="1434">
                  <c:v>113.74482</c:v>
                </c:pt>
                <c:pt idx="1435">
                  <c:v>112.940865</c:v>
                </c:pt>
                <c:pt idx="1436">
                  <c:v>112.53463000000001</c:v>
                </c:pt>
                <c:pt idx="1437">
                  <c:v>110.89161</c:v>
                </c:pt>
                <c:pt idx="1438">
                  <c:v>109.54818</c:v>
                </c:pt>
                <c:pt idx="1439">
                  <c:v>109.43002</c:v>
                </c:pt>
                <c:pt idx="1440">
                  <c:v>109.43926</c:v>
                </c:pt>
                <c:pt idx="1441">
                  <c:v>109.294495</c:v>
                </c:pt>
                <c:pt idx="1442">
                  <c:v>106.34116</c:v>
                </c:pt>
                <c:pt idx="1443">
                  <c:v>104.9504</c:v>
                </c:pt>
                <c:pt idx="1444">
                  <c:v>104.41816</c:v>
                </c:pt>
                <c:pt idx="1445">
                  <c:v>107.488</c:v>
                </c:pt>
                <c:pt idx="1446">
                  <c:v>107.62542000000001</c:v>
                </c:pt>
                <c:pt idx="1447">
                  <c:v>108.97332</c:v>
                </c:pt>
                <c:pt idx="1448">
                  <c:v>108.73392</c:v>
                </c:pt>
                <c:pt idx="1449">
                  <c:v>107.203766</c:v>
                </c:pt>
                <c:pt idx="1450">
                  <c:v>105.53585</c:v>
                </c:pt>
                <c:pt idx="1451">
                  <c:v>104.80853</c:v>
                </c:pt>
                <c:pt idx="1452">
                  <c:v>105.186966</c:v>
                </c:pt>
                <c:pt idx="1453">
                  <c:v>105.614395</c:v>
                </c:pt>
                <c:pt idx="1454">
                  <c:v>105.43156999999999</c:v>
                </c:pt>
                <c:pt idx="1455">
                  <c:v>105.30063</c:v>
                </c:pt>
                <c:pt idx="1456">
                  <c:v>104.805786</c:v>
                </c:pt>
                <c:pt idx="1457">
                  <c:v>105.06596999999999</c:v>
                </c:pt>
                <c:pt idx="1458">
                  <c:v>105.89063</c:v>
                </c:pt>
                <c:pt idx="1459">
                  <c:v>107.22082</c:v>
                </c:pt>
                <c:pt idx="1460">
                  <c:v>108.14432499999999</c:v>
                </c:pt>
                <c:pt idx="1461">
                  <c:v>109.09134</c:v>
                </c:pt>
                <c:pt idx="1462">
                  <c:v>108.55679000000001</c:v>
                </c:pt>
                <c:pt idx="1463">
                  <c:v>107.29653</c:v>
                </c:pt>
                <c:pt idx="1464">
                  <c:v>105.82194</c:v>
                </c:pt>
                <c:pt idx="1465">
                  <c:v>103.08793</c:v>
                </c:pt>
                <c:pt idx="1466">
                  <c:v>102.008934</c:v>
                </c:pt>
                <c:pt idx="1467">
                  <c:v>101.86272</c:v>
                </c:pt>
                <c:pt idx="1468">
                  <c:v>102.52236000000001</c:v>
                </c:pt>
                <c:pt idx="1469">
                  <c:v>104.05952499999999</c:v>
                </c:pt>
                <c:pt idx="1470">
                  <c:v>104.231995</c:v>
                </c:pt>
                <c:pt idx="1471">
                  <c:v>104.12071</c:v>
                </c:pt>
                <c:pt idx="1472">
                  <c:v>103.693405</c:v>
                </c:pt>
                <c:pt idx="1473">
                  <c:v>102.47391</c:v>
                </c:pt>
                <c:pt idx="1474">
                  <c:v>102.24225</c:v>
                </c:pt>
                <c:pt idx="1475">
                  <c:v>101.29966</c:v>
                </c:pt>
                <c:pt idx="1476">
                  <c:v>99.749750000000006</c:v>
                </c:pt>
                <c:pt idx="1477">
                  <c:v>98.854669999999999</c:v>
                </c:pt>
                <c:pt idx="1478">
                  <c:v>99.052459999999996</c:v>
                </c:pt>
                <c:pt idx="1479">
                  <c:v>101.5033</c:v>
                </c:pt>
                <c:pt idx="1480">
                  <c:v>101.54365</c:v>
                </c:pt>
                <c:pt idx="1481">
                  <c:v>102.478584</c:v>
                </c:pt>
                <c:pt idx="1482">
                  <c:v>102.81206</c:v>
                </c:pt>
                <c:pt idx="1483">
                  <c:v>103.18762</c:v>
                </c:pt>
                <c:pt idx="1484">
                  <c:v>102.39527</c:v>
                </c:pt>
                <c:pt idx="1485">
                  <c:v>103.69896</c:v>
                </c:pt>
                <c:pt idx="1486">
                  <c:v>104.29558</c:v>
                </c:pt>
                <c:pt idx="1487">
                  <c:v>104.6482</c:v>
                </c:pt>
                <c:pt idx="1488">
                  <c:v>104.90535</c:v>
                </c:pt>
                <c:pt idx="1489">
                  <c:v>105.02378</c:v>
                </c:pt>
                <c:pt idx="1490">
                  <c:v>105.06057</c:v>
                </c:pt>
                <c:pt idx="1491">
                  <c:v>104.592804</c:v>
                </c:pt>
                <c:pt idx="1492">
                  <c:v>103.96476</c:v>
                </c:pt>
                <c:pt idx="1493">
                  <c:v>103.66016399999999</c:v>
                </c:pt>
                <c:pt idx="1494">
                  <c:v>103.11535000000001</c:v>
                </c:pt>
                <c:pt idx="1495">
                  <c:v>102.91674</c:v>
                </c:pt>
                <c:pt idx="1496">
                  <c:v>102.74256</c:v>
                </c:pt>
                <c:pt idx="1497">
                  <c:v>102.66678</c:v>
                </c:pt>
                <c:pt idx="1498">
                  <c:v>102.28955999999999</c:v>
                </c:pt>
                <c:pt idx="1499">
                  <c:v>101.22338999999999</c:v>
                </c:pt>
                <c:pt idx="1500">
                  <c:v>100.708916</c:v>
                </c:pt>
                <c:pt idx="1501">
                  <c:v>100.86132000000001</c:v>
                </c:pt>
                <c:pt idx="1502">
                  <c:v>100.65494</c:v>
                </c:pt>
                <c:pt idx="1503">
                  <c:v>100.80492</c:v>
                </c:pt>
                <c:pt idx="1504">
                  <c:v>102.21048</c:v>
                </c:pt>
                <c:pt idx="1505">
                  <c:v>103.94182000000001</c:v>
                </c:pt>
                <c:pt idx="1506">
                  <c:v>106.05418400000001</c:v>
                </c:pt>
                <c:pt idx="1507">
                  <c:v>105.07821</c:v>
                </c:pt>
                <c:pt idx="1508">
                  <c:v>105.19938999999999</c:v>
                </c:pt>
                <c:pt idx="1509">
                  <c:v>105.574585</c:v>
                </c:pt>
                <c:pt idx="1510">
                  <c:v>106.10312999999999</c:v>
                </c:pt>
                <c:pt idx="1511">
                  <c:v>106.37522</c:v>
                </c:pt>
                <c:pt idx="1512">
                  <c:v>106.124725</c:v>
                </c:pt>
                <c:pt idx="1513">
                  <c:v>105.840675</c:v>
                </c:pt>
                <c:pt idx="1514">
                  <c:v>106.44365000000001</c:v>
                </c:pt>
                <c:pt idx="1515">
                  <c:v>104.99941</c:v>
                </c:pt>
                <c:pt idx="1516">
                  <c:v>104.62969</c:v>
                </c:pt>
                <c:pt idx="1517">
                  <c:v>104.326904</c:v>
                </c:pt>
                <c:pt idx="1518">
                  <c:v>104.568504</c:v>
                </c:pt>
                <c:pt idx="1519">
                  <c:v>104.07357</c:v>
                </c:pt>
                <c:pt idx="1520">
                  <c:v>102.99069</c:v>
                </c:pt>
                <c:pt idx="1521">
                  <c:v>103.61328</c:v>
                </c:pt>
                <c:pt idx="1522">
                  <c:v>104.43001</c:v>
                </c:pt>
                <c:pt idx="1523">
                  <c:v>104.7805</c:v>
                </c:pt>
                <c:pt idx="1524">
                  <c:v>105.627014</c:v>
                </c:pt>
                <c:pt idx="1525">
                  <c:v>106.16476400000001</c:v>
                </c:pt>
                <c:pt idx="1526">
                  <c:v>106.46361</c:v>
                </c:pt>
                <c:pt idx="1527">
                  <c:v>106.97223</c:v>
                </c:pt>
                <c:pt idx="1528">
                  <c:v>107.19285600000001</c:v>
                </c:pt>
                <c:pt idx="1529">
                  <c:v>107.64122999999999</c:v>
                </c:pt>
                <c:pt idx="1530">
                  <c:v>108.52369</c:v>
                </c:pt>
                <c:pt idx="1531">
                  <c:v>109.09823</c:v>
                </c:pt>
                <c:pt idx="1532">
                  <c:v>110.16725</c:v>
                </c:pt>
                <c:pt idx="1533">
                  <c:v>112.35795</c:v>
                </c:pt>
                <c:pt idx="1534">
                  <c:v>111.14532</c:v>
                </c:pt>
                <c:pt idx="1535">
                  <c:v>109.09542999999999</c:v>
                </c:pt>
                <c:pt idx="1536">
                  <c:v>107.63618</c:v>
                </c:pt>
                <c:pt idx="1537">
                  <c:v>107.789795</c:v>
                </c:pt>
                <c:pt idx="1538">
                  <c:v>105.214714</c:v>
                </c:pt>
                <c:pt idx="1539">
                  <c:v>104.85053000000001</c:v>
                </c:pt>
                <c:pt idx="1540">
                  <c:v>106.04816</c:v>
                </c:pt>
                <c:pt idx="1541">
                  <c:v>108.49928</c:v>
                </c:pt>
                <c:pt idx="1542">
                  <c:v>109.74290499999999</c:v>
                </c:pt>
                <c:pt idx="1543">
                  <c:v>111.82565</c:v>
                </c:pt>
                <c:pt idx="1544">
                  <c:v>115.3278</c:v>
                </c:pt>
                <c:pt idx="1545">
                  <c:v>117.36855</c:v>
                </c:pt>
                <c:pt idx="1546">
                  <c:v>119.78926</c:v>
                </c:pt>
                <c:pt idx="1547">
                  <c:v>121.85638</c:v>
                </c:pt>
                <c:pt idx="1548">
                  <c:v>123.70252000000001</c:v>
                </c:pt>
                <c:pt idx="1549">
                  <c:v>124.627686</c:v>
                </c:pt>
                <c:pt idx="1550">
                  <c:v>127.79505</c:v>
                </c:pt>
                <c:pt idx="1551">
                  <c:v>129.80559</c:v>
                </c:pt>
                <c:pt idx="1552">
                  <c:v>128.62689</c:v>
                </c:pt>
                <c:pt idx="1553">
                  <c:v>128.17251999999999</c:v>
                </c:pt>
                <c:pt idx="1554">
                  <c:v>127.6707</c:v>
                </c:pt>
                <c:pt idx="1555">
                  <c:v>127.13959</c:v>
                </c:pt>
                <c:pt idx="1556">
                  <c:v>126.72084</c:v>
                </c:pt>
                <c:pt idx="1557">
                  <c:v>127.01</c:v>
                </c:pt>
                <c:pt idx="1558">
                  <c:v>128.70052000000001</c:v>
                </c:pt>
                <c:pt idx="1559">
                  <c:v>130.76033000000001</c:v>
                </c:pt>
                <c:pt idx="1560">
                  <c:v>131.25629000000001</c:v>
                </c:pt>
                <c:pt idx="1561">
                  <c:v>132.16598999999999</c:v>
                </c:pt>
                <c:pt idx="1562">
                  <c:v>132.43503000000001</c:v>
                </c:pt>
                <c:pt idx="1563">
                  <c:v>131.73390000000001</c:v>
                </c:pt>
                <c:pt idx="1564">
                  <c:v>131.35878</c:v>
                </c:pt>
                <c:pt idx="1565">
                  <c:v>131.83028999999999</c:v>
                </c:pt>
                <c:pt idx="1566">
                  <c:v>132.47594000000001</c:v>
                </c:pt>
                <c:pt idx="1567">
                  <c:v>133.15796</c:v>
                </c:pt>
                <c:pt idx="1568">
                  <c:v>133.76587000000001</c:v>
                </c:pt>
                <c:pt idx="1569">
                  <c:v>133.56710000000001</c:v>
                </c:pt>
                <c:pt idx="1570">
                  <c:v>133.59647000000001</c:v>
                </c:pt>
                <c:pt idx="1571">
                  <c:v>133.74475000000001</c:v>
                </c:pt>
                <c:pt idx="1572">
                  <c:v>133.69617</c:v>
                </c:pt>
                <c:pt idx="1573">
                  <c:v>133.77142000000001</c:v>
                </c:pt>
                <c:pt idx="1574">
                  <c:v>132.70364000000001</c:v>
                </c:pt>
                <c:pt idx="1575">
                  <c:v>133.53254999999999</c:v>
                </c:pt>
                <c:pt idx="1576">
                  <c:v>134.0368</c:v>
                </c:pt>
                <c:pt idx="1577">
                  <c:v>134.80946</c:v>
                </c:pt>
                <c:pt idx="1578">
                  <c:v>135.72068999999999</c:v>
                </c:pt>
                <c:pt idx="1579">
                  <c:v>136.08574999999999</c:v>
                </c:pt>
                <c:pt idx="1580">
                  <c:v>136.13471999999999</c:v>
                </c:pt>
                <c:pt idx="1581">
                  <c:v>134.96584999999999</c:v>
                </c:pt>
                <c:pt idx="1582">
                  <c:v>135.79821999999999</c:v>
                </c:pt>
                <c:pt idx="1583">
                  <c:v>134.70111</c:v>
                </c:pt>
                <c:pt idx="1584">
                  <c:v>135.66650000000001</c:v>
                </c:pt>
                <c:pt idx="1585">
                  <c:v>134.45850999999999</c:v>
                </c:pt>
                <c:pt idx="1586">
                  <c:v>134.21449999999999</c:v>
                </c:pt>
                <c:pt idx="1587">
                  <c:v>133.87422000000001</c:v>
                </c:pt>
                <c:pt idx="1588">
                  <c:v>133.53546</c:v>
                </c:pt>
                <c:pt idx="1589">
                  <c:v>132.96940000000001</c:v>
                </c:pt>
                <c:pt idx="1590">
                  <c:v>132.52815000000001</c:v>
                </c:pt>
                <c:pt idx="1591">
                  <c:v>131.82324</c:v>
                </c:pt>
                <c:pt idx="1592">
                  <c:v>131.53822</c:v>
                </c:pt>
                <c:pt idx="1593">
                  <c:v>130.64955</c:v>
                </c:pt>
                <c:pt idx="1594">
                  <c:v>129.30247</c:v>
                </c:pt>
                <c:pt idx="1595">
                  <c:v>129.01053999999999</c:v>
                </c:pt>
                <c:pt idx="1596">
                  <c:v>128.98795999999999</c:v>
                </c:pt>
                <c:pt idx="1597">
                  <c:v>128.81947</c:v>
                </c:pt>
                <c:pt idx="1598">
                  <c:v>128.19627</c:v>
                </c:pt>
                <c:pt idx="1599">
                  <c:v>127.87755</c:v>
                </c:pt>
                <c:pt idx="1600">
                  <c:v>127.41113</c:v>
                </c:pt>
                <c:pt idx="1601">
                  <c:v>128.08061000000001</c:v>
                </c:pt>
                <c:pt idx="1602">
                  <c:v>127.50058</c:v>
                </c:pt>
                <c:pt idx="1603">
                  <c:v>127.38535</c:v>
                </c:pt>
                <c:pt idx="1604">
                  <c:v>127.81182</c:v>
                </c:pt>
                <c:pt idx="1605">
                  <c:v>128.29155</c:v>
                </c:pt>
                <c:pt idx="1606">
                  <c:v>129.10292000000001</c:v>
                </c:pt>
                <c:pt idx="1607">
                  <c:v>130.29353</c:v>
                </c:pt>
                <c:pt idx="1608">
                  <c:v>132.19156000000001</c:v>
                </c:pt>
                <c:pt idx="1609">
                  <c:v>133.09305000000001</c:v>
                </c:pt>
                <c:pt idx="1610">
                  <c:v>134.62871999999999</c:v>
                </c:pt>
                <c:pt idx="1611">
                  <c:v>134.95616000000001</c:v>
                </c:pt>
                <c:pt idx="1612">
                  <c:v>135.68813</c:v>
                </c:pt>
                <c:pt idx="1613">
                  <c:v>136.98721</c:v>
                </c:pt>
                <c:pt idx="1614">
                  <c:v>137.54193000000001</c:v>
                </c:pt>
                <c:pt idx="1615">
                  <c:v>139.65497999999999</c:v>
                </c:pt>
                <c:pt idx="1616">
                  <c:v>137.69844000000001</c:v>
                </c:pt>
                <c:pt idx="1617">
                  <c:v>139.69987</c:v>
                </c:pt>
                <c:pt idx="1618">
                  <c:v>138.07872</c:v>
                </c:pt>
                <c:pt idx="1619">
                  <c:v>138.10681</c:v>
                </c:pt>
                <c:pt idx="1620">
                  <c:v>137.96097</c:v>
                </c:pt>
                <c:pt idx="1621">
                  <c:v>139.99081000000001</c:v>
                </c:pt>
                <c:pt idx="1622">
                  <c:v>138.91679999999999</c:v>
                </c:pt>
                <c:pt idx="1623">
                  <c:v>138.50335999999999</c:v>
                </c:pt>
                <c:pt idx="1624">
                  <c:v>138.37155000000001</c:v>
                </c:pt>
                <c:pt idx="1625">
                  <c:v>138.31443999999999</c:v>
                </c:pt>
                <c:pt idx="1626">
                  <c:v>137.85048</c:v>
                </c:pt>
                <c:pt idx="1627">
                  <c:v>137.85337999999999</c:v>
                </c:pt>
                <c:pt idx="1628">
                  <c:v>137.43763999999999</c:v>
                </c:pt>
                <c:pt idx="1629">
                  <c:v>136.02216000000001</c:v>
                </c:pt>
                <c:pt idx="1630">
                  <c:v>136.0189</c:v>
                </c:pt>
                <c:pt idx="1631">
                  <c:v>134.90996000000001</c:v>
                </c:pt>
                <c:pt idx="1632">
                  <c:v>135.62047999999999</c:v>
                </c:pt>
                <c:pt idx="1633">
                  <c:v>135.44694999999999</c:v>
                </c:pt>
                <c:pt idx="1634">
                  <c:v>134.26777999999999</c:v>
                </c:pt>
                <c:pt idx="1635">
                  <c:v>134.03868</c:v>
                </c:pt>
                <c:pt idx="1636">
                  <c:v>133.696</c:v>
                </c:pt>
                <c:pt idx="1637">
                  <c:v>134.50761</c:v>
                </c:pt>
                <c:pt idx="1638">
                  <c:v>135.12234000000001</c:v>
                </c:pt>
                <c:pt idx="1639">
                  <c:v>136.23212000000001</c:v>
                </c:pt>
                <c:pt idx="1640">
                  <c:v>136.41560000000001</c:v>
                </c:pt>
                <c:pt idx="1641">
                  <c:v>136.22939</c:v>
                </c:pt>
                <c:pt idx="1642">
                  <c:v>135.79378</c:v>
                </c:pt>
                <c:pt idx="1643">
                  <c:v>135.20114000000001</c:v>
                </c:pt>
                <c:pt idx="1644">
                  <c:v>135.59961000000001</c:v>
                </c:pt>
                <c:pt idx="1645">
                  <c:v>135.74706</c:v>
                </c:pt>
                <c:pt idx="1646">
                  <c:v>136.09529000000001</c:v>
                </c:pt>
                <c:pt idx="1647">
                  <c:v>136.09586999999999</c:v>
                </c:pt>
                <c:pt idx="1648">
                  <c:v>136.36340000000001</c:v>
                </c:pt>
                <c:pt idx="1649">
                  <c:v>136.90887000000001</c:v>
                </c:pt>
                <c:pt idx="1650">
                  <c:v>135.97499999999999</c:v>
                </c:pt>
                <c:pt idx="1651">
                  <c:v>136.33319</c:v>
                </c:pt>
                <c:pt idx="1652">
                  <c:v>136.25665000000001</c:v>
                </c:pt>
                <c:pt idx="1653">
                  <c:v>135.88362000000001</c:v>
                </c:pt>
                <c:pt idx="1654">
                  <c:v>135.11983000000001</c:v>
                </c:pt>
                <c:pt idx="1655">
                  <c:v>135.20839000000001</c:v>
                </c:pt>
                <c:pt idx="1656">
                  <c:v>134.74119999999999</c:v>
                </c:pt>
                <c:pt idx="1657">
                  <c:v>134.39337</c:v>
                </c:pt>
                <c:pt idx="1658">
                  <c:v>134.68047999999999</c:v>
                </c:pt>
                <c:pt idx="1659">
                  <c:v>134.30939000000001</c:v>
                </c:pt>
                <c:pt idx="1660">
                  <c:v>131.86517000000001</c:v>
                </c:pt>
                <c:pt idx="1661">
                  <c:v>133.10298</c:v>
                </c:pt>
                <c:pt idx="1662">
                  <c:v>132.48755</c:v>
                </c:pt>
                <c:pt idx="1663">
                  <c:v>132.15514999999999</c:v>
                </c:pt>
                <c:pt idx="1664">
                  <c:v>132.25868</c:v>
                </c:pt>
                <c:pt idx="1665">
                  <c:v>132.21395999999999</c:v>
                </c:pt>
                <c:pt idx="1666">
                  <c:v>131.64311000000001</c:v>
                </c:pt>
                <c:pt idx="1667">
                  <c:v>131.86848000000001</c:v>
                </c:pt>
                <c:pt idx="1668">
                  <c:v>132.37487999999999</c:v>
                </c:pt>
                <c:pt idx="1669">
                  <c:v>131.09864999999999</c:v>
                </c:pt>
                <c:pt idx="1670">
                  <c:v>131.90025</c:v>
                </c:pt>
                <c:pt idx="1671">
                  <c:v>130.40233000000001</c:v>
                </c:pt>
                <c:pt idx="1672">
                  <c:v>130.70223999999999</c:v>
                </c:pt>
                <c:pt idx="1673">
                  <c:v>129.96226999999999</c:v>
                </c:pt>
                <c:pt idx="1674">
                  <c:v>129.31227000000001</c:v>
                </c:pt>
                <c:pt idx="1675">
                  <c:v>129.62289999999999</c:v>
                </c:pt>
                <c:pt idx="1676">
                  <c:v>129.95352</c:v>
                </c:pt>
                <c:pt idx="1677">
                  <c:v>130.13633999999999</c:v>
                </c:pt>
                <c:pt idx="1678">
                  <c:v>130.51392999999999</c:v>
                </c:pt>
                <c:pt idx="1679">
                  <c:v>131.19691</c:v>
                </c:pt>
                <c:pt idx="1680">
                  <c:v>133.55082999999999</c:v>
                </c:pt>
                <c:pt idx="1681">
                  <c:v>133.14847</c:v>
                </c:pt>
                <c:pt idx="1682">
                  <c:v>134.28862000000001</c:v>
                </c:pt>
                <c:pt idx="1683">
                  <c:v>134.84954999999999</c:v>
                </c:pt>
                <c:pt idx="1684">
                  <c:v>134.21521000000001</c:v>
                </c:pt>
                <c:pt idx="1685">
                  <c:v>133.81641999999999</c:v>
                </c:pt>
                <c:pt idx="1686">
                  <c:v>135.36124000000001</c:v>
                </c:pt>
                <c:pt idx="1687">
                  <c:v>134.15082000000001</c:v>
                </c:pt>
                <c:pt idx="1688">
                  <c:v>134.56215</c:v>
                </c:pt>
                <c:pt idx="1689">
                  <c:v>135.46033</c:v>
                </c:pt>
                <c:pt idx="1690">
                  <c:v>135.84666000000001</c:v>
                </c:pt>
                <c:pt idx="1691">
                  <c:v>135.38321999999999</c:v>
                </c:pt>
                <c:pt idx="1692">
                  <c:v>135.09296000000001</c:v>
                </c:pt>
                <c:pt idx="1693">
                  <c:v>135.91238000000001</c:v>
                </c:pt>
                <c:pt idx="1694">
                  <c:v>135.51933</c:v>
                </c:pt>
                <c:pt idx="1695">
                  <c:v>136.08527000000001</c:v>
                </c:pt>
                <c:pt idx="1696">
                  <c:v>135.95093</c:v>
                </c:pt>
                <c:pt idx="1697">
                  <c:v>136.81685999999999</c:v>
                </c:pt>
                <c:pt idx="1698">
                  <c:v>138.77678</c:v>
                </c:pt>
                <c:pt idx="1699">
                  <c:v>138.71187</c:v>
                </c:pt>
                <c:pt idx="1700">
                  <c:v>139.69565</c:v>
                </c:pt>
                <c:pt idx="1701">
                  <c:v>139.97762</c:v>
                </c:pt>
                <c:pt idx="1702">
                  <c:v>140.69574</c:v>
                </c:pt>
                <c:pt idx="1703">
                  <c:v>142.41685000000001</c:v>
                </c:pt>
                <c:pt idx="1704">
                  <c:v>141.60202000000001</c:v>
                </c:pt>
                <c:pt idx="1705">
                  <c:v>142.16675000000001</c:v>
                </c:pt>
                <c:pt idx="1706">
                  <c:v>143.42261999999999</c:v>
                </c:pt>
                <c:pt idx="1707">
                  <c:v>142.8107</c:v>
                </c:pt>
                <c:pt idx="1708">
                  <c:v>143.11410000000001</c:v>
                </c:pt>
                <c:pt idx="1709">
                  <c:v>146.10414</c:v>
                </c:pt>
                <c:pt idx="1710">
                  <c:v>143.17354</c:v>
                </c:pt>
                <c:pt idx="1711">
                  <c:v>143.05494999999999</c:v>
                </c:pt>
                <c:pt idx="1712">
                  <c:v>144.38512</c:v>
                </c:pt>
                <c:pt idx="1713">
                  <c:v>142.56654</c:v>
                </c:pt>
                <c:pt idx="1714">
                  <c:v>142.47925000000001</c:v>
                </c:pt>
                <c:pt idx="1715">
                  <c:v>141.89994999999999</c:v>
                </c:pt>
                <c:pt idx="1716">
                  <c:v>141.09958</c:v>
                </c:pt>
                <c:pt idx="1717">
                  <c:v>140.41165000000001</c:v>
                </c:pt>
                <c:pt idx="1718">
                  <c:v>140.42343</c:v>
                </c:pt>
                <c:pt idx="1719">
                  <c:v>140.63594000000001</c:v>
                </c:pt>
                <c:pt idx="1720">
                  <c:v>142.27126000000001</c:v>
                </c:pt>
                <c:pt idx="1721">
                  <c:v>141.56801999999999</c:v>
                </c:pt>
                <c:pt idx="1722">
                  <c:v>142.05005</c:v>
                </c:pt>
                <c:pt idx="1723">
                  <c:v>141.94086999999999</c:v>
                </c:pt>
                <c:pt idx="1724">
                  <c:v>141.30939000000001</c:v>
                </c:pt>
                <c:pt idx="1725">
                  <c:v>141.72184999999999</c:v>
                </c:pt>
                <c:pt idx="1726">
                  <c:v>142.80710999999999</c:v>
                </c:pt>
                <c:pt idx="1727">
                  <c:v>143.45111</c:v>
                </c:pt>
                <c:pt idx="1728">
                  <c:v>143.6713</c:v>
                </c:pt>
                <c:pt idx="1729">
                  <c:v>143.99521999999999</c:v>
                </c:pt>
                <c:pt idx="1730">
                  <c:v>143.89510000000001</c:v>
                </c:pt>
                <c:pt idx="1731">
                  <c:v>145.13594000000001</c:v>
                </c:pt>
                <c:pt idx="1732">
                  <c:v>144.18523999999999</c:v>
                </c:pt>
                <c:pt idx="1733">
                  <c:v>144.30933999999999</c:v>
                </c:pt>
                <c:pt idx="1734">
                  <c:v>144.24797000000001</c:v>
                </c:pt>
                <c:pt idx="1735">
                  <c:v>144.25389000000001</c:v>
                </c:pt>
                <c:pt idx="1736">
                  <c:v>144.28246999999999</c:v>
                </c:pt>
                <c:pt idx="1737">
                  <c:v>144.26284999999999</c:v>
                </c:pt>
                <c:pt idx="1738">
                  <c:v>144.23278999999999</c:v>
                </c:pt>
                <c:pt idx="1739">
                  <c:v>144.10508999999999</c:v>
                </c:pt>
                <c:pt idx="1740">
                  <c:v>144.32194999999999</c:v>
                </c:pt>
                <c:pt idx="1741">
                  <c:v>147.45580000000001</c:v>
                </c:pt>
                <c:pt idx="1742">
                  <c:v>143.83252999999999</c:v>
                </c:pt>
                <c:pt idx="1743">
                  <c:v>144.53683000000001</c:v>
                </c:pt>
                <c:pt idx="1744">
                  <c:v>145.50679</c:v>
                </c:pt>
                <c:pt idx="1745">
                  <c:v>144.81726</c:v>
                </c:pt>
                <c:pt idx="1746">
                  <c:v>145.09198000000001</c:v>
                </c:pt>
                <c:pt idx="1747">
                  <c:v>144.92383000000001</c:v>
                </c:pt>
                <c:pt idx="1748">
                  <c:v>145.00651999999999</c:v>
                </c:pt>
                <c:pt idx="1749">
                  <c:v>144.95188999999999</c:v>
                </c:pt>
                <c:pt idx="1750">
                  <c:v>144.96343999999999</c:v>
                </c:pt>
                <c:pt idx="1751">
                  <c:v>144.93822</c:v>
                </c:pt>
                <c:pt idx="1752">
                  <c:v>144.98477</c:v>
                </c:pt>
                <c:pt idx="1753">
                  <c:v>144.91616999999999</c:v>
                </c:pt>
                <c:pt idx="1754">
                  <c:v>144.91058000000001</c:v>
                </c:pt>
                <c:pt idx="1755">
                  <c:v>144.31384</c:v>
                </c:pt>
                <c:pt idx="1756">
                  <c:v>145.30946</c:v>
                </c:pt>
                <c:pt idx="1757">
                  <c:v>145.28242</c:v>
                </c:pt>
                <c:pt idx="1758">
                  <c:v>145.18987999999999</c:v>
                </c:pt>
                <c:pt idx="1759">
                  <c:v>144.80869999999999</c:v>
                </c:pt>
                <c:pt idx="1760">
                  <c:v>145.05735999999999</c:v>
                </c:pt>
                <c:pt idx="1761">
                  <c:v>143.30234999999999</c:v>
                </c:pt>
                <c:pt idx="1762">
                  <c:v>141.62945999999999</c:v>
                </c:pt>
                <c:pt idx="1763">
                  <c:v>141.61447000000001</c:v>
                </c:pt>
                <c:pt idx="1764">
                  <c:v>140.40297000000001</c:v>
                </c:pt>
                <c:pt idx="1765">
                  <c:v>139.71204</c:v>
                </c:pt>
                <c:pt idx="1766">
                  <c:v>140.059</c:v>
                </c:pt>
                <c:pt idx="1767">
                  <c:v>135.28209000000001</c:v>
                </c:pt>
                <c:pt idx="1768">
                  <c:v>128.51116999999999</c:v>
                </c:pt>
                <c:pt idx="1769">
                  <c:v>123.04721000000001</c:v>
                </c:pt>
                <c:pt idx="1770">
                  <c:v>123.71939999999999</c:v>
                </c:pt>
                <c:pt idx="1771">
                  <c:v>125.51513</c:v>
                </c:pt>
                <c:pt idx="1772">
                  <c:v>118.89549</c:v>
                </c:pt>
                <c:pt idx="1773">
                  <c:v>114.377426</c:v>
                </c:pt>
                <c:pt idx="1774">
                  <c:v>115.5047</c:v>
                </c:pt>
                <c:pt idx="1775">
                  <c:v>112.77162</c:v>
                </c:pt>
                <c:pt idx="1776">
                  <c:v>111.126144</c:v>
                </c:pt>
                <c:pt idx="1777">
                  <c:v>110.72444</c:v>
                </c:pt>
                <c:pt idx="1778">
                  <c:v>109.642456</c:v>
                </c:pt>
                <c:pt idx="1779">
                  <c:v>108.46174000000001</c:v>
                </c:pt>
                <c:pt idx="1780">
                  <c:v>106.066025</c:v>
                </c:pt>
                <c:pt idx="1781">
                  <c:v>101.839455</c:v>
                </c:pt>
                <c:pt idx="1782">
                  <c:v>98.496539999999996</c:v>
                </c:pt>
                <c:pt idx="1783">
                  <c:v>93.60145</c:v>
                </c:pt>
                <c:pt idx="1784">
                  <c:v>90.254459999999995</c:v>
                </c:pt>
                <c:pt idx="1785">
                  <c:v>86.663380000000004</c:v>
                </c:pt>
                <c:pt idx="1786">
                  <c:v>89.6096</c:v>
                </c:pt>
                <c:pt idx="1787">
                  <c:v>93.009383999999997</c:v>
                </c:pt>
                <c:pt idx="1788">
                  <c:v>93.950355999999999</c:v>
                </c:pt>
                <c:pt idx="1789">
                  <c:v>96.669790000000006</c:v>
                </c:pt>
                <c:pt idx="1790">
                  <c:v>97.427599999999998</c:v>
                </c:pt>
                <c:pt idx="1791">
                  <c:v>101.00318</c:v>
                </c:pt>
                <c:pt idx="1792">
                  <c:v>98.324619999999996</c:v>
                </c:pt>
                <c:pt idx="1793">
                  <c:v>99.687899999999999</c:v>
                </c:pt>
                <c:pt idx="1794">
                  <c:v>99.839920000000006</c:v>
                </c:pt>
                <c:pt idx="1795">
                  <c:v>99.301209999999998</c:v>
                </c:pt>
                <c:pt idx="1796">
                  <c:v>100.68804</c:v>
                </c:pt>
                <c:pt idx="1797">
                  <c:v>99.541759999999996</c:v>
                </c:pt>
                <c:pt idx="1798">
                  <c:v>100.55489</c:v>
                </c:pt>
                <c:pt idx="1799">
                  <c:v>100.64233</c:v>
                </c:pt>
                <c:pt idx="1800">
                  <c:v>99.548249999999996</c:v>
                </c:pt>
                <c:pt idx="1801">
                  <c:v>100.040764</c:v>
                </c:pt>
                <c:pt idx="1802">
                  <c:v>100.855316</c:v>
                </c:pt>
                <c:pt idx="1803">
                  <c:v>102.27522</c:v>
                </c:pt>
                <c:pt idx="1804">
                  <c:v>102.88182</c:v>
                </c:pt>
                <c:pt idx="1805">
                  <c:v>103.57975999999999</c:v>
                </c:pt>
                <c:pt idx="1806">
                  <c:v>104.46066999999999</c:v>
                </c:pt>
                <c:pt idx="1807">
                  <c:v>104.72226999999999</c:v>
                </c:pt>
                <c:pt idx="1808">
                  <c:v>106.07504</c:v>
                </c:pt>
                <c:pt idx="1809">
                  <c:v>103.98985999999999</c:v>
                </c:pt>
                <c:pt idx="1810">
                  <c:v>103.92178</c:v>
                </c:pt>
                <c:pt idx="1811">
                  <c:v>103.62295</c:v>
                </c:pt>
                <c:pt idx="1812">
                  <c:v>104.60862</c:v>
                </c:pt>
                <c:pt idx="1813">
                  <c:v>104.09336999999999</c:v>
                </c:pt>
                <c:pt idx="1814">
                  <c:v>104.42124</c:v>
                </c:pt>
                <c:pt idx="1815">
                  <c:v>104.74225</c:v>
                </c:pt>
                <c:pt idx="1816">
                  <c:v>101.52297</c:v>
                </c:pt>
                <c:pt idx="1817">
                  <c:v>102.84501</c:v>
                </c:pt>
                <c:pt idx="1818">
                  <c:v>101.01045000000001</c:v>
                </c:pt>
                <c:pt idx="1819">
                  <c:v>103.6934</c:v>
                </c:pt>
                <c:pt idx="1820">
                  <c:v>106.91868599999999</c:v>
                </c:pt>
                <c:pt idx="1821">
                  <c:v>106.67403400000001</c:v>
                </c:pt>
                <c:pt idx="1822">
                  <c:v>106.794044</c:v>
                </c:pt>
                <c:pt idx="1823">
                  <c:v>105.74333</c:v>
                </c:pt>
                <c:pt idx="1824">
                  <c:v>106.08933</c:v>
                </c:pt>
                <c:pt idx="1825">
                  <c:v>106.592026</c:v>
                </c:pt>
                <c:pt idx="1826">
                  <c:v>107.04518</c:v>
                </c:pt>
                <c:pt idx="1827">
                  <c:v>109.652596</c:v>
                </c:pt>
                <c:pt idx="1828">
                  <c:v>113.14458</c:v>
                </c:pt>
                <c:pt idx="1829">
                  <c:v>116.83835999999999</c:v>
                </c:pt>
                <c:pt idx="1830">
                  <c:v>117.58343000000001</c:v>
                </c:pt>
                <c:pt idx="1831">
                  <c:v>120.10004000000001</c:v>
                </c:pt>
                <c:pt idx="1832">
                  <c:v>122.259895</c:v>
                </c:pt>
                <c:pt idx="1833">
                  <c:v>123.49543</c:v>
                </c:pt>
                <c:pt idx="1834">
                  <c:v>123.39198</c:v>
                </c:pt>
                <c:pt idx="1835">
                  <c:v>123.27021999999999</c:v>
                </c:pt>
                <c:pt idx="1836">
                  <c:v>122.16287</c:v>
                </c:pt>
                <c:pt idx="1837">
                  <c:v>121.40166000000001</c:v>
                </c:pt>
                <c:pt idx="1838">
                  <c:v>121.87341000000001</c:v>
                </c:pt>
                <c:pt idx="1839">
                  <c:v>121.73382599999999</c:v>
                </c:pt>
                <c:pt idx="1840">
                  <c:v>122.057884</c:v>
                </c:pt>
                <c:pt idx="1841">
                  <c:v>121.834785</c:v>
                </c:pt>
                <c:pt idx="1842">
                  <c:v>121.03181499999999</c:v>
                </c:pt>
                <c:pt idx="1843">
                  <c:v>120.14545</c:v>
                </c:pt>
                <c:pt idx="1844">
                  <c:v>118.74097399999999</c:v>
                </c:pt>
                <c:pt idx="1845">
                  <c:v>118.56265</c:v>
                </c:pt>
                <c:pt idx="1846">
                  <c:v>117.39621</c:v>
                </c:pt>
                <c:pt idx="1847">
                  <c:v>116.36262499999999</c:v>
                </c:pt>
                <c:pt idx="1848">
                  <c:v>115.02767</c:v>
                </c:pt>
                <c:pt idx="1849">
                  <c:v>114.23711400000001</c:v>
                </c:pt>
                <c:pt idx="1850">
                  <c:v>114.313965</c:v>
                </c:pt>
                <c:pt idx="1851">
                  <c:v>114.1452</c:v>
                </c:pt>
                <c:pt idx="1852">
                  <c:v>114.407166</c:v>
                </c:pt>
                <c:pt idx="1853">
                  <c:v>113.79564000000001</c:v>
                </c:pt>
                <c:pt idx="1854">
                  <c:v>113.75947600000001</c:v>
                </c:pt>
                <c:pt idx="1855">
                  <c:v>113.00391999999999</c:v>
                </c:pt>
                <c:pt idx="1856">
                  <c:v>112.41986</c:v>
                </c:pt>
                <c:pt idx="1857">
                  <c:v>113.10856</c:v>
                </c:pt>
                <c:pt idx="1858">
                  <c:v>113.39288999999999</c:v>
                </c:pt>
                <c:pt idx="1859">
                  <c:v>114.28046999999999</c:v>
                </c:pt>
                <c:pt idx="1860">
                  <c:v>114.95184999999999</c:v>
                </c:pt>
                <c:pt idx="1861">
                  <c:v>116.42497</c:v>
                </c:pt>
                <c:pt idx="1862">
                  <c:v>117.63715000000001</c:v>
                </c:pt>
                <c:pt idx="1863">
                  <c:v>115.78601999999999</c:v>
                </c:pt>
                <c:pt idx="1864">
                  <c:v>115.58931</c:v>
                </c:pt>
                <c:pt idx="1865">
                  <c:v>115.427734</c:v>
                </c:pt>
                <c:pt idx="1866">
                  <c:v>116.20502</c:v>
                </c:pt>
                <c:pt idx="1867">
                  <c:v>116.82737</c:v>
                </c:pt>
                <c:pt idx="1868">
                  <c:v>118.85129000000001</c:v>
                </c:pt>
                <c:pt idx="1869">
                  <c:v>116.60119</c:v>
                </c:pt>
                <c:pt idx="1870">
                  <c:v>115.85408</c:v>
                </c:pt>
                <c:pt idx="1871">
                  <c:v>115.09429</c:v>
                </c:pt>
                <c:pt idx="1872">
                  <c:v>115.850815</c:v>
                </c:pt>
                <c:pt idx="1873">
                  <c:v>114.99336</c:v>
                </c:pt>
                <c:pt idx="1874">
                  <c:v>113.94235999999999</c:v>
                </c:pt>
                <c:pt idx="1875">
                  <c:v>116.22351</c:v>
                </c:pt>
                <c:pt idx="1876">
                  <c:v>116.992966</c:v>
                </c:pt>
                <c:pt idx="1877">
                  <c:v>118.107315</c:v>
                </c:pt>
                <c:pt idx="1878">
                  <c:v>117.98934</c:v>
                </c:pt>
                <c:pt idx="1879">
                  <c:v>118.08865</c:v>
                </c:pt>
                <c:pt idx="1880">
                  <c:v>119.544754</c:v>
                </c:pt>
                <c:pt idx="1881">
                  <c:v>122.46165499999999</c:v>
                </c:pt>
                <c:pt idx="1882">
                  <c:v>121.73447</c:v>
                </c:pt>
                <c:pt idx="1883">
                  <c:v>123.637856</c:v>
                </c:pt>
                <c:pt idx="1884">
                  <c:v>126.04787</c:v>
                </c:pt>
                <c:pt idx="1885">
                  <c:v>127.249405</c:v>
                </c:pt>
                <c:pt idx="1886">
                  <c:v>129.03856999999999</c:v>
                </c:pt>
                <c:pt idx="1887">
                  <c:v>126.847824</c:v>
                </c:pt>
                <c:pt idx="1888">
                  <c:v>127.10671000000001</c:v>
                </c:pt>
                <c:pt idx="1889">
                  <c:v>126.64315000000001</c:v>
                </c:pt>
                <c:pt idx="1890">
                  <c:v>127.91177</c:v>
                </c:pt>
                <c:pt idx="1891">
                  <c:v>128.36488</c:v>
                </c:pt>
                <c:pt idx="1892">
                  <c:v>130.78270000000001</c:v>
                </c:pt>
                <c:pt idx="1893">
                  <c:v>133.26271</c:v>
                </c:pt>
                <c:pt idx="1894">
                  <c:v>136.26915</c:v>
                </c:pt>
                <c:pt idx="1895">
                  <c:v>139.08002999999999</c:v>
                </c:pt>
                <c:pt idx="1896">
                  <c:v>140.95605</c:v>
                </c:pt>
                <c:pt idx="1897">
                  <c:v>142.89084</c:v>
                </c:pt>
                <c:pt idx="1898">
                  <c:v>143.48562999999999</c:v>
                </c:pt>
                <c:pt idx="1899">
                  <c:v>143.84334000000001</c:v>
                </c:pt>
                <c:pt idx="1900">
                  <c:v>145.2158</c:v>
                </c:pt>
                <c:pt idx="1901">
                  <c:v>143.97426999999999</c:v>
                </c:pt>
                <c:pt idx="1902">
                  <c:v>143.46880999999999</c:v>
                </c:pt>
                <c:pt idx="1903">
                  <c:v>142.61197999999999</c:v>
                </c:pt>
                <c:pt idx="1904">
                  <c:v>141.83833000000001</c:v>
                </c:pt>
                <c:pt idx="1905">
                  <c:v>141.17856</c:v>
                </c:pt>
                <c:pt idx="1906">
                  <c:v>138.49902</c:v>
                </c:pt>
                <c:pt idx="1907">
                  <c:v>137.76424</c:v>
                </c:pt>
                <c:pt idx="1908">
                  <c:v>137.57925</c:v>
                </c:pt>
                <c:pt idx="1909">
                  <c:v>139.3579</c:v>
                </c:pt>
                <c:pt idx="1910">
                  <c:v>140.23639</c:v>
                </c:pt>
                <c:pt idx="1911">
                  <c:v>142.4562</c:v>
                </c:pt>
                <c:pt idx="1912">
                  <c:v>138.14852999999999</c:v>
                </c:pt>
                <c:pt idx="1913">
                  <c:v>139.66195999999999</c:v>
                </c:pt>
                <c:pt idx="1914">
                  <c:v>141.827</c:v>
                </c:pt>
                <c:pt idx="1915">
                  <c:v>141.87443999999999</c:v>
                </c:pt>
                <c:pt idx="1916">
                  <c:v>143.25307000000001</c:v>
                </c:pt>
                <c:pt idx="1917">
                  <c:v>143.95349999999999</c:v>
                </c:pt>
                <c:pt idx="1918">
                  <c:v>143.45490000000001</c:v>
                </c:pt>
                <c:pt idx="1919">
                  <c:v>142.99459999999999</c:v>
                </c:pt>
                <c:pt idx="1920">
                  <c:v>142.93454</c:v>
                </c:pt>
                <c:pt idx="1921">
                  <c:v>142.53241</c:v>
                </c:pt>
                <c:pt idx="1922">
                  <c:v>142.15701000000001</c:v>
                </c:pt>
                <c:pt idx="1923">
                  <c:v>139.04326</c:v>
                </c:pt>
                <c:pt idx="1924">
                  <c:v>136.1122</c:v>
                </c:pt>
                <c:pt idx="1925">
                  <c:v>134.3493</c:v>
                </c:pt>
                <c:pt idx="1926">
                  <c:v>128.49678</c:v>
                </c:pt>
                <c:pt idx="1927">
                  <c:v>129.65758</c:v>
                </c:pt>
                <c:pt idx="1928">
                  <c:v>135.66973999999999</c:v>
                </c:pt>
                <c:pt idx="1929">
                  <c:v>139.39189999999999</c:v>
                </c:pt>
                <c:pt idx="1930">
                  <c:v>142.12035</c:v>
                </c:pt>
                <c:pt idx="1931">
                  <c:v>140.81406999999999</c:v>
                </c:pt>
                <c:pt idx="1932">
                  <c:v>141.12817000000001</c:v>
                </c:pt>
                <c:pt idx="1933">
                  <c:v>142.83297999999999</c:v>
                </c:pt>
                <c:pt idx="1934">
                  <c:v>144.81783999999999</c:v>
                </c:pt>
                <c:pt idx="1935">
                  <c:v>144.77188000000001</c:v>
                </c:pt>
                <c:pt idx="1936">
                  <c:v>146.68674999999999</c:v>
                </c:pt>
                <c:pt idx="1937">
                  <c:v>145.19954000000001</c:v>
                </c:pt>
                <c:pt idx="1938">
                  <c:v>145.13103000000001</c:v>
                </c:pt>
                <c:pt idx="1939">
                  <c:v>145.21216999999999</c:v>
                </c:pt>
                <c:pt idx="1940">
                  <c:v>145.09121999999999</c:v>
                </c:pt>
                <c:pt idx="1941">
                  <c:v>144.70302000000001</c:v>
                </c:pt>
                <c:pt idx="1942">
                  <c:v>144.36439999999999</c:v>
                </c:pt>
                <c:pt idx="1943">
                  <c:v>144.49654000000001</c:v>
                </c:pt>
                <c:pt idx="1944">
                  <c:v>144.67766</c:v>
                </c:pt>
                <c:pt idx="1945">
                  <c:v>144.50757999999999</c:v>
                </c:pt>
                <c:pt idx="1946">
                  <c:v>144.55539999999999</c:v>
                </c:pt>
                <c:pt idx="1947">
                  <c:v>144.65110000000001</c:v>
                </c:pt>
                <c:pt idx="1948">
                  <c:v>144.26749000000001</c:v>
                </c:pt>
                <c:pt idx="1949">
                  <c:v>143.84834000000001</c:v>
                </c:pt>
                <c:pt idx="1950">
                  <c:v>143.50137000000001</c:v>
                </c:pt>
                <c:pt idx="1951">
                  <c:v>144.59560999999999</c:v>
                </c:pt>
                <c:pt idx="1952">
                  <c:v>145.75403</c:v>
                </c:pt>
                <c:pt idx="1953">
                  <c:v>143.27065999999999</c:v>
                </c:pt>
                <c:pt idx="1954">
                  <c:v>143.68661</c:v>
                </c:pt>
                <c:pt idx="1955">
                  <c:v>139.57026999999999</c:v>
                </c:pt>
                <c:pt idx="1956">
                  <c:v>139.23111</c:v>
                </c:pt>
                <c:pt idx="1957">
                  <c:v>136.78444999999999</c:v>
                </c:pt>
                <c:pt idx="1958">
                  <c:v>138.71977000000001</c:v>
                </c:pt>
                <c:pt idx="1959">
                  <c:v>140.77858000000001</c:v>
                </c:pt>
                <c:pt idx="1960">
                  <c:v>142.75417999999999</c:v>
                </c:pt>
                <c:pt idx="1961">
                  <c:v>143.66586000000001</c:v>
                </c:pt>
                <c:pt idx="1962">
                  <c:v>143.2037</c:v>
                </c:pt>
                <c:pt idx="1963">
                  <c:v>141.74341000000001</c:v>
                </c:pt>
                <c:pt idx="1964">
                  <c:v>139.80002999999999</c:v>
                </c:pt>
                <c:pt idx="1965">
                  <c:v>138.34634</c:v>
                </c:pt>
                <c:pt idx="1966">
                  <c:v>132.74460999999999</c:v>
                </c:pt>
                <c:pt idx="1967">
                  <c:v>125.47883</c:v>
                </c:pt>
                <c:pt idx="1968">
                  <c:v>119.59421500000001</c:v>
                </c:pt>
                <c:pt idx="1969">
                  <c:v>118.19322</c:v>
                </c:pt>
                <c:pt idx="1970">
                  <c:v>115.96904000000001</c:v>
                </c:pt>
                <c:pt idx="1971">
                  <c:v>117.75857999999999</c:v>
                </c:pt>
                <c:pt idx="1972">
                  <c:v>113.52342</c:v>
                </c:pt>
                <c:pt idx="1973">
                  <c:v>113.45725</c:v>
                </c:pt>
                <c:pt idx="1974">
                  <c:v>116.79982</c:v>
                </c:pt>
                <c:pt idx="1975">
                  <c:v>118.87703999999999</c:v>
                </c:pt>
                <c:pt idx="1976">
                  <c:v>120.67618</c:v>
                </c:pt>
                <c:pt idx="1977">
                  <c:v>121.123825</c:v>
                </c:pt>
                <c:pt idx="1978">
                  <c:v>120.68111</c:v>
                </c:pt>
                <c:pt idx="1979">
                  <c:v>120.16522999999999</c:v>
                </c:pt>
                <c:pt idx="1980">
                  <c:v>119.93136</c:v>
                </c:pt>
                <c:pt idx="1981">
                  <c:v>119.66347500000001</c:v>
                </c:pt>
                <c:pt idx="1982">
                  <c:v>119.60068</c:v>
                </c:pt>
                <c:pt idx="1983">
                  <c:v>118.60648999999999</c:v>
                </c:pt>
                <c:pt idx="1984">
                  <c:v>116.889565</c:v>
                </c:pt>
                <c:pt idx="1985">
                  <c:v>116.76546</c:v>
                </c:pt>
                <c:pt idx="1986">
                  <c:v>116.98608</c:v>
                </c:pt>
                <c:pt idx="1987">
                  <c:v>117.18205</c:v>
                </c:pt>
                <c:pt idx="1988">
                  <c:v>117.26373</c:v>
                </c:pt>
                <c:pt idx="1989">
                  <c:v>115.95626</c:v>
                </c:pt>
                <c:pt idx="1990">
                  <c:v>116.5421</c:v>
                </c:pt>
                <c:pt idx="1991">
                  <c:v>116.63343</c:v>
                </c:pt>
                <c:pt idx="1992">
                  <c:v>116.510414</c:v>
                </c:pt>
                <c:pt idx="1993">
                  <c:v>116.26302</c:v>
                </c:pt>
                <c:pt idx="1994">
                  <c:v>116.078896</c:v>
                </c:pt>
                <c:pt idx="1995">
                  <c:v>116.367546</c:v>
                </c:pt>
                <c:pt idx="1996">
                  <c:v>116.34574000000001</c:v>
                </c:pt>
                <c:pt idx="1997">
                  <c:v>116.57601</c:v>
                </c:pt>
                <c:pt idx="1998">
                  <c:v>117.56121</c:v>
                </c:pt>
                <c:pt idx="1999">
                  <c:v>117.08463</c:v>
                </c:pt>
                <c:pt idx="2000">
                  <c:v>115.75534</c:v>
                </c:pt>
                <c:pt idx="2001">
                  <c:v>116.08896</c:v>
                </c:pt>
                <c:pt idx="2002">
                  <c:v>118.85538</c:v>
                </c:pt>
                <c:pt idx="2003">
                  <c:v>118.65793600000001</c:v>
                </c:pt>
                <c:pt idx="2004">
                  <c:v>117.63345</c:v>
                </c:pt>
                <c:pt idx="2005">
                  <c:v>116.36357</c:v>
                </c:pt>
                <c:pt idx="2006">
                  <c:v>115.21921500000001</c:v>
                </c:pt>
                <c:pt idx="2007">
                  <c:v>115.92807999999999</c:v>
                </c:pt>
                <c:pt idx="2008">
                  <c:v>115.52898</c:v>
                </c:pt>
                <c:pt idx="2009">
                  <c:v>114.239555</c:v>
                </c:pt>
                <c:pt idx="2010">
                  <c:v>114.58007000000001</c:v>
                </c:pt>
                <c:pt idx="2011">
                  <c:v>118.55367</c:v>
                </c:pt>
                <c:pt idx="2012">
                  <c:v>117.72857999999999</c:v>
                </c:pt>
                <c:pt idx="2013">
                  <c:v>118.72764599999999</c:v>
                </c:pt>
                <c:pt idx="2014">
                  <c:v>117.90477</c:v>
                </c:pt>
                <c:pt idx="2015">
                  <c:v>117.90961</c:v>
                </c:pt>
                <c:pt idx="2016">
                  <c:v>116.90336600000001</c:v>
                </c:pt>
                <c:pt idx="2017">
                  <c:v>117.50206</c:v>
                </c:pt>
                <c:pt idx="2018">
                  <c:v>117.877365</c:v>
                </c:pt>
                <c:pt idx="2019">
                  <c:v>118.147285</c:v>
                </c:pt>
                <c:pt idx="2020">
                  <c:v>118.17157</c:v>
                </c:pt>
                <c:pt idx="2021">
                  <c:v>117.838264</c:v>
                </c:pt>
                <c:pt idx="2022">
                  <c:v>117.48036999999999</c:v>
                </c:pt>
                <c:pt idx="2023">
                  <c:v>117.09882</c:v>
                </c:pt>
                <c:pt idx="2024">
                  <c:v>117.05858000000001</c:v>
                </c:pt>
                <c:pt idx="2025">
                  <c:v>117.14422999999999</c:v>
                </c:pt>
                <c:pt idx="2026">
                  <c:v>115.81995999999999</c:v>
                </c:pt>
                <c:pt idx="2027">
                  <c:v>116.732635</c:v>
                </c:pt>
                <c:pt idx="2028">
                  <c:v>116.74636</c:v>
                </c:pt>
                <c:pt idx="2029">
                  <c:v>116.71939999999999</c:v>
                </c:pt>
                <c:pt idx="2030">
                  <c:v>116.41976</c:v>
                </c:pt>
                <c:pt idx="2031">
                  <c:v>116.223015</c:v>
                </c:pt>
                <c:pt idx="2032">
                  <c:v>116.45346000000001</c:v>
                </c:pt>
                <c:pt idx="2033">
                  <c:v>116.692566</c:v>
                </c:pt>
                <c:pt idx="2034">
                  <c:v>116.7145</c:v>
                </c:pt>
                <c:pt idx="2035">
                  <c:v>116.49747000000001</c:v>
                </c:pt>
                <c:pt idx="2036">
                  <c:v>116.51130000000001</c:v>
                </c:pt>
                <c:pt idx="2037">
                  <c:v>115.94137000000001</c:v>
                </c:pt>
                <c:pt idx="2038">
                  <c:v>115.914795</c:v>
                </c:pt>
                <c:pt idx="2039">
                  <c:v>115.56073000000001</c:v>
                </c:pt>
                <c:pt idx="2040">
                  <c:v>115.57429999999999</c:v>
                </c:pt>
                <c:pt idx="2041">
                  <c:v>115.60509500000001</c:v>
                </c:pt>
                <c:pt idx="2042">
                  <c:v>114.10775</c:v>
                </c:pt>
                <c:pt idx="2043">
                  <c:v>115.813576</c:v>
                </c:pt>
                <c:pt idx="2044">
                  <c:v>115.817055</c:v>
                </c:pt>
                <c:pt idx="2045">
                  <c:v>115.83973</c:v>
                </c:pt>
                <c:pt idx="2046">
                  <c:v>115.91876999999999</c:v>
                </c:pt>
                <c:pt idx="2047">
                  <c:v>115.96915</c:v>
                </c:pt>
                <c:pt idx="2048">
                  <c:v>115.98332000000001</c:v>
                </c:pt>
                <c:pt idx="2049">
                  <c:v>116.10616</c:v>
                </c:pt>
                <c:pt idx="2050">
                  <c:v>116.15974</c:v>
                </c:pt>
                <c:pt idx="2051">
                  <c:v>116.472595</c:v>
                </c:pt>
                <c:pt idx="2052">
                  <c:v>116.41837</c:v>
                </c:pt>
                <c:pt idx="2053">
                  <c:v>116.52307</c:v>
                </c:pt>
                <c:pt idx="2054">
                  <c:v>116.528336</c:v>
                </c:pt>
                <c:pt idx="2055">
                  <c:v>116.39686</c:v>
                </c:pt>
                <c:pt idx="2056">
                  <c:v>116.24809999999999</c:v>
                </c:pt>
                <c:pt idx="2057">
                  <c:v>116.26311</c:v>
                </c:pt>
                <c:pt idx="2058">
                  <c:v>116.18173</c:v>
                </c:pt>
                <c:pt idx="2059">
                  <c:v>116.23541</c:v>
                </c:pt>
                <c:pt idx="2060">
                  <c:v>116.24316</c:v>
                </c:pt>
                <c:pt idx="2061">
                  <c:v>116.280525</c:v>
                </c:pt>
                <c:pt idx="2062">
                  <c:v>116.39089</c:v>
                </c:pt>
                <c:pt idx="2063">
                  <c:v>116.59295</c:v>
                </c:pt>
                <c:pt idx="2064">
                  <c:v>116.70527</c:v>
                </c:pt>
                <c:pt idx="2065">
                  <c:v>116.872856</c:v>
                </c:pt>
                <c:pt idx="2066">
                  <c:v>117.45005999999999</c:v>
                </c:pt>
                <c:pt idx="2067">
                  <c:v>117.018715</c:v>
                </c:pt>
                <c:pt idx="2068">
                  <c:v>117.777214</c:v>
                </c:pt>
                <c:pt idx="2069">
                  <c:v>117.77383</c:v>
                </c:pt>
                <c:pt idx="2070">
                  <c:v>118.03682000000001</c:v>
                </c:pt>
                <c:pt idx="2071">
                  <c:v>118.65985999999999</c:v>
                </c:pt>
                <c:pt idx="2072">
                  <c:v>118.91727400000001</c:v>
                </c:pt>
                <c:pt idx="2073">
                  <c:v>119.056725</c:v>
                </c:pt>
                <c:pt idx="2074">
                  <c:v>119.013245</c:v>
                </c:pt>
                <c:pt idx="2075">
                  <c:v>118.52343</c:v>
                </c:pt>
                <c:pt idx="2076">
                  <c:v>119.92301</c:v>
                </c:pt>
                <c:pt idx="2077">
                  <c:v>118.95334</c:v>
                </c:pt>
                <c:pt idx="2078">
                  <c:v>118.73605999999999</c:v>
                </c:pt>
                <c:pt idx="2079">
                  <c:v>118.45126999999999</c:v>
                </c:pt>
                <c:pt idx="2080">
                  <c:v>118.2393</c:v>
                </c:pt>
                <c:pt idx="2081">
                  <c:v>118.22845</c:v>
                </c:pt>
                <c:pt idx="2082">
                  <c:v>118.07786</c:v>
                </c:pt>
                <c:pt idx="2083">
                  <c:v>117.96456000000001</c:v>
                </c:pt>
                <c:pt idx="2084">
                  <c:v>117.91967</c:v>
                </c:pt>
                <c:pt idx="2085">
                  <c:v>118.13434599999999</c:v>
                </c:pt>
                <c:pt idx="2086">
                  <c:v>118.21579</c:v>
                </c:pt>
                <c:pt idx="2087">
                  <c:v>118.23917400000001</c:v>
                </c:pt>
                <c:pt idx="2088">
                  <c:v>118.11584999999999</c:v>
                </c:pt>
                <c:pt idx="2089">
                  <c:v>120.51303</c:v>
                </c:pt>
                <c:pt idx="2090">
                  <c:v>116.49782999999999</c:v>
                </c:pt>
                <c:pt idx="2091">
                  <c:v>116.425224</c:v>
                </c:pt>
                <c:pt idx="2092">
                  <c:v>117.66177999999999</c:v>
                </c:pt>
                <c:pt idx="2093">
                  <c:v>118.31325</c:v>
                </c:pt>
                <c:pt idx="2094">
                  <c:v>118.43692</c:v>
                </c:pt>
                <c:pt idx="2095">
                  <c:v>118.128136</c:v>
                </c:pt>
                <c:pt idx="2096">
                  <c:v>117.906296</c:v>
                </c:pt>
                <c:pt idx="2097">
                  <c:v>117.821365</c:v>
                </c:pt>
                <c:pt idx="2098">
                  <c:v>117.81532</c:v>
                </c:pt>
                <c:pt idx="2099">
                  <c:v>117.59815</c:v>
                </c:pt>
                <c:pt idx="2100">
                  <c:v>116.8142</c:v>
                </c:pt>
                <c:pt idx="2101">
                  <c:v>116.59918999999999</c:v>
                </c:pt>
                <c:pt idx="2102">
                  <c:v>116.58499999999999</c:v>
                </c:pt>
                <c:pt idx="2103">
                  <c:v>116.30654</c:v>
                </c:pt>
                <c:pt idx="2104">
                  <c:v>116.41772</c:v>
                </c:pt>
                <c:pt idx="2105">
                  <c:v>116.285194</c:v>
                </c:pt>
                <c:pt idx="2106">
                  <c:v>116.46204</c:v>
                </c:pt>
                <c:pt idx="2107">
                  <c:v>116.584045</c:v>
                </c:pt>
                <c:pt idx="2108">
                  <c:v>117.19672</c:v>
                </c:pt>
                <c:pt idx="2109">
                  <c:v>117.47750000000001</c:v>
                </c:pt>
              </c:numCache>
            </c:numRef>
          </c:val>
          <c:smooth val="0"/>
          <c:extLst>
            <c:ext xmlns:c16="http://schemas.microsoft.com/office/drawing/2014/chart" uri="{C3380CC4-5D6E-409C-BE32-E72D297353CC}">
              <c16:uniqueId val="{00000001-2D94-3E47-9F2A-6F98A173A096}"/>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200"/>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5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90203223919881E-2"/>
          <c:y val="3.9286234984628063E-2"/>
          <c:w val="0.93640979677608016"/>
          <c:h val="0.92142753003074385"/>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49.891018000000003</c:v>
                </c:pt>
                <c:pt idx="1">
                  <c:v>50.554659999999998</c:v>
                </c:pt>
                <c:pt idx="2">
                  <c:v>50.663746000000003</c:v>
                </c:pt>
                <c:pt idx="3">
                  <c:v>49.636467000000003</c:v>
                </c:pt>
                <c:pt idx="4">
                  <c:v>49.245559999999998</c:v>
                </c:pt>
                <c:pt idx="5">
                  <c:v>49.318294999999999</c:v>
                </c:pt>
                <c:pt idx="6">
                  <c:v>48.718291999999998</c:v>
                </c:pt>
                <c:pt idx="7">
                  <c:v>49.000109999999999</c:v>
                </c:pt>
                <c:pt idx="8">
                  <c:v>49.527380000000001</c:v>
                </c:pt>
                <c:pt idx="9">
                  <c:v>49.627380000000002</c:v>
                </c:pt>
                <c:pt idx="10">
                  <c:v>50.300102000000003</c:v>
                </c:pt>
                <c:pt idx="11">
                  <c:v>50.727383000000003</c:v>
                </c:pt>
                <c:pt idx="12">
                  <c:v>51.345565999999998</c:v>
                </c:pt>
                <c:pt idx="13">
                  <c:v>51.236477000000001</c:v>
                </c:pt>
                <c:pt idx="14">
                  <c:v>51.200110000000002</c:v>
                </c:pt>
                <c:pt idx="15">
                  <c:v>52.172832</c:v>
                </c:pt>
                <c:pt idx="16">
                  <c:v>52.418292999999998</c:v>
                </c:pt>
                <c:pt idx="17">
                  <c:v>51.918297000000003</c:v>
                </c:pt>
                <c:pt idx="18">
                  <c:v>52.127383999999999</c:v>
                </c:pt>
                <c:pt idx="19">
                  <c:v>52.500109999999999</c:v>
                </c:pt>
                <c:pt idx="20">
                  <c:v>52.345565999999998</c:v>
                </c:pt>
                <c:pt idx="21">
                  <c:v>51.663746000000003</c:v>
                </c:pt>
                <c:pt idx="22">
                  <c:v>51.191025000000003</c:v>
                </c:pt>
                <c:pt idx="23">
                  <c:v>51.763750000000002</c:v>
                </c:pt>
                <c:pt idx="24">
                  <c:v>51.191025000000003</c:v>
                </c:pt>
                <c:pt idx="25">
                  <c:v>51.618282000000001</c:v>
                </c:pt>
                <c:pt idx="26">
                  <c:v>51.100110000000001</c:v>
                </c:pt>
                <c:pt idx="27">
                  <c:v>51.481921999999997</c:v>
                </c:pt>
                <c:pt idx="28">
                  <c:v>51.336480000000002</c:v>
                </c:pt>
                <c:pt idx="29">
                  <c:v>51.636470000000003</c:v>
                </c:pt>
                <c:pt idx="30">
                  <c:v>51.536472000000003</c:v>
                </c:pt>
                <c:pt idx="31">
                  <c:v>52.236477000000001</c:v>
                </c:pt>
                <c:pt idx="32">
                  <c:v>52.045566999999998</c:v>
                </c:pt>
                <c:pt idx="33">
                  <c:v>52.354655999999999</c:v>
                </c:pt>
                <c:pt idx="34">
                  <c:v>52.454661999999999</c:v>
                </c:pt>
                <c:pt idx="35">
                  <c:v>53.472842999999997</c:v>
                </c:pt>
                <c:pt idx="36">
                  <c:v>53.763750000000002</c:v>
                </c:pt>
                <c:pt idx="37">
                  <c:v>54.645569999999999</c:v>
                </c:pt>
                <c:pt idx="38">
                  <c:v>55.045566999999998</c:v>
                </c:pt>
                <c:pt idx="39">
                  <c:v>55.045566999999998</c:v>
                </c:pt>
                <c:pt idx="40">
                  <c:v>53.527389999999997</c:v>
                </c:pt>
                <c:pt idx="41">
                  <c:v>55.227398000000001</c:v>
                </c:pt>
                <c:pt idx="42">
                  <c:v>55.163753999999997</c:v>
                </c:pt>
                <c:pt idx="43">
                  <c:v>54.536484000000002</c:v>
                </c:pt>
                <c:pt idx="44">
                  <c:v>55.963757000000001</c:v>
                </c:pt>
                <c:pt idx="45">
                  <c:v>56.37285</c:v>
                </c:pt>
                <c:pt idx="46">
                  <c:v>56.900123999999998</c:v>
                </c:pt>
                <c:pt idx="47">
                  <c:v>56.309207999999998</c:v>
                </c:pt>
                <c:pt idx="48">
                  <c:v>56.363754</c:v>
                </c:pt>
                <c:pt idx="49">
                  <c:v>56.245570000000001</c:v>
                </c:pt>
                <c:pt idx="50">
                  <c:v>57.272841999999997</c:v>
                </c:pt>
                <c:pt idx="51">
                  <c:v>57.127400000000002</c:v>
                </c:pt>
                <c:pt idx="52">
                  <c:v>57.463760000000001</c:v>
                </c:pt>
                <c:pt idx="53">
                  <c:v>58.072853000000002</c:v>
                </c:pt>
                <c:pt idx="54">
                  <c:v>58.909213999999999</c:v>
                </c:pt>
                <c:pt idx="55">
                  <c:v>59.145575999999998</c:v>
                </c:pt>
                <c:pt idx="56">
                  <c:v>60.063766000000001</c:v>
                </c:pt>
                <c:pt idx="57">
                  <c:v>59.991030000000002</c:v>
                </c:pt>
                <c:pt idx="58">
                  <c:v>60.609214999999999</c:v>
                </c:pt>
                <c:pt idx="59">
                  <c:v>61.091037999999998</c:v>
                </c:pt>
                <c:pt idx="60">
                  <c:v>61.200133999999998</c:v>
                </c:pt>
                <c:pt idx="61">
                  <c:v>61.336486999999998</c:v>
                </c:pt>
                <c:pt idx="62">
                  <c:v>61.51831</c:v>
                </c:pt>
                <c:pt idx="63">
                  <c:v>60.427402000000001</c:v>
                </c:pt>
                <c:pt idx="64">
                  <c:v>60.527405000000002</c:v>
                </c:pt>
                <c:pt idx="65">
                  <c:v>60.109220000000001</c:v>
                </c:pt>
                <c:pt idx="66">
                  <c:v>59.845585</c:v>
                </c:pt>
                <c:pt idx="67">
                  <c:v>59.609222000000003</c:v>
                </c:pt>
                <c:pt idx="68">
                  <c:v>59.300133000000002</c:v>
                </c:pt>
                <c:pt idx="69">
                  <c:v>59.536487999999999</c:v>
                </c:pt>
                <c:pt idx="70">
                  <c:v>60.627389999999998</c:v>
                </c:pt>
                <c:pt idx="71">
                  <c:v>60.236496000000002</c:v>
                </c:pt>
                <c:pt idx="72">
                  <c:v>58.772854000000002</c:v>
                </c:pt>
                <c:pt idx="73">
                  <c:v>57.345579999999998</c:v>
                </c:pt>
                <c:pt idx="74">
                  <c:v>58.000121999999998</c:v>
                </c:pt>
                <c:pt idx="75">
                  <c:v>58.500120000000003</c:v>
                </c:pt>
                <c:pt idx="76">
                  <c:v>57.38194</c:v>
                </c:pt>
                <c:pt idx="77">
                  <c:v>57.400123999999998</c:v>
                </c:pt>
                <c:pt idx="78">
                  <c:v>58.954680000000003</c:v>
                </c:pt>
                <c:pt idx="79">
                  <c:v>58.027393000000004</c:v>
                </c:pt>
                <c:pt idx="80">
                  <c:v>58.000121999999998</c:v>
                </c:pt>
                <c:pt idx="81">
                  <c:v>57.263762999999997</c:v>
                </c:pt>
                <c:pt idx="82">
                  <c:v>58.454673999999997</c:v>
                </c:pt>
                <c:pt idx="83">
                  <c:v>58.000121999999998</c:v>
                </c:pt>
                <c:pt idx="84">
                  <c:v>58.627389999999998</c:v>
                </c:pt>
                <c:pt idx="85">
                  <c:v>59.354667999999997</c:v>
                </c:pt>
                <c:pt idx="86">
                  <c:v>58.481945000000003</c:v>
                </c:pt>
                <c:pt idx="87">
                  <c:v>56.345576999999999</c:v>
                </c:pt>
                <c:pt idx="88">
                  <c:v>57.0274</c:v>
                </c:pt>
                <c:pt idx="89">
                  <c:v>56.763759999999998</c:v>
                </c:pt>
                <c:pt idx="90">
                  <c:v>56.88194</c:v>
                </c:pt>
                <c:pt idx="91">
                  <c:v>57.463760000000001</c:v>
                </c:pt>
                <c:pt idx="92">
                  <c:v>57.927402000000001</c:v>
                </c:pt>
                <c:pt idx="93">
                  <c:v>57.409218000000003</c:v>
                </c:pt>
                <c:pt idx="94">
                  <c:v>58.118304999999999</c:v>
                </c:pt>
                <c:pt idx="95">
                  <c:v>57.509210000000003</c:v>
                </c:pt>
                <c:pt idx="96">
                  <c:v>57.827393000000001</c:v>
                </c:pt>
                <c:pt idx="97">
                  <c:v>58.018303000000003</c:v>
                </c:pt>
                <c:pt idx="98">
                  <c:v>58.827396</c:v>
                </c:pt>
                <c:pt idx="99">
                  <c:v>59.036490000000001</c:v>
                </c:pt>
                <c:pt idx="100">
                  <c:v>59.009219999999999</c:v>
                </c:pt>
                <c:pt idx="101">
                  <c:v>60.527405000000002</c:v>
                </c:pt>
                <c:pt idx="102">
                  <c:v>60.89105</c:v>
                </c:pt>
                <c:pt idx="103">
                  <c:v>59.936492999999999</c:v>
                </c:pt>
                <c:pt idx="104">
                  <c:v>59.118304999999999</c:v>
                </c:pt>
                <c:pt idx="105">
                  <c:v>59.418303999999999</c:v>
                </c:pt>
                <c:pt idx="106">
                  <c:v>59.836494000000002</c:v>
                </c:pt>
                <c:pt idx="107">
                  <c:v>59.236499999999999</c:v>
                </c:pt>
                <c:pt idx="108">
                  <c:v>58.545580000000001</c:v>
                </c:pt>
                <c:pt idx="109">
                  <c:v>58.59102</c:v>
                </c:pt>
                <c:pt idx="110">
                  <c:v>58.763756000000001</c:v>
                </c:pt>
                <c:pt idx="111">
                  <c:v>58.681950000000001</c:v>
                </c:pt>
                <c:pt idx="112">
                  <c:v>59.072856999999999</c:v>
                </c:pt>
                <c:pt idx="113">
                  <c:v>58.73648</c:v>
                </c:pt>
                <c:pt idx="114">
                  <c:v>58.345585</c:v>
                </c:pt>
                <c:pt idx="115">
                  <c:v>58.772854000000002</c:v>
                </c:pt>
                <c:pt idx="116">
                  <c:v>59.418303999999999</c:v>
                </c:pt>
                <c:pt idx="117">
                  <c:v>60.463769999999997</c:v>
                </c:pt>
                <c:pt idx="118">
                  <c:v>60.01831</c:v>
                </c:pt>
                <c:pt idx="119">
                  <c:v>60.954673999999997</c:v>
                </c:pt>
                <c:pt idx="120">
                  <c:v>59.918320000000001</c:v>
                </c:pt>
                <c:pt idx="121">
                  <c:v>59.772857999999999</c:v>
                </c:pt>
                <c:pt idx="122">
                  <c:v>58.845585</c:v>
                </c:pt>
                <c:pt idx="123">
                  <c:v>58.118304999999999</c:v>
                </c:pt>
                <c:pt idx="124">
                  <c:v>58.163756999999997</c:v>
                </c:pt>
                <c:pt idx="125">
                  <c:v>58.145572999999999</c:v>
                </c:pt>
                <c:pt idx="126">
                  <c:v>56.709209999999999</c:v>
                </c:pt>
                <c:pt idx="127">
                  <c:v>56.518300000000004</c:v>
                </c:pt>
                <c:pt idx="128">
                  <c:v>56.209209999999999</c:v>
                </c:pt>
                <c:pt idx="129">
                  <c:v>56.254660000000001</c:v>
                </c:pt>
                <c:pt idx="130">
                  <c:v>55.581940000000003</c:v>
                </c:pt>
                <c:pt idx="131">
                  <c:v>56.036484000000002</c:v>
                </c:pt>
                <c:pt idx="132">
                  <c:v>56.118304999999999</c:v>
                </c:pt>
                <c:pt idx="133">
                  <c:v>55.772846000000001</c:v>
                </c:pt>
                <c:pt idx="134">
                  <c:v>55.172848000000002</c:v>
                </c:pt>
                <c:pt idx="135">
                  <c:v>55.281936999999999</c:v>
                </c:pt>
                <c:pt idx="136">
                  <c:v>55.527397000000001</c:v>
                </c:pt>
                <c:pt idx="137">
                  <c:v>55.30012</c:v>
                </c:pt>
                <c:pt idx="138">
                  <c:v>55.391033</c:v>
                </c:pt>
                <c:pt idx="139">
                  <c:v>55.554670000000002</c:v>
                </c:pt>
                <c:pt idx="140">
                  <c:v>55.727383000000003</c:v>
                </c:pt>
                <c:pt idx="141">
                  <c:v>55.80921</c:v>
                </c:pt>
                <c:pt idx="142">
                  <c:v>55.991028</c:v>
                </c:pt>
                <c:pt idx="143">
                  <c:v>57.118304999999999</c:v>
                </c:pt>
                <c:pt idx="144">
                  <c:v>58.127389999999998</c:v>
                </c:pt>
                <c:pt idx="145">
                  <c:v>59.536487999999999</c:v>
                </c:pt>
                <c:pt idx="146">
                  <c:v>60.627389999999998</c:v>
                </c:pt>
                <c:pt idx="147">
                  <c:v>60.854675</c:v>
                </c:pt>
                <c:pt idx="148">
                  <c:v>60.89105</c:v>
                </c:pt>
                <c:pt idx="149">
                  <c:v>61.009230000000002</c:v>
                </c:pt>
                <c:pt idx="150">
                  <c:v>59.74559</c:v>
                </c:pt>
                <c:pt idx="151">
                  <c:v>59.10013</c:v>
                </c:pt>
                <c:pt idx="152">
                  <c:v>58.863759999999999</c:v>
                </c:pt>
                <c:pt idx="153">
                  <c:v>58.472850000000001</c:v>
                </c:pt>
                <c:pt idx="154">
                  <c:v>58.59102</c:v>
                </c:pt>
                <c:pt idx="155">
                  <c:v>59.309215999999999</c:v>
                </c:pt>
                <c:pt idx="156">
                  <c:v>59.263775000000003</c:v>
                </c:pt>
                <c:pt idx="157">
                  <c:v>58.627389999999998</c:v>
                </c:pt>
                <c:pt idx="158">
                  <c:v>58.936484999999998</c:v>
                </c:pt>
                <c:pt idx="159">
                  <c:v>58.981945000000003</c:v>
                </c:pt>
                <c:pt idx="160">
                  <c:v>58.200122999999998</c:v>
                </c:pt>
                <c:pt idx="161">
                  <c:v>59.363759999999999</c:v>
                </c:pt>
                <c:pt idx="162">
                  <c:v>58.718307000000003</c:v>
                </c:pt>
                <c:pt idx="163">
                  <c:v>58.181941999999999</c:v>
                </c:pt>
                <c:pt idx="164">
                  <c:v>57.809223000000003</c:v>
                </c:pt>
                <c:pt idx="165">
                  <c:v>59.618310000000001</c:v>
                </c:pt>
                <c:pt idx="166">
                  <c:v>60.191040000000001</c:v>
                </c:pt>
                <c:pt idx="167">
                  <c:v>60.75468</c:v>
                </c:pt>
                <c:pt idx="168">
                  <c:v>60.400143</c:v>
                </c:pt>
                <c:pt idx="169">
                  <c:v>60.318306</c:v>
                </c:pt>
                <c:pt idx="170">
                  <c:v>60.381943</c:v>
                </c:pt>
                <c:pt idx="171">
                  <c:v>61.045574000000002</c:v>
                </c:pt>
                <c:pt idx="172">
                  <c:v>61.463769999999997</c:v>
                </c:pt>
                <c:pt idx="173">
                  <c:v>62.727417000000003</c:v>
                </c:pt>
                <c:pt idx="174">
                  <c:v>61.927402000000001</c:v>
                </c:pt>
                <c:pt idx="175">
                  <c:v>62.772869999999998</c:v>
                </c:pt>
                <c:pt idx="176">
                  <c:v>62.963769999999997</c:v>
                </c:pt>
                <c:pt idx="177">
                  <c:v>62.727417000000003</c:v>
                </c:pt>
                <c:pt idx="178">
                  <c:v>62.654670000000003</c:v>
                </c:pt>
                <c:pt idx="179">
                  <c:v>62.245586000000003</c:v>
                </c:pt>
                <c:pt idx="180">
                  <c:v>62.354686999999998</c:v>
                </c:pt>
                <c:pt idx="181">
                  <c:v>62.736499999999999</c:v>
                </c:pt>
                <c:pt idx="182">
                  <c:v>62.554676000000001</c:v>
                </c:pt>
                <c:pt idx="183">
                  <c:v>62.591030000000003</c:v>
                </c:pt>
                <c:pt idx="184">
                  <c:v>62.727417000000003</c:v>
                </c:pt>
                <c:pt idx="185">
                  <c:v>61.045574000000002</c:v>
                </c:pt>
                <c:pt idx="186">
                  <c:v>62.345596</c:v>
                </c:pt>
                <c:pt idx="187">
                  <c:v>62.127388000000003</c:v>
                </c:pt>
                <c:pt idx="188">
                  <c:v>61.609222000000003</c:v>
                </c:pt>
                <c:pt idx="189">
                  <c:v>62.700133999999998</c:v>
                </c:pt>
                <c:pt idx="190">
                  <c:v>63.654682000000001</c:v>
                </c:pt>
                <c:pt idx="191">
                  <c:v>63.636496999999999</c:v>
                </c:pt>
                <c:pt idx="192">
                  <c:v>63.181946000000003</c:v>
                </c:pt>
                <c:pt idx="193">
                  <c:v>62.836506</c:v>
                </c:pt>
                <c:pt idx="194">
                  <c:v>62.936503999999999</c:v>
                </c:pt>
                <c:pt idx="195">
                  <c:v>63.581960000000002</c:v>
                </c:pt>
                <c:pt idx="196">
                  <c:v>63.81832</c:v>
                </c:pt>
                <c:pt idx="197">
                  <c:v>63.400126999999998</c:v>
                </c:pt>
                <c:pt idx="198">
                  <c:v>64.709236000000004</c:v>
                </c:pt>
                <c:pt idx="199">
                  <c:v>64.336500000000001</c:v>
                </c:pt>
                <c:pt idx="200">
                  <c:v>64.127409999999998</c:v>
                </c:pt>
                <c:pt idx="201">
                  <c:v>64.463769999999997</c:v>
                </c:pt>
                <c:pt idx="202">
                  <c:v>63.545597000000001</c:v>
                </c:pt>
                <c:pt idx="203">
                  <c:v>63.609220000000001</c:v>
                </c:pt>
                <c:pt idx="204">
                  <c:v>63.845590000000001</c:v>
                </c:pt>
                <c:pt idx="205">
                  <c:v>64.963769999999997</c:v>
                </c:pt>
                <c:pt idx="206">
                  <c:v>64.645589999999999</c:v>
                </c:pt>
                <c:pt idx="207">
                  <c:v>65.063800000000001</c:v>
                </c:pt>
                <c:pt idx="208">
                  <c:v>64.109219999999993</c:v>
                </c:pt>
                <c:pt idx="209">
                  <c:v>64.081609999999998</c:v>
                </c:pt>
                <c:pt idx="210">
                  <c:v>64.072410000000005</c:v>
                </c:pt>
                <c:pt idx="211">
                  <c:v>64.891499999999994</c:v>
                </c:pt>
                <c:pt idx="212">
                  <c:v>65.029539999999997</c:v>
                </c:pt>
                <c:pt idx="213">
                  <c:v>66.446820000000002</c:v>
                </c:pt>
                <c:pt idx="214">
                  <c:v>67.155469999999994</c:v>
                </c:pt>
                <c:pt idx="215">
                  <c:v>66.630889999999994</c:v>
                </c:pt>
                <c:pt idx="216">
                  <c:v>67.440770000000001</c:v>
                </c:pt>
                <c:pt idx="217">
                  <c:v>67.965339999999998</c:v>
                </c:pt>
                <c:pt idx="218">
                  <c:v>68.673990000000003</c:v>
                </c:pt>
                <c:pt idx="219">
                  <c:v>68.425510000000003</c:v>
                </c:pt>
                <c:pt idx="220">
                  <c:v>70.155709999999999</c:v>
                </c:pt>
                <c:pt idx="221">
                  <c:v>70.312160000000006</c:v>
                </c:pt>
                <c:pt idx="222">
                  <c:v>70.192499999999995</c:v>
                </c:pt>
                <c:pt idx="223">
                  <c:v>70.045270000000002</c:v>
                </c:pt>
                <c:pt idx="224">
                  <c:v>69.778369999999995</c:v>
                </c:pt>
                <c:pt idx="225">
                  <c:v>70.256929999999997</c:v>
                </c:pt>
                <c:pt idx="226">
                  <c:v>69.226190000000003</c:v>
                </c:pt>
                <c:pt idx="227">
                  <c:v>68.93168</c:v>
                </c:pt>
                <c:pt idx="228">
                  <c:v>69.382639999999995</c:v>
                </c:pt>
                <c:pt idx="229">
                  <c:v>67.431563999999995</c:v>
                </c:pt>
                <c:pt idx="230">
                  <c:v>68.517529999999994</c:v>
                </c:pt>
                <c:pt idx="231">
                  <c:v>68.361090000000004</c:v>
                </c:pt>
                <c:pt idx="232">
                  <c:v>68.296670000000006</c:v>
                </c:pt>
                <c:pt idx="233">
                  <c:v>68.085009999999997</c:v>
                </c:pt>
                <c:pt idx="234">
                  <c:v>68.287459999999996</c:v>
                </c:pt>
                <c:pt idx="235">
                  <c:v>69.309010000000001</c:v>
                </c:pt>
                <c:pt idx="236">
                  <c:v>68.830449999999999</c:v>
                </c:pt>
                <c:pt idx="237">
                  <c:v>66.925399999999996</c:v>
                </c:pt>
                <c:pt idx="238">
                  <c:v>66.492850000000004</c:v>
                </c:pt>
                <c:pt idx="239">
                  <c:v>67.072649999999996</c:v>
                </c:pt>
                <c:pt idx="240">
                  <c:v>65.646159999999995</c:v>
                </c:pt>
                <c:pt idx="241">
                  <c:v>67.385570000000001</c:v>
                </c:pt>
                <c:pt idx="242">
                  <c:v>66.824160000000006</c:v>
                </c:pt>
                <c:pt idx="243">
                  <c:v>64.412930000000003</c:v>
                </c:pt>
                <c:pt idx="244">
                  <c:v>65.388469999999998</c:v>
                </c:pt>
                <c:pt idx="245">
                  <c:v>66.041899999999998</c:v>
                </c:pt>
                <c:pt idx="246">
                  <c:v>69.539090000000002</c:v>
                </c:pt>
                <c:pt idx="247">
                  <c:v>69.640320000000003</c:v>
                </c:pt>
                <c:pt idx="248">
                  <c:v>70.919560000000004</c:v>
                </c:pt>
                <c:pt idx="249">
                  <c:v>71.591399999999993</c:v>
                </c:pt>
                <c:pt idx="250">
                  <c:v>71.701836</c:v>
                </c:pt>
                <c:pt idx="251">
                  <c:v>71.692629999999994</c:v>
                </c:pt>
                <c:pt idx="252">
                  <c:v>72.916659999999993</c:v>
                </c:pt>
                <c:pt idx="253">
                  <c:v>73.238770000000002</c:v>
                </c:pt>
                <c:pt idx="254">
                  <c:v>72.585340000000002</c:v>
                </c:pt>
                <c:pt idx="255">
                  <c:v>72.879845000000003</c:v>
                </c:pt>
                <c:pt idx="256">
                  <c:v>73.744934000000001</c:v>
                </c:pt>
                <c:pt idx="257">
                  <c:v>74.297120000000007</c:v>
                </c:pt>
                <c:pt idx="258">
                  <c:v>73.818565000000007</c:v>
                </c:pt>
                <c:pt idx="259">
                  <c:v>73.698920000000001</c:v>
                </c:pt>
                <c:pt idx="260">
                  <c:v>74.067054999999996</c:v>
                </c:pt>
                <c:pt idx="261">
                  <c:v>74.370750000000001</c:v>
                </c:pt>
                <c:pt idx="262">
                  <c:v>73.128333999999995</c:v>
                </c:pt>
                <c:pt idx="263">
                  <c:v>75.199029999999993</c:v>
                </c:pt>
                <c:pt idx="264">
                  <c:v>76.091740000000001</c:v>
                </c:pt>
                <c:pt idx="265">
                  <c:v>76.699164999999994</c:v>
                </c:pt>
                <c:pt idx="266">
                  <c:v>75.659189999999995</c:v>
                </c:pt>
                <c:pt idx="267">
                  <c:v>75.438323999999994</c:v>
                </c:pt>
                <c:pt idx="268">
                  <c:v>74.591629999999995</c:v>
                </c:pt>
                <c:pt idx="269">
                  <c:v>74.895330000000001</c:v>
                </c:pt>
                <c:pt idx="270">
                  <c:v>73.560879999999997</c:v>
                </c:pt>
                <c:pt idx="271">
                  <c:v>73.689719999999994</c:v>
                </c:pt>
                <c:pt idx="272">
                  <c:v>74.904539999999997</c:v>
                </c:pt>
                <c:pt idx="273">
                  <c:v>75.456726000000003</c:v>
                </c:pt>
                <c:pt idx="274">
                  <c:v>74.103859999999997</c:v>
                </c:pt>
                <c:pt idx="275">
                  <c:v>74.370750000000001</c:v>
                </c:pt>
                <c:pt idx="276">
                  <c:v>73.947419999999994</c:v>
                </c:pt>
                <c:pt idx="277">
                  <c:v>73.155940000000001</c:v>
                </c:pt>
                <c:pt idx="278">
                  <c:v>73.211150000000004</c:v>
                </c:pt>
                <c:pt idx="279">
                  <c:v>72.355255</c:v>
                </c:pt>
                <c:pt idx="280">
                  <c:v>72.226420000000005</c:v>
                </c:pt>
                <c:pt idx="281">
                  <c:v>72.695790000000002</c:v>
                </c:pt>
                <c:pt idx="282">
                  <c:v>73.689719999999994</c:v>
                </c:pt>
                <c:pt idx="283">
                  <c:v>75.0702</c:v>
                </c:pt>
                <c:pt idx="284">
                  <c:v>75.162223999999995</c:v>
                </c:pt>
                <c:pt idx="285">
                  <c:v>75.180629999999994</c:v>
                </c:pt>
                <c:pt idx="286">
                  <c:v>74.021029999999996</c:v>
                </c:pt>
                <c:pt idx="287">
                  <c:v>72.824614999999994</c:v>
                </c:pt>
                <c:pt idx="288">
                  <c:v>73.229569999999995</c:v>
                </c:pt>
                <c:pt idx="289">
                  <c:v>74.057845999999998</c:v>
                </c:pt>
                <c:pt idx="290">
                  <c:v>71.333709999999996</c:v>
                </c:pt>
                <c:pt idx="291">
                  <c:v>70.873540000000006</c:v>
                </c:pt>
                <c:pt idx="292">
                  <c:v>71.434950000000001</c:v>
                </c:pt>
                <c:pt idx="293">
                  <c:v>71.471755999999999</c:v>
                </c:pt>
                <c:pt idx="294">
                  <c:v>72.658966000000007</c:v>
                </c:pt>
                <c:pt idx="295">
                  <c:v>73.61609</c:v>
                </c:pt>
                <c:pt idx="296">
                  <c:v>72.806219999999996</c:v>
                </c:pt>
                <c:pt idx="297">
                  <c:v>73.119110000000006</c:v>
                </c:pt>
                <c:pt idx="298">
                  <c:v>73.183539999999994</c:v>
                </c:pt>
                <c:pt idx="299">
                  <c:v>73.247960000000006</c:v>
                </c:pt>
                <c:pt idx="300">
                  <c:v>71.996340000000004</c:v>
                </c:pt>
                <c:pt idx="301">
                  <c:v>71.582189999999997</c:v>
                </c:pt>
                <c:pt idx="302">
                  <c:v>72.373660000000001</c:v>
                </c:pt>
                <c:pt idx="303">
                  <c:v>73.017899999999997</c:v>
                </c:pt>
                <c:pt idx="304">
                  <c:v>73.220370000000003</c:v>
                </c:pt>
                <c:pt idx="305">
                  <c:v>73.910589999999999</c:v>
                </c:pt>
                <c:pt idx="306">
                  <c:v>74.748090000000005</c:v>
                </c:pt>
                <c:pt idx="307">
                  <c:v>74.573220000000006</c:v>
                </c:pt>
                <c:pt idx="308">
                  <c:v>73.892200000000003</c:v>
                </c:pt>
                <c:pt idx="309">
                  <c:v>75.097790000000003</c:v>
                </c:pt>
                <c:pt idx="310">
                  <c:v>75.419914000000006</c:v>
                </c:pt>
                <c:pt idx="311">
                  <c:v>75.852455000000006</c:v>
                </c:pt>
                <c:pt idx="312">
                  <c:v>75.539559999999994</c:v>
                </c:pt>
                <c:pt idx="313">
                  <c:v>74.471985000000004</c:v>
                </c:pt>
                <c:pt idx="314">
                  <c:v>73.763350000000003</c:v>
                </c:pt>
                <c:pt idx="315">
                  <c:v>73.984219999999993</c:v>
                </c:pt>
                <c:pt idx="316">
                  <c:v>74.591629999999995</c:v>
                </c:pt>
                <c:pt idx="317">
                  <c:v>74.628426000000005</c:v>
                </c:pt>
                <c:pt idx="318">
                  <c:v>75.640784999999994</c:v>
                </c:pt>
                <c:pt idx="319">
                  <c:v>75.788039999999995</c:v>
                </c:pt>
                <c:pt idx="320">
                  <c:v>76.680750000000003</c:v>
                </c:pt>
                <c:pt idx="321">
                  <c:v>77.067276000000007</c:v>
                </c:pt>
                <c:pt idx="322">
                  <c:v>76.938445999999999</c:v>
                </c:pt>
                <c:pt idx="323">
                  <c:v>77.334175000000002</c:v>
                </c:pt>
                <c:pt idx="324">
                  <c:v>77.315764999999999</c:v>
                </c:pt>
                <c:pt idx="325">
                  <c:v>77.555040000000005</c:v>
                </c:pt>
                <c:pt idx="326">
                  <c:v>77.196129999999997</c:v>
                </c:pt>
                <c:pt idx="327">
                  <c:v>77.527434999999997</c:v>
                </c:pt>
                <c:pt idx="328">
                  <c:v>78.0244</c:v>
                </c:pt>
                <c:pt idx="329">
                  <c:v>77.867959999999997</c:v>
                </c:pt>
                <c:pt idx="330">
                  <c:v>78.668625000000006</c:v>
                </c:pt>
                <c:pt idx="331">
                  <c:v>77.996799999999993</c:v>
                </c:pt>
                <c:pt idx="332">
                  <c:v>77.591859999999997</c:v>
                </c:pt>
                <c:pt idx="333">
                  <c:v>76.202190000000002</c:v>
                </c:pt>
                <c:pt idx="334">
                  <c:v>76.202190000000002</c:v>
                </c:pt>
                <c:pt idx="335">
                  <c:v>76.662345999999999</c:v>
                </c:pt>
                <c:pt idx="336">
                  <c:v>76.533510000000007</c:v>
                </c:pt>
                <c:pt idx="337">
                  <c:v>76.92004</c:v>
                </c:pt>
                <c:pt idx="338">
                  <c:v>77.094890000000007</c:v>
                </c:pt>
                <c:pt idx="339">
                  <c:v>76.220579999999998</c:v>
                </c:pt>
                <c:pt idx="340">
                  <c:v>76.165374999999997</c:v>
                </c:pt>
                <c:pt idx="341">
                  <c:v>76.091740000000001</c:v>
                </c:pt>
                <c:pt idx="342">
                  <c:v>77.214519999999993</c:v>
                </c:pt>
                <c:pt idx="343">
                  <c:v>77.720699999999994</c:v>
                </c:pt>
                <c:pt idx="344">
                  <c:v>78.502975000000006</c:v>
                </c:pt>
                <c:pt idx="345">
                  <c:v>78.907920000000004</c:v>
                </c:pt>
                <c:pt idx="346">
                  <c:v>79.579750000000004</c:v>
                </c:pt>
                <c:pt idx="347">
                  <c:v>79.552130000000005</c:v>
                </c:pt>
                <c:pt idx="348">
                  <c:v>79.920265000000001</c:v>
                </c:pt>
                <c:pt idx="349">
                  <c:v>79.690179999999998</c:v>
                </c:pt>
                <c:pt idx="350">
                  <c:v>79.018360000000001</c:v>
                </c:pt>
                <c:pt idx="351">
                  <c:v>80.269990000000007</c:v>
                </c:pt>
                <c:pt idx="352">
                  <c:v>79.938670000000002</c:v>
                </c:pt>
                <c:pt idx="353">
                  <c:v>79.966269999999994</c:v>
                </c:pt>
                <c:pt idx="354">
                  <c:v>79.846639999999994</c:v>
                </c:pt>
                <c:pt idx="355">
                  <c:v>79.285250000000005</c:v>
                </c:pt>
                <c:pt idx="356">
                  <c:v>78.548990000000003</c:v>
                </c:pt>
                <c:pt idx="357">
                  <c:v>78.254480000000001</c:v>
                </c:pt>
                <c:pt idx="358">
                  <c:v>78.972340000000003</c:v>
                </c:pt>
                <c:pt idx="359">
                  <c:v>78.907920000000004</c:v>
                </c:pt>
                <c:pt idx="360">
                  <c:v>79.340459999999993</c:v>
                </c:pt>
                <c:pt idx="361">
                  <c:v>79.184005999999997</c:v>
                </c:pt>
                <c:pt idx="362">
                  <c:v>79.883446000000006</c:v>
                </c:pt>
                <c:pt idx="363">
                  <c:v>79.358860000000007</c:v>
                </c:pt>
                <c:pt idx="364">
                  <c:v>80.205550000000002</c:v>
                </c:pt>
                <c:pt idx="365">
                  <c:v>79.33126</c:v>
                </c:pt>
                <c:pt idx="366">
                  <c:v>80.26079</c:v>
                </c:pt>
                <c:pt idx="367">
                  <c:v>79.036760000000001</c:v>
                </c:pt>
                <c:pt idx="368">
                  <c:v>78.576610000000002</c:v>
                </c:pt>
                <c:pt idx="369">
                  <c:v>80.288390000000007</c:v>
                </c:pt>
                <c:pt idx="370">
                  <c:v>79.837450000000004</c:v>
                </c:pt>
                <c:pt idx="371">
                  <c:v>79.690179999999998</c:v>
                </c:pt>
                <c:pt idx="372">
                  <c:v>78.696240000000003</c:v>
                </c:pt>
                <c:pt idx="373">
                  <c:v>79.929450000000003</c:v>
                </c:pt>
                <c:pt idx="374">
                  <c:v>80.527670000000001</c:v>
                </c:pt>
                <c:pt idx="375">
                  <c:v>80.26079</c:v>
                </c:pt>
                <c:pt idx="376">
                  <c:v>80.619704999999996</c:v>
                </c:pt>
                <c:pt idx="377">
                  <c:v>81.549225000000007</c:v>
                </c:pt>
                <c:pt idx="378">
                  <c:v>82.165824999999998</c:v>
                </c:pt>
                <c:pt idx="379">
                  <c:v>82.800849999999997</c:v>
                </c:pt>
                <c:pt idx="380">
                  <c:v>82.911270000000002</c:v>
                </c:pt>
                <c:pt idx="381">
                  <c:v>82.681206000000003</c:v>
                </c:pt>
                <c:pt idx="382">
                  <c:v>83.178184999999999</c:v>
                </c:pt>
                <c:pt idx="383">
                  <c:v>83.279409999999999</c:v>
                </c:pt>
                <c:pt idx="384">
                  <c:v>83.178184999999999</c:v>
                </c:pt>
                <c:pt idx="385">
                  <c:v>82.846869999999996</c:v>
                </c:pt>
                <c:pt idx="386">
                  <c:v>83.168989999999994</c:v>
                </c:pt>
                <c:pt idx="387">
                  <c:v>83.040130000000005</c:v>
                </c:pt>
                <c:pt idx="388">
                  <c:v>82.718010000000007</c:v>
                </c:pt>
                <c:pt idx="389">
                  <c:v>83.564719999999994</c:v>
                </c:pt>
                <c:pt idx="390">
                  <c:v>83.693565000000007</c:v>
                </c:pt>
                <c:pt idx="391">
                  <c:v>82.957310000000007</c:v>
                </c:pt>
                <c:pt idx="392">
                  <c:v>83.693565000000007</c:v>
                </c:pt>
                <c:pt idx="393">
                  <c:v>83.343834000000001</c:v>
                </c:pt>
                <c:pt idx="394">
                  <c:v>82.460335000000001</c:v>
                </c:pt>
                <c:pt idx="395">
                  <c:v>82.386696000000001</c:v>
                </c:pt>
                <c:pt idx="396">
                  <c:v>82.800849999999997</c:v>
                </c:pt>
                <c:pt idx="397">
                  <c:v>82.524749999999997</c:v>
                </c:pt>
                <c:pt idx="398">
                  <c:v>82.902084000000002</c:v>
                </c:pt>
                <c:pt idx="399">
                  <c:v>83.076935000000006</c:v>
                </c:pt>
                <c:pt idx="400">
                  <c:v>83.132180000000005</c:v>
                </c:pt>
                <c:pt idx="401">
                  <c:v>83.141364999999993</c:v>
                </c:pt>
                <c:pt idx="402">
                  <c:v>83.279409999999999</c:v>
                </c:pt>
                <c:pt idx="403">
                  <c:v>82.175030000000007</c:v>
                </c:pt>
                <c:pt idx="404">
                  <c:v>81.273120000000006</c:v>
                </c:pt>
                <c:pt idx="405">
                  <c:v>82.322280000000006</c:v>
                </c:pt>
                <c:pt idx="406">
                  <c:v>81.052250000000001</c:v>
                </c:pt>
                <c:pt idx="407">
                  <c:v>81.668850000000006</c:v>
                </c:pt>
                <c:pt idx="408">
                  <c:v>81.7517</c:v>
                </c:pt>
                <c:pt idx="409">
                  <c:v>81.935744999999997</c:v>
                </c:pt>
                <c:pt idx="410">
                  <c:v>80.518460000000005</c:v>
                </c:pt>
                <c:pt idx="411">
                  <c:v>79.874250000000004</c:v>
                </c:pt>
                <c:pt idx="412">
                  <c:v>81.401960000000003</c:v>
                </c:pt>
                <c:pt idx="413">
                  <c:v>81.503209999999996</c:v>
                </c:pt>
                <c:pt idx="414">
                  <c:v>80.168729999999996</c:v>
                </c:pt>
                <c:pt idx="415">
                  <c:v>81.089070000000007</c:v>
                </c:pt>
                <c:pt idx="416">
                  <c:v>78.880295000000004</c:v>
                </c:pt>
                <c:pt idx="417">
                  <c:v>79.395675999999995</c:v>
                </c:pt>
                <c:pt idx="418">
                  <c:v>77.223730000000003</c:v>
                </c:pt>
                <c:pt idx="419">
                  <c:v>77.435400000000001</c:v>
                </c:pt>
                <c:pt idx="420">
                  <c:v>75.539559999999994</c:v>
                </c:pt>
                <c:pt idx="421">
                  <c:v>75.226640000000003</c:v>
                </c:pt>
                <c:pt idx="422">
                  <c:v>77.150099999999995</c:v>
                </c:pt>
                <c:pt idx="423">
                  <c:v>78.705439999999996</c:v>
                </c:pt>
                <c:pt idx="424">
                  <c:v>80.564480000000003</c:v>
                </c:pt>
                <c:pt idx="425">
                  <c:v>80.159530000000004</c:v>
                </c:pt>
                <c:pt idx="426">
                  <c:v>80.978629999999995</c:v>
                </c:pt>
                <c:pt idx="427">
                  <c:v>81.549225000000007</c:v>
                </c:pt>
                <c:pt idx="428">
                  <c:v>81.401960000000003</c:v>
                </c:pt>
                <c:pt idx="429">
                  <c:v>82.764045999999993</c:v>
                </c:pt>
                <c:pt idx="430">
                  <c:v>82.395910000000001</c:v>
                </c:pt>
                <c:pt idx="431">
                  <c:v>83.030940000000001</c:v>
                </c:pt>
                <c:pt idx="432">
                  <c:v>84.098495</c:v>
                </c:pt>
                <c:pt idx="433">
                  <c:v>84.402180000000001</c:v>
                </c:pt>
                <c:pt idx="434">
                  <c:v>83.150565999999998</c:v>
                </c:pt>
                <c:pt idx="435">
                  <c:v>83.748769999999993</c:v>
                </c:pt>
                <c:pt idx="436">
                  <c:v>84.6691</c:v>
                </c:pt>
                <c:pt idx="437">
                  <c:v>82.828460000000007</c:v>
                </c:pt>
                <c:pt idx="438">
                  <c:v>82.625990000000002</c:v>
                </c:pt>
                <c:pt idx="439">
                  <c:v>82.810059999999993</c:v>
                </c:pt>
                <c:pt idx="440">
                  <c:v>82.736435</c:v>
                </c:pt>
                <c:pt idx="441">
                  <c:v>83.279409999999999</c:v>
                </c:pt>
                <c:pt idx="442">
                  <c:v>83.564719999999994</c:v>
                </c:pt>
                <c:pt idx="443">
                  <c:v>83.205789999999993</c:v>
                </c:pt>
                <c:pt idx="444">
                  <c:v>83.08614</c:v>
                </c:pt>
                <c:pt idx="445">
                  <c:v>82.662796</c:v>
                </c:pt>
                <c:pt idx="446">
                  <c:v>81.816090000000003</c:v>
                </c:pt>
                <c:pt idx="447">
                  <c:v>81.87133</c:v>
                </c:pt>
                <c:pt idx="448">
                  <c:v>83.362235999999996</c:v>
                </c:pt>
                <c:pt idx="449">
                  <c:v>84.346980000000002</c:v>
                </c:pt>
                <c:pt idx="450">
                  <c:v>84.595470000000006</c:v>
                </c:pt>
                <c:pt idx="451">
                  <c:v>85.138459999999995</c:v>
                </c:pt>
                <c:pt idx="452">
                  <c:v>85.313299999999998</c:v>
                </c:pt>
                <c:pt idx="453">
                  <c:v>86.021960000000007</c:v>
                </c:pt>
                <c:pt idx="454">
                  <c:v>85.690650000000005</c:v>
                </c:pt>
                <c:pt idx="455">
                  <c:v>85.801069999999996</c:v>
                </c:pt>
                <c:pt idx="456">
                  <c:v>86.288849999999996</c:v>
                </c:pt>
                <c:pt idx="457">
                  <c:v>86.325670000000002</c:v>
                </c:pt>
                <c:pt idx="458">
                  <c:v>85.534194999999997</c:v>
                </c:pt>
                <c:pt idx="459">
                  <c:v>84.328575000000001</c:v>
                </c:pt>
                <c:pt idx="460">
                  <c:v>85.512230000000002</c:v>
                </c:pt>
                <c:pt idx="461">
                  <c:v>85.269909999999996</c:v>
                </c:pt>
                <c:pt idx="462">
                  <c:v>84.72</c:v>
                </c:pt>
                <c:pt idx="463">
                  <c:v>84.039649999999995</c:v>
                </c:pt>
                <c:pt idx="464">
                  <c:v>85.167400000000001</c:v>
                </c:pt>
                <c:pt idx="465">
                  <c:v>86.313760000000002</c:v>
                </c:pt>
                <c:pt idx="466">
                  <c:v>86.574730000000002</c:v>
                </c:pt>
                <c:pt idx="467">
                  <c:v>87.795670000000001</c:v>
                </c:pt>
                <c:pt idx="468">
                  <c:v>88.252359999999996</c:v>
                </c:pt>
                <c:pt idx="469">
                  <c:v>88.000699999999995</c:v>
                </c:pt>
                <c:pt idx="470">
                  <c:v>88.569243999999998</c:v>
                </c:pt>
                <c:pt idx="471">
                  <c:v>89.007285999999993</c:v>
                </c:pt>
                <c:pt idx="472">
                  <c:v>88.261660000000006</c:v>
                </c:pt>
                <c:pt idx="473">
                  <c:v>87.786354000000003</c:v>
                </c:pt>
                <c:pt idx="474">
                  <c:v>87.376270000000005</c:v>
                </c:pt>
                <c:pt idx="475">
                  <c:v>86.099400000000003</c:v>
                </c:pt>
                <c:pt idx="476">
                  <c:v>85.642700000000005</c:v>
                </c:pt>
                <c:pt idx="477">
                  <c:v>86.518814000000006</c:v>
                </c:pt>
                <c:pt idx="478">
                  <c:v>87.413535999999993</c:v>
                </c:pt>
                <c:pt idx="479">
                  <c:v>87.842254999999994</c:v>
                </c:pt>
                <c:pt idx="480">
                  <c:v>88.037989999999994</c:v>
                </c:pt>
                <c:pt idx="481">
                  <c:v>88.718360000000004</c:v>
                </c:pt>
                <c:pt idx="482">
                  <c:v>87.823620000000005</c:v>
                </c:pt>
                <c:pt idx="483">
                  <c:v>87.935455000000005</c:v>
                </c:pt>
                <c:pt idx="484">
                  <c:v>88.709040000000002</c:v>
                </c:pt>
                <c:pt idx="485">
                  <c:v>88.298950000000005</c:v>
                </c:pt>
                <c:pt idx="486">
                  <c:v>87.767700000000005</c:v>
                </c:pt>
                <c:pt idx="487">
                  <c:v>88.681076000000004</c:v>
                </c:pt>
                <c:pt idx="488">
                  <c:v>88.28031</c:v>
                </c:pt>
                <c:pt idx="489">
                  <c:v>88.513319999999993</c:v>
                </c:pt>
                <c:pt idx="490">
                  <c:v>87.581299999999999</c:v>
                </c:pt>
                <c:pt idx="491">
                  <c:v>86.369680000000002</c:v>
                </c:pt>
                <c:pt idx="492">
                  <c:v>86.882285999999993</c:v>
                </c:pt>
                <c:pt idx="493">
                  <c:v>84.775940000000006</c:v>
                </c:pt>
                <c:pt idx="494">
                  <c:v>85.679990000000004</c:v>
                </c:pt>
                <c:pt idx="495">
                  <c:v>87.702449999999999</c:v>
                </c:pt>
                <c:pt idx="496">
                  <c:v>94.394300000000001</c:v>
                </c:pt>
                <c:pt idx="497">
                  <c:v>95.661839999999998</c:v>
                </c:pt>
                <c:pt idx="498">
                  <c:v>95.084014999999994</c:v>
                </c:pt>
                <c:pt idx="499">
                  <c:v>94.813736000000006</c:v>
                </c:pt>
                <c:pt idx="500">
                  <c:v>94.990814</c:v>
                </c:pt>
                <c:pt idx="501">
                  <c:v>94.944199999999995</c:v>
                </c:pt>
                <c:pt idx="502">
                  <c:v>96.537959999999998</c:v>
                </c:pt>
                <c:pt idx="503">
                  <c:v>97.08784</c:v>
                </c:pt>
                <c:pt idx="504">
                  <c:v>97.041240000000002</c:v>
                </c:pt>
                <c:pt idx="505">
                  <c:v>96.798903999999993</c:v>
                </c:pt>
                <c:pt idx="506">
                  <c:v>96.826890000000006</c:v>
                </c:pt>
                <c:pt idx="507">
                  <c:v>97.441990000000004</c:v>
                </c:pt>
                <c:pt idx="508">
                  <c:v>97.852069999999998</c:v>
                </c:pt>
                <c:pt idx="509">
                  <c:v>97.553830000000005</c:v>
                </c:pt>
                <c:pt idx="510">
                  <c:v>98.392660000000006</c:v>
                </c:pt>
                <c:pt idx="511">
                  <c:v>97.451324</c:v>
                </c:pt>
                <c:pt idx="512">
                  <c:v>97.003950000000003</c:v>
                </c:pt>
                <c:pt idx="513">
                  <c:v>98.690899999999999</c:v>
                </c:pt>
                <c:pt idx="514">
                  <c:v>99.119609999999994</c:v>
                </c:pt>
                <c:pt idx="515">
                  <c:v>98.392660000000006</c:v>
                </c:pt>
                <c:pt idx="516">
                  <c:v>97.889359999999996</c:v>
                </c:pt>
                <c:pt idx="517">
                  <c:v>96.761629999999997</c:v>
                </c:pt>
                <c:pt idx="518">
                  <c:v>98.103740000000002</c:v>
                </c:pt>
                <c:pt idx="519">
                  <c:v>96.081249999999997</c:v>
                </c:pt>
                <c:pt idx="520">
                  <c:v>95.894874999999999</c:v>
                </c:pt>
                <c:pt idx="521">
                  <c:v>99.883870000000002</c:v>
                </c:pt>
                <c:pt idx="522">
                  <c:v>99.203513999999998</c:v>
                </c:pt>
                <c:pt idx="523">
                  <c:v>100.070274</c:v>
                </c:pt>
                <c:pt idx="524">
                  <c:v>99.688149999999993</c:v>
                </c:pt>
                <c:pt idx="525">
                  <c:v>100.62948</c:v>
                </c:pt>
                <c:pt idx="526">
                  <c:v>100.070274</c:v>
                </c:pt>
                <c:pt idx="527">
                  <c:v>101.058205</c:v>
                </c:pt>
                <c:pt idx="528">
                  <c:v>100.86248999999999</c:v>
                </c:pt>
                <c:pt idx="529">
                  <c:v>99.827950000000001</c:v>
                </c:pt>
                <c:pt idx="530">
                  <c:v>97.861403999999993</c:v>
                </c:pt>
                <c:pt idx="531">
                  <c:v>98.085089999999994</c:v>
                </c:pt>
                <c:pt idx="532">
                  <c:v>98.308769999999996</c:v>
                </c:pt>
                <c:pt idx="533">
                  <c:v>98.905265999999997</c:v>
                </c:pt>
                <c:pt idx="534">
                  <c:v>97.758889999999994</c:v>
                </c:pt>
                <c:pt idx="535">
                  <c:v>98.271479999999997</c:v>
                </c:pt>
                <c:pt idx="536">
                  <c:v>98.793430000000001</c:v>
                </c:pt>
                <c:pt idx="537">
                  <c:v>98.448570000000004</c:v>
                </c:pt>
                <c:pt idx="538">
                  <c:v>98.262169999999998</c:v>
                </c:pt>
                <c:pt idx="539">
                  <c:v>99.128944000000004</c:v>
                </c:pt>
                <c:pt idx="540">
                  <c:v>99.511070000000004</c:v>
                </c:pt>
                <c:pt idx="541">
                  <c:v>99.678849999999997</c:v>
                </c:pt>
                <c:pt idx="542">
                  <c:v>99.268744999999996</c:v>
                </c:pt>
                <c:pt idx="543">
                  <c:v>99.408559999999994</c:v>
                </c:pt>
                <c:pt idx="544">
                  <c:v>99.706789999999998</c:v>
                </c:pt>
                <c:pt idx="545">
                  <c:v>100.75065600000001</c:v>
                </c:pt>
                <c:pt idx="546">
                  <c:v>99.436515999999997</c:v>
                </c:pt>
                <c:pt idx="547">
                  <c:v>100.86248999999999</c:v>
                </c:pt>
                <c:pt idx="548">
                  <c:v>100.3592</c:v>
                </c:pt>
                <c:pt idx="549">
                  <c:v>100.60154</c:v>
                </c:pt>
                <c:pt idx="550">
                  <c:v>101.58947000000001</c:v>
                </c:pt>
                <c:pt idx="551">
                  <c:v>102.08343000000001</c:v>
                </c:pt>
                <c:pt idx="552">
                  <c:v>102.67061</c:v>
                </c:pt>
                <c:pt idx="553">
                  <c:v>102.44691</c:v>
                </c:pt>
                <c:pt idx="554">
                  <c:v>102.34438</c:v>
                </c:pt>
                <c:pt idx="555">
                  <c:v>101.32849</c:v>
                </c:pt>
                <c:pt idx="556">
                  <c:v>103.00611000000001</c:v>
                </c:pt>
                <c:pt idx="557">
                  <c:v>103.48144499999999</c:v>
                </c:pt>
                <c:pt idx="558">
                  <c:v>103.27639000000001</c:v>
                </c:pt>
                <c:pt idx="559">
                  <c:v>102.26050600000001</c:v>
                </c:pt>
                <c:pt idx="560">
                  <c:v>101.83177000000001</c:v>
                </c:pt>
                <c:pt idx="561">
                  <c:v>102.62401</c:v>
                </c:pt>
                <c:pt idx="562">
                  <c:v>101.21666</c:v>
                </c:pt>
                <c:pt idx="563">
                  <c:v>101.81314</c:v>
                </c:pt>
                <c:pt idx="564">
                  <c:v>101.76654000000001</c:v>
                </c:pt>
                <c:pt idx="565">
                  <c:v>102.45623000000001</c:v>
                </c:pt>
                <c:pt idx="566">
                  <c:v>102.80109400000001</c:v>
                </c:pt>
                <c:pt idx="567">
                  <c:v>102.82904000000001</c:v>
                </c:pt>
                <c:pt idx="568">
                  <c:v>103.04339</c:v>
                </c:pt>
                <c:pt idx="569">
                  <c:v>102.70787</c:v>
                </c:pt>
                <c:pt idx="570">
                  <c:v>102.88496000000001</c:v>
                </c:pt>
                <c:pt idx="571">
                  <c:v>102.76379</c:v>
                </c:pt>
                <c:pt idx="572">
                  <c:v>101.99955</c:v>
                </c:pt>
                <c:pt idx="573">
                  <c:v>102.866325</c:v>
                </c:pt>
                <c:pt idx="574">
                  <c:v>103.01544</c:v>
                </c:pt>
                <c:pt idx="575">
                  <c:v>102.866325</c:v>
                </c:pt>
                <c:pt idx="576">
                  <c:v>103.41619</c:v>
                </c:pt>
                <c:pt idx="577">
                  <c:v>103.22049</c:v>
                </c:pt>
                <c:pt idx="578">
                  <c:v>103.61194</c:v>
                </c:pt>
                <c:pt idx="579">
                  <c:v>102.80109400000001</c:v>
                </c:pt>
                <c:pt idx="580">
                  <c:v>102.80109400000001</c:v>
                </c:pt>
                <c:pt idx="581">
                  <c:v>101.85975999999999</c:v>
                </c:pt>
                <c:pt idx="582">
                  <c:v>101.1421</c:v>
                </c:pt>
                <c:pt idx="583">
                  <c:v>102.52148</c:v>
                </c:pt>
                <c:pt idx="584">
                  <c:v>103.09932000000001</c:v>
                </c:pt>
                <c:pt idx="585">
                  <c:v>102.474884</c:v>
                </c:pt>
                <c:pt idx="586">
                  <c:v>102.689255</c:v>
                </c:pt>
                <c:pt idx="587">
                  <c:v>103.509415</c:v>
                </c:pt>
                <c:pt idx="588">
                  <c:v>103.91018</c:v>
                </c:pt>
                <c:pt idx="589">
                  <c:v>105.52256</c:v>
                </c:pt>
                <c:pt idx="590">
                  <c:v>104.963356</c:v>
                </c:pt>
                <c:pt idx="591">
                  <c:v>105.81149000000001</c:v>
                </c:pt>
                <c:pt idx="592">
                  <c:v>106.63166</c:v>
                </c:pt>
                <c:pt idx="593">
                  <c:v>106.03515</c:v>
                </c:pt>
                <c:pt idx="594">
                  <c:v>106.66893</c:v>
                </c:pt>
                <c:pt idx="595">
                  <c:v>107.17222</c:v>
                </c:pt>
                <c:pt idx="596">
                  <c:v>105.36412</c:v>
                </c:pt>
                <c:pt idx="597">
                  <c:v>106.38002</c:v>
                </c:pt>
                <c:pt idx="598">
                  <c:v>107.926765</c:v>
                </c:pt>
                <c:pt idx="599">
                  <c:v>107.77678</c:v>
                </c:pt>
                <c:pt idx="600">
                  <c:v>108.46111999999999</c:v>
                </c:pt>
                <c:pt idx="601">
                  <c:v>109.77352999999999</c:v>
                </c:pt>
                <c:pt idx="602">
                  <c:v>107.983025</c:v>
                </c:pt>
                <c:pt idx="603">
                  <c:v>108.36736000000001</c:v>
                </c:pt>
                <c:pt idx="604">
                  <c:v>109.154816</c:v>
                </c:pt>
                <c:pt idx="605">
                  <c:v>110.66409</c:v>
                </c:pt>
                <c:pt idx="606">
                  <c:v>110.47659</c:v>
                </c:pt>
                <c:pt idx="607">
                  <c:v>110.89843999999999</c:v>
                </c:pt>
                <c:pt idx="608">
                  <c:v>111.62026</c:v>
                </c:pt>
                <c:pt idx="609">
                  <c:v>111.42338599999999</c:v>
                </c:pt>
                <c:pt idx="610">
                  <c:v>112.098366</c:v>
                </c:pt>
                <c:pt idx="611">
                  <c:v>111.84524500000001</c:v>
                </c:pt>
                <c:pt idx="612">
                  <c:v>111.864</c:v>
                </c:pt>
                <c:pt idx="613">
                  <c:v>111.36717</c:v>
                </c:pt>
                <c:pt idx="614">
                  <c:v>111.47028</c:v>
                </c:pt>
                <c:pt idx="615">
                  <c:v>110.85156000000001</c:v>
                </c:pt>
                <c:pt idx="616">
                  <c:v>111.04845</c:v>
                </c:pt>
                <c:pt idx="617">
                  <c:v>112.342094</c:v>
                </c:pt>
                <c:pt idx="618">
                  <c:v>112.5202</c:v>
                </c:pt>
                <c:pt idx="619">
                  <c:v>112.49207</c:v>
                </c:pt>
                <c:pt idx="620">
                  <c:v>113.542</c:v>
                </c:pt>
                <c:pt idx="621">
                  <c:v>114.07635500000001</c:v>
                </c:pt>
                <c:pt idx="622">
                  <c:v>103.61458</c:v>
                </c:pt>
                <c:pt idx="623">
                  <c:v>101.75846</c:v>
                </c:pt>
                <c:pt idx="624">
                  <c:v>102.50841</c:v>
                </c:pt>
                <c:pt idx="625">
                  <c:v>104.055176</c:v>
                </c:pt>
                <c:pt idx="626">
                  <c:v>101.24288</c:v>
                </c:pt>
                <c:pt idx="627">
                  <c:v>100.29606</c:v>
                </c:pt>
                <c:pt idx="628">
                  <c:v>100.79289</c:v>
                </c:pt>
                <c:pt idx="629">
                  <c:v>100.45544</c:v>
                </c:pt>
                <c:pt idx="630">
                  <c:v>102.22718</c:v>
                </c:pt>
                <c:pt idx="631">
                  <c:v>100.24918</c:v>
                </c:pt>
                <c:pt idx="632">
                  <c:v>99.789856</c:v>
                </c:pt>
                <c:pt idx="633">
                  <c:v>93.762140000000002</c:v>
                </c:pt>
                <c:pt idx="634">
                  <c:v>92.65598</c:v>
                </c:pt>
                <c:pt idx="635">
                  <c:v>89.393699999999995</c:v>
                </c:pt>
                <c:pt idx="636">
                  <c:v>89.890540000000001</c:v>
                </c:pt>
                <c:pt idx="637">
                  <c:v>93.021575999999996</c:v>
                </c:pt>
                <c:pt idx="638">
                  <c:v>95.777625999999998</c:v>
                </c:pt>
                <c:pt idx="639">
                  <c:v>96.068240000000003</c:v>
                </c:pt>
                <c:pt idx="640">
                  <c:v>95.505775</c:v>
                </c:pt>
                <c:pt idx="641">
                  <c:v>93.284064999999998</c:v>
                </c:pt>
                <c:pt idx="642">
                  <c:v>95.515144000000006</c:v>
                </c:pt>
                <c:pt idx="643">
                  <c:v>95.608894000000006</c:v>
                </c:pt>
                <c:pt idx="644">
                  <c:v>94.652694999999994</c:v>
                </c:pt>
                <c:pt idx="645">
                  <c:v>97.502510000000001</c:v>
                </c:pt>
                <c:pt idx="646">
                  <c:v>95.533905000000004</c:v>
                </c:pt>
                <c:pt idx="647">
                  <c:v>96.180719999999994</c:v>
                </c:pt>
                <c:pt idx="648">
                  <c:v>97.943100000000001</c:v>
                </c:pt>
                <c:pt idx="649">
                  <c:v>97.324389999999994</c:v>
                </c:pt>
                <c:pt idx="650">
                  <c:v>96.95881</c:v>
                </c:pt>
                <c:pt idx="651">
                  <c:v>97.455629999999999</c:v>
                </c:pt>
                <c:pt idx="652">
                  <c:v>97.680620000000005</c:v>
                </c:pt>
                <c:pt idx="653">
                  <c:v>96.405709999999999</c:v>
                </c:pt>
                <c:pt idx="654">
                  <c:v>96.940060000000003</c:v>
                </c:pt>
                <c:pt idx="655">
                  <c:v>96.077619999999996</c:v>
                </c:pt>
                <c:pt idx="656">
                  <c:v>95.215164000000001</c:v>
                </c:pt>
                <c:pt idx="657">
                  <c:v>94.324610000000007</c:v>
                </c:pt>
                <c:pt idx="658">
                  <c:v>94.024640000000005</c:v>
                </c:pt>
                <c:pt idx="659">
                  <c:v>92.327866</c:v>
                </c:pt>
                <c:pt idx="660">
                  <c:v>93.199690000000004</c:v>
                </c:pt>
                <c:pt idx="661">
                  <c:v>95.805756000000002</c:v>
                </c:pt>
                <c:pt idx="662">
                  <c:v>96.246346000000003</c:v>
                </c:pt>
                <c:pt idx="663">
                  <c:v>96.555710000000005</c:v>
                </c:pt>
                <c:pt idx="664">
                  <c:v>97.352519999999998</c:v>
                </c:pt>
                <c:pt idx="665">
                  <c:v>97.277529999999999</c:v>
                </c:pt>
                <c:pt idx="666">
                  <c:v>96.921295000000001</c:v>
                </c:pt>
                <c:pt idx="667">
                  <c:v>98.064964000000003</c:v>
                </c:pt>
                <c:pt idx="668">
                  <c:v>98.955529999999996</c:v>
                </c:pt>
                <c:pt idx="669">
                  <c:v>99.696110000000004</c:v>
                </c:pt>
                <c:pt idx="670">
                  <c:v>99.921090000000007</c:v>
                </c:pt>
                <c:pt idx="671">
                  <c:v>99.114890000000003</c:v>
                </c:pt>
                <c:pt idx="672">
                  <c:v>101.13975000000001</c:v>
                </c:pt>
                <c:pt idx="673">
                  <c:v>101.46785</c:v>
                </c:pt>
                <c:pt idx="674">
                  <c:v>102.62090000000001</c:v>
                </c:pt>
                <c:pt idx="675">
                  <c:v>102.96775</c:v>
                </c:pt>
                <c:pt idx="676">
                  <c:v>103.2021</c:v>
                </c:pt>
                <c:pt idx="677">
                  <c:v>106.16437999999999</c:v>
                </c:pt>
                <c:pt idx="678">
                  <c:v>106.01442</c:v>
                </c:pt>
                <c:pt idx="679">
                  <c:v>106.41750999999999</c:v>
                </c:pt>
                <c:pt idx="680">
                  <c:v>106.65185</c:v>
                </c:pt>
                <c:pt idx="681">
                  <c:v>107.1862</c:v>
                </c:pt>
                <c:pt idx="682">
                  <c:v>107.84241</c:v>
                </c:pt>
                <c:pt idx="683">
                  <c:v>106.62375</c:v>
                </c:pt>
                <c:pt idx="684">
                  <c:v>107.84241</c:v>
                </c:pt>
                <c:pt idx="685">
                  <c:v>108.31112</c:v>
                </c:pt>
                <c:pt idx="686">
                  <c:v>106.16437999999999</c:v>
                </c:pt>
                <c:pt idx="687">
                  <c:v>105.930046</c:v>
                </c:pt>
                <c:pt idx="688">
                  <c:v>108.43298</c:v>
                </c:pt>
                <c:pt idx="689">
                  <c:v>109.13606</c:v>
                </c:pt>
                <c:pt idx="690">
                  <c:v>110.0735</c:v>
                </c:pt>
                <c:pt idx="691">
                  <c:v>109.22981</c:v>
                </c:pt>
                <c:pt idx="692">
                  <c:v>108.9392</c:v>
                </c:pt>
                <c:pt idx="693">
                  <c:v>107.654915</c:v>
                </c:pt>
                <c:pt idx="694">
                  <c:v>108.66734</c:v>
                </c:pt>
                <c:pt idx="695">
                  <c:v>108.86421</c:v>
                </c:pt>
                <c:pt idx="696">
                  <c:v>110.74844</c:v>
                </c:pt>
                <c:pt idx="697">
                  <c:v>111.28279000000001</c:v>
                </c:pt>
                <c:pt idx="698">
                  <c:v>112.5577</c:v>
                </c:pt>
                <c:pt idx="699">
                  <c:v>111.948364</c:v>
                </c:pt>
                <c:pt idx="700">
                  <c:v>110.570335</c:v>
                </c:pt>
                <c:pt idx="701">
                  <c:v>111.2453</c:v>
                </c:pt>
                <c:pt idx="702">
                  <c:v>107.926765</c:v>
                </c:pt>
                <c:pt idx="703">
                  <c:v>106.37065</c:v>
                </c:pt>
                <c:pt idx="704">
                  <c:v>108.1705</c:v>
                </c:pt>
                <c:pt idx="705">
                  <c:v>106.86748</c:v>
                </c:pt>
                <c:pt idx="706">
                  <c:v>104.88949</c:v>
                </c:pt>
                <c:pt idx="707">
                  <c:v>107.09245</c:v>
                </c:pt>
                <c:pt idx="708">
                  <c:v>106.7081</c:v>
                </c:pt>
                <c:pt idx="709">
                  <c:v>105.442566</c:v>
                </c:pt>
                <c:pt idx="710">
                  <c:v>104.49576999999999</c:v>
                </c:pt>
                <c:pt idx="711">
                  <c:v>104.49576999999999</c:v>
                </c:pt>
                <c:pt idx="712">
                  <c:v>101.92961</c:v>
                </c:pt>
                <c:pt idx="713">
                  <c:v>103.16551</c:v>
                </c:pt>
                <c:pt idx="714">
                  <c:v>105.81658</c:v>
                </c:pt>
                <c:pt idx="715">
                  <c:v>107.3544</c:v>
                </c:pt>
                <c:pt idx="716">
                  <c:v>105.67507000000001</c:v>
                </c:pt>
                <c:pt idx="717">
                  <c:v>101.62770999999999</c:v>
                </c:pt>
                <c:pt idx="718">
                  <c:v>100.56159</c:v>
                </c:pt>
                <c:pt idx="719">
                  <c:v>100.703125</c:v>
                </c:pt>
                <c:pt idx="720">
                  <c:v>99.589860000000002</c:v>
                </c:pt>
                <c:pt idx="721">
                  <c:v>99.872894000000002</c:v>
                </c:pt>
                <c:pt idx="722">
                  <c:v>101.184265</c:v>
                </c:pt>
                <c:pt idx="723">
                  <c:v>101.02388999999999</c:v>
                </c:pt>
                <c:pt idx="724">
                  <c:v>100.32574</c:v>
                </c:pt>
                <c:pt idx="725">
                  <c:v>99.137010000000004</c:v>
                </c:pt>
                <c:pt idx="726">
                  <c:v>97.155784999999995</c:v>
                </c:pt>
                <c:pt idx="727">
                  <c:v>95.193420000000003</c:v>
                </c:pt>
                <c:pt idx="728">
                  <c:v>94.683949999999996</c:v>
                </c:pt>
                <c:pt idx="729">
                  <c:v>93.872603999999995</c:v>
                </c:pt>
                <c:pt idx="730">
                  <c:v>93.636734000000004</c:v>
                </c:pt>
                <c:pt idx="731">
                  <c:v>94.268839999999997</c:v>
                </c:pt>
                <c:pt idx="732">
                  <c:v>95.721739999999997</c:v>
                </c:pt>
                <c:pt idx="733">
                  <c:v>92.910285999999999</c:v>
                </c:pt>
                <c:pt idx="734">
                  <c:v>93.504654000000002</c:v>
                </c:pt>
                <c:pt idx="735">
                  <c:v>88.589325000000002</c:v>
                </c:pt>
                <c:pt idx="736">
                  <c:v>88.655365000000003</c:v>
                </c:pt>
                <c:pt idx="737">
                  <c:v>87.306219999999996</c:v>
                </c:pt>
                <c:pt idx="738">
                  <c:v>88.702515000000005</c:v>
                </c:pt>
                <c:pt idx="739">
                  <c:v>91.419629999999998</c:v>
                </c:pt>
                <c:pt idx="740">
                  <c:v>89.900700000000001</c:v>
                </c:pt>
                <c:pt idx="741">
                  <c:v>90.825270000000003</c:v>
                </c:pt>
                <c:pt idx="742">
                  <c:v>88.985564999999994</c:v>
                </c:pt>
                <c:pt idx="743">
                  <c:v>88.240234000000001</c:v>
                </c:pt>
                <c:pt idx="744">
                  <c:v>90.400729999999996</c:v>
                </c:pt>
                <c:pt idx="745">
                  <c:v>89.768615999999994</c:v>
                </c:pt>
                <c:pt idx="746">
                  <c:v>87.853430000000003</c:v>
                </c:pt>
                <c:pt idx="747">
                  <c:v>89.759180000000001</c:v>
                </c:pt>
                <c:pt idx="748">
                  <c:v>90.032775999999998</c:v>
                </c:pt>
                <c:pt idx="749">
                  <c:v>88.589325000000002</c:v>
                </c:pt>
                <c:pt idx="750">
                  <c:v>86.909989999999993</c:v>
                </c:pt>
                <c:pt idx="751">
                  <c:v>87.098680000000002</c:v>
                </c:pt>
                <c:pt idx="752">
                  <c:v>83.824929999999995</c:v>
                </c:pt>
                <c:pt idx="753">
                  <c:v>85.202340000000007</c:v>
                </c:pt>
                <c:pt idx="754">
                  <c:v>85.994839999999996</c:v>
                </c:pt>
                <c:pt idx="755">
                  <c:v>87.65531</c:v>
                </c:pt>
                <c:pt idx="756">
                  <c:v>90.098820000000003</c:v>
                </c:pt>
                <c:pt idx="757">
                  <c:v>89.787475999999998</c:v>
                </c:pt>
                <c:pt idx="758">
                  <c:v>89.636536000000007</c:v>
                </c:pt>
                <c:pt idx="759">
                  <c:v>90.919619999999995</c:v>
                </c:pt>
                <c:pt idx="760">
                  <c:v>89.985600000000005</c:v>
                </c:pt>
                <c:pt idx="761">
                  <c:v>90.032775999999998</c:v>
                </c:pt>
                <c:pt idx="762">
                  <c:v>90.240340000000003</c:v>
                </c:pt>
                <c:pt idx="763">
                  <c:v>89.919569999999993</c:v>
                </c:pt>
                <c:pt idx="764">
                  <c:v>90.117689999999996</c:v>
                </c:pt>
                <c:pt idx="765">
                  <c:v>92.127229999999997</c:v>
                </c:pt>
                <c:pt idx="766">
                  <c:v>91.513999999999996</c:v>
                </c:pt>
                <c:pt idx="767">
                  <c:v>93.231059999999999</c:v>
                </c:pt>
                <c:pt idx="768">
                  <c:v>92.910285999999999</c:v>
                </c:pt>
                <c:pt idx="769">
                  <c:v>93.768820000000005</c:v>
                </c:pt>
                <c:pt idx="770">
                  <c:v>92.287610000000001</c:v>
                </c:pt>
                <c:pt idx="771">
                  <c:v>92.136660000000006</c:v>
                </c:pt>
                <c:pt idx="772">
                  <c:v>91.551720000000003</c:v>
                </c:pt>
                <c:pt idx="773">
                  <c:v>92.400840000000002</c:v>
                </c:pt>
                <c:pt idx="774">
                  <c:v>93.221620000000001</c:v>
                </c:pt>
                <c:pt idx="775">
                  <c:v>92.683846000000003</c:v>
                </c:pt>
                <c:pt idx="776">
                  <c:v>92.872550000000004</c:v>
                </c:pt>
                <c:pt idx="777">
                  <c:v>93.966933999999995</c:v>
                </c:pt>
                <c:pt idx="778">
                  <c:v>93.589554000000007</c:v>
                </c:pt>
                <c:pt idx="779">
                  <c:v>92.891409999999993</c:v>
                </c:pt>
                <c:pt idx="780">
                  <c:v>92.061189999999996</c:v>
                </c:pt>
                <c:pt idx="781">
                  <c:v>91.353610000000003</c:v>
                </c:pt>
                <c:pt idx="782">
                  <c:v>91.721549999999993</c:v>
                </c:pt>
                <c:pt idx="783">
                  <c:v>92.542330000000007</c:v>
                </c:pt>
                <c:pt idx="784">
                  <c:v>92.608379999999997</c:v>
                </c:pt>
                <c:pt idx="785">
                  <c:v>93.315969999999993</c:v>
                </c:pt>
                <c:pt idx="786">
                  <c:v>93.693343999999996</c:v>
                </c:pt>
                <c:pt idx="787">
                  <c:v>93.466920000000002</c:v>
                </c:pt>
                <c:pt idx="788">
                  <c:v>93.098969999999994</c:v>
                </c:pt>
                <c:pt idx="789">
                  <c:v>91.513999999999996</c:v>
                </c:pt>
                <c:pt idx="790">
                  <c:v>91.966840000000005</c:v>
                </c:pt>
                <c:pt idx="791">
                  <c:v>90.721503999999996</c:v>
                </c:pt>
                <c:pt idx="792">
                  <c:v>90.966790000000003</c:v>
                </c:pt>
                <c:pt idx="793">
                  <c:v>90.825270000000003</c:v>
                </c:pt>
                <c:pt idx="794">
                  <c:v>91.844210000000004</c:v>
                </c:pt>
                <c:pt idx="795">
                  <c:v>93.853740000000002</c:v>
                </c:pt>
                <c:pt idx="796">
                  <c:v>93.051789999999997</c:v>
                </c:pt>
                <c:pt idx="797">
                  <c:v>93.014049999999997</c:v>
                </c:pt>
                <c:pt idx="798">
                  <c:v>95.740610000000004</c:v>
                </c:pt>
                <c:pt idx="799">
                  <c:v>96.834999999999994</c:v>
                </c:pt>
                <c:pt idx="800">
                  <c:v>97.429374999999993</c:v>
                </c:pt>
                <c:pt idx="801">
                  <c:v>97.089730000000003</c:v>
                </c:pt>
                <c:pt idx="802">
                  <c:v>97.9011</c:v>
                </c:pt>
                <c:pt idx="803">
                  <c:v>98.655850000000001</c:v>
                </c:pt>
                <c:pt idx="804">
                  <c:v>98.957759999999993</c:v>
                </c:pt>
                <c:pt idx="805">
                  <c:v>99.325689999999994</c:v>
                </c:pt>
                <c:pt idx="806">
                  <c:v>98.146389999999997</c:v>
                </c:pt>
                <c:pt idx="807">
                  <c:v>97.419939999999997</c:v>
                </c:pt>
                <c:pt idx="808">
                  <c:v>98.457740000000001</c:v>
                </c:pt>
                <c:pt idx="809">
                  <c:v>97.910529999999994</c:v>
                </c:pt>
                <c:pt idx="810">
                  <c:v>97.806749999999994</c:v>
                </c:pt>
                <c:pt idx="811">
                  <c:v>98.995490000000004</c:v>
                </c:pt>
                <c:pt idx="812">
                  <c:v>99.570989999999995</c:v>
                </c:pt>
                <c:pt idx="813">
                  <c:v>99.382300000000001</c:v>
                </c:pt>
                <c:pt idx="814">
                  <c:v>100.571045</c:v>
                </c:pt>
                <c:pt idx="815">
                  <c:v>96.504810000000006</c:v>
                </c:pt>
                <c:pt idx="816">
                  <c:v>95.957595999999995</c:v>
                </c:pt>
                <c:pt idx="817">
                  <c:v>94.834900000000005</c:v>
                </c:pt>
                <c:pt idx="818">
                  <c:v>94.683949999999996</c:v>
                </c:pt>
                <c:pt idx="819">
                  <c:v>94.287719999999993</c:v>
                </c:pt>
                <c:pt idx="820">
                  <c:v>93.400869999999998</c:v>
                </c:pt>
                <c:pt idx="821">
                  <c:v>92.844250000000002</c:v>
                </c:pt>
                <c:pt idx="822">
                  <c:v>94.136759999999995</c:v>
                </c:pt>
                <c:pt idx="823">
                  <c:v>93.570689999999999</c:v>
                </c:pt>
                <c:pt idx="824">
                  <c:v>93.882040000000003</c:v>
                </c:pt>
                <c:pt idx="825">
                  <c:v>94.212239999999994</c:v>
                </c:pt>
                <c:pt idx="826">
                  <c:v>94.165053999999998</c:v>
                </c:pt>
                <c:pt idx="827">
                  <c:v>94.617909999999995</c:v>
                </c:pt>
                <c:pt idx="828">
                  <c:v>93.608440000000002</c:v>
                </c:pt>
                <c:pt idx="829">
                  <c:v>92.94802</c:v>
                </c:pt>
                <c:pt idx="830">
                  <c:v>93.136709999999994</c:v>
                </c:pt>
                <c:pt idx="831">
                  <c:v>93.165015999999994</c:v>
                </c:pt>
                <c:pt idx="832">
                  <c:v>93.19332</c:v>
                </c:pt>
                <c:pt idx="833">
                  <c:v>92.787639999999996</c:v>
                </c:pt>
                <c:pt idx="834">
                  <c:v>92.495159999999998</c:v>
                </c:pt>
                <c:pt idx="835">
                  <c:v>92.306470000000004</c:v>
                </c:pt>
                <c:pt idx="836">
                  <c:v>91.834770000000006</c:v>
                </c:pt>
                <c:pt idx="837">
                  <c:v>92.051739999999995</c:v>
                </c:pt>
                <c:pt idx="838">
                  <c:v>92.834810000000004</c:v>
                </c:pt>
                <c:pt idx="839">
                  <c:v>92.712159999999997</c:v>
                </c:pt>
                <c:pt idx="840">
                  <c:v>92.815939999999998</c:v>
                </c:pt>
                <c:pt idx="841">
                  <c:v>93.400869999999998</c:v>
                </c:pt>
                <c:pt idx="842">
                  <c:v>93.938630000000003</c:v>
                </c:pt>
                <c:pt idx="843">
                  <c:v>93.231059999999999</c:v>
                </c:pt>
                <c:pt idx="844">
                  <c:v>93.202759999999998</c:v>
                </c:pt>
                <c:pt idx="845">
                  <c:v>93.419740000000004</c:v>
                </c:pt>
                <c:pt idx="846">
                  <c:v>90.306370000000001</c:v>
                </c:pt>
                <c:pt idx="847">
                  <c:v>89.042169999999999</c:v>
                </c:pt>
                <c:pt idx="848">
                  <c:v>90.617710000000002</c:v>
                </c:pt>
                <c:pt idx="849">
                  <c:v>91.495130000000003</c:v>
                </c:pt>
                <c:pt idx="850">
                  <c:v>92.287610000000001</c:v>
                </c:pt>
                <c:pt idx="851">
                  <c:v>92.485725000000002</c:v>
                </c:pt>
                <c:pt idx="852">
                  <c:v>92.136660000000006</c:v>
                </c:pt>
                <c:pt idx="853">
                  <c:v>92.881966000000006</c:v>
                </c:pt>
                <c:pt idx="854">
                  <c:v>93.518690000000007</c:v>
                </c:pt>
                <c:pt idx="855">
                  <c:v>94.668539999999993</c:v>
                </c:pt>
                <c:pt idx="856">
                  <c:v>95.010649999999998</c:v>
                </c:pt>
                <c:pt idx="857">
                  <c:v>95.219700000000003</c:v>
                </c:pt>
                <c:pt idx="858">
                  <c:v>94.915599999999998</c:v>
                </c:pt>
                <c:pt idx="859">
                  <c:v>95.001140000000007</c:v>
                </c:pt>
                <c:pt idx="860">
                  <c:v>94.839590000000001</c:v>
                </c:pt>
                <c:pt idx="861">
                  <c:v>95.172200000000004</c:v>
                </c:pt>
                <c:pt idx="862">
                  <c:v>94.525999999999996</c:v>
                </c:pt>
                <c:pt idx="863">
                  <c:v>93.338120000000004</c:v>
                </c:pt>
                <c:pt idx="864">
                  <c:v>93.138565</c:v>
                </c:pt>
                <c:pt idx="865">
                  <c:v>92.853470000000002</c:v>
                </c:pt>
                <c:pt idx="866">
                  <c:v>92.549369999999996</c:v>
                </c:pt>
                <c:pt idx="867">
                  <c:v>91.884159999999994</c:v>
                </c:pt>
                <c:pt idx="868">
                  <c:v>91.542075999999994</c:v>
                </c:pt>
                <c:pt idx="869">
                  <c:v>91.142944</c:v>
                </c:pt>
                <c:pt idx="870">
                  <c:v>91.180949999999996</c:v>
                </c:pt>
                <c:pt idx="871">
                  <c:v>90.791340000000005</c:v>
                </c:pt>
                <c:pt idx="872">
                  <c:v>90.287673999999996</c:v>
                </c:pt>
                <c:pt idx="873">
                  <c:v>91.313990000000004</c:v>
                </c:pt>
                <c:pt idx="874">
                  <c:v>90.430220000000006</c:v>
                </c:pt>
                <c:pt idx="875">
                  <c:v>91.066919999999996</c:v>
                </c:pt>
                <c:pt idx="876">
                  <c:v>90.990889999999993</c:v>
                </c:pt>
                <c:pt idx="877">
                  <c:v>91.865160000000003</c:v>
                </c:pt>
                <c:pt idx="878">
                  <c:v>92.996009999999998</c:v>
                </c:pt>
                <c:pt idx="879">
                  <c:v>92.910483999999997</c:v>
                </c:pt>
                <c:pt idx="880">
                  <c:v>92.026709999999994</c:v>
                </c:pt>
                <c:pt idx="881">
                  <c:v>92.273796000000004</c:v>
                </c:pt>
                <c:pt idx="882">
                  <c:v>92.064729999999997</c:v>
                </c:pt>
                <c:pt idx="883">
                  <c:v>92.055239999999998</c:v>
                </c:pt>
                <c:pt idx="884">
                  <c:v>91.846170000000001</c:v>
                </c:pt>
                <c:pt idx="885">
                  <c:v>91.599080000000001</c:v>
                </c:pt>
                <c:pt idx="886">
                  <c:v>91.104929999999996</c:v>
                </c:pt>
                <c:pt idx="887">
                  <c:v>91.199960000000004</c:v>
                </c:pt>
                <c:pt idx="888">
                  <c:v>91.057410000000004</c:v>
                </c:pt>
                <c:pt idx="889">
                  <c:v>90.800835000000006</c:v>
                </c:pt>
                <c:pt idx="890">
                  <c:v>90.477739999999997</c:v>
                </c:pt>
                <c:pt idx="891">
                  <c:v>90.154624999999996</c:v>
                </c:pt>
                <c:pt idx="892">
                  <c:v>90.145120000000006</c:v>
                </c:pt>
                <c:pt idx="893">
                  <c:v>89.765015000000005</c:v>
                </c:pt>
                <c:pt idx="894">
                  <c:v>89.574939999999998</c:v>
                </c:pt>
                <c:pt idx="895">
                  <c:v>89.726990000000001</c:v>
                </c:pt>
                <c:pt idx="896">
                  <c:v>89.137820000000005</c:v>
                </c:pt>
                <c:pt idx="897">
                  <c:v>89.052289999999999</c:v>
                </c:pt>
                <c:pt idx="898">
                  <c:v>89.413380000000004</c:v>
                </c:pt>
                <c:pt idx="899">
                  <c:v>87.826409999999996</c:v>
                </c:pt>
                <c:pt idx="900">
                  <c:v>88.985780000000005</c:v>
                </c:pt>
                <c:pt idx="901">
                  <c:v>88.092470000000006</c:v>
                </c:pt>
                <c:pt idx="902">
                  <c:v>87.674340000000001</c:v>
                </c:pt>
                <c:pt idx="903">
                  <c:v>87.902420000000006</c:v>
                </c:pt>
                <c:pt idx="904">
                  <c:v>87.959460000000007</c:v>
                </c:pt>
                <c:pt idx="905">
                  <c:v>88.025970000000001</c:v>
                </c:pt>
                <c:pt idx="906">
                  <c:v>88.330060000000003</c:v>
                </c:pt>
                <c:pt idx="907">
                  <c:v>87.797899999999998</c:v>
                </c:pt>
                <c:pt idx="908">
                  <c:v>88.767204000000007</c:v>
                </c:pt>
                <c:pt idx="909">
                  <c:v>88.634150000000005</c:v>
                </c:pt>
                <c:pt idx="910">
                  <c:v>87.389274999999998</c:v>
                </c:pt>
                <c:pt idx="911">
                  <c:v>87.161193999999995</c:v>
                </c:pt>
                <c:pt idx="912">
                  <c:v>87.617329999999995</c:v>
                </c:pt>
                <c:pt idx="913">
                  <c:v>87.237229999999997</c:v>
                </c:pt>
                <c:pt idx="914">
                  <c:v>88.244529999999997</c:v>
                </c:pt>
                <c:pt idx="915">
                  <c:v>87.892920000000004</c:v>
                </c:pt>
                <c:pt idx="916">
                  <c:v>87.987949999999998</c:v>
                </c:pt>
                <c:pt idx="917">
                  <c:v>87.854904000000005</c:v>
                </c:pt>
                <c:pt idx="918">
                  <c:v>88.216030000000003</c:v>
                </c:pt>
                <c:pt idx="919">
                  <c:v>87.892920000000004</c:v>
                </c:pt>
                <c:pt idx="920">
                  <c:v>87.892920000000004</c:v>
                </c:pt>
                <c:pt idx="921">
                  <c:v>87.294240000000002</c:v>
                </c:pt>
                <c:pt idx="922">
                  <c:v>86.866614999999996</c:v>
                </c:pt>
                <c:pt idx="923">
                  <c:v>86.591030000000003</c:v>
                </c:pt>
                <c:pt idx="924">
                  <c:v>86.762069999999994</c:v>
                </c:pt>
                <c:pt idx="925">
                  <c:v>86.315430000000006</c:v>
                </c:pt>
                <c:pt idx="926">
                  <c:v>86.63852</c:v>
                </c:pt>
                <c:pt idx="927">
                  <c:v>87.360759999999999</c:v>
                </c:pt>
                <c:pt idx="928">
                  <c:v>87.455794999999995</c:v>
                </c:pt>
                <c:pt idx="929">
                  <c:v>88.406080000000003</c:v>
                </c:pt>
                <c:pt idx="930">
                  <c:v>88.729190000000003</c:v>
                </c:pt>
                <c:pt idx="931">
                  <c:v>88.14</c:v>
                </c:pt>
                <c:pt idx="932">
                  <c:v>88.843220000000002</c:v>
                </c:pt>
                <c:pt idx="933">
                  <c:v>89.346879999999999</c:v>
                </c:pt>
                <c:pt idx="934">
                  <c:v>89.185320000000004</c:v>
                </c:pt>
                <c:pt idx="935">
                  <c:v>88.082980000000006</c:v>
                </c:pt>
                <c:pt idx="936">
                  <c:v>87.797899999999998</c:v>
                </c:pt>
                <c:pt idx="937">
                  <c:v>87.341759999999994</c:v>
                </c:pt>
                <c:pt idx="938">
                  <c:v>88.729190000000003</c:v>
                </c:pt>
                <c:pt idx="939">
                  <c:v>87.854904000000005</c:v>
                </c:pt>
                <c:pt idx="940">
                  <c:v>89.736500000000007</c:v>
                </c:pt>
                <c:pt idx="941">
                  <c:v>89.688980000000001</c:v>
                </c:pt>
                <c:pt idx="942">
                  <c:v>89.936059999999998</c:v>
                </c:pt>
                <c:pt idx="943">
                  <c:v>90.240166000000002</c:v>
                </c:pt>
                <c:pt idx="944">
                  <c:v>92.824960000000004</c:v>
                </c:pt>
                <c:pt idx="945">
                  <c:v>93.053030000000007</c:v>
                </c:pt>
                <c:pt idx="946">
                  <c:v>92.843959999999996</c:v>
                </c:pt>
                <c:pt idx="947">
                  <c:v>94.193404999999998</c:v>
                </c:pt>
                <c:pt idx="948">
                  <c:v>94.430970000000002</c:v>
                </c:pt>
                <c:pt idx="949">
                  <c:v>93.357123999999999</c:v>
                </c:pt>
                <c:pt idx="950">
                  <c:v>92.777460000000005</c:v>
                </c:pt>
                <c:pt idx="951">
                  <c:v>92.853470000000002</c:v>
                </c:pt>
                <c:pt idx="952">
                  <c:v>93.376143999999996</c:v>
                </c:pt>
                <c:pt idx="953">
                  <c:v>93.90831</c:v>
                </c:pt>
                <c:pt idx="954">
                  <c:v>94.050849999999997</c:v>
                </c:pt>
                <c:pt idx="955">
                  <c:v>94.716059999999999</c:v>
                </c:pt>
                <c:pt idx="956">
                  <c:v>94.193404999999998</c:v>
                </c:pt>
                <c:pt idx="957">
                  <c:v>94.022350000000003</c:v>
                </c:pt>
                <c:pt idx="958">
                  <c:v>93.604219999999998</c:v>
                </c:pt>
                <c:pt idx="959">
                  <c:v>94.991640000000004</c:v>
                </c:pt>
                <c:pt idx="960">
                  <c:v>95.656845000000004</c:v>
                </c:pt>
                <c:pt idx="961">
                  <c:v>96.920745999999994</c:v>
                </c:pt>
                <c:pt idx="962">
                  <c:v>98.998769999999993</c:v>
                </c:pt>
                <c:pt idx="963">
                  <c:v>100.41605</c:v>
                </c:pt>
                <c:pt idx="964">
                  <c:v>99.649959999999993</c:v>
                </c:pt>
                <c:pt idx="965">
                  <c:v>99.448859999999996</c:v>
                </c:pt>
                <c:pt idx="966">
                  <c:v>99.640389999999996</c:v>
                </c:pt>
                <c:pt idx="967">
                  <c:v>99.965964999999997</c:v>
                </c:pt>
                <c:pt idx="968">
                  <c:v>99.506330000000005</c:v>
                </c:pt>
                <c:pt idx="969">
                  <c:v>100.8374</c:v>
                </c:pt>
                <c:pt idx="970">
                  <c:v>100.99062000000001</c:v>
                </c:pt>
                <c:pt idx="971">
                  <c:v>101.08638000000001</c:v>
                </c:pt>
                <c:pt idx="972">
                  <c:v>100.952324</c:v>
                </c:pt>
                <c:pt idx="973">
                  <c:v>100.69376</c:v>
                </c:pt>
                <c:pt idx="974">
                  <c:v>100.71290999999999</c:v>
                </c:pt>
                <c:pt idx="975">
                  <c:v>99.87979</c:v>
                </c:pt>
                <c:pt idx="976">
                  <c:v>100.12876</c:v>
                </c:pt>
                <c:pt idx="977">
                  <c:v>99.803190000000001</c:v>
                </c:pt>
                <c:pt idx="978">
                  <c:v>101.58436</c:v>
                </c:pt>
                <c:pt idx="979">
                  <c:v>102.88672</c:v>
                </c:pt>
                <c:pt idx="980">
                  <c:v>102.82925400000001</c:v>
                </c:pt>
                <c:pt idx="981">
                  <c:v>104.36145</c:v>
                </c:pt>
                <c:pt idx="982">
                  <c:v>103.76773</c:v>
                </c:pt>
                <c:pt idx="983">
                  <c:v>103.78688</c:v>
                </c:pt>
                <c:pt idx="984">
                  <c:v>104.80195999999999</c:v>
                </c:pt>
                <c:pt idx="985">
                  <c:v>102.97289000000001</c:v>
                </c:pt>
                <c:pt idx="986">
                  <c:v>103.48044</c:v>
                </c:pt>
                <c:pt idx="987">
                  <c:v>103.39426</c:v>
                </c:pt>
                <c:pt idx="988">
                  <c:v>103.57621</c:v>
                </c:pt>
                <c:pt idx="989">
                  <c:v>102.73350000000001</c:v>
                </c:pt>
                <c:pt idx="990">
                  <c:v>103.09739999999999</c:v>
                </c:pt>
                <c:pt idx="991">
                  <c:v>102.58027</c:v>
                </c:pt>
                <c:pt idx="992">
                  <c:v>103.327225</c:v>
                </c:pt>
                <c:pt idx="993">
                  <c:v>103.461296</c:v>
                </c:pt>
                <c:pt idx="994">
                  <c:v>103.48044</c:v>
                </c:pt>
                <c:pt idx="995">
                  <c:v>104.667885</c:v>
                </c:pt>
                <c:pt idx="996">
                  <c:v>106.23839</c:v>
                </c:pt>
                <c:pt idx="997">
                  <c:v>105.96068</c:v>
                </c:pt>
                <c:pt idx="998">
                  <c:v>106.58314</c:v>
                </c:pt>
                <c:pt idx="999">
                  <c:v>105.922386</c:v>
                </c:pt>
                <c:pt idx="1000">
                  <c:v>105.62551999999999</c:v>
                </c:pt>
                <c:pt idx="1001">
                  <c:v>104.926445</c:v>
                </c:pt>
                <c:pt idx="1002">
                  <c:v>104.3806</c:v>
                </c:pt>
                <c:pt idx="1003">
                  <c:v>104.3806</c:v>
                </c:pt>
                <c:pt idx="1004">
                  <c:v>104.84984</c:v>
                </c:pt>
                <c:pt idx="1005">
                  <c:v>104.62958999999999</c:v>
                </c:pt>
                <c:pt idx="1006">
                  <c:v>105.00306999999999</c:v>
                </c:pt>
                <c:pt idx="1007">
                  <c:v>105.65424</c:v>
                </c:pt>
                <c:pt idx="1008">
                  <c:v>105.510605</c:v>
                </c:pt>
                <c:pt idx="1009">
                  <c:v>106.01814</c:v>
                </c:pt>
                <c:pt idx="1010">
                  <c:v>105.39567599999999</c:v>
                </c:pt>
                <c:pt idx="1011">
                  <c:v>105.34781</c:v>
                </c:pt>
                <c:pt idx="1012">
                  <c:v>105.45314</c:v>
                </c:pt>
                <c:pt idx="1013">
                  <c:v>105.079666</c:v>
                </c:pt>
                <c:pt idx="1014">
                  <c:v>105.64467</c:v>
                </c:pt>
                <c:pt idx="1015">
                  <c:v>105.55847</c:v>
                </c:pt>
                <c:pt idx="1016">
                  <c:v>105.42440000000001</c:v>
                </c:pt>
                <c:pt idx="1017">
                  <c:v>106.33414999999999</c:v>
                </c:pt>
                <c:pt idx="1018">
                  <c:v>105.90322</c:v>
                </c:pt>
                <c:pt idx="1019">
                  <c:v>106.525665</c:v>
                </c:pt>
                <c:pt idx="1020">
                  <c:v>105.97983600000001</c:v>
                </c:pt>
                <c:pt idx="1021">
                  <c:v>106.16177</c:v>
                </c:pt>
                <c:pt idx="1022">
                  <c:v>106.14261999999999</c:v>
                </c:pt>
                <c:pt idx="1023">
                  <c:v>106.32458</c:v>
                </c:pt>
                <c:pt idx="1024">
                  <c:v>106.21924</c:v>
                </c:pt>
                <c:pt idx="1025">
                  <c:v>106.79380999999999</c:v>
                </c:pt>
                <c:pt idx="1026">
                  <c:v>107.55032</c:v>
                </c:pt>
                <c:pt idx="1027">
                  <c:v>107.128975</c:v>
                </c:pt>
                <c:pt idx="1028">
                  <c:v>106.97575000000001</c:v>
                </c:pt>
                <c:pt idx="1029">
                  <c:v>107.023636</c:v>
                </c:pt>
                <c:pt idx="1030">
                  <c:v>107.93337</c:v>
                </c:pt>
                <c:pt idx="1031">
                  <c:v>107.01405</c:v>
                </c:pt>
                <c:pt idx="1032">
                  <c:v>107.33008</c:v>
                </c:pt>
                <c:pt idx="1033">
                  <c:v>107.4833</c:v>
                </c:pt>
                <c:pt idx="1034">
                  <c:v>107.387535</c:v>
                </c:pt>
                <c:pt idx="1035">
                  <c:v>107.61735</c:v>
                </c:pt>
                <c:pt idx="1036">
                  <c:v>108.25897000000001</c:v>
                </c:pt>
                <c:pt idx="1037">
                  <c:v>107.76101</c:v>
                </c:pt>
                <c:pt idx="1038">
                  <c:v>108.38344600000001</c:v>
                </c:pt>
                <c:pt idx="1039">
                  <c:v>108.584564</c:v>
                </c:pt>
                <c:pt idx="1040">
                  <c:v>108.40260000000001</c:v>
                </c:pt>
                <c:pt idx="1041">
                  <c:v>108.24939000000001</c:v>
                </c:pt>
                <c:pt idx="1042">
                  <c:v>108.21109</c:v>
                </c:pt>
                <c:pt idx="1043">
                  <c:v>108.25897000000001</c:v>
                </c:pt>
                <c:pt idx="1044">
                  <c:v>107.80888</c:v>
                </c:pt>
                <c:pt idx="1045">
                  <c:v>107.665245</c:v>
                </c:pt>
                <c:pt idx="1046">
                  <c:v>108.27812</c:v>
                </c:pt>
                <c:pt idx="1047">
                  <c:v>108.24939000000001</c:v>
                </c:pt>
                <c:pt idx="1048">
                  <c:v>108.40260000000001</c:v>
                </c:pt>
                <c:pt idx="1049">
                  <c:v>108.95802999999999</c:v>
                </c:pt>
                <c:pt idx="1050">
                  <c:v>109.35066</c:v>
                </c:pt>
                <c:pt idx="1051">
                  <c:v>108.91015</c:v>
                </c:pt>
                <c:pt idx="1052">
                  <c:v>109.925224</c:v>
                </c:pt>
                <c:pt idx="1053">
                  <c:v>109.59005999999999</c:v>
                </c:pt>
                <c:pt idx="1054">
                  <c:v>108.881424</c:v>
                </c:pt>
                <c:pt idx="1055">
                  <c:v>110.298706</c:v>
                </c:pt>
                <c:pt idx="1056">
                  <c:v>110.68174</c:v>
                </c:pt>
                <c:pt idx="1057">
                  <c:v>110.930725</c:v>
                </c:pt>
                <c:pt idx="1058">
                  <c:v>110.7009</c:v>
                </c:pt>
                <c:pt idx="1059">
                  <c:v>109.86777499999999</c:v>
                </c:pt>
                <c:pt idx="1060">
                  <c:v>109.523026</c:v>
                </c:pt>
                <c:pt idx="1061">
                  <c:v>106.88958</c:v>
                </c:pt>
                <c:pt idx="1062">
                  <c:v>106.45864</c:v>
                </c:pt>
                <c:pt idx="1063">
                  <c:v>107.243866</c:v>
                </c:pt>
                <c:pt idx="1064">
                  <c:v>106.69804000000001</c:v>
                </c:pt>
                <c:pt idx="1065">
                  <c:v>107.32049600000001</c:v>
                </c:pt>
                <c:pt idx="1066">
                  <c:v>105.01264</c:v>
                </c:pt>
                <c:pt idx="1067">
                  <c:v>104.93603</c:v>
                </c:pt>
                <c:pt idx="1068">
                  <c:v>105.04137</c:v>
                </c:pt>
                <c:pt idx="1069">
                  <c:v>104.5051</c:v>
                </c:pt>
                <c:pt idx="1070">
                  <c:v>103.40383</c:v>
                </c:pt>
                <c:pt idx="1071">
                  <c:v>101.804596</c:v>
                </c:pt>
                <c:pt idx="1072">
                  <c:v>102.15893</c:v>
                </c:pt>
                <c:pt idx="1073">
                  <c:v>102.963326</c:v>
                </c:pt>
                <c:pt idx="1074">
                  <c:v>103.06867</c:v>
                </c:pt>
                <c:pt idx="1075">
                  <c:v>102.48451</c:v>
                </c:pt>
                <c:pt idx="1076">
                  <c:v>103.14527</c:v>
                </c:pt>
                <c:pt idx="1077">
                  <c:v>102.72391500000001</c:v>
                </c:pt>
                <c:pt idx="1078">
                  <c:v>103.81560500000001</c:v>
                </c:pt>
                <c:pt idx="1079">
                  <c:v>103.748566</c:v>
                </c:pt>
                <c:pt idx="1080">
                  <c:v>103.36553000000001</c:v>
                </c:pt>
                <c:pt idx="1081">
                  <c:v>103.624084</c:v>
                </c:pt>
                <c:pt idx="1082">
                  <c:v>102.63773</c:v>
                </c:pt>
                <c:pt idx="1083">
                  <c:v>102.0057</c:v>
                </c:pt>
                <c:pt idx="1084">
                  <c:v>101.02894000000001</c:v>
                </c:pt>
                <c:pt idx="1085">
                  <c:v>101.43113</c:v>
                </c:pt>
                <c:pt idx="1086">
                  <c:v>99.898949999999999</c:v>
                </c:pt>
                <c:pt idx="1087">
                  <c:v>101.143845</c:v>
                </c:pt>
                <c:pt idx="1088">
                  <c:v>102.50367</c:v>
                </c:pt>
                <c:pt idx="1089">
                  <c:v>102.04402</c:v>
                </c:pt>
                <c:pt idx="1090">
                  <c:v>101.64181499999999</c:v>
                </c:pt>
                <c:pt idx="1091">
                  <c:v>101.48860000000001</c:v>
                </c:pt>
                <c:pt idx="1092">
                  <c:v>101.03852000000001</c:v>
                </c:pt>
                <c:pt idx="1093">
                  <c:v>100.90445</c:v>
                </c:pt>
                <c:pt idx="1094">
                  <c:v>99.535049999999998</c:v>
                </c:pt>
                <c:pt idx="1095">
                  <c:v>100.3586</c:v>
                </c:pt>
                <c:pt idx="1096">
                  <c:v>99.803190000000001</c:v>
                </c:pt>
                <c:pt idx="1097">
                  <c:v>99.937250000000006</c:v>
                </c:pt>
                <c:pt idx="1098">
                  <c:v>101.09598</c:v>
                </c:pt>
                <c:pt idx="1099">
                  <c:v>100.94276000000001</c:v>
                </c:pt>
                <c:pt idx="1100">
                  <c:v>102.3313</c:v>
                </c:pt>
                <c:pt idx="1101">
                  <c:v>101.230034</c:v>
                </c:pt>
                <c:pt idx="1102">
                  <c:v>101.74715399999999</c:v>
                </c:pt>
                <c:pt idx="1103">
                  <c:v>102.90587600000001</c:v>
                </c:pt>
                <c:pt idx="1104">
                  <c:v>101.15342</c:v>
                </c:pt>
                <c:pt idx="1105">
                  <c:v>99.706299999999999</c:v>
                </c:pt>
                <c:pt idx="1106">
                  <c:v>99.677359999999993</c:v>
                </c:pt>
                <c:pt idx="1107">
                  <c:v>99.937849999999997</c:v>
                </c:pt>
                <c:pt idx="1108">
                  <c:v>100.17901999999999</c:v>
                </c:pt>
                <c:pt idx="1109">
                  <c:v>100.69999</c:v>
                </c:pt>
                <c:pt idx="1110">
                  <c:v>100.613174</c:v>
                </c:pt>
                <c:pt idx="1111">
                  <c:v>101.384964</c:v>
                </c:pt>
                <c:pt idx="1112">
                  <c:v>101.095535</c:v>
                </c:pt>
                <c:pt idx="1113">
                  <c:v>102.02169000000001</c:v>
                </c:pt>
                <c:pt idx="1114">
                  <c:v>103.05396</c:v>
                </c:pt>
                <c:pt idx="1115">
                  <c:v>103.57494</c:v>
                </c:pt>
                <c:pt idx="1116">
                  <c:v>103.31444500000001</c:v>
                </c:pt>
                <c:pt idx="1117">
                  <c:v>103.22763</c:v>
                </c:pt>
                <c:pt idx="1118">
                  <c:v>102.66807</c:v>
                </c:pt>
                <c:pt idx="1119">
                  <c:v>103.16973</c:v>
                </c:pt>
                <c:pt idx="1120">
                  <c:v>106.12186</c:v>
                </c:pt>
                <c:pt idx="1121">
                  <c:v>106.08327</c:v>
                </c:pt>
                <c:pt idx="1122">
                  <c:v>106.05431</c:v>
                </c:pt>
                <c:pt idx="1123">
                  <c:v>106.71035999999999</c:v>
                </c:pt>
                <c:pt idx="1124">
                  <c:v>104.83874</c:v>
                </c:pt>
                <c:pt idx="1125">
                  <c:v>105.27288</c:v>
                </c:pt>
                <c:pt idx="1126">
                  <c:v>103.8933</c:v>
                </c:pt>
                <c:pt idx="1127">
                  <c:v>102.60053000000001</c:v>
                </c:pt>
                <c:pt idx="1128">
                  <c:v>103.20832</c:v>
                </c:pt>
                <c:pt idx="1129">
                  <c:v>99.204635999999994</c:v>
                </c:pt>
                <c:pt idx="1130">
                  <c:v>97.776809999999998</c:v>
                </c:pt>
                <c:pt idx="1131">
                  <c:v>98.394260000000003</c:v>
                </c:pt>
                <c:pt idx="1132">
                  <c:v>97.825059999999993</c:v>
                </c:pt>
                <c:pt idx="1133">
                  <c:v>97.931174999999996</c:v>
                </c:pt>
                <c:pt idx="1134">
                  <c:v>98.596850000000003</c:v>
                </c:pt>
                <c:pt idx="1135">
                  <c:v>97.805760000000006</c:v>
                </c:pt>
                <c:pt idx="1136">
                  <c:v>97.149730000000005</c:v>
                </c:pt>
                <c:pt idx="1137">
                  <c:v>97.603160000000003</c:v>
                </c:pt>
                <c:pt idx="1138">
                  <c:v>99.146749999999997</c:v>
                </c:pt>
                <c:pt idx="1139">
                  <c:v>97.921530000000004</c:v>
                </c:pt>
                <c:pt idx="1140">
                  <c:v>97.940830000000005</c:v>
                </c:pt>
                <c:pt idx="1141">
                  <c:v>98.799449999999993</c:v>
                </c:pt>
                <c:pt idx="1142">
                  <c:v>98.944149999999993</c:v>
                </c:pt>
                <c:pt idx="1143">
                  <c:v>98.953804000000005</c:v>
                </c:pt>
                <c:pt idx="1144">
                  <c:v>99.243229999999997</c:v>
                </c:pt>
                <c:pt idx="1145">
                  <c:v>97.63212</c:v>
                </c:pt>
                <c:pt idx="1146">
                  <c:v>97.921530000000004</c:v>
                </c:pt>
                <c:pt idx="1147">
                  <c:v>98.018005000000002</c:v>
                </c:pt>
                <c:pt idx="1148">
                  <c:v>97.921530000000004</c:v>
                </c:pt>
                <c:pt idx="1149">
                  <c:v>93.638069999999999</c:v>
                </c:pt>
                <c:pt idx="1150">
                  <c:v>93.647710000000004</c:v>
                </c:pt>
                <c:pt idx="1151">
                  <c:v>93.667010000000005</c:v>
                </c:pt>
                <c:pt idx="1152">
                  <c:v>94.438805000000002</c:v>
                </c:pt>
                <c:pt idx="1153">
                  <c:v>95.336010000000002</c:v>
                </c:pt>
                <c:pt idx="1154">
                  <c:v>94.448449999999994</c:v>
                </c:pt>
                <c:pt idx="1155">
                  <c:v>95.046584999999993</c:v>
                </c:pt>
                <c:pt idx="1156">
                  <c:v>94.641396</c:v>
                </c:pt>
                <c:pt idx="1157">
                  <c:v>94.959760000000003</c:v>
                </c:pt>
                <c:pt idx="1158">
                  <c:v>95.712265000000002</c:v>
                </c:pt>
                <c:pt idx="1159">
                  <c:v>95.403540000000007</c:v>
                </c:pt>
                <c:pt idx="1160">
                  <c:v>95.123769999999993</c:v>
                </c:pt>
                <c:pt idx="1161">
                  <c:v>96.059569999999994</c:v>
                </c:pt>
                <c:pt idx="1162">
                  <c:v>95.152709999999999</c:v>
                </c:pt>
                <c:pt idx="1163">
                  <c:v>95.741209999999995</c:v>
                </c:pt>
                <c:pt idx="1164">
                  <c:v>94.593159999999997</c:v>
                </c:pt>
                <c:pt idx="1165">
                  <c:v>95.094830000000002</c:v>
                </c:pt>
                <c:pt idx="1166">
                  <c:v>96.339349999999996</c:v>
                </c:pt>
                <c:pt idx="1167">
                  <c:v>97.236559999999997</c:v>
                </c:pt>
                <c:pt idx="1168">
                  <c:v>97.005030000000005</c:v>
                </c:pt>
                <c:pt idx="1169">
                  <c:v>96.580529999999996</c:v>
                </c:pt>
                <c:pt idx="1170">
                  <c:v>96.541939999999997</c:v>
                </c:pt>
                <c:pt idx="1171">
                  <c:v>96.059569999999994</c:v>
                </c:pt>
                <c:pt idx="1172">
                  <c:v>96.069230000000005</c:v>
                </c:pt>
                <c:pt idx="1173">
                  <c:v>95.075540000000004</c:v>
                </c:pt>
                <c:pt idx="1174">
                  <c:v>93.512649999999994</c:v>
                </c:pt>
                <c:pt idx="1175">
                  <c:v>93.946785000000006</c:v>
                </c:pt>
                <c:pt idx="1176">
                  <c:v>94.670333999999997</c:v>
                </c:pt>
                <c:pt idx="1177">
                  <c:v>94.892240000000001</c:v>
                </c:pt>
                <c:pt idx="1178">
                  <c:v>94.786109999999994</c:v>
                </c:pt>
                <c:pt idx="1179">
                  <c:v>95.519324999999995</c:v>
                </c:pt>
                <c:pt idx="1180">
                  <c:v>95.895579999999995</c:v>
                </c:pt>
                <c:pt idx="1181">
                  <c:v>95.220245000000006</c:v>
                </c:pt>
                <c:pt idx="1182">
                  <c:v>94.824700000000007</c:v>
                </c:pt>
                <c:pt idx="1183">
                  <c:v>94.351969999999994</c:v>
                </c:pt>
                <c:pt idx="1184">
                  <c:v>95.085179999999994</c:v>
                </c:pt>
                <c:pt idx="1185">
                  <c:v>94.843999999999994</c:v>
                </c:pt>
                <c:pt idx="1186">
                  <c:v>94.583510000000004</c:v>
                </c:pt>
                <c:pt idx="1187">
                  <c:v>94.361626000000001</c:v>
                </c:pt>
                <c:pt idx="1188">
                  <c:v>95.538605000000004</c:v>
                </c:pt>
                <c:pt idx="1189">
                  <c:v>94.882589999999993</c:v>
                </c:pt>
                <c:pt idx="1190">
                  <c:v>95.162369999999996</c:v>
                </c:pt>
                <c:pt idx="1191">
                  <c:v>97.091849999999994</c:v>
                </c:pt>
                <c:pt idx="1192">
                  <c:v>98.027659999999997</c:v>
                </c:pt>
                <c:pt idx="1193">
                  <c:v>97.612809999999996</c:v>
                </c:pt>
                <c:pt idx="1194">
                  <c:v>99.059920000000005</c:v>
                </c:pt>
                <c:pt idx="1195">
                  <c:v>101.08589000000001</c:v>
                </c:pt>
                <c:pt idx="1196">
                  <c:v>101.04730000000001</c:v>
                </c:pt>
                <c:pt idx="1197">
                  <c:v>99.532650000000004</c:v>
                </c:pt>
                <c:pt idx="1198">
                  <c:v>100.03431999999999</c:v>
                </c:pt>
                <c:pt idx="1199">
                  <c:v>99.947495000000004</c:v>
                </c:pt>
                <c:pt idx="1200">
                  <c:v>99.793130000000005</c:v>
                </c:pt>
                <c:pt idx="1201">
                  <c:v>99.127459999999999</c:v>
                </c:pt>
                <c:pt idx="1202">
                  <c:v>99.368639999999999</c:v>
                </c:pt>
                <c:pt idx="1203">
                  <c:v>99.117810000000006</c:v>
                </c:pt>
                <c:pt idx="1204">
                  <c:v>99.021330000000006</c:v>
                </c:pt>
                <c:pt idx="1205">
                  <c:v>99.166045999999994</c:v>
                </c:pt>
                <c:pt idx="1206">
                  <c:v>99.764200000000002</c:v>
                </c:pt>
                <c:pt idx="1207">
                  <c:v>101.52967</c:v>
                </c:pt>
                <c:pt idx="1208">
                  <c:v>101.12447</c:v>
                </c:pt>
                <c:pt idx="1209">
                  <c:v>101.53932</c:v>
                </c:pt>
                <c:pt idx="1210">
                  <c:v>106.33409</c:v>
                </c:pt>
                <c:pt idx="1211">
                  <c:v>103.43986</c:v>
                </c:pt>
                <c:pt idx="1212">
                  <c:v>101.74191</c:v>
                </c:pt>
                <c:pt idx="1213">
                  <c:v>101.54897</c:v>
                </c:pt>
                <c:pt idx="1214">
                  <c:v>101.3642</c:v>
                </c:pt>
                <c:pt idx="1215">
                  <c:v>103.89270999999999</c:v>
                </c:pt>
                <c:pt idx="1216">
                  <c:v>104.476204</c:v>
                </c:pt>
                <c:pt idx="1217">
                  <c:v>104.65125999999999</c:v>
                </c:pt>
                <c:pt idx="1218">
                  <c:v>107.52988000000001</c:v>
                </c:pt>
                <c:pt idx="1219">
                  <c:v>108.21062499999999</c:v>
                </c:pt>
                <c:pt idx="1220">
                  <c:v>107.97723000000001</c:v>
                </c:pt>
                <c:pt idx="1221">
                  <c:v>108.73578000000001</c:v>
                </c:pt>
                <c:pt idx="1222">
                  <c:v>106.67407</c:v>
                </c:pt>
                <c:pt idx="1223">
                  <c:v>106.557365</c:v>
                </c:pt>
                <c:pt idx="1224">
                  <c:v>105.682106</c:v>
                </c:pt>
                <c:pt idx="1225">
                  <c:v>105.14724</c:v>
                </c:pt>
                <c:pt idx="1226">
                  <c:v>104.680435</c:v>
                </c:pt>
                <c:pt idx="1227">
                  <c:v>104.80686</c:v>
                </c:pt>
                <c:pt idx="1228">
                  <c:v>104.55401000000001</c:v>
                </c:pt>
                <c:pt idx="1229">
                  <c:v>108.72607000000001</c:v>
                </c:pt>
                <c:pt idx="1230">
                  <c:v>109.19285600000001</c:v>
                </c:pt>
                <c:pt idx="1231">
                  <c:v>109.14424</c:v>
                </c:pt>
                <c:pt idx="1232">
                  <c:v>108.551</c:v>
                </c:pt>
                <c:pt idx="1233">
                  <c:v>106.994995</c:v>
                </c:pt>
                <c:pt idx="1234">
                  <c:v>106.91719000000001</c:v>
                </c:pt>
                <c:pt idx="1235">
                  <c:v>106.46011</c:v>
                </c:pt>
                <c:pt idx="1236">
                  <c:v>107.93832</c:v>
                </c:pt>
                <c:pt idx="1237">
                  <c:v>109.37763</c:v>
                </c:pt>
                <c:pt idx="1238">
                  <c:v>107.64657</c:v>
                </c:pt>
                <c:pt idx="1239">
                  <c:v>108.89138</c:v>
                </c:pt>
                <c:pt idx="1240">
                  <c:v>107.384</c:v>
                </c:pt>
                <c:pt idx="1241">
                  <c:v>107.54931999999999</c:v>
                </c:pt>
                <c:pt idx="1242">
                  <c:v>108.04529599999999</c:v>
                </c:pt>
                <c:pt idx="1243">
                  <c:v>107.37428</c:v>
                </c:pt>
                <c:pt idx="1244">
                  <c:v>107.46178399999999</c:v>
                </c:pt>
                <c:pt idx="1245">
                  <c:v>107.51042</c:v>
                </c:pt>
                <c:pt idx="1246">
                  <c:v>109.10532000000001</c:v>
                </c:pt>
                <c:pt idx="1247">
                  <c:v>108.47320000000001</c:v>
                </c:pt>
                <c:pt idx="1248">
                  <c:v>107.08251</c:v>
                </c:pt>
                <c:pt idx="1249">
                  <c:v>105.682106</c:v>
                </c:pt>
                <c:pt idx="1250">
                  <c:v>107.45207000000001</c:v>
                </c:pt>
                <c:pt idx="1251">
                  <c:v>105.71128</c:v>
                </c:pt>
                <c:pt idx="1252">
                  <c:v>101.82125000000001</c:v>
                </c:pt>
                <c:pt idx="1253">
                  <c:v>103.250854</c:v>
                </c:pt>
                <c:pt idx="1254">
                  <c:v>101.87962</c:v>
                </c:pt>
                <c:pt idx="1255">
                  <c:v>98.563379999999995</c:v>
                </c:pt>
                <c:pt idx="1256">
                  <c:v>100.25552999999999</c:v>
                </c:pt>
                <c:pt idx="1257">
                  <c:v>100.54728</c:v>
                </c:pt>
                <c:pt idx="1258">
                  <c:v>101.25722</c:v>
                </c:pt>
                <c:pt idx="1259">
                  <c:v>101.72401000000001</c:v>
                </c:pt>
                <c:pt idx="1260">
                  <c:v>102.28807</c:v>
                </c:pt>
                <c:pt idx="1261">
                  <c:v>103.60095</c:v>
                </c:pt>
                <c:pt idx="1262">
                  <c:v>103.06608</c:v>
                </c:pt>
                <c:pt idx="1263">
                  <c:v>102.161644</c:v>
                </c:pt>
                <c:pt idx="1264">
                  <c:v>102.34641999999999</c:v>
                </c:pt>
                <c:pt idx="1265">
                  <c:v>104.30115499999999</c:v>
                </c:pt>
                <c:pt idx="1266">
                  <c:v>106.790764</c:v>
                </c:pt>
                <c:pt idx="1267">
                  <c:v>101.98659499999999</c:v>
                </c:pt>
                <c:pt idx="1268">
                  <c:v>100.32361</c:v>
                </c:pt>
                <c:pt idx="1269">
                  <c:v>99.749830000000003</c:v>
                </c:pt>
                <c:pt idx="1270">
                  <c:v>100.15828999999999</c:v>
                </c:pt>
                <c:pt idx="1271">
                  <c:v>100.56674</c:v>
                </c:pt>
                <c:pt idx="1272">
                  <c:v>102.05468</c:v>
                </c:pt>
                <c:pt idx="1273">
                  <c:v>100.74178999999999</c:v>
                </c:pt>
                <c:pt idx="1274">
                  <c:v>101.169685</c:v>
                </c:pt>
                <c:pt idx="1275">
                  <c:v>101.85045</c:v>
                </c:pt>
                <c:pt idx="1276">
                  <c:v>102.27834</c:v>
                </c:pt>
                <c:pt idx="1277">
                  <c:v>100.87794</c:v>
                </c:pt>
                <c:pt idx="1278">
                  <c:v>101.04327000000001</c:v>
                </c:pt>
                <c:pt idx="1279">
                  <c:v>100.401405</c:v>
                </c:pt>
                <c:pt idx="1280">
                  <c:v>100.04159</c:v>
                </c:pt>
                <c:pt idx="1281">
                  <c:v>98.689803999999995</c:v>
                </c:pt>
                <c:pt idx="1282">
                  <c:v>98.563379999999995</c:v>
                </c:pt>
                <c:pt idx="1283">
                  <c:v>99.020449999999997</c:v>
                </c:pt>
                <c:pt idx="1284">
                  <c:v>97.834000000000003</c:v>
                </c:pt>
                <c:pt idx="1285">
                  <c:v>95.830640000000002</c:v>
                </c:pt>
                <c:pt idx="1286">
                  <c:v>97.882614000000004</c:v>
                </c:pt>
                <c:pt idx="1287">
                  <c:v>96.62809</c:v>
                </c:pt>
                <c:pt idx="1288">
                  <c:v>95.830640000000002</c:v>
                </c:pt>
                <c:pt idx="1289">
                  <c:v>97.678399999999996</c:v>
                </c:pt>
                <c:pt idx="1290">
                  <c:v>95.947333999999998</c:v>
                </c:pt>
                <c:pt idx="1291">
                  <c:v>96.686440000000005</c:v>
                </c:pt>
                <c:pt idx="1292">
                  <c:v>98.174379999999999</c:v>
                </c:pt>
                <c:pt idx="1293">
                  <c:v>99.302480000000003</c:v>
                </c:pt>
                <c:pt idx="1294">
                  <c:v>97.590869999999995</c:v>
                </c:pt>
                <c:pt idx="1295">
                  <c:v>96.958740000000006</c:v>
                </c:pt>
                <c:pt idx="1296">
                  <c:v>98.582830000000001</c:v>
                </c:pt>
                <c:pt idx="1297">
                  <c:v>98.028499999999994</c:v>
                </c:pt>
                <c:pt idx="1298">
                  <c:v>97.629760000000005</c:v>
                </c:pt>
                <c:pt idx="1299">
                  <c:v>97.590869999999995</c:v>
                </c:pt>
                <c:pt idx="1300">
                  <c:v>97.483894000000006</c:v>
                </c:pt>
                <c:pt idx="1301">
                  <c:v>99.360825000000006</c:v>
                </c:pt>
                <c:pt idx="1302">
                  <c:v>98.427220000000005</c:v>
                </c:pt>
                <c:pt idx="1303">
                  <c:v>98.116020000000006</c:v>
                </c:pt>
                <c:pt idx="1304">
                  <c:v>97.483894000000006</c:v>
                </c:pt>
                <c:pt idx="1305">
                  <c:v>97.396370000000005</c:v>
                </c:pt>
                <c:pt idx="1306">
                  <c:v>96.725340000000003</c:v>
                </c:pt>
                <c:pt idx="1307">
                  <c:v>98.368870000000001</c:v>
                </c:pt>
                <c:pt idx="1308">
                  <c:v>97.094893999999996</c:v>
                </c:pt>
                <c:pt idx="1309">
                  <c:v>96.501660000000001</c:v>
                </c:pt>
                <c:pt idx="1310">
                  <c:v>97.571430000000007</c:v>
                </c:pt>
                <c:pt idx="1311">
                  <c:v>97.308846000000003</c:v>
                </c:pt>
                <c:pt idx="1312">
                  <c:v>96.880939999999995</c:v>
                </c:pt>
                <c:pt idx="1313">
                  <c:v>96.044589999999999</c:v>
                </c:pt>
                <c:pt idx="1314">
                  <c:v>98.368870000000001</c:v>
                </c:pt>
                <c:pt idx="1315">
                  <c:v>99.662310000000005</c:v>
                </c:pt>
                <c:pt idx="1316">
                  <c:v>98.99127</c:v>
                </c:pt>
                <c:pt idx="1317">
                  <c:v>97.221320000000006</c:v>
                </c:pt>
                <c:pt idx="1318">
                  <c:v>98.884309999999999</c:v>
                </c:pt>
                <c:pt idx="1319">
                  <c:v>99.263580000000005</c:v>
                </c:pt>
                <c:pt idx="1320">
                  <c:v>99.623405000000005</c:v>
                </c:pt>
                <c:pt idx="1321">
                  <c:v>100.0902</c:v>
                </c:pt>
                <c:pt idx="1322">
                  <c:v>102.15192399999999</c:v>
                </c:pt>
                <c:pt idx="1323">
                  <c:v>101.47117</c:v>
                </c:pt>
                <c:pt idx="1324">
                  <c:v>101.07244</c:v>
                </c:pt>
                <c:pt idx="1325">
                  <c:v>101.19886</c:v>
                </c:pt>
                <c:pt idx="1326">
                  <c:v>101.20859</c:v>
                </c:pt>
                <c:pt idx="1327">
                  <c:v>100.06104000000001</c:v>
                </c:pt>
                <c:pt idx="1328">
                  <c:v>99.302480000000003</c:v>
                </c:pt>
                <c:pt idx="1329">
                  <c:v>99.39</c:v>
                </c:pt>
                <c:pt idx="1330">
                  <c:v>96.949020000000004</c:v>
                </c:pt>
                <c:pt idx="1331">
                  <c:v>97.231049999999996</c:v>
                </c:pt>
                <c:pt idx="1332">
                  <c:v>96.735069999999993</c:v>
                </c:pt>
                <c:pt idx="1333">
                  <c:v>96.62809</c:v>
                </c:pt>
                <c:pt idx="1334">
                  <c:v>97.483894000000006</c:v>
                </c:pt>
                <c:pt idx="1335">
                  <c:v>97.192149999999998</c:v>
                </c:pt>
                <c:pt idx="1336">
                  <c:v>99.107979999999998</c:v>
                </c:pt>
                <c:pt idx="1337">
                  <c:v>99.65258</c:v>
                </c:pt>
                <c:pt idx="1338">
                  <c:v>101.12107</c:v>
                </c:pt>
                <c:pt idx="1339">
                  <c:v>101.480896</c:v>
                </c:pt>
                <c:pt idx="1340">
                  <c:v>101.46144</c:v>
                </c:pt>
                <c:pt idx="1341">
                  <c:v>103.387</c:v>
                </c:pt>
                <c:pt idx="1342">
                  <c:v>105.75991999999999</c:v>
                </c:pt>
                <c:pt idx="1343">
                  <c:v>105.85717</c:v>
                </c:pt>
                <c:pt idx="1344">
                  <c:v>104.11638000000001</c:v>
                </c:pt>
                <c:pt idx="1345">
                  <c:v>103.18277999999999</c:v>
                </c:pt>
                <c:pt idx="1346">
                  <c:v>104.2039</c:v>
                </c:pt>
                <c:pt idx="1347">
                  <c:v>102.97854599999999</c:v>
                </c:pt>
                <c:pt idx="1348">
                  <c:v>103.41616999999999</c:v>
                </c:pt>
                <c:pt idx="1349">
                  <c:v>101.57814</c:v>
                </c:pt>
                <c:pt idx="1350">
                  <c:v>101.39336400000001</c:v>
                </c:pt>
                <c:pt idx="1351">
                  <c:v>101.10161600000001</c:v>
                </c:pt>
                <c:pt idx="1352">
                  <c:v>101.88934999999999</c:v>
                </c:pt>
                <c:pt idx="1353">
                  <c:v>101.928246</c:v>
                </c:pt>
                <c:pt idx="1354">
                  <c:v>102.43394499999999</c:v>
                </c:pt>
                <c:pt idx="1355">
                  <c:v>101.17941</c:v>
                </c:pt>
                <c:pt idx="1356">
                  <c:v>102.44367</c:v>
                </c:pt>
                <c:pt idx="1357">
                  <c:v>102.71816</c:v>
                </c:pt>
                <c:pt idx="1358">
                  <c:v>103.93376000000001</c:v>
                </c:pt>
                <c:pt idx="1359">
                  <c:v>103.94356500000001</c:v>
                </c:pt>
                <c:pt idx="1360">
                  <c:v>105.91401999999999</c:v>
                </c:pt>
                <c:pt idx="1361">
                  <c:v>106.11989</c:v>
                </c:pt>
                <c:pt idx="1362">
                  <c:v>107.83544000000001</c:v>
                </c:pt>
                <c:pt idx="1363">
                  <c:v>108.03149999999999</c:v>
                </c:pt>
                <c:pt idx="1364">
                  <c:v>108.12954999999999</c:v>
                </c:pt>
                <c:pt idx="1365">
                  <c:v>108.51187</c:v>
                </c:pt>
                <c:pt idx="1366">
                  <c:v>109.92354</c:v>
                </c:pt>
                <c:pt idx="1367">
                  <c:v>109.28632</c:v>
                </c:pt>
                <c:pt idx="1368">
                  <c:v>108.90398999999999</c:v>
                </c:pt>
                <c:pt idx="1369">
                  <c:v>108.52167</c:v>
                </c:pt>
                <c:pt idx="1370">
                  <c:v>108.992226</c:v>
                </c:pt>
                <c:pt idx="1371">
                  <c:v>111.276375</c:v>
                </c:pt>
                <c:pt idx="1372">
                  <c:v>110.40389</c:v>
                </c:pt>
                <c:pt idx="1373">
                  <c:v>110.41370000000001</c:v>
                </c:pt>
                <c:pt idx="1374">
                  <c:v>111.32539</c:v>
                </c:pt>
                <c:pt idx="1375">
                  <c:v>110.74701</c:v>
                </c:pt>
                <c:pt idx="1376">
                  <c:v>110.53133</c:v>
                </c:pt>
                <c:pt idx="1377">
                  <c:v>111.84496</c:v>
                </c:pt>
                <c:pt idx="1378">
                  <c:v>113.65855999999999</c:v>
                </c:pt>
                <c:pt idx="1379">
                  <c:v>114.26635</c:v>
                </c:pt>
                <c:pt idx="1380">
                  <c:v>111.73712999999999</c:v>
                </c:pt>
                <c:pt idx="1381">
                  <c:v>111.9136</c:v>
                </c:pt>
                <c:pt idx="1382">
                  <c:v>110.46271</c:v>
                </c:pt>
                <c:pt idx="1383">
                  <c:v>109.91373</c:v>
                </c:pt>
                <c:pt idx="1384">
                  <c:v>110.53133</c:v>
                </c:pt>
                <c:pt idx="1385">
                  <c:v>110.629364</c:v>
                </c:pt>
                <c:pt idx="1386">
                  <c:v>110.26665</c:v>
                </c:pt>
                <c:pt idx="1387">
                  <c:v>110.26665</c:v>
                </c:pt>
                <c:pt idx="1388">
                  <c:v>109.78628</c:v>
                </c:pt>
                <c:pt idx="1389">
                  <c:v>110.17841</c:v>
                </c:pt>
                <c:pt idx="1390">
                  <c:v>109.737274</c:v>
                </c:pt>
                <c:pt idx="1391">
                  <c:v>109.79609000000001</c:v>
                </c:pt>
                <c:pt idx="1392">
                  <c:v>109.72748</c:v>
                </c:pt>
                <c:pt idx="1393">
                  <c:v>110.11959</c:v>
                </c:pt>
                <c:pt idx="1394">
                  <c:v>110.36468000000001</c:v>
                </c:pt>
                <c:pt idx="1395">
                  <c:v>110.23723</c:v>
                </c:pt>
                <c:pt idx="1396">
                  <c:v>109.71767</c:v>
                </c:pt>
                <c:pt idx="1397">
                  <c:v>109.81569</c:v>
                </c:pt>
                <c:pt idx="1398">
                  <c:v>108.66871</c:v>
                </c:pt>
                <c:pt idx="1399">
                  <c:v>107.70801</c:v>
                </c:pt>
                <c:pt idx="1400">
                  <c:v>108.09032999999999</c:v>
                </c:pt>
                <c:pt idx="1401">
                  <c:v>108.78636</c:v>
                </c:pt>
                <c:pt idx="1402">
                  <c:v>108.50207</c:v>
                </c:pt>
                <c:pt idx="1403">
                  <c:v>107.44331</c:v>
                </c:pt>
                <c:pt idx="1404">
                  <c:v>107.30607000000001</c:v>
                </c:pt>
                <c:pt idx="1405">
                  <c:v>108.49226</c:v>
                </c:pt>
                <c:pt idx="1406">
                  <c:v>107.110016</c:v>
                </c:pt>
                <c:pt idx="1407">
                  <c:v>107.20804</c:v>
                </c:pt>
                <c:pt idx="1408">
                  <c:v>107.374695</c:v>
                </c:pt>
                <c:pt idx="1409">
                  <c:v>107.62958</c:v>
                </c:pt>
                <c:pt idx="1410">
                  <c:v>109.42357</c:v>
                </c:pt>
                <c:pt idx="1411">
                  <c:v>108.22758</c:v>
                </c:pt>
                <c:pt idx="1412">
                  <c:v>110.55092999999999</c:v>
                </c:pt>
                <c:pt idx="1413">
                  <c:v>111.39400999999999</c:v>
                </c:pt>
                <c:pt idx="1414">
                  <c:v>112.942924</c:v>
                </c:pt>
                <c:pt idx="1415">
                  <c:v>113.75660000000001</c:v>
                </c:pt>
                <c:pt idx="1416">
                  <c:v>114.638885</c:v>
                </c:pt>
                <c:pt idx="1417">
                  <c:v>113.95265999999999</c:v>
                </c:pt>
                <c:pt idx="1418">
                  <c:v>115.34471000000001</c:v>
                </c:pt>
                <c:pt idx="1419">
                  <c:v>114.60947</c:v>
                </c:pt>
                <c:pt idx="1420">
                  <c:v>113.84482</c:v>
                </c:pt>
                <c:pt idx="1421">
                  <c:v>112.52139</c:v>
                </c:pt>
                <c:pt idx="1422">
                  <c:v>113.73698400000001</c:v>
                </c:pt>
                <c:pt idx="1423">
                  <c:v>114.58987</c:v>
                </c:pt>
                <c:pt idx="1424">
                  <c:v>110.63917499999999</c:v>
                </c:pt>
                <c:pt idx="1425">
                  <c:v>108.96281999999999</c:v>
                </c:pt>
                <c:pt idx="1426">
                  <c:v>110.39408</c:v>
                </c:pt>
                <c:pt idx="1427">
                  <c:v>111.207756</c:v>
                </c:pt>
                <c:pt idx="1428">
                  <c:v>113.90364</c:v>
                </c:pt>
                <c:pt idx="1429">
                  <c:v>114.82513400000001</c:v>
                </c:pt>
                <c:pt idx="1430">
                  <c:v>113.89384</c:v>
                </c:pt>
                <c:pt idx="1431">
                  <c:v>116.56032</c:v>
                </c:pt>
                <c:pt idx="1432">
                  <c:v>115.94271000000001</c:v>
                </c:pt>
                <c:pt idx="1433">
                  <c:v>115.530975</c:v>
                </c:pt>
                <c:pt idx="1434">
                  <c:v>109.413765</c:v>
                </c:pt>
                <c:pt idx="1435">
                  <c:v>111.9136</c:v>
                </c:pt>
                <c:pt idx="1436">
                  <c:v>110.96268000000001</c:v>
                </c:pt>
                <c:pt idx="1437">
                  <c:v>110.81562</c:v>
                </c:pt>
                <c:pt idx="1438">
                  <c:v>112.501785</c:v>
                </c:pt>
                <c:pt idx="1439">
                  <c:v>112.570404</c:v>
                </c:pt>
                <c:pt idx="1440">
                  <c:v>113.81541</c:v>
                </c:pt>
                <c:pt idx="1441">
                  <c:v>112.91352000000001</c:v>
                </c:pt>
                <c:pt idx="1442">
                  <c:v>113.1782</c:v>
                </c:pt>
                <c:pt idx="1443">
                  <c:v>114.413414</c:v>
                </c:pt>
                <c:pt idx="1444">
                  <c:v>114.74670999999999</c:v>
                </c:pt>
                <c:pt idx="1445">
                  <c:v>113.717384</c:v>
                </c:pt>
                <c:pt idx="1446">
                  <c:v>115.67802399999999</c:v>
                </c:pt>
                <c:pt idx="1447">
                  <c:v>114.4036</c:v>
                </c:pt>
                <c:pt idx="1448">
                  <c:v>114.55064400000001</c:v>
                </c:pt>
                <c:pt idx="1449">
                  <c:v>114.81534000000001</c:v>
                </c:pt>
                <c:pt idx="1450">
                  <c:v>114.80553999999999</c:v>
                </c:pt>
                <c:pt idx="1451">
                  <c:v>113.90364</c:v>
                </c:pt>
                <c:pt idx="1452">
                  <c:v>113.14879000000001</c:v>
                </c:pt>
                <c:pt idx="1453">
                  <c:v>109.668655</c:v>
                </c:pt>
                <c:pt idx="1454">
                  <c:v>110.80582</c:v>
                </c:pt>
                <c:pt idx="1455">
                  <c:v>109.87452</c:v>
                </c:pt>
                <c:pt idx="1456">
                  <c:v>110.33526999999999</c:v>
                </c:pt>
                <c:pt idx="1457">
                  <c:v>111.65871</c:v>
                </c:pt>
                <c:pt idx="1458">
                  <c:v>113.81541</c:v>
                </c:pt>
                <c:pt idx="1459">
                  <c:v>114.31538</c:v>
                </c:pt>
                <c:pt idx="1460">
                  <c:v>113.217415</c:v>
                </c:pt>
                <c:pt idx="1461">
                  <c:v>113.46248</c:v>
                </c:pt>
                <c:pt idx="1462">
                  <c:v>110.64897999999999</c:v>
                </c:pt>
                <c:pt idx="1463">
                  <c:v>112.080246</c:v>
                </c:pt>
                <c:pt idx="1464">
                  <c:v>110.628</c:v>
                </c:pt>
                <c:pt idx="1465">
                  <c:v>110.50944</c:v>
                </c:pt>
                <c:pt idx="1466">
                  <c:v>110.61812</c:v>
                </c:pt>
                <c:pt idx="1467">
                  <c:v>110.85522</c:v>
                </c:pt>
                <c:pt idx="1468">
                  <c:v>112.020966</c:v>
                </c:pt>
                <c:pt idx="1469">
                  <c:v>110.84533999999999</c:v>
                </c:pt>
                <c:pt idx="1470">
                  <c:v>109.28442</c:v>
                </c:pt>
                <c:pt idx="1471">
                  <c:v>108.12853</c:v>
                </c:pt>
                <c:pt idx="1472">
                  <c:v>107.90132</c:v>
                </c:pt>
                <c:pt idx="1473">
                  <c:v>105.70811999999999</c:v>
                </c:pt>
                <c:pt idx="1474">
                  <c:v>102.961685</c:v>
                </c:pt>
                <c:pt idx="1475">
                  <c:v>99.138405000000006</c:v>
                </c:pt>
                <c:pt idx="1476">
                  <c:v>104.55225</c:v>
                </c:pt>
                <c:pt idx="1477">
                  <c:v>105.23390999999999</c:v>
                </c:pt>
                <c:pt idx="1478">
                  <c:v>106.00449999999999</c:v>
                </c:pt>
                <c:pt idx="1479">
                  <c:v>108.326126</c:v>
                </c:pt>
                <c:pt idx="1480">
                  <c:v>107.65434</c:v>
                </c:pt>
                <c:pt idx="1481">
                  <c:v>105.04621</c:v>
                </c:pt>
                <c:pt idx="1482">
                  <c:v>108.28660600000001</c:v>
                </c:pt>
                <c:pt idx="1483">
                  <c:v>109.22513600000001</c:v>
                </c:pt>
                <c:pt idx="1484">
                  <c:v>110.07474999999999</c:v>
                </c:pt>
                <c:pt idx="1485">
                  <c:v>111.30965399999999</c:v>
                </c:pt>
                <c:pt idx="1486">
                  <c:v>111.438095</c:v>
                </c:pt>
                <c:pt idx="1487">
                  <c:v>111.28991000000001</c:v>
                </c:pt>
                <c:pt idx="1488">
                  <c:v>111.062675</c:v>
                </c:pt>
                <c:pt idx="1489">
                  <c:v>110.41065</c:v>
                </c:pt>
                <c:pt idx="1490">
                  <c:v>109.57091</c:v>
                </c:pt>
                <c:pt idx="1491">
                  <c:v>109.66970999999999</c:v>
                </c:pt>
                <c:pt idx="1492">
                  <c:v>109.69935</c:v>
                </c:pt>
                <c:pt idx="1493">
                  <c:v>109.264656</c:v>
                </c:pt>
                <c:pt idx="1494">
                  <c:v>109.77838</c:v>
                </c:pt>
                <c:pt idx="1495">
                  <c:v>109.21526</c:v>
                </c:pt>
                <c:pt idx="1496">
                  <c:v>109.74872999999999</c:v>
                </c:pt>
                <c:pt idx="1497">
                  <c:v>109.472115</c:v>
                </c:pt>
                <c:pt idx="1498">
                  <c:v>109.56103</c:v>
                </c:pt>
                <c:pt idx="1499">
                  <c:v>108.80033</c:v>
                </c:pt>
                <c:pt idx="1500">
                  <c:v>110.173546</c:v>
                </c:pt>
                <c:pt idx="1501">
                  <c:v>109.95621</c:v>
                </c:pt>
                <c:pt idx="1502">
                  <c:v>110.45017</c:v>
                </c:pt>
                <c:pt idx="1503">
                  <c:v>111.29979</c:v>
                </c:pt>
                <c:pt idx="1504">
                  <c:v>110.06488</c:v>
                </c:pt>
                <c:pt idx="1505">
                  <c:v>109.61042</c:v>
                </c:pt>
                <c:pt idx="1506">
                  <c:v>110.16367</c:v>
                </c:pt>
                <c:pt idx="1507">
                  <c:v>108.11866999999999</c:v>
                </c:pt>
                <c:pt idx="1508">
                  <c:v>107.88155</c:v>
                </c:pt>
                <c:pt idx="1509">
                  <c:v>108.86947000000001</c:v>
                </c:pt>
                <c:pt idx="1510">
                  <c:v>109.32393</c:v>
                </c:pt>
                <c:pt idx="1511">
                  <c:v>111.23062</c:v>
                </c:pt>
                <c:pt idx="1512">
                  <c:v>112.13952</c:v>
                </c:pt>
                <c:pt idx="1513">
                  <c:v>112.30746499999999</c:v>
                </c:pt>
                <c:pt idx="1514">
                  <c:v>112.9101</c:v>
                </c:pt>
                <c:pt idx="1515">
                  <c:v>113.85851</c:v>
                </c:pt>
                <c:pt idx="1516">
                  <c:v>112.21854999999999</c:v>
                </c:pt>
                <c:pt idx="1517">
                  <c:v>112.12963000000001</c:v>
                </c:pt>
                <c:pt idx="1518">
                  <c:v>111.418335</c:v>
                </c:pt>
                <c:pt idx="1519">
                  <c:v>111.47761</c:v>
                </c:pt>
                <c:pt idx="1520">
                  <c:v>112.633484</c:v>
                </c:pt>
                <c:pt idx="1521">
                  <c:v>112.94961499999999</c:v>
                </c:pt>
                <c:pt idx="1522">
                  <c:v>112.623604</c:v>
                </c:pt>
                <c:pt idx="1523">
                  <c:v>113.46334</c:v>
                </c:pt>
                <c:pt idx="1524">
                  <c:v>112.633484</c:v>
                </c:pt>
                <c:pt idx="1525">
                  <c:v>112.4359</c:v>
                </c:pt>
                <c:pt idx="1526">
                  <c:v>113.36454999999999</c:v>
                </c:pt>
                <c:pt idx="1527">
                  <c:v>113.344795</c:v>
                </c:pt>
                <c:pt idx="1528">
                  <c:v>112.71250999999999</c:v>
                </c:pt>
                <c:pt idx="1529">
                  <c:v>113.09781</c:v>
                </c:pt>
                <c:pt idx="1530">
                  <c:v>113.572014</c:v>
                </c:pt>
                <c:pt idx="1531">
                  <c:v>111.75423000000001</c:v>
                </c:pt>
                <c:pt idx="1532">
                  <c:v>108.67189999999999</c:v>
                </c:pt>
                <c:pt idx="1533">
                  <c:v>108.66202</c:v>
                </c:pt>
                <c:pt idx="1534">
                  <c:v>107.34808</c:v>
                </c:pt>
                <c:pt idx="1535">
                  <c:v>106.92328000000001</c:v>
                </c:pt>
                <c:pt idx="1536">
                  <c:v>106.48859</c:v>
                </c:pt>
                <c:pt idx="1537">
                  <c:v>108.81021</c:v>
                </c:pt>
                <c:pt idx="1538">
                  <c:v>108.94852</c:v>
                </c:pt>
                <c:pt idx="1539">
                  <c:v>109.37333</c:v>
                </c:pt>
                <c:pt idx="1540">
                  <c:v>109.68944999999999</c:v>
                </c:pt>
                <c:pt idx="1541">
                  <c:v>111.151596</c:v>
                </c:pt>
                <c:pt idx="1542">
                  <c:v>110.60824</c:v>
                </c:pt>
                <c:pt idx="1543">
                  <c:v>111.16146000000001</c:v>
                </c:pt>
                <c:pt idx="1544">
                  <c:v>113.36454999999999</c:v>
                </c:pt>
                <c:pt idx="1545">
                  <c:v>113.61152</c:v>
                </c:pt>
                <c:pt idx="1546">
                  <c:v>113.572014</c:v>
                </c:pt>
                <c:pt idx="1547">
                  <c:v>115.44907000000001</c:v>
                </c:pt>
                <c:pt idx="1548">
                  <c:v>115.74545999999999</c:v>
                </c:pt>
                <c:pt idx="1549">
                  <c:v>115.192215</c:v>
                </c:pt>
                <c:pt idx="1550">
                  <c:v>128.4897</c:v>
                </c:pt>
                <c:pt idx="1551">
                  <c:v>130.44578999999999</c:v>
                </c:pt>
                <c:pt idx="1552">
                  <c:v>128.33161999999999</c:v>
                </c:pt>
                <c:pt idx="1553">
                  <c:v>130.1593</c:v>
                </c:pt>
                <c:pt idx="1554">
                  <c:v>130.85085000000001</c:v>
                </c:pt>
                <c:pt idx="1555">
                  <c:v>130.09012999999999</c:v>
                </c:pt>
                <c:pt idx="1556">
                  <c:v>131.74986000000001</c:v>
                </c:pt>
                <c:pt idx="1557">
                  <c:v>133.46886000000001</c:v>
                </c:pt>
                <c:pt idx="1558">
                  <c:v>135.58301</c:v>
                </c:pt>
                <c:pt idx="1559">
                  <c:v>138.23067</c:v>
                </c:pt>
                <c:pt idx="1560">
                  <c:v>137.61815000000001</c:v>
                </c:pt>
                <c:pt idx="1561">
                  <c:v>135.31627</c:v>
                </c:pt>
                <c:pt idx="1562">
                  <c:v>134.73339999999999</c:v>
                </c:pt>
                <c:pt idx="1563">
                  <c:v>132.52045000000001</c:v>
                </c:pt>
                <c:pt idx="1564">
                  <c:v>132.70814999999999</c:v>
                </c:pt>
                <c:pt idx="1565">
                  <c:v>133.37006</c:v>
                </c:pt>
                <c:pt idx="1566">
                  <c:v>131.82889</c:v>
                </c:pt>
                <c:pt idx="1567">
                  <c:v>133.36018000000001</c:v>
                </c:pt>
                <c:pt idx="1568">
                  <c:v>131.97708</c:v>
                </c:pt>
                <c:pt idx="1569">
                  <c:v>132.42165</c:v>
                </c:pt>
                <c:pt idx="1570">
                  <c:v>129.75424000000001</c:v>
                </c:pt>
                <c:pt idx="1571">
                  <c:v>131.59178</c:v>
                </c:pt>
                <c:pt idx="1572">
                  <c:v>133.05391</c:v>
                </c:pt>
                <c:pt idx="1573">
                  <c:v>133.86401000000001</c:v>
                </c:pt>
                <c:pt idx="1574">
                  <c:v>133.40958000000001</c:v>
                </c:pt>
                <c:pt idx="1575">
                  <c:v>132.29322999999999</c:v>
                </c:pt>
                <c:pt idx="1576">
                  <c:v>132.47103999999999</c:v>
                </c:pt>
                <c:pt idx="1577">
                  <c:v>132.23394999999999</c:v>
                </c:pt>
                <c:pt idx="1578">
                  <c:v>131.12746999999999</c:v>
                </c:pt>
                <c:pt idx="1579">
                  <c:v>131.18672000000001</c:v>
                </c:pt>
                <c:pt idx="1580">
                  <c:v>131.01877999999999</c:v>
                </c:pt>
                <c:pt idx="1581">
                  <c:v>129.98149000000001</c:v>
                </c:pt>
                <c:pt idx="1582">
                  <c:v>130.60384999999999</c:v>
                </c:pt>
                <c:pt idx="1583">
                  <c:v>130.44578999999999</c:v>
                </c:pt>
                <c:pt idx="1584">
                  <c:v>130.87062</c:v>
                </c:pt>
                <c:pt idx="1585">
                  <c:v>133.19225</c:v>
                </c:pt>
                <c:pt idx="1586">
                  <c:v>134.29872</c:v>
                </c:pt>
                <c:pt idx="1587">
                  <c:v>135.55339000000001</c:v>
                </c:pt>
                <c:pt idx="1588">
                  <c:v>136.37334999999999</c:v>
                </c:pt>
                <c:pt idx="1589">
                  <c:v>135.41506999999999</c:v>
                </c:pt>
                <c:pt idx="1590">
                  <c:v>133.44909999999999</c:v>
                </c:pt>
                <c:pt idx="1591">
                  <c:v>134.08138</c:v>
                </c:pt>
                <c:pt idx="1592">
                  <c:v>140.02869000000001</c:v>
                </c:pt>
                <c:pt idx="1593">
                  <c:v>139.93977000000001</c:v>
                </c:pt>
                <c:pt idx="1594">
                  <c:v>139.26796999999999</c:v>
                </c:pt>
                <c:pt idx="1595">
                  <c:v>137.55887000000001</c:v>
                </c:pt>
                <c:pt idx="1596">
                  <c:v>139.21858</c:v>
                </c:pt>
                <c:pt idx="1597">
                  <c:v>140.30529999999999</c:v>
                </c:pt>
                <c:pt idx="1598">
                  <c:v>138.5369</c:v>
                </c:pt>
                <c:pt idx="1599">
                  <c:v>137.53910999999999</c:v>
                </c:pt>
                <c:pt idx="1600">
                  <c:v>138.25040999999999</c:v>
                </c:pt>
                <c:pt idx="1601">
                  <c:v>138.70484999999999</c:v>
                </c:pt>
                <c:pt idx="1602">
                  <c:v>137.61815000000001</c:v>
                </c:pt>
                <c:pt idx="1603">
                  <c:v>137.95402999999999</c:v>
                </c:pt>
                <c:pt idx="1604">
                  <c:v>139.93977000000001</c:v>
                </c:pt>
                <c:pt idx="1605">
                  <c:v>140.80914000000001</c:v>
                </c:pt>
                <c:pt idx="1606">
                  <c:v>141.25371000000001</c:v>
                </c:pt>
                <c:pt idx="1607">
                  <c:v>141.60162</c:v>
                </c:pt>
                <c:pt idx="1608">
                  <c:v>140.18015</c:v>
                </c:pt>
                <c:pt idx="1609">
                  <c:v>140.76662999999999</c:v>
                </c:pt>
                <c:pt idx="1610">
                  <c:v>142.68512999999999</c:v>
                </c:pt>
                <c:pt idx="1611">
                  <c:v>142.70501999999999</c:v>
                </c:pt>
                <c:pt idx="1612">
                  <c:v>144.01716999999999</c:v>
                </c:pt>
                <c:pt idx="1613">
                  <c:v>144.19607999999999</c:v>
                </c:pt>
                <c:pt idx="1614">
                  <c:v>143.44060999999999</c:v>
                </c:pt>
                <c:pt idx="1615">
                  <c:v>141.72092000000001</c:v>
                </c:pt>
                <c:pt idx="1616">
                  <c:v>140.78650999999999</c:v>
                </c:pt>
                <c:pt idx="1617">
                  <c:v>139.01712000000001</c:v>
                </c:pt>
                <c:pt idx="1618">
                  <c:v>140.00120000000001</c:v>
                </c:pt>
                <c:pt idx="1619">
                  <c:v>140.41872000000001</c:v>
                </c:pt>
                <c:pt idx="1620">
                  <c:v>140.44853000000001</c:v>
                </c:pt>
                <c:pt idx="1621">
                  <c:v>142.3571</c:v>
                </c:pt>
                <c:pt idx="1622">
                  <c:v>143.78851</c:v>
                </c:pt>
                <c:pt idx="1623">
                  <c:v>145.51815999999999</c:v>
                </c:pt>
                <c:pt idx="1624">
                  <c:v>144.06684999999999</c:v>
                </c:pt>
                <c:pt idx="1625">
                  <c:v>142.1583</c:v>
                </c:pt>
                <c:pt idx="1626">
                  <c:v>141.0052</c:v>
                </c:pt>
                <c:pt idx="1627">
                  <c:v>140.86604</c:v>
                </c:pt>
                <c:pt idx="1628">
                  <c:v>137.47635</c:v>
                </c:pt>
                <c:pt idx="1629">
                  <c:v>141.02507</c:v>
                </c:pt>
                <c:pt idx="1630">
                  <c:v>134.05683999999999</c:v>
                </c:pt>
                <c:pt idx="1631">
                  <c:v>137.06879000000001</c:v>
                </c:pt>
                <c:pt idx="1632">
                  <c:v>137.69504000000001</c:v>
                </c:pt>
                <c:pt idx="1633">
                  <c:v>134.94153</c:v>
                </c:pt>
                <c:pt idx="1634">
                  <c:v>136.19401999999999</c:v>
                </c:pt>
                <c:pt idx="1635">
                  <c:v>132.05879999999999</c:v>
                </c:pt>
                <c:pt idx="1636">
                  <c:v>132.61546000000001</c:v>
                </c:pt>
                <c:pt idx="1637">
                  <c:v>134.3948</c:v>
                </c:pt>
                <c:pt idx="1638">
                  <c:v>134.48427000000001</c:v>
                </c:pt>
                <c:pt idx="1639">
                  <c:v>134.32523</c:v>
                </c:pt>
                <c:pt idx="1640">
                  <c:v>134.95146</c:v>
                </c:pt>
                <c:pt idx="1641">
                  <c:v>135.26956000000001</c:v>
                </c:pt>
                <c:pt idx="1642">
                  <c:v>130.88583</c:v>
                </c:pt>
                <c:pt idx="1643">
                  <c:v>133.80832000000001</c:v>
                </c:pt>
                <c:pt idx="1644">
                  <c:v>133.68904000000001</c:v>
                </c:pt>
                <c:pt idx="1645">
                  <c:v>135.73677000000001</c:v>
                </c:pt>
                <c:pt idx="1646">
                  <c:v>137.01907</c:v>
                </c:pt>
                <c:pt idx="1647">
                  <c:v>136.44254000000001</c:v>
                </c:pt>
                <c:pt idx="1648">
                  <c:v>135.4982</c:v>
                </c:pt>
                <c:pt idx="1649">
                  <c:v>137.06879000000001</c:v>
                </c:pt>
                <c:pt idx="1650">
                  <c:v>138.01311999999999</c:v>
                </c:pt>
                <c:pt idx="1651">
                  <c:v>138.71889999999999</c:v>
                </c:pt>
                <c:pt idx="1652">
                  <c:v>138.00318999999999</c:v>
                </c:pt>
                <c:pt idx="1653">
                  <c:v>134.9813</c:v>
                </c:pt>
                <c:pt idx="1654">
                  <c:v>135.37889999999999</c:v>
                </c:pt>
                <c:pt idx="1655">
                  <c:v>136.68109999999999</c:v>
                </c:pt>
                <c:pt idx="1656">
                  <c:v>137.19801000000001</c:v>
                </c:pt>
                <c:pt idx="1657">
                  <c:v>134.99124</c:v>
                </c:pt>
                <c:pt idx="1658">
                  <c:v>135.4982</c:v>
                </c:pt>
                <c:pt idx="1659">
                  <c:v>135.98527999999999</c:v>
                </c:pt>
                <c:pt idx="1660">
                  <c:v>132.50612000000001</c:v>
                </c:pt>
                <c:pt idx="1661">
                  <c:v>131.48224999999999</c:v>
                </c:pt>
                <c:pt idx="1662">
                  <c:v>131.67113000000001</c:v>
                </c:pt>
                <c:pt idx="1663">
                  <c:v>131.18404000000001</c:v>
                </c:pt>
                <c:pt idx="1664">
                  <c:v>132.29736</c:v>
                </c:pt>
                <c:pt idx="1665">
                  <c:v>130.48822000000001</c:v>
                </c:pt>
                <c:pt idx="1666">
                  <c:v>129.18602000000001</c:v>
                </c:pt>
                <c:pt idx="1667">
                  <c:v>129.54387</c:v>
                </c:pt>
                <c:pt idx="1668">
                  <c:v>128.77846</c:v>
                </c:pt>
                <c:pt idx="1669">
                  <c:v>128.37090000000001</c:v>
                </c:pt>
                <c:pt idx="1670">
                  <c:v>127.38679500000001</c:v>
                </c:pt>
                <c:pt idx="1671">
                  <c:v>129.49417</c:v>
                </c:pt>
                <c:pt idx="1672">
                  <c:v>130.12039999999999</c:v>
                </c:pt>
                <c:pt idx="1673">
                  <c:v>127.70489000000001</c:v>
                </c:pt>
                <c:pt idx="1674">
                  <c:v>128.55976999999999</c:v>
                </c:pt>
                <c:pt idx="1675">
                  <c:v>128.56970000000001</c:v>
                </c:pt>
                <c:pt idx="1676">
                  <c:v>129.24566999999999</c:v>
                </c:pt>
                <c:pt idx="1677">
                  <c:v>128.92755</c:v>
                </c:pt>
                <c:pt idx="1678">
                  <c:v>128.9872</c:v>
                </c:pt>
                <c:pt idx="1679">
                  <c:v>130.08065999999999</c:v>
                </c:pt>
                <c:pt idx="1680">
                  <c:v>131.58165</c:v>
                </c:pt>
                <c:pt idx="1681">
                  <c:v>130.11046999999999</c:v>
                </c:pt>
                <c:pt idx="1682">
                  <c:v>129.48421999999999</c:v>
                </c:pt>
                <c:pt idx="1683">
                  <c:v>131.61148</c:v>
                </c:pt>
                <c:pt idx="1684">
                  <c:v>130.34904</c:v>
                </c:pt>
                <c:pt idx="1685">
                  <c:v>129.48421999999999</c:v>
                </c:pt>
                <c:pt idx="1686">
                  <c:v>130.12039999999999</c:v>
                </c:pt>
                <c:pt idx="1687">
                  <c:v>129.75262000000001</c:v>
                </c:pt>
                <c:pt idx="1688">
                  <c:v>128.70885999999999</c:v>
                </c:pt>
                <c:pt idx="1689">
                  <c:v>128.82817</c:v>
                </c:pt>
                <c:pt idx="1690">
                  <c:v>129.14626000000001</c:v>
                </c:pt>
                <c:pt idx="1691">
                  <c:v>131.95939999999999</c:v>
                </c:pt>
                <c:pt idx="1692">
                  <c:v>132.12839</c:v>
                </c:pt>
                <c:pt idx="1693">
                  <c:v>130.66712999999999</c:v>
                </c:pt>
                <c:pt idx="1694">
                  <c:v>130.48822000000001</c:v>
                </c:pt>
                <c:pt idx="1695">
                  <c:v>132.16815</c:v>
                </c:pt>
                <c:pt idx="1696">
                  <c:v>137.13838000000001</c:v>
                </c:pt>
                <c:pt idx="1697">
                  <c:v>135.92563999999999</c:v>
                </c:pt>
                <c:pt idx="1698">
                  <c:v>137.75468000000001</c:v>
                </c:pt>
                <c:pt idx="1699">
                  <c:v>147.83429000000001</c:v>
                </c:pt>
                <c:pt idx="1700">
                  <c:v>146.27364</c:v>
                </c:pt>
                <c:pt idx="1701">
                  <c:v>143.80841000000001</c:v>
                </c:pt>
                <c:pt idx="1702">
                  <c:v>146.77065999999999</c:v>
                </c:pt>
                <c:pt idx="1703">
                  <c:v>147.49632</c:v>
                </c:pt>
                <c:pt idx="1704">
                  <c:v>146.05494999999999</c:v>
                </c:pt>
                <c:pt idx="1705">
                  <c:v>146.02511999999999</c:v>
                </c:pt>
                <c:pt idx="1706">
                  <c:v>147.40684999999999</c:v>
                </c:pt>
                <c:pt idx="1707">
                  <c:v>148.79850999999999</c:v>
                </c:pt>
                <c:pt idx="1708">
                  <c:v>150.73689999999999</c:v>
                </c:pt>
                <c:pt idx="1709">
                  <c:v>150.57785000000001</c:v>
                </c:pt>
                <c:pt idx="1710">
                  <c:v>150.67725999999999</c:v>
                </c:pt>
                <c:pt idx="1711">
                  <c:v>149.72296</c:v>
                </c:pt>
                <c:pt idx="1712">
                  <c:v>147.69513000000001</c:v>
                </c:pt>
                <c:pt idx="1713">
                  <c:v>147.39690999999999</c:v>
                </c:pt>
                <c:pt idx="1714">
                  <c:v>146.56190000000001</c:v>
                </c:pt>
                <c:pt idx="1715">
                  <c:v>146.78061</c:v>
                </c:pt>
                <c:pt idx="1716">
                  <c:v>145.33924999999999</c:v>
                </c:pt>
                <c:pt idx="1717">
                  <c:v>145.22989000000001</c:v>
                </c:pt>
                <c:pt idx="1718">
                  <c:v>146.71100999999999</c:v>
                </c:pt>
                <c:pt idx="1719">
                  <c:v>146.88</c:v>
                </c:pt>
                <c:pt idx="1720">
                  <c:v>146.38</c:v>
                </c:pt>
                <c:pt idx="1721">
                  <c:v>148.46</c:v>
                </c:pt>
                <c:pt idx="1722">
                  <c:v>147.72999999999999</c:v>
                </c:pt>
                <c:pt idx="1723">
                  <c:v>146.26</c:v>
                </c:pt>
                <c:pt idx="1724">
                  <c:v>146.15</c:v>
                </c:pt>
                <c:pt idx="1725">
                  <c:v>146.88</c:v>
                </c:pt>
                <c:pt idx="1726">
                  <c:v>144.68</c:v>
                </c:pt>
                <c:pt idx="1727">
                  <c:v>145.29</c:v>
                </c:pt>
                <c:pt idx="1728">
                  <c:v>145.69999999999999</c:v>
                </c:pt>
                <c:pt idx="1729">
                  <c:v>145.75</c:v>
                </c:pt>
                <c:pt idx="1730">
                  <c:v>143.77000000000001</c:v>
                </c:pt>
                <c:pt idx="1731">
                  <c:v>144.63</c:v>
                </c:pt>
                <c:pt idx="1732">
                  <c:v>148.19999999999999</c:v>
                </c:pt>
                <c:pt idx="1733">
                  <c:v>146.5</c:v>
                </c:pt>
                <c:pt idx="1734">
                  <c:v>145.65</c:v>
                </c:pt>
                <c:pt idx="1735">
                  <c:v>145.69999999999999</c:v>
                </c:pt>
                <c:pt idx="1736">
                  <c:v>145.4</c:v>
                </c:pt>
                <c:pt idx="1737">
                  <c:v>144.83000000000001</c:v>
                </c:pt>
                <c:pt idx="1738">
                  <c:v>144.62</c:v>
                </c:pt>
                <c:pt idx="1739">
                  <c:v>143.88</c:v>
                </c:pt>
                <c:pt idx="1740">
                  <c:v>145.19999999999999</c:v>
                </c:pt>
                <c:pt idx="1741">
                  <c:v>144.32</c:v>
                </c:pt>
                <c:pt idx="1742">
                  <c:v>145.12</c:v>
                </c:pt>
                <c:pt idx="1743">
                  <c:v>144.33000000000001</c:v>
                </c:pt>
                <c:pt idx="1744">
                  <c:v>143.56</c:v>
                </c:pt>
                <c:pt idx="1745">
                  <c:v>144.01</c:v>
                </c:pt>
                <c:pt idx="1746">
                  <c:v>142.19999999999999</c:v>
                </c:pt>
                <c:pt idx="1747">
                  <c:v>140.08000000000001</c:v>
                </c:pt>
                <c:pt idx="1748">
                  <c:v>135.9</c:v>
                </c:pt>
                <c:pt idx="1749">
                  <c:v>138.37</c:v>
                </c:pt>
                <c:pt idx="1750">
                  <c:v>136.06</c:v>
                </c:pt>
                <c:pt idx="1751">
                  <c:v>137.81</c:v>
                </c:pt>
                <c:pt idx="1752">
                  <c:v>138.31</c:v>
                </c:pt>
                <c:pt idx="1753">
                  <c:v>141.32</c:v>
                </c:pt>
                <c:pt idx="1754">
                  <c:v>144.72999999999999</c:v>
                </c:pt>
                <c:pt idx="1755">
                  <c:v>141.37</c:v>
                </c:pt>
                <c:pt idx="1756">
                  <c:v>142.69999999999999</c:v>
                </c:pt>
                <c:pt idx="1757">
                  <c:v>141.02000000000001</c:v>
                </c:pt>
                <c:pt idx="1758">
                  <c:v>142.59</c:v>
                </c:pt>
                <c:pt idx="1759">
                  <c:v>141.01</c:v>
                </c:pt>
                <c:pt idx="1760">
                  <c:v>141.85</c:v>
                </c:pt>
                <c:pt idx="1761">
                  <c:v>140.9</c:v>
                </c:pt>
                <c:pt idx="1762">
                  <c:v>139.54</c:v>
                </c:pt>
                <c:pt idx="1763">
                  <c:v>139.13999999999999</c:v>
                </c:pt>
                <c:pt idx="1764">
                  <c:v>141.30000000000001</c:v>
                </c:pt>
                <c:pt idx="1765">
                  <c:v>140.37</c:v>
                </c:pt>
                <c:pt idx="1766">
                  <c:v>138.97</c:v>
                </c:pt>
                <c:pt idx="1767">
                  <c:v>133.01</c:v>
                </c:pt>
                <c:pt idx="1768">
                  <c:v>128.19</c:v>
                </c:pt>
                <c:pt idx="1769">
                  <c:v>123.36</c:v>
                </c:pt>
                <c:pt idx="1770">
                  <c:v>118.04</c:v>
                </c:pt>
                <c:pt idx="1771">
                  <c:v>117.65</c:v>
                </c:pt>
                <c:pt idx="1772">
                  <c:v>119.98</c:v>
                </c:pt>
                <c:pt idx="1773">
                  <c:v>116.45</c:v>
                </c:pt>
                <c:pt idx="1774">
                  <c:v>119.18</c:v>
                </c:pt>
                <c:pt idx="1775">
                  <c:v>113.98</c:v>
                </c:pt>
                <c:pt idx="1776">
                  <c:v>115.27</c:v>
                </c:pt>
                <c:pt idx="1777">
                  <c:v>104.34999000000001</c:v>
                </c:pt>
                <c:pt idx="1778">
                  <c:v>111.46</c:v>
                </c:pt>
                <c:pt idx="1779">
                  <c:v>105.51</c:v>
                </c:pt>
                <c:pt idx="1780">
                  <c:v>91.81</c:v>
                </c:pt>
                <c:pt idx="1781">
                  <c:v>102.52</c:v>
                </c:pt>
                <c:pt idx="1782">
                  <c:v>95.009995000000004</c:v>
                </c:pt>
                <c:pt idx="1783">
                  <c:v>93.53</c:v>
                </c:pt>
                <c:pt idx="1784">
                  <c:v>88.8</c:v>
                </c:pt>
                <c:pt idx="1785">
                  <c:v>94.93</c:v>
                </c:pt>
                <c:pt idx="1786">
                  <c:v>85.98</c:v>
                </c:pt>
                <c:pt idx="1787">
                  <c:v>85.76</c:v>
                </c:pt>
                <c:pt idx="1788">
                  <c:v>98.12</c:v>
                </c:pt>
                <c:pt idx="1789">
                  <c:v>100.73</c:v>
                </c:pt>
                <c:pt idx="1790">
                  <c:v>105.35999</c:v>
                </c:pt>
                <c:pt idx="1791">
                  <c:v>96.4</c:v>
                </c:pt>
                <c:pt idx="1792">
                  <c:v>99.8</c:v>
                </c:pt>
                <c:pt idx="1793">
                  <c:v>96.599990000000005</c:v>
                </c:pt>
                <c:pt idx="1794">
                  <c:v>94.919989999999999</c:v>
                </c:pt>
                <c:pt idx="1795">
                  <c:v>96.97</c:v>
                </c:pt>
                <c:pt idx="1796">
                  <c:v>93.88</c:v>
                </c:pt>
                <c:pt idx="1797">
                  <c:v>99.58</c:v>
                </c:pt>
                <c:pt idx="1798">
                  <c:v>101.24</c:v>
                </c:pt>
                <c:pt idx="1799">
                  <c:v>101.07</c:v>
                </c:pt>
                <c:pt idx="1800">
                  <c:v>104.5</c:v>
                </c:pt>
                <c:pt idx="1801">
                  <c:v>103.5</c:v>
                </c:pt>
                <c:pt idx="1802">
                  <c:v>106.02999</c:v>
                </c:pt>
                <c:pt idx="1803">
                  <c:v>103.37</c:v>
                </c:pt>
                <c:pt idx="1804">
                  <c:v>102.02</c:v>
                </c:pt>
                <c:pt idx="1805">
                  <c:v>106.63</c:v>
                </c:pt>
                <c:pt idx="1806">
                  <c:v>102.259995</c:v>
                </c:pt>
                <c:pt idx="1807">
                  <c:v>100.53999</c:v>
                </c:pt>
                <c:pt idx="1808">
                  <c:v>100.99</c:v>
                </c:pt>
                <c:pt idx="1809">
                  <c:v>100.99999</c:v>
                </c:pt>
                <c:pt idx="1810">
                  <c:v>101.19</c:v>
                </c:pt>
                <c:pt idx="1811">
                  <c:v>106.06</c:v>
                </c:pt>
                <c:pt idx="1812">
                  <c:v>106.21</c:v>
                </c:pt>
                <c:pt idx="1813">
                  <c:v>112.25</c:v>
                </c:pt>
                <c:pt idx="1814">
                  <c:v>108.15</c:v>
                </c:pt>
                <c:pt idx="1815">
                  <c:v>105.5</c:v>
                </c:pt>
                <c:pt idx="1816">
                  <c:v>103.17999</c:v>
                </c:pt>
                <c:pt idx="1817">
                  <c:v>101.06</c:v>
                </c:pt>
                <c:pt idx="1818">
                  <c:v>100.88</c:v>
                </c:pt>
                <c:pt idx="1819">
                  <c:v>105.56999</c:v>
                </c:pt>
                <c:pt idx="1820">
                  <c:v>109.16</c:v>
                </c:pt>
                <c:pt idx="1821">
                  <c:v>107.77</c:v>
                </c:pt>
                <c:pt idx="1822">
                  <c:v>104.55999</c:v>
                </c:pt>
                <c:pt idx="1823">
                  <c:v>102.92</c:v>
                </c:pt>
                <c:pt idx="1824">
                  <c:v>105.91001</c:v>
                </c:pt>
                <c:pt idx="1825">
                  <c:v>109.049995</c:v>
                </c:pt>
                <c:pt idx="1826">
                  <c:v>116.85</c:v>
                </c:pt>
                <c:pt idx="1827">
                  <c:v>114.369995</c:v>
                </c:pt>
                <c:pt idx="1828">
                  <c:v>119.92</c:v>
                </c:pt>
                <c:pt idx="1829">
                  <c:v>117.83</c:v>
                </c:pt>
                <c:pt idx="1830">
                  <c:v>118.02</c:v>
                </c:pt>
                <c:pt idx="1831">
                  <c:v>120.94999</c:v>
                </c:pt>
                <c:pt idx="1832">
                  <c:v>121.53</c:v>
                </c:pt>
                <c:pt idx="1833">
                  <c:v>116.75</c:v>
                </c:pt>
                <c:pt idx="1834">
                  <c:v>117.3</c:v>
                </c:pt>
                <c:pt idx="1835">
                  <c:v>118.76999000000001</c:v>
                </c:pt>
                <c:pt idx="1836">
                  <c:v>118.75</c:v>
                </c:pt>
                <c:pt idx="1837">
                  <c:v>122.18</c:v>
                </c:pt>
                <c:pt idx="1838">
                  <c:v>123.69</c:v>
                </c:pt>
                <c:pt idx="1839">
                  <c:v>124.82</c:v>
                </c:pt>
                <c:pt idx="1840">
                  <c:v>127.28001</c:v>
                </c:pt>
                <c:pt idx="1841">
                  <c:v>123.88999</c:v>
                </c:pt>
                <c:pt idx="1842">
                  <c:v>122.18</c:v>
                </c:pt>
                <c:pt idx="1843">
                  <c:v>112.64</c:v>
                </c:pt>
                <c:pt idx="1844">
                  <c:v>115.49</c:v>
                </c:pt>
                <c:pt idx="1845">
                  <c:v>117.08</c:v>
                </c:pt>
                <c:pt idx="1846">
                  <c:v>118.439995</c:v>
                </c:pt>
                <c:pt idx="1847">
                  <c:v>117.65</c:v>
                </c:pt>
                <c:pt idx="1848">
                  <c:v>118.37</c:v>
                </c:pt>
                <c:pt idx="1849">
                  <c:v>114.35</c:v>
                </c:pt>
                <c:pt idx="1850">
                  <c:v>115.91999</c:v>
                </c:pt>
                <c:pt idx="1851">
                  <c:v>116.58999</c:v>
                </c:pt>
                <c:pt idx="1852">
                  <c:v>112.07</c:v>
                </c:pt>
                <c:pt idx="1853">
                  <c:v>111.36</c:v>
                </c:pt>
                <c:pt idx="1854">
                  <c:v>109.1</c:v>
                </c:pt>
                <c:pt idx="1855">
                  <c:v>111.520004</c:v>
                </c:pt>
                <c:pt idx="1856">
                  <c:v>111.51</c:v>
                </c:pt>
                <c:pt idx="1857">
                  <c:v>113.01</c:v>
                </c:pt>
                <c:pt idx="1858">
                  <c:v>112.18</c:v>
                </c:pt>
                <c:pt idx="1859">
                  <c:v>114.43</c:v>
                </c:pt>
                <c:pt idx="1860">
                  <c:v>113.63</c:v>
                </c:pt>
                <c:pt idx="1861">
                  <c:v>116.66</c:v>
                </c:pt>
                <c:pt idx="1862">
                  <c:v>116.81</c:v>
                </c:pt>
                <c:pt idx="1863">
                  <c:v>119.34</c:v>
                </c:pt>
                <c:pt idx="1864">
                  <c:v>116.21999</c:v>
                </c:pt>
                <c:pt idx="1865">
                  <c:v>118.66</c:v>
                </c:pt>
                <c:pt idx="1866">
                  <c:v>120.9</c:v>
                </c:pt>
                <c:pt idx="1867">
                  <c:v>119.43</c:v>
                </c:pt>
                <c:pt idx="1868">
                  <c:v>118.65000999999999</c:v>
                </c:pt>
                <c:pt idx="1869">
                  <c:v>117.79</c:v>
                </c:pt>
                <c:pt idx="1870">
                  <c:v>118.62</c:v>
                </c:pt>
                <c:pt idx="1871">
                  <c:v>119.03</c:v>
                </c:pt>
                <c:pt idx="1872">
                  <c:v>118.12</c:v>
                </c:pt>
                <c:pt idx="1873">
                  <c:v>117.61</c:v>
                </c:pt>
                <c:pt idx="1874">
                  <c:v>116.31</c:v>
                </c:pt>
                <c:pt idx="1875">
                  <c:v>116.18</c:v>
                </c:pt>
                <c:pt idx="1876">
                  <c:v>115.61</c:v>
                </c:pt>
                <c:pt idx="1877">
                  <c:v>115.66</c:v>
                </c:pt>
                <c:pt idx="1878">
                  <c:v>116.94</c:v>
                </c:pt>
                <c:pt idx="1879">
                  <c:v>116.35</c:v>
                </c:pt>
                <c:pt idx="1880">
                  <c:v>117.29</c:v>
                </c:pt>
                <c:pt idx="1881">
                  <c:v>127.61001</c:v>
                </c:pt>
                <c:pt idx="1882">
                  <c:v>130.82</c:v>
                </c:pt>
                <c:pt idx="1883">
                  <c:v>129.93</c:v>
                </c:pt>
                <c:pt idx="1884">
                  <c:v>128.79</c:v>
                </c:pt>
                <c:pt idx="1885">
                  <c:v>130.49</c:v>
                </c:pt>
                <c:pt idx="1886">
                  <c:v>131.79</c:v>
                </c:pt>
                <c:pt idx="1887">
                  <c:v>130.96</c:v>
                </c:pt>
                <c:pt idx="1888">
                  <c:v>130.53</c:v>
                </c:pt>
                <c:pt idx="1889">
                  <c:v>129.37</c:v>
                </c:pt>
                <c:pt idx="1890">
                  <c:v>128.91999999999999</c:v>
                </c:pt>
                <c:pt idx="1891">
                  <c:v>127.77</c:v>
                </c:pt>
                <c:pt idx="1892">
                  <c:v>128.12</c:v>
                </c:pt>
                <c:pt idx="1893">
                  <c:v>127.44</c:v>
                </c:pt>
                <c:pt idx="1894">
                  <c:v>130.69</c:v>
                </c:pt>
                <c:pt idx="1895">
                  <c:v>129.79</c:v>
                </c:pt>
                <c:pt idx="1896">
                  <c:v>132.18</c:v>
                </c:pt>
                <c:pt idx="1897">
                  <c:v>133.72999999999999</c:v>
                </c:pt>
                <c:pt idx="1898">
                  <c:v>135.54</c:v>
                </c:pt>
                <c:pt idx="1899">
                  <c:v>131.87</c:v>
                </c:pt>
                <c:pt idx="1900">
                  <c:v>133.55000000000001</c:v>
                </c:pt>
                <c:pt idx="1901">
                  <c:v>135.38999999999999</c:v>
                </c:pt>
                <c:pt idx="1902">
                  <c:v>133.24</c:v>
                </c:pt>
                <c:pt idx="1903">
                  <c:v>131.99</c:v>
                </c:pt>
                <c:pt idx="1904">
                  <c:v>134.19999999999999</c:v>
                </c:pt>
                <c:pt idx="1905">
                  <c:v>133.36000000000001</c:v>
                </c:pt>
                <c:pt idx="1906">
                  <c:v>133.22</c:v>
                </c:pt>
                <c:pt idx="1907">
                  <c:v>131.75</c:v>
                </c:pt>
                <c:pt idx="1908">
                  <c:v>131.25</c:v>
                </c:pt>
                <c:pt idx="1909">
                  <c:v>131.24</c:v>
                </c:pt>
                <c:pt idx="1910">
                  <c:v>132.09</c:v>
                </c:pt>
                <c:pt idx="1911">
                  <c:v>130.22</c:v>
                </c:pt>
                <c:pt idx="1912">
                  <c:v>128.63</c:v>
                </c:pt>
                <c:pt idx="1913">
                  <c:v>125.41</c:v>
                </c:pt>
                <c:pt idx="1914">
                  <c:v>127.21</c:v>
                </c:pt>
                <c:pt idx="1915">
                  <c:v>123.28</c:v>
                </c:pt>
                <c:pt idx="1916">
                  <c:v>122.49</c:v>
                </c:pt>
                <c:pt idx="1917">
                  <c:v>124</c:v>
                </c:pt>
                <c:pt idx="1918">
                  <c:v>125.99</c:v>
                </c:pt>
                <c:pt idx="1919">
                  <c:v>125.4</c:v>
                </c:pt>
                <c:pt idx="1920">
                  <c:v>124.08</c:v>
                </c:pt>
                <c:pt idx="1921">
                  <c:v>123.31</c:v>
                </c:pt>
                <c:pt idx="1922">
                  <c:v>122.549995</c:v>
                </c:pt>
                <c:pt idx="1923">
                  <c:v>123.37</c:v>
                </c:pt>
                <c:pt idx="1924">
                  <c:v>120.93</c:v>
                </c:pt>
                <c:pt idx="1925">
                  <c:v>122.91</c:v>
                </c:pt>
                <c:pt idx="1926">
                  <c:v>123.08999</c:v>
                </c:pt>
                <c:pt idx="1927">
                  <c:v>124.98000999999999</c:v>
                </c:pt>
                <c:pt idx="1928">
                  <c:v>124.97</c:v>
                </c:pt>
                <c:pt idx="1929">
                  <c:v>128.96</c:v>
                </c:pt>
                <c:pt idx="1930">
                  <c:v>126.59</c:v>
                </c:pt>
                <c:pt idx="1931">
                  <c:v>127.36001</c:v>
                </c:pt>
                <c:pt idx="1932">
                  <c:v>126.810005</c:v>
                </c:pt>
                <c:pt idx="1933">
                  <c:v>124.23</c:v>
                </c:pt>
                <c:pt idx="1934">
                  <c:v>124.95</c:v>
                </c:pt>
                <c:pt idx="1935">
                  <c:v>126.63</c:v>
                </c:pt>
                <c:pt idx="1936">
                  <c:v>127.56</c:v>
                </c:pt>
                <c:pt idx="1937">
                  <c:v>128.35</c:v>
                </c:pt>
                <c:pt idx="1938">
                  <c:v>124.06</c:v>
                </c:pt>
                <c:pt idx="1939">
                  <c:v>123.31</c:v>
                </c:pt>
                <c:pt idx="1940">
                  <c:v>118.47</c:v>
                </c:pt>
                <c:pt idx="1941">
                  <c:v>121.53999</c:v>
                </c:pt>
                <c:pt idx="1942">
                  <c:v>121.25</c:v>
                </c:pt>
                <c:pt idx="1943">
                  <c:v>120.13</c:v>
                </c:pt>
                <c:pt idx="1944">
                  <c:v>124.02</c:v>
                </c:pt>
                <c:pt idx="1945">
                  <c:v>125.07</c:v>
                </c:pt>
                <c:pt idx="1946">
                  <c:v>126.96</c:v>
                </c:pt>
                <c:pt idx="1947">
                  <c:v>127.46</c:v>
                </c:pt>
                <c:pt idx="1948">
                  <c:v>142.59</c:v>
                </c:pt>
                <c:pt idx="1949">
                  <c:v>142.11000000000001</c:v>
                </c:pt>
                <c:pt idx="1950">
                  <c:v>137.82</c:v>
                </c:pt>
                <c:pt idx="1951">
                  <c:v>135.52000000000001</c:v>
                </c:pt>
                <c:pt idx="1952">
                  <c:v>138.36000000000001</c:v>
                </c:pt>
                <c:pt idx="1953">
                  <c:v>144.66999999999999</c:v>
                </c:pt>
                <c:pt idx="1954">
                  <c:v>144.5</c:v>
                </c:pt>
                <c:pt idx="1955">
                  <c:v>143.9</c:v>
                </c:pt>
                <c:pt idx="1956">
                  <c:v>141.72</c:v>
                </c:pt>
                <c:pt idx="1957">
                  <c:v>141.07</c:v>
                </c:pt>
                <c:pt idx="1958">
                  <c:v>145.97999999999999</c:v>
                </c:pt>
                <c:pt idx="1959">
                  <c:v>151.49</c:v>
                </c:pt>
                <c:pt idx="1960">
                  <c:v>149.09</c:v>
                </c:pt>
                <c:pt idx="1961">
                  <c:v>147.13</c:v>
                </c:pt>
                <c:pt idx="1962">
                  <c:v>148.01</c:v>
                </c:pt>
                <c:pt idx="1963">
                  <c:v>149.44</c:v>
                </c:pt>
                <c:pt idx="1964">
                  <c:v>153.61000000000001</c:v>
                </c:pt>
                <c:pt idx="1965">
                  <c:v>153.24</c:v>
                </c:pt>
                <c:pt idx="1966">
                  <c:v>154.13999999999999</c:v>
                </c:pt>
                <c:pt idx="1967">
                  <c:v>153.68</c:v>
                </c:pt>
                <c:pt idx="1968">
                  <c:v>153.72</c:v>
                </c:pt>
                <c:pt idx="1969">
                  <c:v>154.43</c:v>
                </c:pt>
                <c:pt idx="1970">
                  <c:v>154.69</c:v>
                </c:pt>
                <c:pt idx="1971">
                  <c:v>175.72</c:v>
                </c:pt>
                <c:pt idx="1972">
                  <c:v>169.29999000000001</c:v>
                </c:pt>
                <c:pt idx="1973">
                  <c:v>173.94</c:v>
                </c:pt>
                <c:pt idx="1974">
                  <c:v>173.12</c:v>
                </c:pt>
                <c:pt idx="1975">
                  <c:v>173.54999000000001</c:v>
                </c:pt>
                <c:pt idx="1976">
                  <c:v>172.89</c:v>
                </c:pt>
                <c:pt idx="1977">
                  <c:v>170.68998999999999</c:v>
                </c:pt>
                <c:pt idx="1978">
                  <c:v>170.45</c:v>
                </c:pt>
                <c:pt idx="1979">
                  <c:v>173.54999000000001</c:v>
                </c:pt>
                <c:pt idx="1980">
                  <c:v>173.73</c:v>
                </c:pt>
                <c:pt idx="1981">
                  <c:v>178.85999000000001</c:v>
                </c:pt>
                <c:pt idx="1982">
                  <c:v>177.3</c:v>
                </c:pt>
                <c:pt idx="1983">
                  <c:v>181.16998000000001</c:v>
                </c:pt>
                <c:pt idx="1984">
                  <c:v>181.18</c:v>
                </c:pt>
                <c:pt idx="1985">
                  <c:v>177.67998</c:v>
                </c:pt>
                <c:pt idx="1986">
                  <c:v>178.43998999999999</c:v>
                </c:pt>
                <c:pt idx="1987">
                  <c:v>179.11998</c:v>
                </c:pt>
                <c:pt idx="1988">
                  <c:v>178.58</c:v>
                </c:pt>
                <c:pt idx="1989">
                  <c:v>178.69</c:v>
                </c:pt>
                <c:pt idx="1990">
                  <c:v>179.09</c:v>
                </c:pt>
                <c:pt idx="1991">
                  <c:v>175.99</c:v>
                </c:pt>
                <c:pt idx="1992">
                  <c:v>176.12</c:v>
                </c:pt>
                <c:pt idx="1993">
                  <c:v>173.43</c:v>
                </c:pt>
                <c:pt idx="1994">
                  <c:v>171.44</c:v>
                </c:pt>
                <c:pt idx="1995">
                  <c:v>172.26</c:v>
                </c:pt>
                <c:pt idx="1996">
                  <c:v>173.64</c:v>
                </c:pt>
                <c:pt idx="1997">
                  <c:v>171.28</c:v>
                </c:pt>
                <c:pt idx="1998">
                  <c:v>172.78</c:v>
                </c:pt>
                <c:pt idx="1999">
                  <c:v>171.89</c:v>
                </c:pt>
                <c:pt idx="2000">
                  <c:v>169.55998</c:v>
                </c:pt>
                <c:pt idx="2001">
                  <c:v>163.03</c:v>
                </c:pt>
                <c:pt idx="2002">
                  <c:v>171.88</c:v>
                </c:pt>
                <c:pt idx="2003">
                  <c:v>168.16998000000001</c:v>
                </c:pt>
                <c:pt idx="2004">
                  <c:v>170.97</c:v>
                </c:pt>
                <c:pt idx="2005">
                  <c:v>176.96</c:v>
                </c:pt>
                <c:pt idx="2006">
                  <c:v>176.43</c:v>
                </c:pt>
                <c:pt idx="2007">
                  <c:v>180.23</c:v>
                </c:pt>
                <c:pt idx="2008">
                  <c:v>181.16</c:v>
                </c:pt>
                <c:pt idx="2009">
                  <c:v>190</c:v>
                </c:pt>
                <c:pt idx="2010">
                  <c:v>188.20999</c:v>
                </c:pt>
                <c:pt idx="2011">
                  <c:v>189.62998999999999</c:v>
                </c:pt>
                <c:pt idx="2012">
                  <c:v>190.91</c:v>
                </c:pt>
                <c:pt idx="2013">
                  <c:v>187.67</c:v>
                </c:pt>
                <c:pt idx="2014">
                  <c:v>186.35</c:v>
                </c:pt>
                <c:pt idx="2015">
                  <c:v>186.44</c:v>
                </c:pt>
                <c:pt idx="2016">
                  <c:v>183</c:v>
                </c:pt>
                <c:pt idx="2017">
                  <c:v>183.65</c:v>
                </c:pt>
                <c:pt idx="2018">
                  <c:v>191.75998000000001</c:v>
                </c:pt>
                <c:pt idx="2019">
                  <c:v>197.08998</c:v>
                </c:pt>
                <c:pt idx="2020">
                  <c:v>197.50998000000001</c:v>
                </c:pt>
                <c:pt idx="2021">
                  <c:v>190.98</c:v>
                </c:pt>
                <c:pt idx="2022">
                  <c:v>189.04</c:v>
                </c:pt>
                <c:pt idx="2023">
                  <c:v>194.98</c:v>
                </c:pt>
                <c:pt idx="2024">
                  <c:v>193.94</c:v>
                </c:pt>
                <c:pt idx="2025">
                  <c:v>192.25998000000001</c:v>
                </c:pt>
                <c:pt idx="2026">
                  <c:v>188.03</c:v>
                </c:pt>
                <c:pt idx="2027">
                  <c:v>189.98999000000001</c:v>
                </c:pt>
                <c:pt idx="2028">
                  <c:v>201.91</c:v>
                </c:pt>
                <c:pt idx="2029">
                  <c:v>194.51</c:v>
                </c:pt>
                <c:pt idx="2030">
                  <c:v>195.06</c:v>
                </c:pt>
                <c:pt idx="2031">
                  <c:v>196.75</c:v>
                </c:pt>
                <c:pt idx="2032">
                  <c:v>197.16</c:v>
                </c:pt>
                <c:pt idx="2033">
                  <c:v>196.76</c:v>
                </c:pt>
                <c:pt idx="2034">
                  <c:v>194.24</c:v>
                </c:pt>
                <c:pt idx="2035">
                  <c:v>195.24</c:v>
                </c:pt>
                <c:pt idx="2036">
                  <c:v>192.27997999999999</c:v>
                </c:pt>
                <c:pt idx="2037">
                  <c:v>191.14</c:v>
                </c:pt>
                <c:pt idx="2038">
                  <c:v>192.85999000000001</c:v>
                </c:pt>
                <c:pt idx="2039">
                  <c:v>188.73</c:v>
                </c:pt>
                <c:pt idx="2040">
                  <c:v>184.72</c:v>
                </c:pt>
                <c:pt idx="2041">
                  <c:v>186.91</c:v>
                </c:pt>
                <c:pt idx="2042">
                  <c:v>185.92</c:v>
                </c:pt>
                <c:pt idx="2043">
                  <c:v>184.85</c:v>
                </c:pt>
                <c:pt idx="2044">
                  <c:v>185.52997999999999</c:v>
                </c:pt>
                <c:pt idx="2045">
                  <c:v>184.52</c:v>
                </c:pt>
                <c:pt idx="2046">
                  <c:v>188.96999</c:v>
                </c:pt>
                <c:pt idx="2047">
                  <c:v>188.49997999999999</c:v>
                </c:pt>
                <c:pt idx="2048">
                  <c:v>189.73</c:v>
                </c:pt>
                <c:pt idx="2049">
                  <c:v>187.56</c:v>
                </c:pt>
                <c:pt idx="2050">
                  <c:v>187.32</c:v>
                </c:pt>
                <c:pt idx="2051">
                  <c:v>187.89</c:v>
                </c:pt>
                <c:pt idx="2052">
                  <c:v>186.49</c:v>
                </c:pt>
                <c:pt idx="2053">
                  <c:v>185.49</c:v>
                </c:pt>
                <c:pt idx="2054">
                  <c:v>187.46</c:v>
                </c:pt>
                <c:pt idx="2055">
                  <c:v>185.93001000000001</c:v>
                </c:pt>
                <c:pt idx="2056">
                  <c:v>187.26</c:v>
                </c:pt>
                <c:pt idx="2057">
                  <c:v>187.43001000000001</c:v>
                </c:pt>
                <c:pt idx="2058">
                  <c:v>182.79</c:v>
                </c:pt>
                <c:pt idx="2059">
                  <c:v>183.10999000000001</c:v>
                </c:pt>
                <c:pt idx="2060">
                  <c:v>182.76</c:v>
                </c:pt>
                <c:pt idx="2061">
                  <c:v>183.02</c:v>
                </c:pt>
                <c:pt idx="2062">
                  <c:v>184.26999000000001</c:v>
                </c:pt>
                <c:pt idx="2063">
                  <c:v>184.63998000000001</c:v>
                </c:pt>
                <c:pt idx="2064">
                  <c:v>183.39</c:v>
                </c:pt>
                <c:pt idx="2065">
                  <c:v>185.33</c:v>
                </c:pt>
                <c:pt idx="2066">
                  <c:v>186.01999000000001</c:v>
                </c:pt>
                <c:pt idx="2067">
                  <c:v>185.51000999999999</c:v>
                </c:pt>
                <c:pt idx="2068">
                  <c:v>184.25</c:v>
                </c:pt>
                <c:pt idx="2069">
                  <c:v>181.51</c:v>
                </c:pt>
                <c:pt idx="2070">
                  <c:v>181.79</c:v>
                </c:pt>
                <c:pt idx="2071">
                  <c:v>184.84</c:v>
                </c:pt>
                <c:pt idx="2072">
                  <c:v>184.3</c:v>
                </c:pt>
                <c:pt idx="2073">
                  <c:v>181.66998000000001</c:v>
                </c:pt>
                <c:pt idx="2074">
                  <c:v>177.84998999999999</c:v>
                </c:pt>
                <c:pt idx="2075">
                  <c:v>178.34</c:v>
                </c:pt>
                <c:pt idx="2076">
                  <c:v>173.7</c:v>
                </c:pt>
                <c:pt idx="2077">
                  <c:v>170.07999000000001</c:v>
                </c:pt>
                <c:pt idx="2078">
                  <c:v>169.68</c:v>
                </c:pt>
                <c:pt idx="2079">
                  <c:v>169.26999000000001</c:v>
                </c:pt>
                <c:pt idx="2080">
                  <c:v>171.36</c:v>
                </c:pt>
                <c:pt idx="2081">
                  <c:v>172.40001000000001</c:v>
                </c:pt>
                <c:pt idx="2082">
                  <c:v>174.31</c:v>
                </c:pt>
                <c:pt idx="2083">
                  <c:v>176.17</c:v>
                </c:pt>
                <c:pt idx="2084">
                  <c:v>176.46999</c:v>
                </c:pt>
                <c:pt idx="2085">
                  <c:v>179.04</c:v>
                </c:pt>
                <c:pt idx="2086">
                  <c:v>178.65001000000001</c:v>
                </c:pt>
                <c:pt idx="2087">
                  <c:v>178.84</c:v>
                </c:pt>
                <c:pt idx="2088">
                  <c:v>177</c:v>
                </c:pt>
                <c:pt idx="2089">
                  <c:v>176.24</c:v>
                </c:pt>
                <c:pt idx="2090">
                  <c:v>177.18001000000001</c:v>
                </c:pt>
                <c:pt idx="2091">
                  <c:v>176.98999000000001</c:v>
                </c:pt>
                <c:pt idx="2092">
                  <c:v>176.33</c:v>
                </c:pt>
                <c:pt idx="2093">
                  <c:v>176.04</c:v>
                </c:pt>
                <c:pt idx="2094">
                  <c:v>176.56998999999999</c:v>
                </c:pt>
                <c:pt idx="2095">
                  <c:v>177.37998999999999</c:v>
                </c:pt>
                <c:pt idx="2096">
                  <c:v>178.18001000000001</c:v>
                </c:pt>
                <c:pt idx="2097">
                  <c:v>175.86</c:v>
                </c:pt>
                <c:pt idx="2098">
                  <c:v>174.66</c:v>
                </c:pt>
                <c:pt idx="2099">
                  <c:v>174.65</c:v>
                </c:pt>
                <c:pt idx="2100">
                  <c:v>172.42</c:v>
                </c:pt>
                <c:pt idx="2101">
                  <c:v>173.96999</c:v>
                </c:pt>
                <c:pt idx="2102">
                  <c:v>173.49997999999999</c:v>
                </c:pt>
                <c:pt idx="2103">
                  <c:v>175.33</c:v>
                </c:pt>
                <c:pt idx="2104">
                  <c:v>177.93</c:v>
                </c:pt>
                <c:pt idx="2105">
                  <c:v>178.34998999999999</c:v>
                </c:pt>
                <c:pt idx="2106">
                  <c:v>176.56998999999999</c:v>
                </c:pt>
                <c:pt idx="2107">
                  <c:v>173.93</c:v>
                </c:pt>
                <c:pt idx="2108">
                  <c:v>175.77</c:v>
                </c:pt>
                <c:pt idx="2109">
                  <c:v>177.26000999999999</c:v>
                </c:pt>
              </c:numCache>
            </c:numRef>
          </c:val>
          <c:smooth val="0"/>
          <c:extLst>
            <c:ext xmlns:c16="http://schemas.microsoft.com/office/drawing/2014/chart" uri="{C3380CC4-5D6E-409C-BE32-E72D297353CC}">
              <c16:uniqueId val="{00000000-B998-C442-B095-CD8526EFFC4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51.264316999999998</c:v>
                </c:pt>
                <c:pt idx="1">
                  <c:v>50.927536000000003</c:v>
                </c:pt>
                <c:pt idx="2">
                  <c:v>51.904842000000002</c:v>
                </c:pt>
                <c:pt idx="3">
                  <c:v>51.840412000000001</c:v>
                </c:pt>
                <c:pt idx="4">
                  <c:v>51.384189999999997</c:v>
                </c:pt>
                <c:pt idx="5">
                  <c:v>50.908090000000001</c:v>
                </c:pt>
                <c:pt idx="6">
                  <c:v>50.70196</c:v>
                </c:pt>
                <c:pt idx="7">
                  <c:v>50.668930000000003</c:v>
                </c:pt>
                <c:pt idx="8">
                  <c:v>50.511462999999999</c:v>
                </c:pt>
                <c:pt idx="9">
                  <c:v>50.513027000000001</c:v>
                </c:pt>
                <c:pt idx="10">
                  <c:v>50.641779999999997</c:v>
                </c:pt>
                <c:pt idx="11">
                  <c:v>50.976776000000001</c:v>
                </c:pt>
                <c:pt idx="12">
                  <c:v>51.144629999999999</c:v>
                </c:pt>
                <c:pt idx="13">
                  <c:v>51.457320000000003</c:v>
                </c:pt>
                <c:pt idx="14">
                  <c:v>51.714413</c:v>
                </c:pt>
                <c:pt idx="15">
                  <c:v>51.583950000000002</c:v>
                </c:pt>
                <c:pt idx="16">
                  <c:v>51.843018000000001</c:v>
                </c:pt>
                <c:pt idx="17">
                  <c:v>52.260525000000001</c:v>
                </c:pt>
                <c:pt idx="18">
                  <c:v>52.535069999999997</c:v>
                </c:pt>
                <c:pt idx="19">
                  <c:v>52.586337999999998</c:v>
                </c:pt>
                <c:pt idx="20">
                  <c:v>52.638503999999998</c:v>
                </c:pt>
                <c:pt idx="21">
                  <c:v>53.612484000000002</c:v>
                </c:pt>
                <c:pt idx="22">
                  <c:v>53.673670000000001</c:v>
                </c:pt>
                <c:pt idx="23">
                  <c:v>53.743029999999997</c:v>
                </c:pt>
                <c:pt idx="24">
                  <c:v>53.730870000000003</c:v>
                </c:pt>
                <c:pt idx="25">
                  <c:v>53.109107999999999</c:v>
                </c:pt>
                <c:pt idx="26">
                  <c:v>52.862892000000002</c:v>
                </c:pt>
                <c:pt idx="27">
                  <c:v>52.896275000000003</c:v>
                </c:pt>
                <c:pt idx="28">
                  <c:v>52.847855000000003</c:v>
                </c:pt>
                <c:pt idx="29">
                  <c:v>52.792189999999998</c:v>
                </c:pt>
                <c:pt idx="30">
                  <c:v>52.716639999999998</c:v>
                </c:pt>
                <c:pt idx="31">
                  <c:v>52.795726999999999</c:v>
                </c:pt>
                <c:pt idx="32">
                  <c:v>52.832225999999999</c:v>
                </c:pt>
                <c:pt idx="33">
                  <c:v>52.945895999999998</c:v>
                </c:pt>
                <c:pt idx="34">
                  <c:v>52.981772999999997</c:v>
                </c:pt>
                <c:pt idx="35">
                  <c:v>52.942492999999999</c:v>
                </c:pt>
                <c:pt idx="36">
                  <c:v>53.318474000000002</c:v>
                </c:pt>
                <c:pt idx="37">
                  <c:v>53.664454999999997</c:v>
                </c:pt>
                <c:pt idx="38">
                  <c:v>54.02337</c:v>
                </c:pt>
                <c:pt idx="39">
                  <c:v>54.415301999999997</c:v>
                </c:pt>
                <c:pt idx="40">
                  <c:v>54.622660000000003</c:v>
                </c:pt>
                <c:pt idx="41">
                  <c:v>54.757908</c:v>
                </c:pt>
                <c:pt idx="42">
                  <c:v>54.958129999999997</c:v>
                </c:pt>
                <c:pt idx="43">
                  <c:v>54.937587999999998</c:v>
                </c:pt>
                <c:pt idx="44">
                  <c:v>54.601967000000002</c:v>
                </c:pt>
                <c:pt idx="45">
                  <c:v>54.383377000000003</c:v>
                </c:pt>
                <c:pt idx="46">
                  <c:v>53.941276999999999</c:v>
                </c:pt>
                <c:pt idx="47">
                  <c:v>53.610335999999997</c:v>
                </c:pt>
                <c:pt idx="48">
                  <c:v>53.459139999999998</c:v>
                </c:pt>
                <c:pt idx="49">
                  <c:v>53.419094000000001</c:v>
                </c:pt>
                <c:pt idx="50">
                  <c:v>53.374637999999997</c:v>
                </c:pt>
                <c:pt idx="51">
                  <c:v>53.381250000000001</c:v>
                </c:pt>
                <c:pt idx="52">
                  <c:v>53.682169999999999</c:v>
                </c:pt>
                <c:pt idx="53">
                  <c:v>53.712980000000002</c:v>
                </c:pt>
                <c:pt idx="54">
                  <c:v>53.651553999999997</c:v>
                </c:pt>
                <c:pt idx="55">
                  <c:v>54.578125</c:v>
                </c:pt>
                <c:pt idx="56">
                  <c:v>55.381630000000001</c:v>
                </c:pt>
                <c:pt idx="57">
                  <c:v>55.747340000000001</c:v>
                </c:pt>
                <c:pt idx="58">
                  <c:v>57.063896</c:v>
                </c:pt>
                <c:pt idx="59">
                  <c:v>57.321379999999998</c:v>
                </c:pt>
                <c:pt idx="60">
                  <c:v>57.142646999999997</c:v>
                </c:pt>
                <c:pt idx="61">
                  <c:v>56.607047999999999</c:v>
                </c:pt>
                <c:pt idx="62">
                  <c:v>56.569904000000001</c:v>
                </c:pt>
                <c:pt idx="63">
                  <c:v>56.564064000000002</c:v>
                </c:pt>
                <c:pt idx="64">
                  <c:v>56.522033999999998</c:v>
                </c:pt>
                <c:pt idx="65">
                  <c:v>56.777790000000003</c:v>
                </c:pt>
                <c:pt idx="66">
                  <c:v>56.649124</c:v>
                </c:pt>
                <c:pt idx="67">
                  <c:v>56.639670000000002</c:v>
                </c:pt>
                <c:pt idx="68">
                  <c:v>56.647537</c:v>
                </c:pt>
                <c:pt idx="69">
                  <c:v>56.574097000000002</c:v>
                </c:pt>
                <c:pt idx="70">
                  <c:v>56.66442</c:v>
                </c:pt>
                <c:pt idx="71">
                  <c:v>56.758189999999999</c:v>
                </c:pt>
                <c:pt idx="72">
                  <c:v>56.633052999999997</c:v>
                </c:pt>
                <c:pt idx="73">
                  <c:v>57.083629999999999</c:v>
                </c:pt>
                <c:pt idx="74">
                  <c:v>57.282829999999997</c:v>
                </c:pt>
                <c:pt idx="75">
                  <c:v>57.22081</c:v>
                </c:pt>
                <c:pt idx="76">
                  <c:v>57.067912999999997</c:v>
                </c:pt>
                <c:pt idx="77">
                  <c:v>56.781371999999998</c:v>
                </c:pt>
                <c:pt idx="78">
                  <c:v>56.670025000000003</c:v>
                </c:pt>
                <c:pt idx="79">
                  <c:v>56.738083000000003</c:v>
                </c:pt>
                <c:pt idx="80">
                  <c:v>58.643307</c:v>
                </c:pt>
                <c:pt idx="81">
                  <c:v>56.495510000000003</c:v>
                </c:pt>
                <c:pt idx="82">
                  <c:v>56.245753999999998</c:v>
                </c:pt>
                <c:pt idx="83">
                  <c:v>56.256667999999998</c:v>
                </c:pt>
                <c:pt idx="84">
                  <c:v>56.239277000000001</c:v>
                </c:pt>
                <c:pt idx="85">
                  <c:v>56.280746000000001</c:v>
                </c:pt>
                <c:pt idx="86">
                  <c:v>56.284733000000003</c:v>
                </c:pt>
                <c:pt idx="87">
                  <c:v>55.911490000000001</c:v>
                </c:pt>
                <c:pt idx="88">
                  <c:v>55.774700000000003</c:v>
                </c:pt>
                <c:pt idx="89">
                  <c:v>56.055523000000001</c:v>
                </c:pt>
                <c:pt idx="90">
                  <c:v>55.638927000000002</c:v>
                </c:pt>
                <c:pt idx="91">
                  <c:v>55.388804999999998</c:v>
                </c:pt>
                <c:pt idx="92">
                  <c:v>55.123710000000003</c:v>
                </c:pt>
                <c:pt idx="93">
                  <c:v>54.881583999999997</c:v>
                </c:pt>
                <c:pt idx="94">
                  <c:v>55.30012</c:v>
                </c:pt>
                <c:pt idx="95">
                  <c:v>55.543999999999997</c:v>
                </c:pt>
                <c:pt idx="96">
                  <c:v>55.661290000000001</c:v>
                </c:pt>
                <c:pt idx="97">
                  <c:v>55.334026000000001</c:v>
                </c:pt>
                <c:pt idx="98">
                  <c:v>55.179209999999998</c:v>
                </c:pt>
                <c:pt idx="99">
                  <c:v>55.353839999999998</c:v>
                </c:pt>
                <c:pt idx="100">
                  <c:v>55.404223999999999</c:v>
                </c:pt>
                <c:pt idx="101">
                  <c:v>55.454098000000002</c:v>
                </c:pt>
                <c:pt idx="102">
                  <c:v>56.046393999999999</c:v>
                </c:pt>
                <c:pt idx="103">
                  <c:v>56.340553</c:v>
                </c:pt>
                <c:pt idx="104">
                  <c:v>56.574530000000003</c:v>
                </c:pt>
                <c:pt idx="105">
                  <c:v>56.856808000000001</c:v>
                </c:pt>
                <c:pt idx="106">
                  <c:v>57.115135000000002</c:v>
                </c:pt>
                <c:pt idx="107">
                  <c:v>57.197150000000001</c:v>
                </c:pt>
                <c:pt idx="108">
                  <c:v>57.380850000000002</c:v>
                </c:pt>
                <c:pt idx="109">
                  <c:v>57.550021999999998</c:v>
                </c:pt>
                <c:pt idx="110">
                  <c:v>57.458919999999999</c:v>
                </c:pt>
                <c:pt idx="111">
                  <c:v>57.303963000000003</c:v>
                </c:pt>
                <c:pt idx="112">
                  <c:v>57.235004000000004</c:v>
                </c:pt>
                <c:pt idx="113">
                  <c:v>57.151789999999998</c:v>
                </c:pt>
                <c:pt idx="114">
                  <c:v>56.898389999999999</c:v>
                </c:pt>
                <c:pt idx="115">
                  <c:v>56.831775999999998</c:v>
                </c:pt>
                <c:pt idx="116">
                  <c:v>57.025190000000002</c:v>
                </c:pt>
                <c:pt idx="117">
                  <c:v>57.377519999999997</c:v>
                </c:pt>
                <c:pt idx="118">
                  <c:v>57.605415000000001</c:v>
                </c:pt>
                <c:pt idx="119">
                  <c:v>57.877834</c:v>
                </c:pt>
                <c:pt idx="120">
                  <c:v>58.519913000000003</c:v>
                </c:pt>
                <c:pt idx="121">
                  <c:v>59.690136000000003</c:v>
                </c:pt>
                <c:pt idx="122">
                  <c:v>60.067349999999998</c:v>
                </c:pt>
                <c:pt idx="123">
                  <c:v>60.053576999999997</c:v>
                </c:pt>
                <c:pt idx="124">
                  <c:v>59.904530000000001</c:v>
                </c:pt>
                <c:pt idx="125">
                  <c:v>59.62133</c:v>
                </c:pt>
                <c:pt idx="126">
                  <c:v>59.206417000000002</c:v>
                </c:pt>
                <c:pt idx="127">
                  <c:v>58.878540000000001</c:v>
                </c:pt>
                <c:pt idx="128">
                  <c:v>58.552086000000003</c:v>
                </c:pt>
                <c:pt idx="129">
                  <c:v>57.955120000000001</c:v>
                </c:pt>
                <c:pt idx="130">
                  <c:v>57.467055999999999</c:v>
                </c:pt>
                <c:pt idx="131">
                  <c:v>57.118389999999998</c:v>
                </c:pt>
                <c:pt idx="132">
                  <c:v>56.841149999999999</c:v>
                </c:pt>
                <c:pt idx="133">
                  <c:v>56.66234</c:v>
                </c:pt>
                <c:pt idx="134">
                  <c:v>56.369464999999998</c:v>
                </c:pt>
                <c:pt idx="135">
                  <c:v>56.099243000000001</c:v>
                </c:pt>
                <c:pt idx="136">
                  <c:v>56.059826000000001</c:v>
                </c:pt>
                <c:pt idx="137">
                  <c:v>55.922370000000001</c:v>
                </c:pt>
                <c:pt idx="138">
                  <c:v>55.648266</c:v>
                </c:pt>
                <c:pt idx="139">
                  <c:v>55.674729999999997</c:v>
                </c:pt>
                <c:pt idx="140">
                  <c:v>56.661810000000003</c:v>
                </c:pt>
                <c:pt idx="141">
                  <c:v>56.995773</c:v>
                </c:pt>
                <c:pt idx="142">
                  <c:v>57.067977999999997</c:v>
                </c:pt>
                <c:pt idx="143">
                  <c:v>57.357199999999999</c:v>
                </c:pt>
                <c:pt idx="144">
                  <c:v>57.979557</c:v>
                </c:pt>
                <c:pt idx="145">
                  <c:v>58.545276999999999</c:v>
                </c:pt>
                <c:pt idx="146">
                  <c:v>60.172020000000003</c:v>
                </c:pt>
                <c:pt idx="147">
                  <c:v>60.718612999999998</c:v>
                </c:pt>
                <c:pt idx="148">
                  <c:v>60.871372000000001</c:v>
                </c:pt>
                <c:pt idx="149">
                  <c:v>60.703063999999998</c:v>
                </c:pt>
                <c:pt idx="150">
                  <c:v>60.663283999999997</c:v>
                </c:pt>
                <c:pt idx="151">
                  <c:v>60.461826000000002</c:v>
                </c:pt>
                <c:pt idx="152">
                  <c:v>61.829453000000001</c:v>
                </c:pt>
                <c:pt idx="153">
                  <c:v>60.766649999999998</c:v>
                </c:pt>
                <c:pt idx="154">
                  <c:v>59.571710000000003</c:v>
                </c:pt>
                <c:pt idx="155">
                  <c:v>58.457455000000003</c:v>
                </c:pt>
                <c:pt idx="156">
                  <c:v>57.538142999999998</c:v>
                </c:pt>
                <c:pt idx="157">
                  <c:v>57.349406999999999</c:v>
                </c:pt>
                <c:pt idx="158">
                  <c:v>56.630450000000003</c:v>
                </c:pt>
                <c:pt idx="159">
                  <c:v>56.535217000000003</c:v>
                </c:pt>
                <c:pt idx="160">
                  <c:v>56.917720000000003</c:v>
                </c:pt>
                <c:pt idx="161">
                  <c:v>57.199154</c:v>
                </c:pt>
                <c:pt idx="162">
                  <c:v>57.899839999999998</c:v>
                </c:pt>
                <c:pt idx="163">
                  <c:v>58.382506999999997</c:v>
                </c:pt>
                <c:pt idx="164">
                  <c:v>59.000340000000001</c:v>
                </c:pt>
                <c:pt idx="165">
                  <c:v>59.348441999999999</c:v>
                </c:pt>
                <c:pt idx="166">
                  <c:v>59.986564999999999</c:v>
                </c:pt>
                <c:pt idx="167">
                  <c:v>60.6877</c:v>
                </c:pt>
                <c:pt idx="168">
                  <c:v>61.299854000000003</c:v>
                </c:pt>
                <c:pt idx="169">
                  <c:v>61.425274000000002</c:v>
                </c:pt>
                <c:pt idx="170">
                  <c:v>61.355263000000001</c:v>
                </c:pt>
                <c:pt idx="171">
                  <c:v>61.941203999999999</c:v>
                </c:pt>
                <c:pt idx="172">
                  <c:v>62.52843</c:v>
                </c:pt>
                <c:pt idx="173">
                  <c:v>62.775295</c:v>
                </c:pt>
                <c:pt idx="174">
                  <c:v>63.019108000000003</c:v>
                </c:pt>
                <c:pt idx="175">
                  <c:v>62.997610000000002</c:v>
                </c:pt>
                <c:pt idx="176">
                  <c:v>62.389194000000003</c:v>
                </c:pt>
                <c:pt idx="177">
                  <c:v>62.364902000000001</c:v>
                </c:pt>
                <c:pt idx="178">
                  <c:v>62.319434999999999</c:v>
                </c:pt>
                <c:pt idx="179">
                  <c:v>62.381819999999998</c:v>
                </c:pt>
                <c:pt idx="180">
                  <c:v>62.232708000000002</c:v>
                </c:pt>
                <c:pt idx="181">
                  <c:v>61.935543000000003</c:v>
                </c:pt>
                <c:pt idx="182">
                  <c:v>61.354973000000001</c:v>
                </c:pt>
                <c:pt idx="183">
                  <c:v>61.287790000000001</c:v>
                </c:pt>
                <c:pt idx="184">
                  <c:v>61.179234000000001</c:v>
                </c:pt>
                <c:pt idx="185">
                  <c:v>61.316414000000002</c:v>
                </c:pt>
                <c:pt idx="186">
                  <c:v>61.634509999999999</c:v>
                </c:pt>
                <c:pt idx="187">
                  <c:v>62.932636000000002</c:v>
                </c:pt>
                <c:pt idx="188">
                  <c:v>63.282195999999999</c:v>
                </c:pt>
                <c:pt idx="189">
                  <c:v>63.408299999999997</c:v>
                </c:pt>
                <c:pt idx="190">
                  <c:v>63.581417000000002</c:v>
                </c:pt>
                <c:pt idx="191">
                  <c:v>63.841324</c:v>
                </c:pt>
                <c:pt idx="192">
                  <c:v>64.091930000000005</c:v>
                </c:pt>
                <c:pt idx="193">
                  <c:v>64.095060000000004</c:v>
                </c:pt>
                <c:pt idx="194">
                  <c:v>63.893493999999997</c:v>
                </c:pt>
                <c:pt idx="195">
                  <c:v>63.568806000000002</c:v>
                </c:pt>
                <c:pt idx="196">
                  <c:v>63.408034999999998</c:v>
                </c:pt>
                <c:pt idx="197">
                  <c:v>63.351714999999999</c:v>
                </c:pt>
                <c:pt idx="198">
                  <c:v>64.892470000000003</c:v>
                </c:pt>
                <c:pt idx="199">
                  <c:v>63.651440000000001</c:v>
                </c:pt>
                <c:pt idx="200">
                  <c:v>63.930202000000001</c:v>
                </c:pt>
                <c:pt idx="201">
                  <c:v>63.93506</c:v>
                </c:pt>
                <c:pt idx="202">
                  <c:v>63.987960000000001</c:v>
                </c:pt>
                <c:pt idx="203">
                  <c:v>64.239456000000004</c:v>
                </c:pt>
                <c:pt idx="204">
                  <c:v>64.170940000000002</c:v>
                </c:pt>
                <c:pt idx="205">
                  <c:v>63.995959999999997</c:v>
                </c:pt>
                <c:pt idx="206">
                  <c:v>64.078415000000007</c:v>
                </c:pt>
                <c:pt idx="207">
                  <c:v>64.223479999999995</c:v>
                </c:pt>
                <c:pt idx="208">
                  <c:v>64.426370000000006</c:v>
                </c:pt>
                <c:pt idx="209">
                  <c:v>64.629599999999996</c:v>
                </c:pt>
                <c:pt idx="210">
                  <c:v>64.788925000000006</c:v>
                </c:pt>
                <c:pt idx="211">
                  <c:v>64.735039999999998</c:v>
                </c:pt>
                <c:pt idx="212">
                  <c:v>64.812060000000002</c:v>
                </c:pt>
                <c:pt idx="213">
                  <c:v>64.879369999999994</c:v>
                </c:pt>
                <c:pt idx="214">
                  <c:v>65.409583999999995</c:v>
                </c:pt>
                <c:pt idx="215">
                  <c:v>65.730530000000002</c:v>
                </c:pt>
                <c:pt idx="216">
                  <c:v>66.391850000000005</c:v>
                </c:pt>
                <c:pt idx="217">
                  <c:v>66.492639999999994</c:v>
                </c:pt>
                <c:pt idx="218">
                  <c:v>66.63297</c:v>
                </c:pt>
                <c:pt idx="219">
                  <c:v>66.710290000000001</c:v>
                </c:pt>
                <c:pt idx="220">
                  <c:v>66.635895000000005</c:v>
                </c:pt>
                <c:pt idx="221">
                  <c:v>67.081985000000003</c:v>
                </c:pt>
                <c:pt idx="222">
                  <c:v>67.184719999999999</c:v>
                </c:pt>
                <c:pt idx="223">
                  <c:v>67.032269999999997</c:v>
                </c:pt>
                <c:pt idx="224">
                  <c:v>66.820014999999998</c:v>
                </c:pt>
                <c:pt idx="225">
                  <c:v>66.737440000000007</c:v>
                </c:pt>
                <c:pt idx="226">
                  <c:v>66.753749999999997</c:v>
                </c:pt>
                <c:pt idx="227">
                  <c:v>67.228700000000003</c:v>
                </c:pt>
                <c:pt idx="228">
                  <c:v>67.684989999999999</c:v>
                </c:pt>
                <c:pt idx="229">
                  <c:v>67.869910000000004</c:v>
                </c:pt>
                <c:pt idx="230">
                  <c:v>68.016463999999999</c:v>
                </c:pt>
                <c:pt idx="231">
                  <c:v>68.348889999999997</c:v>
                </c:pt>
                <c:pt idx="232">
                  <c:v>68.687515000000005</c:v>
                </c:pt>
                <c:pt idx="233">
                  <c:v>68.773210000000006</c:v>
                </c:pt>
                <c:pt idx="234">
                  <c:v>68.919849999999997</c:v>
                </c:pt>
                <c:pt idx="235">
                  <c:v>69.193695000000005</c:v>
                </c:pt>
                <c:pt idx="236">
                  <c:v>69.436480000000003</c:v>
                </c:pt>
                <c:pt idx="237">
                  <c:v>69.347565000000003</c:v>
                </c:pt>
                <c:pt idx="238">
                  <c:v>68.82217</c:v>
                </c:pt>
                <c:pt idx="239">
                  <c:v>68.218345999999997</c:v>
                </c:pt>
                <c:pt idx="240">
                  <c:v>67.781499999999994</c:v>
                </c:pt>
                <c:pt idx="241">
                  <c:v>67.56026</c:v>
                </c:pt>
                <c:pt idx="242">
                  <c:v>67.656229999999994</c:v>
                </c:pt>
                <c:pt idx="243">
                  <c:v>67.58126</c:v>
                </c:pt>
                <c:pt idx="244">
                  <c:v>67.341859999999997</c:v>
                </c:pt>
                <c:pt idx="245">
                  <c:v>67.475629999999995</c:v>
                </c:pt>
                <c:pt idx="246">
                  <c:v>68.707080000000005</c:v>
                </c:pt>
                <c:pt idx="247">
                  <c:v>68.45093</c:v>
                </c:pt>
                <c:pt idx="248">
                  <c:v>69.535449999999997</c:v>
                </c:pt>
                <c:pt idx="249">
                  <c:v>70.310469999999995</c:v>
                </c:pt>
                <c:pt idx="250">
                  <c:v>71.362930000000006</c:v>
                </c:pt>
                <c:pt idx="251">
                  <c:v>71.498959999999997</c:v>
                </c:pt>
                <c:pt idx="252">
                  <c:v>72.194496000000001</c:v>
                </c:pt>
                <c:pt idx="253">
                  <c:v>72.884609999999995</c:v>
                </c:pt>
                <c:pt idx="254">
                  <c:v>73.560820000000007</c:v>
                </c:pt>
                <c:pt idx="255">
                  <c:v>73.534965999999997</c:v>
                </c:pt>
                <c:pt idx="256">
                  <c:v>73.684179999999998</c:v>
                </c:pt>
                <c:pt idx="257">
                  <c:v>73.191239999999993</c:v>
                </c:pt>
                <c:pt idx="258">
                  <c:v>73.135620000000003</c:v>
                </c:pt>
                <c:pt idx="259">
                  <c:v>73.103669999999994</c:v>
                </c:pt>
                <c:pt idx="260">
                  <c:v>74.163070000000005</c:v>
                </c:pt>
                <c:pt idx="261">
                  <c:v>72.683440000000004</c:v>
                </c:pt>
                <c:pt idx="262">
                  <c:v>72.572559999999996</c:v>
                </c:pt>
                <c:pt idx="263">
                  <c:v>72.602649999999997</c:v>
                </c:pt>
                <c:pt idx="264">
                  <c:v>73.023210000000006</c:v>
                </c:pt>
                <c:pt idx="265">
                  <c:v>73.372559999999993</c:v>
                </c:pt>
                <c:pt idx="266">
                  <c:v>73.650300000000001</c:v>
                </c:pt>
                <c:pt idx="267">
                  <c:v>74.023705000000007</c:v>
                </c:pt>
                <c:pt idx="268">
                  <c:v>74.150630000000007</c:v>
                </c:pt>
                <c:pt idx="269">
                  <c:v>74.192695999999998</c:v>
                </c:pt>
                <c:pt idx="270">
                  <c:v>74.306799999999996</c:v>
                </c:pt>
                <c:pt idx="271">
                  <c:v>74.156139999999994</c:v>
                </c:pt>
                <c:pt idx="272">
                  <c:v>74.075010000000006</c:v>
                </c:pt>
                <c:pt idx="273">
                  <c:v>74.264290000000003</c:v>
                </c:pt>
                <c:pt idx="274">
                  <c:v>74.278530000000003</c:v>
                </c:pt>
                <c:pt idx="275">
                  <c:v>74.093180000000004</c:v>
                </c:pt>
                <c:pt idx="276">
                  <c:v>73.917529999999999</c:v>
                </c:pt>
                <c:pt idx="277">
                  <c:v>73.249489999999994</c:v>
                </c:pt>
                <c:pt idx="278">
                  <c:v>73.005260000000007</c:v>
                </c:pt>
                <c:pt idx="279">
                  <c:v>73.037959999999998</c:v>
                </c:pt>
                <c:pt idx="280">
                  <c:v>72.908659999999998</c:v>
                </c:pt>
                <c:pt idx="281">
                  <c:v>73.106894999999994</c:v>
                </c:pt>
                <c:pt idx="282">
                  <c:v>72.827200000000005</c:v>
                </c:pt>
                <c:pt idx="283">
                  <c:v>73.050839999999994</c:v>
                </c:pt>
                <c:pt idx="284">
                  <c:v>73.462360000000004</c:v>
                </c:pt>
                <c:pt idx="285">
                  <c:v>73.756584000000004</c:v>
                </c:pt>
                <c:pt idx="286">
                  <c:v>73.882355000000004</c:v>
                </c:pt>
                <c:pt idx="287">
                  <c:v>73.729510000000005</c:v>
                </c:pt>
                <c:pt idx="288">
                  <c:v>73.622955000000005</c:v>
                </c:pt>
                <c:pt idx="289">
                  <c:v>73.666659999999993</c:v>
                </c:pt>
                <c:pt idx="290">
                  <c:v>74.029539999999997</c:v>
                </c:pt>
                <c:pt idx="291">
                  <c:v>74.173964999999995</c:v>
                </c:pt>
                <c:pt idx="292">
                  <c:v>74.019639999999995</c:v>
                </c:pt>
                <c:pt idx="293">
                  <c:v>73.802574000000007</c:v>
                </c:pt>
                <c:pt idx="294">
                  <c:v>73.682789999999997</c:v>
                </c:pt>
                <c:pt idx="295">
                  <c:v>73.724434000000002</c:v>
                </c:pt>
                <c:pt idx="296">
                  <c:v>73.940560000000005</c:v>
                </c:pt>
                <c:pt idx="297">
                  <c:v>74.070335</c:v>
                </c:pt>
                <c:pt idx="298">
                  <c:v>74.313969999999998</c:v>
                </c:pt>
                <c:pt idx="299">
                  <c:v>74.08135</c:v>
                </c:pt>
                <c:pt idx="300">
                  <c:v>73.793769999999995</c:v>
                </c:pt>
                <c:pt idx="301">
                  <c:v>73.22963</c:v>
                </c:pt>
                <c:pt idx="302">
                  <c:v>73.017493999999999</c:v>
                </c:pt>
                <c:pt idx="303">
                  <c:v>72.792060000000006</c:v>
                </c:pt>
                <c:pt idx="304">
                  <c:v>73.796530000000004</c:v>
                </c:pt>
                <c:pt idx="305">
                  <c:v>72.878100000000003</c:v>
                </c:pt>
                <c:pt idx="306">
                  <c:v>73.016369999999995</c:v>
                </c:pt>
                <c:pt idx="307">
                  <c:v>73.004890000000003</c:v>
                </c:pt>
                <c:pt idx="308">
                  <c:v>73.211950000000002</c:v>
                </c:pt>
                <c:pt idx="309">
                  <c:v>73.975710000000007</c:v>
                </c:pt>
                <c:pt idx="310">
                  <c:v>74.655106000000004</c:v>
                </c:pt>
                <c:pt idx="311">
                  <c:v>74.914794999999998</c:v>
                </c:pt>
                <c:pt idx="312">
                  <c:v>75.556113999999994</c:v>
                </c:pt>
                <c:pt idx="313">
                  <c:v>75.789490000000001</c:v>
                </c:pt>
                <c:pt idx="314">
                  <c:v>75.779430000000005</c:v>
                </c:pt>
                <c:pt idx="315">
                  <c:v>75.631836000000007</c:v>
                </c:pt>
                <c:pt idx="316">
                  <c:v>75.568219999999997</c:v>
                </c:pt>
                <c:pt idx="317">
                  <c:v>75.238330000000005</c:v>
                </c:pt>
                <c:pt idx="318">
                  <c:v>74.778790000000001</c:v>
                </c:pt>
                <c:pt idx="319">
                  <c:v>74.548109999999994</c:v>
                </c:pt>
                <c:pt idx="320">
                  <c:v>74.247649999999993</c:v>
                </c:pt>
                <c:pt idx="321">
                  <c:v>73.835560000000001</c:v>
                </c:pt>
                <c:pt idx="322">
                  <c:v>73.662469999999999</c:v>
                </c:pt>
                <c:pt idx="323">
                  <c:v>73.545630000000003</c:v>
                </c:pt>
                <c:pt idx="324">
                  <c:v>73.665215000000003</c:v>
                </c:pt>
                <c:pt idx="325">
                  <c:v>73.892234999999999</c:v>
                </c:pt>
                <c:pt idx="326">
                  <c:v>73.846924000000001</c:v>
                </c:pt>
                <c:pt idx="327">
                  <c:v>73.740684999999999</c:v>
                </c:pt>
                <c:pt idx="328">
                  <c:v>73.82938</c:v>
                </c:pt>
                <c:pt idx="329">
                  <c:v>74.237629999999996</c:v>
                </c:pt>
                <c:pt idx="330">
                  <c:v>74.669364999999999</c:v>
                </c:pt>
                <c:pt idx="331">
                  <c:v>75.035529999999994</c:v>
                </c:pt>
                <c:pt idx="332">
                  <c:v>75.205246000000002</c:v>
                </c:pt>
                <c:pt idx="333">
                  <c:v>75.297034999999994</c:v>
                </c:pt>
                <c:pt idx="334">
                  <c:v>75.300460000000001</c:v>
                </c:pt>
                <c:pt idx="335">
                  <c:v>75.310760000000002</c:v>
                </c:pt>
                <c:pt idx="336">
                  <c:v>75.288399999999996</c:v>
                </c:pt>
                <c:pt idx="337">
                  <c:v>75.342600000000004</c:v>
                </c:pt>
                <c:pt idx="338">
                  <c:v>75.290930000000003</c:v>
                </c:pt>
                <c:pt idx="339">
                  <c:v>75.127655000000004</c:v>
                </c:pt>
                <c:pt idx="340">
                  <c:v>75.729904000000005</c:v>
                </c:pt>
                <c:pt idx="341">
                  <c:v>76.244550000000004</c:v>
                </c:pt>
                <c:pt idx="342">
                  <c:v>79.467680000000001</c:v>
                </c:pt>
                <c:pt idx="343">
                  <c:v>77.097219999999993</c:v>
                </c:pt>
                <c:pt idx="344">
                  <c:v>77.604900000000001</c:v>
                </c:pt>
                <c:pt idx="345">
                  <c:v>79.433779999999999</c:v>
                </c:pt>
                <c:pt idx="346">
                  <c:v>80.596670000000003</c:v>
                </c:pt>
                <c:pt idx="347">
                  <c:v>81.959980000000002</c:v>
                </c:pt>
                <c:pt idx="348">
                  <c:v>82.971755999999999</c:v>
                </c:pt>
                <c:pt idx="349">
                  <c:v>83.758420000000001</c:v>
                </c:pt>
                <c:pt idx="350">
                  <c:v>84.145920000000004</c:v>
                </c:pt>
                <c:pt idx="351">
                  <c:v>84.080380000000005</c:v>
                </c:pt>
                <c:pt idx="352">
                  <c:v>84.160989999999998</c:v>
                </c:pt>
                <c:pt idx="353">
                  <c:v>84.264390000000006</c:v>
                </c:pt>
                <c:pt idx="354">
                  <c:v>84.226089999999999</c:v>
                </c:pt>
                <c:pt idx="355">
                  <c:v>84.255510000000001</c:v>
                </c:pt>
                <c:pt idx="356">
                  <c:v>84.528409999999994</c:v>
                </c:pt>
                <c:pt idx="357">
                  <c:v>85.274253999999999</c:v>
                </c:pt>
                <c:pt idx="358">
                  <c:v>85.468069999999997</c:v>
                </c:pt>
                <c:pt idx="359">
                  <c:v>85.846010000000007</c:v>
                </c:pt>
                <c:pt idx="360">
                  <c:v>86.068664999999996</c:v>
                </c:pt>
                <c:pt idx="361">
                  <c:v>86.296199999999999</c:v>
                </c:pt>
                <c:pt idx="362">
                  <c:v>86.411285000000007</c:v>
                </c:pt>
                <c:pt idx="363">
                  <c:v>86.444405000000003</c:v>
                </c:pt>
                <c:pt idx="364">
                  <c:v>86.060500000000005</c:v>
                </c:pt>
                <c:pt idx="365">
                  <c:v>85.848609999999994</c:v>
                </c:pt>
                <c:pt idx="366">
                  <c:v>85.536969999999997</c:v>
                </c:pt>
                <c:pt idx="367">
                  <c:v>85.514979999999994</c:v>
                </c:pt>
                <c:pt idx="368">
                  <c:v>84.920685000000006</c:v>
                </c:pt>
                <c:pt idx="369">
                  <c:v>84.416370000000001</c:v>
                </c:pt>
                <c:pt idx="370">
                  <c:v>83.874380000000002</c:v>
                </c:pt>
                <c:pt idx="371">
                  <c:v>83.998850000000004</c:v>
                </c:pt>
                <c:pt idx="372">
                  <c:v>84.234579999999994</c:v>
                </c:pt>
                <c:pt idx="373">
                  <c:v>84.051215999999997</c:v>
                </c:pt>
                <c:pt idx="374">
                  <c:v>84.186070000000001</c:v>
                </c:pt>
                <c:pt idx="375">
                  <c:v>83.519599999999997</c:v>
                </c:pt>
                <c:pt idx="376">
                  <c:v>83.362629999999996</c:v>
                </c:pt>
                <c:pt idx="377">
                  <c:v>83.268709999999999</c:v>
                </c:pt>
                <c:pt idx="378">
                  <c:v>83.550445999999994</c:v>
                </c:pt>
                <c:pt idx="379">
                  <c:v>83.961135999999996</c:v>
                </c:pt>
                <c:pt idx="380">
                  <c:v>84.309700000000007</c:v>
                </c:pt>
                <c:pt idx="381">
                  <c:v>84.624420000000001</c:v>
                </c:pt>
                <c:pt idx="382">
                  <c:v>84.646019999999993</c:v>
                </c:pt>
                <c:pt idx="383">
                  <c:v>84.591229999999996</c:v>
                </c:pt>
                <c:pt idx="384">
                  <c:v>84.535970000000006</c:v>
                </c:pt>
                <c:pt idx="385">
                  <c:v>84.494770000000003</c:v>
                </c:pt>
                <c:pt idx="386">
                  <c:v>84.173019999999994</c:v>
                </c:pt>
                <c:pt idx="387">
                  <c:v>83.542199999999994</c:v>
                </c:pt>
                <c:pt idx="388">
                  <c:v>83.018540000000002</c:v>
                </c:pt>
                <c:pt idx="389">
                  <c:v>82.782340000000005</c:v>
                </c:pt>
                <c:pt idx="390">
                  <c:v>82.690759999999997</c:v>
                </c:pt>
                <c:pt idx="391">
                  <c:v>82.468119999999999</c:v>
                </c:pt>
                <c:pt idx="392">
                  <c:v>82.467704999999995</c:v>
                </c:pt>
                <c:pt idx="393">
                  <c:v>82.583786000000003</c:v>
                </c:pt>
                <c:pt idx="394">
                  <c:v>82.557159999999996</c:v>
                </c:pt>
                <c:pt idx="395">
                  <c:v>82.376310000000004</c:v>
                </c:pt>
                <c:pt idx="396">
                  <c:v>82.308310000000006</c:v>
                </c:pt>
                <c:pt idx="397">
                  <c:v>82.085430000000002</c:v>
                </c:pt>
                <c:pt idx="398">
                  <c:v>81.762370000000004</c:v>
                </c:pt>
                <c:pt idx="399">
                  <c:v>81.460814999999997</c:v>
                </c:pt>
                <c:pt idx="400">
                  <c:v>81.241380000000007</c:v>
                </c:pt>
                <c:pt idx="401">
                  <c:v>80.975679999999997</c:v>
                </c:pt>
                <c:pt idx="402">
                  <c:v>80.859020000000001</c:v>
                </c:pt>
                <c:pt idx="403">
                  <c:v>81.785650000000004</c:v>
                </c:pt>
                <c:pt idx="404">
                  <c:v>82.251339999999999</c:v>
                </c:pt>
                <c:pt idx="405">
                  <c:v>82.746690000000001</c:v>
                </c:pt>
                <c:pt idx="406">
                  <c:v>83.483599999999996</c:v>
                </c:pt>
                <c:pt idx="407">
                  <c:v>83.726685000000003</c:v>
                </c:pt>
                <c:pt idx="408">
                  <c:v>83.280074999999997</c:v>
                </c:pt>
                <c:pt idx="409">
                  <c:v>74.847989999999996</c:v>
                </c:pt>
                <c:pt idx="410">
                  <c:v>74.928894</c:v>
                </c:pt>
                <c:pt idx="411">
                  <c:v>74.827209999999994</c:v>
                </c:pt>
                <c:pt idx="412">
                  <c:v>75.172250000000005</c:v>
                </c:pt>
                <c:pt idx="413">
                  <c:v>75.737144000000001</c:v>
                </c:pt>
                <c:pt idx="414">
                  <c:v>76.068886000000006</c:v>
                </c:pt>
                <c:pt idx="415">
                  <c:v>76.023920000000004</c:v>
                </c:pt>
                <c:pt idx="416">
                  <c:v>76.45684</c:v>
                </c:pt>
                <c:pt idx="417">
                  <c:v>76.422939999999997</c:v>
                </c:pt>
                <c:pt idx="418">
                  <c:v>76.572469999999996</c:v>
                </c:pt>
                <c:pt idx="419">
                  <c:v>76.135819999999995</c:v>
                </c:pt>
                <c:pt idx="420">
                  <c:v>75.847170000000006</c:v>
                </c:pt>
                <c:pt idx="421">
                  <c:v>76.69802</c:v>
                </c:pt>
                <c:pt idx="422">
                  <c:v>76.974975999999998</c:v>
                </c:pt>
                <c:pt idx="423">
                  <c:v>77.786090000000002</c:v>
                </c:pt>
                <c:pt idx="424">
                  <c:v>78.547799999999995</c:v>
                </c:pt>
                <c:pt idx="425">
                  <c:v>79.641990000000007</c:v>
                </c:pt>
                <c:pt idx="426">
                  <c:v>80.206149999999994</c:v>
                </c:pt>
                <c:pt idx="427">
                  <c:v>80.822000000000003</c:v>
                </c:pt>
                <c:pt idx="428">
                  <c:v>81.274506000000002</c:v>
                </c:pt>
                <c:pt idx="429">
                  <c:v>81.414894000000004</c:v>
                </c:pt>
                <c:pt idx="430">
                  <c:v>81.639650000000003</c:v>
                </c:pt>
                <c:pt idx="431">
                  <c:v>81.688479999999998</c:v>
                </c:pt>
                <c:pt idx="432">
                  <c:v>81.698539999999994</c:v>
                </c:pt>
                <c:pt idx="433">
                  <c:v>81.910659999999993</c:v>
                </c:pt>
                <c:pt idx="434">
                  <c:v>82.262739999999994</c:v>
                </c:pt>
                <c:pt idx="435">
                  <c:v>82.612009999999998</c:v>
                </c:pt>
                <c:pt idx="436">
                  <c:v>83.084720000000004</c:v>
                </c:pt>
                <c:pt idx="437">
                  <c:v>83.696470000000005</c:v>
                </c:pt>
                <c:pt idx="438">
                  <c:v>85.039850000000001</c:v>
                </c:pt>
                <c:pt idx="439">
                  <c:v>85.879080000000002</c:v>
                </c:pt>
                <c:pt idx="440">
                  <c:v>86.59281</c:v>
                </c:pt>
                <c:pt idx="441">
                  <c:v>86.932329999999993</c:v>
                </c:pt>
                <c:pt idx="442">
                  <c:v>86.967354</c:v>
                </c:pt>
                <c:pt idx="443">
                  <c:v>86.859539999999996</c:v>
                </c:pt>
                <c:pt idx="444">
                  <c:v>87.627499999999998</c:v>
                </c:pt>
                <c:pt idx="445">
                  <c:v>86.668235999999993</c:v>
                </c:pt>
                <c:pt idx="446">
                  <c:v>86.726770000000002</c:v>
                </c:pt>
                <c:pt idx="447">
                  <c:v>86.910160000000005</c:v>
                </c:pt>
                <c:pt idx="448">
                  <c:v>87.186645999999996</c:v>
                </c:pt>
                <c:pt idx="449">
                  <c:v>87.579310000000007</c:v>
                </c:pt>
                <c:pt idx="450">
                  <c:v>87.932625000000002</c:v>
                </c:pt>
                <c:pt idx="451">
                  <c:v>88.006249999999994</c:v>
                </c:pt>
                <c:pt idx="452">
                  <c:v>87.962249999999997</c:v>
                </c:pt>
                <c:pt idx="453">
                  <c:v>87.813180000000003</c:v>
                </c:pt>
                <c:pt idx="454">
                  <c:v>87.877629999999996</c:v>
                </c:pt>
                <c:pt idx="455">
                  <c:v>87.979140000000001</c:v>
                </c:pt>
                <c:pt idx="456">
                  <c:v>88.084329999999994</c:v>
                </c:pt>
                <c:pt idx="457">
                  <c:v>88.181229999999999</c:v>
                </c:pt>
                <c:pt idx="458">
                  <c:v>88.158510000000007</c:v>
                </c:pt>
                <c:pt idx="459">
                  <c:v>88.309200000000004</c:v>
                </c:pt>
                <c:pt idx="460">
                  <c:v>87.992699999999999</c:v>
                </c:pt>
                <c:pt idx="461">
                  <c:v>87.753649999999993</c:v>
                </c:pt>
                <c:pt idx="462">
                  <c:v>87.084500000000006</c:v>
                </c:pt>
                <c:pt idx="463">
                  <c:v>86.221149999999994</c:v>
                </c:pt>
                <c:pt idx="464">
                  <c:v>85.221990000000005</c:v>
                </c:pt>
                <c:pt idx="465">
                  <c:v>84.979089999999999</c:v>
                </c:pt>
                <c:pt idx="466">
                  <c:v>87.488740000000007</c:v>
                </c:pt>
                <c:pt idx="467">
                  <c:v>86.811324999999997</c:v>
                </c:pt>
                <c:pt idx="468">
                  <c:v>87.733024999999998</c:v>
                </c:pt>
                <c:pt idx="469">
                  <c:v>88.469695999999999</c:v>
                </c:pt>
                <c:pt idx="470">
                  <c:v>88.785790000000006</c:v>
                </c:pt>
                <c:pt idx="471">
                  <c:v>89.02919</c:v>
                </c:pt>
                <c:pt idx="472">
                  <c:v>89.117279999999994</c:v>
                </c:pt>
                <c:pt idx="473">
                  <c:v>97.271810000000002</c:v>
                </c:pt>
                <c:pt idx="474">
                  <c:v>96.796616</c:v>
                </c:pt>
                <c:pt idx="475">
                  <c:v>96.433059999999998</c:v>
                </c:pt>
                <c:pt idx="476">
                  <c:v>95.676636000000002</c:v>
                </c:pt>
                <c:pt idx="477">
                  <c:v>94.670829999999995</c:v>
                </c:pt>
                <c:pt idx="478">
                  <c:v>94.226479999999995</c:v>
                </c:pt>
                <c:pt idx="479">
                  <c:v>94.574089999999998</c:v>
                </c:pt>
                <c:pt idx="480">
                  <c:v>94.733310000000003</c:v>
                </c:pt>
                <c:pt idx="481">
                  <c:v>94.559219999999996</c:v>
                </c:pt>
                <c:pt idx="482">
                  <c:v>94.551389999999998</c:v>
                </c:pt>
                <c:pt idx="483">
                  <c:v>94.168816000000007</c:v>
                </c:pt>
                <c:pt idx="484">
                  <c:v>93.540790000000001</c:v>
                </c:pt>
                <c:pt idx="485">
                  <c:v>93.432975999999996</c:v>
                </c:pt>
                <c:pt idx="486">
                  <c:v>93.521060000000006</c:v>
                </c:pt>
                <c:pt idx="487">
                  <c:v>93.738900000000001</c:v>
                </c:pt>
                <c:pt idx="488">
                  <c:v>94.440389999999994</c:v>
                </c:pt>
                <c:pt idx="489">
                  <c:v>94.770545999999996</c:v>
                </c:pt>
                <c:pt idx="490">
                  <c:v>95.135130000000004</c:v>
                </c:pt>
                <c:pt idx="491">
                  <c:v>94.899190000000004</c:v>
                </c:pt>
                <c:pt idx="492">
                  <c:v>94.234700000000004</c:v>
                </c:pt>
                <c:pt idx="493">
                  <c:v>94.037850000000006</c:v>
                </c:pt>
                <c:pt idx="494">
                  <c:v>93.676959999999994</c:v>
                </c:pt>
                <c:pt idx="495">
                  <c:v>93.794394999999994</c:v>
                </c:pt>
                <c:pt idx="496">
                  <c:v>93.98912</c:v>
                </c:pt>
                <c:pt idx="497">
                  <c:v>96.764365999999995</c:v>
                </c:pt>
                <c:pt idx="498">
                  <c:v>98.613975999999994</c:v>
                </c:pt>
                <c:pt idx="499">
                  <c:v>98.173379999999995</c:v>
                </c:pt>
                <c:pt idx="500">
                  <c:v>98.562910000000002</c:v>
                </c:pt>
                <c:pt idx="501">
                  <c:v>98.699430000000007</c:v>
                </c:pt>
                <c:pt idx="502">
                  <c:v>98.550120000000007</c:v>
                </c:pt>
                <c:pt idx="503">
                  <c:v>98.599074999999999</c:v>
                </c:pt>
                <c:pt idx="504">
                  <c:v>98.594800000000006</c:v>
                </c:pt>
                <c:pt idx="505">
                  <c:v>98.610110000000006</c:v>
                </c:pt>
                <c:pt idx="506">
                  <c:v>98.535269999999997</c:v>
                </c:pt>
                <c:pt idx="507">
                  <c:v>98.519589999999994</c:v>
                </c:pt>
                <c:pt idx="508">
                  <c:v>98.716353999999995</c:v>
                </c:pt>
                <c:pt idx="509">
                  <c:v>98.974334999999996</c:v>
                </c:pt>
                <c:pt idx="510">
                  <c:v>99.297134</c:v>
                </c:pt>
                <c:pt idx="511">
                  <c:v>99.891170000000002</c:v>
                </c:pt>
                <c:pt idx="512">
                  <c:v>100.35265</c:v>
                </c:pt>
                <c:pt idx="513">
                  <c:v>100.85618599999999</c:v>
                </c:pt>
                <c:pt idx="514">
                  <c:v>101.75745000000001</c:v>
                </c:pt>
                <c:pt idx="515">
                  <c:v>102.30569</c:v>
                </c:pt>
                <c:pt idx="516">
                  <c:v>102.52791000000001</c:v>
                </c:pt>
                <c:pt idx="517">
                  <c:v>102.47649</c:v>
                </c:pt>
                <c:pt idx="518">
                  <c:v>101.885345</c:v>
                </c:pt>
                <c:pt idx="519">
                  <c:v>101.19669</c:v>
                </c:pt>
                <c:pt idx="520">
                  <c:v>100.285034</c:v>
                </c:pt>
                <c:pt idx="521">
                  <c:v>99.793175000000005</c:v>
                </c:pt>
                <c:pt idx="522">
                  <c:v>100.46919</c:v>
                </c:pt>
                <c:pt idx="523">
                  <c:v>101.12052</c:v>
                </c:pt>
                <c:pt idx="524">
                  <c:v>102.02258</c:v>
                </c:pt>
                <c:pt idx="525">
                  <c:v>102.48049</c:v>
                </c:pt>
                <c:pt idx="526">
                  <c:v>103.82123</c:v>
                </c:pt>
                <c:pt idx="527">
                  <c:v>101.58185</c:v>
                </c:pt>
                <c:pt idx="528">
                  <c:v>99.66901</c:v>
                </c:pt>
                <c:pt idx="529">
                  <c:v>99.298519999999996</c:v>
                </c:pt>
                <c:pt idx="530">
                  <c:v>99.284996000000007</c:v>
                </c:pt>
                <c:pt idx="531">
                  <c:v>98.918175000000005</c:v>
                </c:pt>
                <c:pt idx="532">
                  <c:v>98.362799999999993</c:v>
                </c:pt>
                <c:pt idx="533">
                  <c:v>97.827860000000001</c:v>
                </c:pt>
                <c:pt idx="534">
                  <c:v>97.479515000000006</c:v>
                </c:pt>
                <c:pt idx="535">
                  <c:v>97.356949999999998</c:v>
                </c:pt>
                <c:pt idx="536">
                  <c:v>97.169889999999995</c:v>
                </c:pt>
                <c:pt idx="537">
                  <c:v>96.819050000000004</c:v>
                </c:pt>
                <c:pt idx="538">
                  <c:v>96.771429999999995</c:v>
                </c:pt>
                <c:pt idx="539">
                  <c:v>96.649169999999998</c:v>
                </c:pt>
                <c:pt idx="540">
                  <c:v>96.676310000000001</c:v>
                </c:pt>
                <c:pt idx="541">
                  <c:v>96.637500000000003</c:v>
                </c:pt>
                <c:pt idx="542">
                  <c:v>96.855840000000001</c:v>
                </c:pt>
                <c:pt idx="543">
                  <c:v>97.042755</c:v>
                </c:pt>
                <c:pt idx="544">
                  <c:v>97.220780000000005</c:v>
                </c:pt>
                <c:pt idx="545">
                  <c:v>97.568989999999999</c:v>
                </c:pt>
                <c:pt idx="546">
                  <c:v>98.161730000000006</c:v>
                </c:pt>
                <c:pt idx="547">
                  <c:v>98.461005999999998</c:v>
                </c:pt>
                <c:pt idx="548">
                  <c:v>98.889189999999999</c:v>
                </c:pt>
                <c:pt idx="549">
                  <c:v>99.171660000000003</c:v>
                </c:pt>
                <c:pt idx="550">
                  <c:v>99.57526</c:v>
                </c:pt>
                <c:pt idx="551">
                  <c:v>100.225746</c:v>
                </c:pt>
                <c:pt idx="552">
                  <c:v>100.127815</c:v>
                </c:pt>
                <c:pt idx="553">
                  <c:v>100.24961999999999</c:v>
                </c:pt>
                <c:pt idx="554">
                  <c:v>100.44707</c:v>
                </c:pt>
                <c:pt idx="555">
                  <c:v>100.644806</c:v>
                </c:pt>
                <c:pt idx="556">
                  <c:v>100.68646</c:v>
                </c:pt>
                <c:pt idx="557">
                  <c:v>100.56196</c:v>
                </c:pt>
                <c:pt idx="558">
                  <c:v>101.16952000000001</c:v>
                </c:pt>
                <c:pt idx="559">
                  <c:v>102.54094000000001</c:v>
                </c:pt>
                <c:pt idx="560">
                  <c:v>100.524216</c:v>
                </c:pt>
                <c:pt idx="561">
                  <c:v>101.56997</c:v>
                </c:pt>
                <c:pt idx="562">
                  <c:v>100.84044</c:v>
                </c:pt>
                <c:pt idx="563">
                  <c:v>101.05656399999999</c:v>
                </c:pt>
                <c:pt idx="564">
                  <c:v>100.84923999999999</c:v>
                </c:pt>
                <c:pt idx="565">
                  <c:v>101.43761000000001</c:v>
                </c:pt>
                <c:pt idx="566">
                  <c:v>101.83249000000001</c:v>
                </c:pt>
                <c:pt idx="567">
                  <c:v>102.23553</c:v>
                </c:pt>
                <c:pt idx="568">
                  <c:v>102.40779000000001</c:v>
                </c:pt>
                <c:pt idx="569">
                  <c:v>102.39049</c:v>
                </c:pt>
                <c:pt idx="570">
                  <c:v>102.1581</c:v>
                </c:pt>
                <c:pt idx="571">
                  <c:v>101.79456</c:v>
                </c:pt>
                <c:pt idx="572">
                  <c:v>101.00317</c:v>
                </c:pt>
                <c:pt idx="573">
                  <c:v>99.996179999999995</c:v>
                </c:pt>
                <c:pt idx="574">
                  <c:v>99.342039999999997</c:v>
                </c:pt>
                <c:pt idx="575">
                  <c:v>100.22635</c:v>
                </c:pt>
                <c:pt idx="576">
                  <c:v>98.337299999999999</c:v>
                </c:pt>
                <c:pt idx="577">
                  <c:v>98.308269999999993</c:v>
                </c:pt>
                <c:pt idx="578">
                  <c:v>98.849710000000002</c:v>
                </c:pt>
                <c:pt idx="579">
                  <c:v>99.028739999999999</c:v>
                </c:pt>
                <c:pt idx="580">
                  <c:v>99.714429999999993</c:v>
                </c:pt>
                <c:pt idx="581">
                  <c:v>99.994839999999996</c:v>
                </c:pt>
                <c:pt idx="582">
                  <c:v>100.20703</c:v>
                </c:pt>
                <c:pt idx="583">
                  <c:v>101.08326</c:v>
                </c:pt>
                <c:pt idx="584">
                  <c:v>102.27903000000001</c:v>
                </c:pt>
                <c:pt idx="585">
                  <c:v>103.465836</c:v>
                </c:pt>
                <c:pt idx="586">
                  <c:v>103.55141999999999</c:v>
                </c:pt>
                <c:pt idx="587">
                  <c:v>102.60617000000001</c:v>
                </c:pt>
                <c:pt idx="588">
                  <c:v>101.93823999999999</c:v>
                </c:pt>
                <c:pt idx="589">
                  <c:v>102.80506</c:v>
                </c:pt>
                <c:pt idx="590">
                  <c:v>103.515114</c:v>
                </c:pt>
                <c:pt idx="591">
                  <c:v>103.53672</c:v>
                </c:pt>
                <c:pt idx="592">
                  <c:v>103.24507</c:v>
                </c:pt>
                <c:pt idx="593">
                  <c:v>102.985664</c:v>
                </c:pt>
                <c:pt idx="594">
                  <c:v>102.67207000000001</c:v>
                </c:pt>
                <c:pt idx="595">
                  <c:v>102.62595</c:v>
                </c:pt>
                <c:pt idx="596">
                  <c:v>102.5591</c:v>
                </c:pt>
                <c:pt idx="597">
                  <c:v>101.7852</c:v>
                </c:pt>
                <c:pt idx="598">
                  <c:v>101.20405</c:v>
                </c:pt>
                <c:pt idx="599">
                  <c:v>102.32329</c:v>
                </c:pt>
                <c:pt idx="600">
                  <c:v>100.91974</c:v>
                </c:pt>
                <c:pt idx="601">
                  <c:v>100.78026</c:v>
                </c:pt>
                <c:pt idx="602">
                  <c:v>102.47713</c:v>
                </c:pt>
                <c:pt idx="603">
                  <c:v>100.33961499999999</c:v>
                </c:pt>
                <c:pt idx="604">
                  <c:v>99.977919999999997</c:v>
                </c:pt>
                <c:pt idx="605">
                  <c:v>100.12485</c:v>
                </c:pt>
                <c:pt idx="606">
                  <c:v>102.562675</c:v>
                </c:pt>
                <c:pt idx="607">
                  <c:v>100.00138</c:v>
                </c:pt>
                <c:pt idx="608">
                  <c:v>100.25242</c:v>
                </c:pt>
                <c:pt idx="609">
                  <c:v>100.76375</c:v>
                </c:pt>
                <c:pt idx="610">
                  <c:v>101.03147</c:v>
                </c:pt>
                <c:pt idx="611">
                  <c:v>101.651634</c:v>
                </c:pt>
                <c:pt idx="612">
                  <c:v>101.76160400000001</c:v>
                </c:pt>
                <c:pt idx="613">
                  <c:v>101.77704</c:v>
                </c:pt>
                <c:pt idx="614">
                  <c:v>101.844284</c:v>
                </c:pt>
                <c:pt idx="615">
                  <c:v>101.69052000000001</c:v>
                </c:pt>
                <c:pt idx="616">
                  <c:v>101.420456</c:v>
                </c:pt>
                <c:pt idx="617">
                  <c:v>101.40473</c:v>
                </c:pt>
                <c:pt idx="618">
                  <c:v>101.44686</c:v>
                </c:pt>
                <c:pt idx="619">
                  <c:v>102.76782</c:v>
                </c:pt>
                <c:pt idx="620">
                  <c:v>101.55629</c:v>
                </c:pt>
                <c:pt idx="621">
                  <c:v>101.88463</c:v>
                </c:pt>
                <c:pt idx="622">
                  <c:v>102.09057</c:v>
                </c:pt>
                <c:pt idx="623">
                  <c:v>105.52226</c:v>
                </c:pt>
                <c:pt idx="624">
                  <c:v>104.74666999999999</c:v>
                </c:pt>
                <c:pt idx="625">
                  <c:v>105.472725</c:v>
                </c:pt>
                <c:pt idx="626">
                  <c:v>104.67086</c:v>
                </c:pt>
                <c:pt idx="627">
                  <c:v>103.71871</c:v>
                </c:pt>
                <c:pt idx="628">
                  <c:v>102.55875</c:v>
                </c:pt>
                <c:pt idx="629">
                  <c:v>100.56886</c:v>
                </c:pt>
                <c:pt idx="630">
                  <c:v>98.630510000000001</c:v>
                </c:pt>
                <c:pt idx="631">
                  <c:v>96.901899999999998</c:v>
                </c:pt>
                <c:pt idx="632">
                  <c:v>95.709469999999996</c:v>
                </c:pt>
                <c:pt idx="633">
                  <c:v>94.197710000000001</c:v>
                </c:pt>
                <c:pt idx="634">
                  <c:v>91.524320000000003</c:v>
                </c:pt>
                <c:pt idx="635">
                  <c:v>90.96069</c:v>
                </c:pt>
                <c:pt idx="636">
                  <c:v>90.420630000000003</c:v>
                </c:pt>
                <c:pt idx="637">
                  <c:v>88.404859999999999</c:v>
                </c:pt>
                <c:pt idx="638">
                  <c:v>90.240350000000007</c:v>
                </c:pt>
                <c:pt idx="639">
                  <c:v>94.103545999999994</c:v>
                </c:pt>
                <c:pt idx="640">
                  <c:v>96.649550000000005</c:v>
                </c:pt>
                <c:pt idx="641">
                  <c:v>98.06926</c:v>
                </c:pt>
                <c:pt idx="642">
                  <c:v>98.023796000000004</c:v>
                </c:pt>
                <c:pt idx="643">
                  <c:v>97.806460000000001</c:v>
                </c:pt>
                <c:pt idx="644">
                  <c:v>97.690635999999998</c:v>
                </c:pt>
                <c:pt idx="645">
                  <c:v>97.300489999999996</c:v>
                </c:pt>
                <c:pt idx="646">
                  <c:v>97.451560000000001</c:v>
                </c:pt>
                <c:pt idx="647">
                  <c:v>97.034459999999996</c:v>
                </c:pt>
                <c:pt idx="648">
                  <c:v>97.771590000000003</c:v>
                </c:pt>
                <c:pt idx="649">
                  <c:v>97.302700000000002</c:v>
                </c:pt>
                <c:pt idx="650">
                  <c:v>97.958434999999994</c:v>
                </c:pt>
                <c:pt idx="651">
                  <c:v>99.255030000000005</c:v>
                </c:pt>
                <c:pt idx="652">
                  <c:v>100.20232</c:v>
                </c:pt>
                <c:pt idx="653">
                  <c:v>92.881259999999997</c:v>
                </c:pt>
                <c:pt idx="654">
                  <c:v>90.949196000000001</c:v>
                </c:pt>
                <c:pt idx="655">
                  <c:v>91.049639999999997</c:v>
                </c:pt>
                <c:pt idx="656">
                  <c:v>90.800560000000004</c:v>
                </c:pt>
                <c:pt idx="657">
                  <c:v>90.29674</c:v>
                </c:pt>
                <c:pt idx="658">
                  <c:v>90.037819999999996</c:v>
                </c:pt>
                <c:pt idx="659">
                  <c:v>89.571265999999994</c:v>
                </c:pt>
                <c:pt idx="660">
                  <c:v>88.552160000000001</c:v>
                </c:pt>
                <c:pt idx="661">
                  <c:v>88.394080000000002</c:v>
                </c:pt>
                <c:pt idx="662">
                  <c:v>88.395454000000001</c:v>
                </c:pt>
                <c:pt idx="663">
                  <c:v>88.43244</c:v>
                </c:pt>
                <c:pt idx="664">
                  <c:v>88.970799999999997</c:v>
                </c:pt>
                <c:pt idx="665">
                  <c:v>89.81465</c:v>
                </c:pt>
                <c:pt idx="666">
                  <c:v>90.240489999999994</c:v>
                </c:pt>
                <c:pt idx="667">
                  <c:v>90.763409999999993</c:v>
                </c:pt>
                <c:pt idx="668">
                  <c:v>91.388310000000004</c:v>
                </c:pt>
                <c:pt idx="669">
                  <c:v>91.779169999999993</c:v>
                </c:pt>
                <c:pt idx="670">
                  <c:v>92.027299999999997</c:v>
                </c:pt>
                <c:pt idx="671">
                  <c:v>92.168899999999994</c:v>
                </c:pt>
                <c:pt idx="672">
                  <c:v>91.794110000000003</c:v>
                </c:pt>
                <c:pt idx="673">
                  <c:v>91.992424</c:v>
                </c:pt>
                <c:pt idx="674">
                  <c:v>92.303520000000006</c:v>
                </c:pt>
                <c:pt idx="675">
                  <c:v>92.691119999999998</c:v>
                </c:pt>
                <c:pt idx="676">
                  <c:v>93.076059999999998</c:v>
                </c:pt>
                <c:pt idx="677">
                  <c:v>93.196079999999995</c:v>
                </c:pt>
                <c:pt idx="678">
                  <c:v>93.957040000000006</c:v>
                </c:pt>
                <c:pt idx="679">
                  <c:v>94.871729999999999</c:v>
                </c:pt>
                <c:pt idx="680">
                  <c:v>95.537149999999997</c:v>
                </c:pt>
                <c:pt idx="681">
                  <c:v>95.860664</c:v>
                </c:pt>
                <c:pt idx="682">
                  <c:v>96.460170000000005</c:v>
                </c:pt>
                <c:pt idx="683">
                  <c:v>96.828289999999996</c:v>
                </c:pt>
                <c:pt idx="684">
                  <c:v>96.991010000000003</c:v>
                </c:pt>
                <c:pt idx="685">
                  <c:v>97.480834999999999</c:v>
                </c:pt>
                <c:pt idx="686">
                  <c:v>98.009950000000003</c:v>
                </c:pt>
                <c:pt idx="687">
                  <c:v>99.233850000000004</c:v>
                </c:pt>
                <c:pt idx="688">
                  <c:v>99.778180000000006</c:v>
                </c:pt>
                <c:pt idx="689">
                  <c:v>100.46557</c:v>
                </c:pt>
                <c:pt idx="690">
                  <c:v>100.47919</c:v>
                </c:pt>
                <c:pt idx="691">
                  <c:v>100.53848000000001</c:v>
                </c:pt>
                <c:pt idx="692">
                  <c:v>100.35559000000001</c:v>
                </c:pt>
                <c:pt idx="693">
                  <c:v>100.31203499999999</c:v>
                </c:pt>
                <c:pt idx="694">
                  <c:v>98.858315000000005</c:v>
                </c:pt>
                <c:pt idx="695">
                  <c:v>98.439580000000007</c:v>
                </c:pt>
                <c:pt idx="696">
                  <c:v>98.282340000000005</c:v>
                </c:pt>
                <c:pt idx="697">
                  <c:v>98.638274999999993</c:v>
                </c:pt>
                <c:pt idx="698">
                  <c:v>98.900189999999995</c:v>
                </c:pt>
                <c:pt idx="699">
                  <c:v>99.470184000000003</c:v>
                </c:pt>
                <c:pt idx="700">
                  <c:v>99.868620000000007</c:v>
                </c:pt>
                <c:pt idx="701">
                  <c:v>100.22655</c:v>
                </c:pt>
                <c:pt idx="702">
                  <c:v>100.66522999999999</c:v>
                </c:pt>
                <c:pt idx="703">
                  <c:v>101.41047</c:v>
                </c:pt>
                <c:pt idx="704">
                  <c:v>101.69118</c:v>
                </c:pt>
                <c:pt idx="705">
                  <c:v>101.58064</c:v>
                </c:pt>
                <c:pt idx="706">
                  <c:v>101.306076</c:v>
                </c:pt>
                <c:pt idx="707">
                  <c:v>101.0022</c:v>
                </c:pt>
                <c:pt idx="708">
                  <c:v>101.02719999999999</c:v>
                </c:pt>
                <c:pt idx="709">
                  <c:v>101.07718</c:v>
                </c:pt>
                <c:pt idx="710">
                  <c:v>101.2484</c:v>
                </c:pt>
                <c:pt idx="711">
                  <c:v>101.22541</c:v>
                </c:pt>
                <c:pt idx="712">
                  <c:v>101.06588000000001</c:v>
                </c:pt>
                <c:pt idx="713">
                  <c:v>100.74517</c:v>
                </c:pt>
                <c:pt idx="714">
                  <c:v>100.33059</c:v>
                </c:pt>
                <c:pt idx="715">
                  <c:v>101.7383</c:v>
                </c:pt>
                <c:pt idx="716">
                  <c:v>101.08364</c:v>
                </c:pt>
                <c:pt idx="717">
                  <c:v>99.980080000000001</c:v>
                </c:pt>
                <c:pt idx="718">
                  <c:v>97.668570000000003</c:v>
                </c:pt>
                <c:pt idx="719">
                  <c:v>97.573520000000002</c:v>
                </c:pt>
                <c:pt idx="720">
                  <c:v>98.513829999999999</c:v>
                </c:pt>
                <c:pt idx="721">
                  <c:v>97.550064000000006</c:v>
                </c:pt>
                <c:pt idx="722">
                  <c:v>97.595690000000005</c:v>
                </c:pt>
                <c:pt idx="723">
                  <c:v>97.754395000000002</c:v>
                </c:pt>
                <c:pt idx="724">
                  <c:v>97.911429999999996</c:v>
                </c:pt>
                <c:pt idx="725">
                  <c:v>98.963149999999999</c:v>
                </c:pt>
                <c:pt idx="726">
                  <c:v>98.608500000000006</c:v>
                </c:pt>
                <c:pt idx="727">
                  <c:v>97.996830000000003</c:v>
                </c:pt>
                <c:pt idx="728">
                  <c:v>97.5916</c:v>
                </c:pt>
                <c:pt idx="729">
                  <c:v>96.496634999999998</c:v>
                </c:pt>
                <c:pt idx="730">
                  <c:v>95.256584000000004</c:v>
                </c:pt>
                <c:pt idx="731">
                  <c:v>93.675070000000005</c:v>
                </c:pt>
                <c:pt idx="732">
                  <c:v>92.539169999999999</c:v>
                </c:pt>
                <c:pt idx="733">
                  <c:v>91.552250000000001</c:v>
                </c:pt>
                <c:pt idx="734">
                  <c:v>90.394800000000004</c:v>
                </c:pt>
                <c:pt idx="735">
                  <c:v>89.962270000000004</c:v>
                </c:pt>
                <c:pt idx="736">
                  <c:v>89.959755000000001</c:v>
                </c:pt>
                <c:pt idx="737">
                  <c:v>89.629813999999996</c:v>
                </c:pt>
                <c:pt idx="738">
                  <c:v>89.551720000000003</c:v>
                </c:pt>
                <c:pt idx="739">
                  <c:v>89.384020000000007</c:v>
                </c:pt>
                <c:pt idx="740">
                  <c:v>89.858185000000006</c:v>
                </c:pt>
                <c:pt idx="741">
                  <c:v>89.576440000000005</c:v>
                </c:pt>
                <c:pt idx="742">
                  <c:v>89.524979999999999</c:v>
                </c:pt>
                <c:pt idx="743">
                  <c:v>89.027349999999998</c:v>
                </c:pt>
                <c:pt idx="744">
                  <c:v>88.653419999999997</c:v>
                </c:pt>
                <c:pt idx="745">
                  <c:v>89.051734999999994</c:v>
                </c:pt>
                <c:pt idx="746">
                  <c:v>89.297120000000007</c:v>
                </c:pt>
                <c:pt idx="747">
                  <c:v>90.390730000000005</c:v>
                </c:pt>
                <c:pt idx="748">
                  <c:v>88.930465999999996</c:v>
                </c:pt>
                <c:pt idx="749">
                  <c:v>88.83417</c:v>
                </c:pt>
                <c:pt idx="750">
                  <c:v>88.31156</c:v>
                </c:pt>
                <c:pt idx="751">
                  <c:v>87.829660000000004</c:v>
                </c:pt>
                <c:pt idx="752">
                  <c:v>87.520009999999999</c:v>
                </c:pt>
                <c:pt idx="753">
                  <c:v>89.49897</c:v>
                </c:pt>
                <c:pt idx="754">
                  <c:v>89.486946000000003</c:v>
                </c:pt>
                <c:pt idx="755">
                  <c:v>89.716359999999995</c:v>
                </c:pt>
                <c:pt idx="756">
                  <c:v>90.106949999999998</c:v>
                </c:pt>
                <c:pt idx="757">
                  <c:v>90.802634999999995</c:v>
                </c:pt>
                <c:pt idx="758">
                  <c:v>90.867440000000002</c:v>
                </c:pt>
                <c:pt idx="759">
                  <c:v>88.097859999999997</c:v>
                </c:pt>
                <c:pt idx="760">
                  <c:v>90.788345000000007</c:v>
                </c:pt>
                <c:pt idx="761">
                  <c:v>90.339579999999998</c:v>
                </c:pt>
                <c:pt idx="762">
                  <c:v>89.999319999999997</c:v>
                </c:pt>
                <c:pt idx="763">
                  <c:v>89.822689999999994</c:v>
                </c:pt>
                <c:pt idx="764">
                  <c:v>89.530799999999999</c:v>
                </c:pt>
                <c:pt idx="765">
                  <c:v>89.099620000000002</c:v>
                </c:pt>
                <c:pt idx="766">
                  <c:v>89.298225000000002</c:v>
                </c:pt>
                <c:pt idx="767">
                  <c:v>89.663709999999995</c:v>
                </c:pt>
                <c:pt idx="768">
                  <c:v>90.167990000000003</c:v>
                </c:pt>
                <c:pt idx="769">
                  <c:v>90.650536000000002</c:v>
                </c:pt>
                <c:pt idx="770">
                  <c:v>91.109160000000003</c:v>
                </c:pt>
                <c:pt idx="771">
                  <c:v>91.138750000000002</c:v>
                </c:pt>
                <c:pt idx="772">
                  <c:v>91.328460000000007</c:v>
                </c:pt>
                <c:pt idx="773">
                  <c:v>91.384709999999998</c:v>
                </c:pt>
                <c:pt idx="774">
                  <c:v>91.878789999999995</c:v>
                </c:pt>
                <c:pt idx="775">
                  <c:v>92.229219999999998</c:v>
                </c:pt>
                <c:pt idx="776">
                  <c:v>92.43468</c:v>
                </c:pt>
                <c:pt idx="777">
                  <c:v>92.767920000000004</c:v>
                </c:pt>
                <c:pt idx="778">
                  <c:v>93.200096000000002</c:v>
                </c:pt>
                <c:pt idx="779">
                  <c:v>94.005049999999997</c:v>
                </c:pt>
                <c:pt idx="780">
                  <c:v>95.776300000000006</c:v>
                </c:pt>
                <c:pt idx="781">
                  <c:v>94.878709999999998</c:v>
                </c:pt>
                <c:pt idx="782">
                  <c:v>94.664050000000003</c:v>
                </c:pt>
                <c:pt idx="783">
                  <c:v>94.006469999999993</c:v>
                </c:pt>
                <c:pt idx="784">
                  <c:v>93.73039</c:v>
                </c:pt>
                <c:pt idx="785">
                  <c:v>93.925803999999999</c:v>
                </c:pt>
                <c:pt idx="786">
                  <c:v>93.465059999999994</c:v>
                </c:pt>
                <c:pt idx="787">
                  <c:v>93.641930000000002</c:v>
                </c:pt>
                <c:pt idx="788">
                  <c:v>94.070390000000003</c:v>
                </c:pt>
                <c:pt idx="789">
                  <c:v>94.368679999999998</c:v>
                </c:pt>
                <c:pt idx="790">
                  <c:v>94.635350000000003</c:v>
                </c:pt>
                <c:pt idx="791">
                  <c:v>94.996859999999998</c:v>
                </c:pt>
                <c:pt idx="792">
                  <c:v>95.000020000000006</c:v>
                </c:pt>
                <c:pt idx="793">
                  <c:v>95.077640000000002</c:v>
                </c:pt>
                <c:pt idx="794">
                  <c:v>94.962620000000001</c:v>
                </c:pt>
                <c:pt idx="795">
                  <c:v>95.134150000000005</c:v>
                </c:pt>
                <c:pt idx="796">
                  <c:v>95.693259999999995</c:v>
                </c:pt>
                <c:pt idx="797">
                  <c:v>96.100080000000005</c:v>
                </c:pt>
                <c:pt idx="798">
                  <c:v>96.365943999999999</c:v>
                </c:pt>
                <c:pt idx="799">
                  <c:v>98.604929999999996</c:v>
                </c:pt>
                <c:pt idx="800">
                  <c:v>97.775374999999997</c:v>
                </c:pt>
                <c:pt idx="801">
                  <c:v>98.275313999999995</c:v>
                </c:pt>
                <c:pt idx="802">
                  <c:v>98.525419999999997</c:v>
                </c:pt>
                <c:pt idx="803">
                  <c:v>98.658529999999999</c:v>
                </c:pt>
                <c:pt idx="804">
                  <c:v>98.714600000000004</c:v>
                </c:pt>
                <c:pt idx="805">
                  <c:v>98.809849999999997</c:v>
                </c:pt>
                <c:pt idx="806">
                  <c:v>98.93683</c:v>
                </c:pt>
                <c:pt idx="807">
                  <c:v>98.777244999999994</c:v>
                </c:pt>
                <c:pt idx="808">
                  <c:v>98.557159999999996</c:v>
                </c:pt>
                <c:pt idx="809">
                  <c:v>98.387159999999994</c:v>
                </c:pt>
                <c:pt idx="810">
                  <c:v>98.221400000000003</c:v>
                </c:pt>
                <c:pt idx="811">
                  <c:v>97.981160000000003</c:v>
                </c:pt>
                <c:pt idx="812">
                  <c:v>97.900604000000001</c:v>
                </c:pt>
                <c:pt idx="813">
                  <c:v>98.034620000000004</c:v>
                </c:pt>
                <c:pt idx="814">
                  <c:v>97.301990000000004</c:v>
                </c:pt>
                <c:pt idx="815">
                  <c:v>99.734350000000006</c:v>
                </c:pt>
                <c:pt idx="816">
                  <c:v>102.039986</c:v>
                </c:pt>
                <c:pt idx="817">
                  <c:v>99.579300000000003</c:v>
                </c:pt>
                <c:pt idx="818">
                  <c:v>99.400959999999998</c:v>
                </c:pt>
                <c:pt idx="819">
                  <c:v>99.630619999999993</c:v>
                </c:pt>
                <c:pt idx="820">
                  <c:v>99.086550000000003</c:v>
                </c:pt>
                <c:pt idx="821">
                  <c:v>98.833219999999997</c:v>
                </c:pt>
                <c:pt idx="822">
                  <c:v>98.32347</c:v>
                </c:pt>
                <c:pt idx="823">
                  <c:v>98.077324000000004</c:v>
                </c:pt>
                <c:pt idx="824">
                  <c:v>97.23075</c:v>
                </c:pt>
                <c:pt idx="825">
                  <c:v>97.785520000000005</c:v>
                </c:pt>
                <c:pt idx="826">
                  <c:v>97.749409999999997</c:v>
                </c:pt>
                <c:pt idx="827">
                  <c:v>97.682045000000002</c:v>
                </c:pt>
                <c:pt idx="828">
                  <c:v>97.773929999999993</c:v>
                </c:pt>
                <c:pt idx="829">
                  <c:v>97.244389999999996</c:v>
                </c:pt>
                <c:pt idx="830">
                  <c:v>97.755554000000004</c:v>
                </c:pt>
                <c:pt idx="831">
                  <c:v>97.974869999999996</c:v>
                </c:pt>
                <c:pt idx="832">
                  <c:v>98.368613999999994</c:v>
                </c:pt>
                <c:pt idx="833">
                  <c:v>98.858130000000003</c:v>
                </c:pt>
                <c:pt idx="834">
                  <c:v>99.508110000000002</c:v>
                </c:pt>
                <c:pt idx="835">
                  <c:v>100.29014599999999</c:v>
                </c:pt>
                <c:pt idx="836">
                  <c:v>101.05882</c:v>
                </c:pt>
                <c:pt idx="837">
                  <c:v>101.61723000000001</c:v>
                </c:pt>
                <c:pt idx="838">
                  <c:v>101.77097999999999</c:v>
                </c:pt>
                <c:pt idx="839">
                  <c:v>101.10475</c:v>
                </c:pt>
                <c:pt idx="840">
                  <c:v>101.04801</c:v>
                </c:pt>
                <c:pt idx="841">
                  <c:v>100.54257</c:v>
                </c:pt>
                <c:pt idx="842">
                  <c:v>99.896820000000005</c:v>
                </c:pt>
                <c:pt idx="843">
                  <c:v>99.442700000000002</c:v>
                </c:pt>
                <c:pt idx="844">
                  <c:v>99.4589</c:v>
                </c:pt>
                <c:pt idx="845">
                  <c:v>100.43163</c:v>
                </c:pt>
                <c:pt idx="846">
                  <c:v>102.08547</c:v>
                </c:pt>
                <c:pt idx="847">
                  <c:v>101.88558999999999</c:v>
                </c:pt>
                <c:pt idx="848">
                  <c:v>100.43228000000001</c:v>
                </c:pt>
                <c:pt idx="849">
                  <c:v>99.450670000000002</c:v>
                </c:pt>
                <c:pt idx="850">
                  <c:v>99.431526000000005</c:v>
                </c:pt>
                <c:pt idx="851">
                  <c:v>99.428600000000003</c:v>
                </c:pt>
                <c:pt idx="852">
                  <c:v>99.66807</c:v>
                </c:pt>
                <c:pt idx="853">
                  <c:v>99.605940000000004</c:v>
                </c:pt>
                <c:pt idx="854">
                  <c:v>99.897909999999996</c:v>
                </c:pt>
                <c:pt idx="855">
                  <c:v>100.00785999999999</c:v>
                </c:pt>
                <c:pt idx="856">
                  <c:v>100.55174</c:v>
                </c:pt>
                <c:pt idx="857">
                  <c:v>101.34184</c:v>
                </c:pt>
                <c:pt idx="858">
                  <c:v>102.2623</c:v>
                </c:pt>
                <c:pt idx="859">
                  <c:v>102.46003</c:v>
                </c:pt>
                <c:pt idx="860">
                  <c:v>103.31535</c:v>
                </c:pt>
                <c:pt idx="861">
                  <c:v>104.78515</c:v>
                </c:pt>
                <c:pt idx="862">
                  <c:v>104.06985</c:v>
                </c:pt>
                <c:pt idx="863">
                  <c:v>103.42435</c:v>
                </c:pt>
                <c:pt idx="864">
                  <c:v>101.84457399999999</c:v>
                </c:pt>
                <c:pt idx="865">
                  <c:v>98.667749999999998</c:v>
                </c:pt>
                <c:pt idx="866">
                  <c:v>95.912819999999996</c:v>
                </c:pt>
                <c:pt idx="867">
                  <c:v>95.302189999999996</c:v>
                </c:pt>
                <c:pt idx="868">
                  <c:v>95.871216000000004</c:v>
                </c:pt>
                <c:pt idx="869">
                  <c:v>95.302419999999998</c:v>
                </c:pt>
                <c:pt idx="870">
                  <c:v>93.903469999999999</c:v>
                </c:pt>
                <c:pt idx="871">
                  <c:v>92.754000000000005</c:v>
                </c:pt>
                <c:pt idx="872">
                  <c:v>91.926079999999999</c:v>
                </c:pt>
                <c:pt idx="873">
                  <c:v>91.183043999999995</c:v>
                </c:pt>
                <c:pt idx="874">
                  <c:v>90.503500000000003</c:v>
                </c:pt>
                <c:pt idx="875">
                  <c:v>90.010319999999993</c:v>
                </c:pt>
                <c:pt idx="876">
                  <c:v>89.769069999999999</c:v>
                </c:pt>
                <c:pt idx="877">
                  <c:v>89.773179999999996</c:v>
                </c:pt>
                <c:pt idx="878">
                  <c:v>90.601579999999998</c:v>
                </c:pt>
                <c:pt idx="879">
                  <c:v>92.523920000000004</c:v>
                </c:pt>
                <c:pt idx="880">
                  <c:v>93.730729999999994</c:v>
                </c:pt>
                <c:pt idx="881">
                  <c:v>94.706270000000004</c:v>
                </c:pt>
                <c:pt idx="882">
                  <c:v>94.827789999999993</c:v>
                </c:pt>
                <c:pt idx="883">
                  <c:v>94.027664000000001</c:v>
                </c:pt>
                <c:pt idx="884">
                  <c:v>92.637730000000005</c:v>
                </c:pt>
                <c:pt idx="885">
                  <c:v>91.572710000000001</c:v>
                </c:pt>
                <c:pt idx="886">
                  <c:v>91.573639999999997</c:v>
                </c:pt>
                <c:pt idx="887">
                  <c:v>92.646969999999996</c:v>
                </c:pt>
                <c:pt idx="888">
                  <c:v>93.52749</c:v>
                </c:pt>
                <c:pt idx="889">
                  <c:v>93.452860000000001</c:v>
                </c:pt>
                <c:pt idx="890">
                  <c:v>92.724593999999996</c:v>
                </c:pt>
                <c:pt idx="891">
                  <c:v>91.925960000000003</c:v>
                </c:pt>
                <c:pt idx="892">
                  <c:v>91.432654999999997</c:v>
                </c:pt>
                <c:pt idx="893">
                  <c:v>90.802895000000007</c:v>
                </c:pt>
                <c:pt idx="894">
                  <c:v>90.180779999999999</c:v>
                </c:pt>
                <c:pt idx="895">
                  <c:v>89.77852</c:v>
                </c:pt>
                <c:pt idx="896">
                  <c:v>89.533280000000005</c:v>
                </c:pt>
                <c:pt idx="897">
                  <c:v>89.593450000000004</c:v>
                </c:pt>
                <c:pt idx="898">
                  <c:v>89.578963999999999</c:v>
                </c:pt>
                <c:pt idx="899">
                  <c:v>89.602530000000002</c:v>
                </c:pt>
                <c:pt idx="900">
                  <c:v>88.885329999999996</c:v>
                </c:pt>
                <c:pt idx="901">
                  <c:v>88.799570000000003</c:v>
                </c:pt>
                <c:pt idx="902">
                  <c:v>88.419749999999993</c:v>
                </c:pt>
                <c:pt idx="903">
                  <c:v>88.188310000000001</c:v>
                </c:pt>
                <c:pt idx="904">
                  <c:v>88.413719999999998</c:v>
                </c:pt>
                <c:pt idx="905">
                  <c:v>88.549509999999998</c:v>
                </c:pt>
                <c:pt idx="906">
                  <c:v>88.571659999999994</c:v>
                </c:pt>
                <c:pt idx="907">
                  <c:v>88.446309999999997</c:v>
                </c:pt>
                <c:pt idx="908">
                  <c:v>88.127335000000002</c:v>
                </c:pt>
                <c:pt idx="909">
                  <c:v>88.083169999999996</c:v>
                </c:pt>
                <c:pt idx="910">
                  <c:v>88.482979999999998</c:v>
                </c:pt>
                <c:pt idx="911">
                  <c:v>89.497283999999993</c:v>
                </c:pt>
                <c:pt idx="912">
                  <c:v>87.999504000000002</c:v>
                </c:pt>
                <c:pt idx="913">
                  <c:v>89.901929999999993</c:v>
                </c:pt>
                <c:pt idx="914">
                  <c:v>90.359110000000001</c:v>
                </c:pt>
                <c:pt idx="915">
                  <c:v>90.344949999999997</c:v>
                </c:pt>
                <c:pt idx="916">
                  <c:v>90.415899999999993</c:v>
                </c:pt>
                <c:pt idx="917">
                  <c:v>89.864689999999996</c:v>
                </c:pt>
                <c:pt idx="918">
                  <c:v>88.730149999999995</c:v>
                </c:pt>
                <c:pt idx="919">
                  <c:v>89.316765000000004</c:v>
                </c:pt>
                <c:pt idx="920">
                  <c:v>88.806495999999996</c:v>
                </c:pt>
                <c:pt idx="921">
                  <c:v>89.485500000000002</c:v>
                </c:pt>
                <c:pt idx="922">
                  <c:v>89.152534000000003</c:v>
                </c:pt>
                <c:pt idx="923">
                  <c:v>88.885249999999999</c:v>
                </c:pt>
                <c:pt idx="924">
                  <c:v>88.345590000000001</c:v>
                </c:pt>
                <c:pt idx="925">
                  <c:v>88.439099999999996</c:v>
                </c:pt>
                <c:pt idx="926">
                  <c:v>86.851005999999998</c:v>
                </c:pt>
                <c:pt idx="927">
                  <c:v>86.241720000000001</c:v>
                </c:pt>
                <c:pt idx="928">
                  <c:v>85.903490000000005</c:v>
                </c:pt>
                <c:pt idx="929">
                  <c:v>87.297510000000003</c:v>
                </c:pt>
                <c:pt idx="930">
                  <c:v>86.069379999999995</c:v>
                </c:pt>
                <c:pt idx="931">
                  <c:v>86.710075000000003</c:v>
                </c:pt>
                <c:pt idx="932">
                  <c:v>86.670150000000007</c:v>
                </c:pt>
                <c:pt idx="933">
                  <c:v>87.128489999999999</c:v>
                </c:pt>
                <c:pt idx="934">
                  <c:v>87.512276</c:v>
                </c:pt>
                <c:pt idx="935">
                  <c:v>87.232085999999995</c:v>
                </c:pt>
                <c:pt idx="936">
                  <c:v>87.018906000000001</c:v>
                </c:pt>
                <c:pt idx="937">
                  <c:v>86.509094000000005</c:v>
                </c:pt>
                <c:pt idx="938">
                  <c:v>86.475266000000005</c:v>
                </c:pt>
                <c:pt idx="939">
                  <c:v>86.740880000000004</c:v>
                </c:pt>
                <c:pt idx="940">
                  <c:v>86.856514000000004</c:v>
                </c:pt>
                <c:pt idx="941">
                  <c:v>87.762289999999993</c:v>
                </c:pt>
                <c:pt idx="942">
                  <c:v>88.890240000000006</c:v>
                </c:pt>
                <c:pt idx="943">
                  <c:v>89.995660000000001</c:v>
                </c:pt>
                <c:pt idx="944">
                  <c:v>89.589966000000004</c:v>
                </c:pt>
                <c:pt idx="945">
                  <c:v>93.852260000000001</c:v>
                </c:pt>
                <c:pt idx="946">
                  <c:v>95.052279999999996</c:v>
                </c:pt>
                <c:pt idx="947">
                  <c:v>95.236230000000006</c:v>
                </c:pt>
                <c:pt idx="948">
                  <c:v>95.370769999999993</c:v>
                </c:pt>
                <c:pt idx="949">
                  <c:v>95.985240000000005</c:v>
                </c:pt>
                <c:pt idx="950">
                  <c:v>95.449875000000006</c:v>
                </c:pt>
                <c:pt idx="951">
                  <c:v>95.340159999999997</c:v>
                </c:pt>
                <c:pt idx="952">
                  <c:v>94.416870000000003</c:v>
                </c:pt>
                <c:pt idx="953">
                  <c:v>93.941159999999996</c:v>
                </c:pt>
                <c:pt idx="954">
                  <c:v>93.861310000000003</c:v>
                </c:pt>
                <c:pt idx="955">
                  <c:v>94.208470000000005</c:v>
                </c:pt>
                <c:pt idx="956">
                  <c:v>94.500770000000003</c:v>
                </c:pt>
                <c:pt idx="957">
                  <c:v>94.848174999999998</c:v>
                </c:pt>
                <c:pt idx="958">
                  <c:v>94.739260000000002</c:v>
                </c:pt>
                <c:pt idx="959">
                  <c:v>94.196340000000006</c:v>
                </c:pt>
                <c:pt idx="960">
                  <c:v>93.930750000000003</c:v>
                </c:pt>
                <c:pt idx="961">
                  <c:v>93.526054000000002</c:v>
                </c:pt>
                <c:pt idx="962">
                  <c:v>94.864810000000006</c:v>
                </c:pt>
                <c:pt idx="963">
                  <c:v>96.486750000000001</c:v>
                </c:pt>
                <c:pt idx="964">
                  <c:v>98.026290000000003</c:v>
                </c:pt>
                <c:pt idx="965">
                  <c:v>99.284109999999998</c:v>
                </c:pt>
                <c:pt idx="966">
                  <c:v>100.650955</c:v>
                </c:pt>
                <c:pt idx="967">
                  <c:v>101.26327000000001</c:v>
                </c:pt>
                <c:pt idx="968">
                  <c:v>101.63446999999999</c:v>
                </c:pt>
                <c:pt idx="969">
                  <c:v>101.62811000000001</c:v>
                </c:pt>
                <c:pt idx="970">
                  <c:v>100.83156</c:v>
                </c:pt>
                <c:pt idx="971">
                  <c:v>100.88378</c:v>
                </c:pt>
                <c:pt idx="972">
                  <c:v>100.48959000000001</c:v>
                </c:pt>
                <c:pt idx="973">
                  <c:v>100.33235999999999</c:v>
                </c:pt>
                <c:pt idx="974">
                  <c:v>100.58431</c:v>
                </c:pt>
                <c:pt idx="975">
                  <c:v>102.565544</c:v>
                </c:pt>
                <c:pt idx="976">
                  <c:v>102.76299</c:v>
                </c:pt>
                <c:pt idx="977">
                  <c:v>101.97668</c:v>
                </c:pt>
                <c:pt idx="978">
                  <c:v>101.71033</c:v>
                </c:pt>
                <c:pt idx="979">
                  <c:v>101.365616</c:v>
                </c:pt>
                <c:pt idx="980">
                  <c:v>101.95657</c:v>
                </c:pt>
                <c:pt idx="981">
                  <c:v>102.946724</c:v>
                </c:pt>
                <c:pt idx="982">
                  <c:v>103.73688</c:v>
                </c:pt>
                <c:pt idx="983">
                  <c:v>103.82203</c:v>
                </c:pt>
                <c:pt idx="984">
                  <c:v>103.52247</c:v>
                </c:pt>
                <c:pt idx="985">
                  <c:v>102.97410000000001</c:v>
                </c:pt>
                <c:pt idx="986">
                  <c:v>102.23208</c:v>
                </c:pt>
                <c:pt idx="987">
                  <c:v>101.60645</c:v>
                </c:pt>
                <c:pt idx="988">
                  <c:v>101.13981</c:v>
                </c:pt>
                <c:pt idx="989">
                  <c:v>101.22436999999999</c:v>
                </c:pt>
                <c:pt idx="990">
                  <c:v>101.50078600000001</c:v>
                </c:pt>
                <c:pt idx="991">
                  <c:v>102.64041</c:v>
                </c:pt>
                <c:pt idx="992">
                  <c:v>102.79268999999999</c:v>
                </c:pt>
                <c:pt idx="993">
                  <c:v>101.83606</c:v>
                </c:pt>
                <c:pt idx="994">
                  <c:v>101.68667000000001</c:v>
                </c:pt>
                <c:pt idx="995">
                  <c:v>101.23754</c:v>
                </c:pt>
                <c:pt idx="996">
                  <c:v>102.24451999999999</c:v>
                </c:pt>
                <c:pt idx="997">
                  <c:v>102.46652</c:v>
                </c:pt>
                <c:pt idx="998">
                  <c:v>101.83014</c:v>
                </c:pt>
                <c:pt idx="999">
                  <c:v>100.96931499999999</c:v>
                </c:pt>
                <c:pt idx="1000">
                  <c:v>100.60706999999999</c:v>
                </c:pt>
                <c:pt idx="1001">
                  <c:v>101.79691</c:v>
                </c:pt>
                <c:pt idx="1002">
                  <c:v>101.14731</c:v>
                </c:pt>
                <c:pt idx="1003">
                  <c:v>101.91726</c:v>
                </c:pt>
                <c:pt idx="1004">
                  <c:v>102.31929</c:v>
                </c:pt>
                <c:pt idx="1005">
                  <c:v>102.84296399999999</c:v>
                </c:pt>
                <c:pt idx="1006">
                  <c:v>103.83887</c:v>
                </c:pt>
                <c:pt idx="1007">
                  <c:v>104.98197</c:v>
                </c:pt>
                <c:pt idx="1008">
                  <c:v>106.169014</c:v>
                </c:pt>
                <c:pt idx="1009">
                  <c:v>106.88963</c:v>
                </c:pt>
                <c:pt idx="1010">
                  <c:v>107.27413</c:v>
                </c:pt>
                <c:pt idx="1011">
                  <c:v>107.800995</c:v>
                </c:pt>
                <c:pt idx="1012">
                  <c:v>107.6362</c:v>
                </c:pt>
                <c:pt idx="1013">
                  <c:v>107.91598</c:v>
                </c:pt>
                <c:pt idx="1014">
                  <c:v>107.85584</c:v>
                </c:pt>
                <c:pt idx="1015">
                  <c:v>107.84560399999999</c:v>
                </c:pt>
                <c:pt idx="1016">
                  <c:v>107.857704</c:v>
                </c:pt>
                <c:pt idx="1017">
                  <c:v>107.92551400000001</c:v>
                </c:pt>
                <c:pt idx="1018">
                  <c:v>108.46755</c:v>
                </c:pt>
                <c:pt idx="1019">
                  <c:v>108.72008</c:v>
                </c:pt>
                <c:pt idx="1020">
                  <c:v>108.95511999999999</c:v>
                </c:pt>
                <c:pt idx="1021">
                  <c:v>108.88088999999999</c:v>
                </c:pt>
                <c:pt idx="1022">
                  <c:v>108.63543</c:v>
                </c:pt>
                <c:pt idx="1023">
                  <c:v>108.35302</c:v>
                </c:pt>
                <c:pt idx="1024">
                  <c:v>108.18209</c:v>
                </c:pt>
                <c:pt idx="1025">
                  <c:v>108.26433</c:v>
                </c:pt>
                <c:pt idx="1026">
                  <c:v>108.44414</c:v>
                </c:pt>
                <c:pt idx="1027">
                  <c:v>108.128845</c:v>
                </c:pt>
                <c:pt idx="1028">
                  <c:v>108.29036000000001</c:v>
                </c:pt>
                <c:pt idx="1029">
                  <c:v>108.31558</c:v>
                </c:pt>
                <c:pt idx="1030">
                  <c:v>108.66289500000001</c:v>
                </c:pt>
                <c:pt idx="1031">
                  <c:v>108.56910000000001</c:v>
                </c:pt>
                <c:pt idx="1032">
                  <c:v>107.92932999999999</c:v>
                </c:pt>
                <c:pt idx="1033">
                  <c:v>107.74374</c:v>
                </c:pt>
                <c:pt idx="1034">
                  <c:v>107.92529999999999</c:v>
                </c:pt>
                <c:pt idx="1035">
                  <c:v>107.789055</c:v>
                </c:pt>
                <c:pt idx="1036">
                  <c:v>107.87356</c:v>
                </c:pt>
                <c:pt idx="1037">
                  <c:v>108.012726</c:v>
                </c:pt>
                <c:pt idx="1038">
                  <c:v>107.794426</c:v>
                </c:pt>
                <c:pt idx="1039">
                  <c:v>107.58812</c:v>
                </c:pt>
                <c:pt idx="1040">
                  <c:v>107.71885</c:v>
                </c:pt>
                <c:pt idx="1041">
                  <c:v>107.58038999999999</c:v>
                </c:pt>
                <c:pt idx="1042">
                  <c:v>107.46979</c:v>
                </c:pt>
                <c:pt idx="1043">
                  <c:v>107.27417</c:v>
                </c:pt>
                <c:pt idx="1044">
                  <c:v>107.227165</c:v>
                </c:pt>
                <c:pt idx="1045">
                  <c:v>107.10977</c:v>
                </c:pt>
                <c:pt idx="1046">
                  <c:v>106.76436</c:v>
                </c:pt>
                <c:pt idx="1047">
                  <c:v>106.53149999999999</c:v>
                </c:pt>
                <c:pt idx="1048">
                  <c:v>107.41235</c:v>
                </c:pt>
                <c:pt idx="1049">
                  <c:v>107.12562</c:v>
                </c:pt>
                <c:pt idx="1050">
                  <c:v>107.19288</c:v>
                </c:pt>
                <c:pt idx="1051">
                  <c:v>107.06583000000001</c:v>
                </c:pt>
                <c:pt idx="1052">
                  <c:v>106.90854</c:v>
                </c:pt>
                <c:pt idx="1053">
                  <c:v>107.12990000000001</c:v>
                </c:pt>
                <c:pt idx="1054">
                  <c:v>107.12535</c:v>
                </c:pt>
                <c:pt idx="1055">
                  <c:v>107.35832000000001</c:v>
                </c:pt>
                <c:pt idx="1056">
                  <c:v>107.75539999999999</c:v>
                </c:pt>
                <c:pt idx="1057">
                  <c:v>108.31659000000001</c:v>
                </c:pt>
                <c:pt idx="1058">
                  <c:v>108.70447</c:v>
                </c:pt>
                <c:pt idx="1059">
                  <c:v>108.60012999999999</c:v>
                </c:pt>
                <c:pt idx="1060">
                  <c:v>109.179756</c:v>
                </c:pt>
                <c:pt idx="1061">
                  <c:v>109.772575</c:v>
                </c:pt>
                <c:pt idx="1062">
                  <c:v>109.01236</c:v>
                </c:pt>
                <c:pt idx="1063">
                  <c:v>108.021736</c:v>
                </c:pt>
                <c:pt idx="1064">
                  <c:v>107.93289</c:v>
                </c:pt>
                <c:pt idx="1065">
                  <c:v>107.29854</c:v>
                </c:pt>
                <c:pt idx="1066">
                  <c:v>106.48397</c:v>
                </c:pt>
                <c:pt idx="1067">
                  <c:v>106.01295</c:v>
                </c:pt>
                <c:pt idx="1068">
                  <c:v>105.15163</c:v>
                </c:pt>
                <c:pt idx="1069">
                  <c:v>105.40947</c:v>
                </c:pt>
                <c:pt idx="1070">
                  <c:v>105.89592</c:v>
                </c:pt>
                <c:pt idx="1071">
                  <c:v>105.709526</c:v>
                </c:pt>
                <c:pt idx="1072">
                  <c:v>104.047844</c:v>
                </c:pt>
                <c:pt idx="1073">
                  <c:v>103.65187</c:v>
                </c:pt>
                <c:pt idx="1074">
                  <c:v>104.20463599999999</c:v>
                </c:pt>
                <c:pt idx="1075">
                  <c:v>104.73859</c:v>
                </c:pt>
                <c:pt idx="1076">
                  <c:v>104.82426</c:v>
                </c:pt>
                <c:pt idx="1077">
                  <c:v>105.283</c:v>
                </c:pt>
                <c:pt idx="1078">
                  <c:v>105.02885000000001</c:v>
                </c:pt>
                <c:pt idx="1079">
                  <c:v>105.029205</c:v>
                </c:pt>
                <c:pt idx="1080">
                  <c:v>106.77722</c:v>
                </c:pt>
                <c:pt idx="1081">
                  <c:v>104.61534</c:v>
                </c:pt>
                <c:pt idx="1082">
                  <c:v>103.21983</c:v>
                </c:pt>
                <c:pt idx="1083">
                  <c:v>103.394295</c:v>
                </c:pt>
                <c:pt idx="1084">
                  <c:v>102.78807999999999</c:v>
                </c:pt>
                <c:pt idx="1085">
                  <c:v>102.638115</c:v>
                </c:pt>
                <c:pt idx="1086">
                  <c:v>102.920815</c:v>
                </c:pt>
                <c:pt idx="1087">
                  <c:v>102.269875</c:v>
                </c:pt>
                <c:pt idx="1088">
                  <c:v>100.84761</c:v>
                </c:pt>
                <c:pt idx="1089">
                  <c:v>99.262090000000001</c:v>
                </c:pt>
                <c:pt idx="1090">
                  <c:v>98.425064000000006</c:v>
                </c:pt>
                <c:pt idx="1091">
                  <c:v>98.24221</c:v>
                </c:pt>
                <c:pt idx="1092">
                  <c:v>98.896810000000002</c:v>
                </c:pt>
                <c:pt idx="1093">
                  <c:v>99.602980000000002</c:v>
                </c:pt>
                <c:pt idx="1094">
                  <c:v>99.757149999999996</c:v>
                </c:pt>
                <c:pt idx="1095">
                  <c:v>100.1605</c:v>
                </c:pt>
                <c:pt idx="1096">
                  <c:v>99.567549999999997</c:v>
                </c:pt>
                <c:pt idx="1097">
                  <c:v>103.56457</c:v>
                </c:pt>
                <c:pt idx="1098">
                  <c:v>100.99746</c:v>
                </c:pt>
                <c:pt idx="1099">
                  <c:v>99.653829999999999</c:v>
                </c:pt>
                <c:pt idx="1100">
                  <c:v>98.903139999999993</c:v>
                </c:pt>
                <c:pt idx="1101">
                  <c:v>99.683580000000006</c:v>
                </c:pt>
                <c:pt idx="1102">
                  <c:v>101.10245999999999</c:v>
                </c:pt>
                <c:pt idx="1103">
                  <c:v>100.73877</c:v>
                </c:pt>
                <c:pt idx="1104">
                  <c:v>100.86799000000001</c:v>
                </c:pt>
                <c:pt idx="1105">
                  <c:v>100.93467</c:v>
                </c:pt>
                <c:pt idx="1106">
                  <c:v>100.68795</c:v>
                </c:pt>
                <c:pt idx="1107">
                  <c:v>100.143074</c:v>
                </c:pt>
                <c:pt idx="1108">
                  <c:v>100.44847</c:v>
                </c:pt>
                <c:pt idx="1109">
                  <c:v>100.576065</c:v>
                </c:pt>
                <c:pt idx="1110">
                  <c:v>100.410225</c:v>
                </c:pt>
                <c:pt idx="1111">
                  <c:v>100.78156</c:v>
                </c:pt>
                <c:pt idx="1112">
                  <c:v>100.61762</c:v>
                </c:pt>
                <c:pt idx="1113">
                  <c:v>102.244995</c:v>
                </c:pt>
                <c:pt idx="1114">
                  <c:v>102.99055</c:v>
                </c:pt>
                <c:pt idx="1115">
                  <c:v>104.72187</c:v>
                </c:pt>
                <c:pt idx="1116">
                  <c:v>104.46397399999999</c:v>
                </c:pt>
                <c:pt idx="1117">
                  <c:v>105.1326</c:v>
                </c:pt>
                <c:pt idx="1118">
                  <c:v>105.34749600000001</c:v>
                </c:pt>
                <c:pt idx="1119">
                  <c:v>105.514084</c:v>
                </c:pt>
                <c:pt idx="1120">
                  <c:v>105.18262</c:v>
                </c:pt>
                <c:pt idx="1121">
                  <c:v>105.062325</c:v>
                </c:pt>
                <c:pt idx="1122">
                  <c:v>103.988945</c:v>
                </c:pt>
                <c:pt idx="1123">
                  <c:v>103.70637499999999</c:v>
                </c:pt>
                <c:pt idx="1124">
                  <c:v>103.423935</c:v>
                </c:pt>
                <c:pt idx="1125">
                  <c:v>103.3931</c:v>
                </c:pt>
                <c:pt idx="1126">
                  <c:v>102.84963</c:v>
                </c:pt>
                <c:pt idx="1127">
                  <c:v>101.95355000000001</c:v>
                </c:pt>
                <c:pt idx="1128">
                  <c:v>103.02248400000001</c:v>
                </c:pt>
                <c:pt idx="1129">
                  <c:v>103.62672000000001</c:v>
                </c:pt>
                <c:pt idx="1130">
                  <c:v>103.734314</c:v>
                </c:pt>
                <c:pt idx="1131">
                  <c:v>99.885734999999997</c:v>
                </c:pt>
                <c:pt idx="1132">
                  <c:v>97.616399999999999</c:v>
                </c:pt>
                <c:pt idx="1133">
                  <c:v>96.607510000000005</c:v>
                </c:pt>
                <c:pt idx="1134">
                  <c:v>96.367419999999996</c:v>
                </c:pt>
                <c:pt idx="1135">
                  <c:v>96.579070000000002</c:v>
                </c:pt>
                <c:pt idx="1136">
                  <c:v>96.383790000000005</c:v>
                </c:pt>
                <c:pt idx="1137">
                  <c:v>96.23451</c:v>
                </c:pt>
                <c:pt idx="1138">
                  <c:v>96.194855000000004</c:v>
                </c:pt>
                <c:pt idx="1139">
                  <c:v>96.719800000000006</c:v>
                </c:pt>
                <c:pt idx="1140">
                  <c:v>97.319275000000005</c:v>
                </c:pt>
                <c:pt idx="1141">
                  <c:v>97.932816000000003</c:v>
                </c:pt>
                <c:pt idx="1142">
                  <c:v>98.213840000000005</c:v>
                </c:pt>
                <c:pt idx="1143">
                  <c:v>97.695589999999996</c:v>
                </c:pt>
                <c:pt idx="1144">
                  <c:v>96.774619999999999</c:v>
                </c:pt>
                <c:pt idx="1145">
                  <c:v>96.061089999999993</c:v>
                </c:pt>
                <c:pt idx="1146">
                  <c:v>96.36748</c:v>
                </c:pt>
                <c:pt idx="1147">
                  <c:v>97.390174999999999</c:v>
                </c:pt>
                <c:pt idx="1148">
                  <c:v>99.041809999999998</c:v>
                </c:pt>
                <c:pt idx="1149">
                  <c:v>100.33060500000001</c:v>
                </c:pt>
                <c:pt idx="1150">
                  <c:v>99.719740000000002</c:v>
                </c:pt>
                <c:pt idx="1151">
                  <c:v>98.573210000000003</c:v>
                </c:pt>
                <c:pt idx="1152">
                  <c:v>97.156829999999999</c:v>
                </c:pt>
                <c:pt idx="1153">
                  <c:v>96.570809999999994</c:v>
                </c:pt>
                <c:pt idx="1154">
                  <c:v>96.270743999999993</c:v>
                </c:pt>
                <c:pt idx="1155">
                  <c:v>97.126369999999994</c:v>
                </c:pt>
                <c:pt idx="1156">
                  <c:v>96.851699999999994</c:v>
                </c:pt>
                <c:pt idx="1157">
                  <c:v>95.722755000000006</c:v>
                </c:pt>
                <c:pt idx="1158">
                  <c:v>95.478065000000001</c:v>
                </c:pt>
                <c:pt idx="1159">
                  <c:v>95.462540000000004</c:v>
                </c:pt>
                <c:pt idx="1160">
                  <c:v>95.783799999999999</c:v>
                </c:pt>
                <c:pt idx="1161">
                  <c:v>96.788510000000002</c:v>
                </c:pt>
                <c:pt idx="1162">
                  <c:v>98.065020000000004</c:v>
                </c:pt>
                <c:pt idx="1163">
                  <c:v>99.199510000000004</c:v>
                </c:pt>
                <c:pt idx="1164">
                  <c:v>99.483474999999999</c:v>
                </c:pt>
                <c:pt idx="1165">
                  <c:v>98.554503999999994</c:v>
                </c:pt>
                <c:pt idx="1166">
                  <c:v>98.389570000000006</c:v>
                </c:pt>
                <c:pt idx="1167">
                  <c:v>98.668719999999993</c:v>
                </c:pt>
                <c:pt idx="1168">
                  <c:v>99.07329</c:v>
                </c:pt>
                <c:pt idx="1169">
                  <c:v>98.579800000000006</c:v>
                </c:pt>
                <c:pt idx="1170">
                  <c:v>97.431110000000004</c:v>
                </c:pt>
                <c:pt idx="1171">
                  <c:v>95.700299999999999</c:v>
                </c:pt>
                <c:pt idx="1172">
                  <c:v>94.843185000000005</c:v>
                </c:pt>
                <c:pt idx="1173">
                  <c:v>94.847496000000007</c:v>
                </c:pt>
                <c:pt idx="1174">
                  <c:v>95.033484999999999</c:v>
                </c:pt>
                <c:pt idx="1175">
                  <c:v>95.428154000000006</c:v>
                </c:pt>
                <c:pt idx="1176">
                  <c:v>95.740905999999995</c:v>
                </c:pt>
                <c:pt idx="1177">
                  <c:v>95.765159999999995</c:v>
                </c:pt>
                <c:pt idx="1178">
                  <c:v>95.971090000000004</c:v>
                </c:pt>
                <c:pt idx="1179">
                  <c:v>96.241879999999995</c:v>
                </c:pt>
                <c:pt idx="1180">
                  <c:v>97.321870000000004</c:v>
                </c:pt>
                <c:pt idx="1181">
                  <c:v>97.782769999999999</c:v>
                </c:pt>
                <c:pt idx="1182">
                  <c:v>97.620379999999997</c:v>
                </c:pt>
                <c:pt idx="1183">
                  <c:v>97.443100000000001</c:v>
                </c:pt>
                <c:pt idx="1184">
                  <c:v>96.516396</c:v>
                </c:pt>
                <c:pt idx="1185">
                  <c:v>95.625460000000004</c:v>
                </c:pt>
                <c:pt idx="1186">
                  <c:v>98.187349999999995</c:v>
                </c:pt>
                <c:pt idx="1187">
                  <c:v>97.787189999999995</c:v>
                </c:pt>
                <c:pt idx="1188">
                  <c:v>97.191730000000007</c:v>
                </c:pt>
                <c:pt idx="1189">
                  <c:v>97.411140000000003</c:v>
                </c:pt>
                <c:pt idx="1190">
                  <c:v>96.46508</c:v>
                </c:pt>
                <c:pt idx="1191">
                  <c:v>96.651430000000005</c:v>
                </c:pt>
                <c:pt idx="1192">
                  <c:v>98.132660000000001</c:v>
                </c:pt>
                <c:pt idx="1193">
                  <c:v>98.77825</c:v>
                </c:pt>
                <c:pt idx="1194">
                  <c:v>98.167289999999994</c:v>
                </c:pt>
                <c:pt idx="1195">
                  <c:v>100.005135</c:v>
                </c:pt>
                <c:pt idx="1196">
                  <c:v>101.48598</c:v>
                </c:pt>
                <c:pt idx="1197">
                  <c:v>101.42855</c:v>
                </c:pt>
                <c:pt idx="1198">
                  <c:v>100.53518</c:v>
                </c:pt>
                <c:pt idx="1199">
                  <c:v>100.302505</c:v>
                </c:pt>
                <c:pt idx="1200">
                  <c:v>100.481964</c:v>
                </c:pt>
                <c:pt idx="1201">
                  <c:v>100.69064</c:v>
                </c:pt>
                <c:pt idx="1202">
                  <c:v>100.79771</c:v>
                </c:pt>
                <c:pt idx="1203">
                  <c:v>101.10442</c:v>
                </c:pt>
                <c:pt idx="1204">
                  <c:v>100.85303</c:v>
                </c:pt>
                <c:pt idx="1205">
                  <c:v>100.10303999999999</c:v>
                </c:pt>
                <c:pt idx="1206">
                  <c:v>99.582170000000005</c:v>
                </c:pt>
                <c:pt idx="1207">
                  <c:v>100.63079</c:v>
                </c:pt>
                <c:pt idx="1208">
                  <c:v>102.33695</c:v>
                </c:pt>
                <c:pt idx="1209">
                  <c:v>103.21973</c:v>
                </c:pt>
                <c:pt idx="1210">
                  <c:v>102.38195</c:v>
                </c:pt>
                <c:pt idx="1211">
                  <c:v>100.96091</c:v>
                </c:pt>
                <c:pt idx="1212">
                  <c:v>98.312354999999997</c:v>
                </c:pt>
                <c:pt idx="1213">
                  <c:v>100.11488</c:v>
                </c:pt>
                <c:pt idx="1214">
                  <c:v>100.06605</c:v>
                </c:pt>
                <c:pt idx="1215">
                  <c:v>100.917305</c:v>
                </c:pt>
                <c:pt idx="1216">
                  <c:v>101.76765399999999</c:v>
                </c:pt>
                <c:pt idx="1217">
                  <c:v>102.64857499999999</c:v>
                </c:pt>
                <c:pt idx="1218">
                  <c:v>103.77482999999999</c:v>
                </c:pt>
                <c:pt idx="1219">
                  <c:v>106.84838999999999</c:v>
                </c:pt>
                <c:pt idx="1220">
                  <c:v>105.59947</c:v>
                </c:pt>
                <c:pt idx="1221">
                  <c:v>104.85551</c:v>
                </c:pt>
                <c:pt idx="1222">
                  <c:v>103.88988000000001</c:v>
                </c:pt>
                <c:pt idx="1223">
                  <c:v>103.22239</c:v>
                </c:pt>
                <c:pt idx="1224">
                  <c:v>103.160416</c:v>
                </c:pt>
                <c:pt idx="1225">
                  <c:v>103.27484</c:v>
                </c:pt>
                <c:pt idx="1226">
                  <c:v>103.47283</c:v>
                </c:pt>
                <c:pt idx="1227">
                  <c:v>103.941864</c:v>
                </c:pt>
                <c:pt idx="1228">
                  <c:v>104.37774</c:v>
                </c:pt>
                <c:pt idx="1229">
                  <c:v>106.17959</c:v>
                </c:pt>
                <c:pt idx="1230">
                  <c:v>106.786674</c:v>
                </c:pt>
                <c:pt idx="1231">
                  <c:v>107.09599</c:v>
                </c:pt>
                <c:pt idx="1232">
                  <c:v>106.61397599999999</c:v>
                </c:pt>
                <c:pt idx="1233">
                  <c:v>106.2313</c:v>
                </c:pt>
                <c:pt idx="1234">
                  <c:v>105.89440999999999</c:v>
                </c:pt>
                <c:pt idx="1235">
                  <c:v>105.45957</c:v>
                </c:pt>
                <c:pt idx="1236">
                  <c:v>105.07858</c:v>
                </c:pt>
                <c:pt idx="1237">
                  <c:v>105.24052399999999</c:v>
                </c:pt>
                <c:pt idx="1238">
                  <c:v>105.80403</c:v>
                </c:pt>
                <c:pt idx="1239">
                  <c:v>106.29352</c:v>
                </c:pt>
                <c:pt idx="1240">
                  <c:v>106.98065</c:v>
                </c:pt>
                <c:pt idx="1241">
                  <c:v>107.4624</c:v>
                </c:pt>
                <c:pt idx="1242">
                  <c:v>108.02601</c:v>
                </c:pt>
                <c:pt idx="1243">
                  <c:v>108.61191599999999</c:v>
                </c:pt>
                <c:pt idx="1244">
                  <c:v>109.17407</c:v>
                </c:pt>
                <c:pt idx="1245">
                  <c:v>109.66328</c:v>
                </c:pt>
                <c:pt idx="1246">
                  <c:v>110.13578</c:v>
                </c:pt>
                <c:pt idx="1247">
                  <c:v>111.21132</c:v>
                </c:pt>
                <c:pt idx="1248">
                  <c:v>111.69060500000001</c:v>
                </c:pt>
                <c:pt idx="1249">
                  <c:v>111.39858</c:v>
                </c:pt>
                <c:pt idx="1250">
                  <c:v>111.09909</c:v>
                </c:pt>
                <c:pt idx="1251">
                  <c:v>110.72198</c:v>
                </c:pt>
                <c:pt idx="1252">
                  <c:v>109.28939</c:v>
                </c:pt>
                <c:pt idx="1253">
                  <c:v>105.8631</c:v>
                </c:pt>
                <c:pt idx="1254">
                  <c:v>105.26611</c:v>
                </c:pt>
                <c:pt idx="1255">
                  <c:v>103.80714</c:v>
                </c:pt>
                <c:pt idx="1256">
                  <c:v>101.21156000000001</c:v>
                </c:pt>
                <c:pt idx="1257">
                  <c:v>100.04002</c:v>
                </c:pt>
                <c:pt idx="1258">
                  <c:v>99.881860000000003</c:v>
                </c:pt>
                <c:pt idx="1259">
                  <c:v>100.02703</c:v>
                </c:pt>
                <c:pt idx="1260">
                  <c:v>100.90715</c:v>
                </c:pt>
                <c:pt idx="1261">
                  <c:v>102.1832</c:v>
                </c:pt>
                <c:pt idx="1262">
                  <c:v>103.188545</c:v>
                </c:pt>
                <c:pt idx="1263">
                  <c:v>103.463104</c:v>
                </c:pt>
                <c:pt idx="1264">
                  <c:v>103.33738</c:v>
                </c:pt>
                <c:pt idx="1265">
                  <c:v>103.448166</c:v>
                </c:pt>
                <c:pt idx="1266">
                  <c:v>104.649445</c:v>
                </c:pt>
                <c:pt idx="1267">
                  <c:v>106.30094</c:v>
                </c:pt>
                <c:pt idx="1268">
                  <c:v>107.16074999999999</c:v>
                </c:pt>
                <c:pt idx="1269">
                  <c:v>106.60038</c:v>
                </c:pt>
                <c:pt idx="1270">
                  <c:v>105.51211000000001</c:v>
                </c:pt>
                <c:pt idx="1271">
                  <c:v>104.73247499999999</c:v>
                </c:pt>
                <c:pt idx="1272">
                  <c:v>104.85845</c:v>
                </c:pt>
                <c:pt idx="1273">
                  <c:v>106.10805999999999</c:v>
                </c:pt>
                <c:pt idx="1274">
                  <c:v>105.92064000000001</c:v>
                </c:pt>
                <c:pt idx="1275">
                  <c:v>106.42739</c:v>
                </c:pt>
                <c:pt idx="1276">
                  <c:v>107.360405</c:v>
                </c:pt>
                <c:pt idx="1277">
                  <c:v>107.95605500000001</c:v>
                </c:pt>
                <c:pt idx="1278">
                  <c:v>107.84643</c:v>
                </c:pt>
                <c:pt idx="1279">
                  <c:v>107.11651999999999</c:v>
                </c:pt>
                <c:pt idx="1280">
                  <c:v>106.16785400000001</c:v>
                </c:pt>
                <c:pt idx="1281">
                  <c:v>105.69915</c:v>
                </c:pt>
                <c:pt idx="1282">
                  <c:v>104.516884</c:v>
                </c:pt>
                <c:pt idx="1283">
                  <c:v>103.63267999999999</c:v>
                </c:pt>
                <c:pt idx="1284">
                  <c:v>103.07478</c:v>
                </c:pt>
                <c:pt idx="1285">
                  <c:v>101.94632</c:v>
                </c:pt>
                <c:pt idx="1286">
                  <c:v>99.953779999999995</c:v>
                </c:pt>
                <c:pt idx="1287">
                  <c:v>99.722374000000002</c:v>
                </c:pt>
                <c:pt idx="1288">
                  <c:v>99.312934999999996</c:v>
                </c:pt>
                <c:pt idx="1289">
                  <c:v>99.503309999999999</c:v>
                </c:pt>
                <c:pt idx="1290">
                  <c:v>99.584639999999993</c:v>
                </c:pt>
                <c:pt idx="1291">
                  <c:v>100.27155</c:v>
                </c:pt>
                <c:pt idx="1292">
                  <c:v>99.947329999999994</c:v>
                </c:pt>
                <c:pt idx="1293">
                  <c:v>100.807076</c:v>
                </c:pt>
                <c:pt idx="1294">
                  <c:v>101.56373600000001</c:v>
                </c:pt>
                <c:pt idx="1295">
                  <c:v>101.018585</c:v>
                </c:pt>
                <c:pt idx="1296">
                  <c:v>100.00247</c:v>
                </c:pt>
                <c:pt idx="1297">
                  <c:v>99.297355999999994</c:v>
                </c:pt>
                <c:pt idx="1298">
                  <c:v>97.902199999999993</c:v>
                </c:pt>
                <c:pt idx="1299">
                  <c:v>97.61524</c:v>
                </c:pt>
                <c:pt idx="1300">
                  <c:v>97.374669999999995</c:v>
                </c:pt>
                <c:pt idx="1301">
                  <c:v>98.175210000000007</c:v>
                </c:pt>
                <c:pt idx="1302">
                  <c:v>99.724490000000003</c:v>
                </c:pt>
                <c:pt idx="1303">
                  <c:v>101.06495</c:v>
                </c:pt>
                <c:pt idx="1304">
                  <c:v>101.50194</c:v>
                </c:pt>
                <c:pt idx="1305">
                  <c:v>102.5882</c:v>
                </c:pt>
                <c:pt idx="1306">
                  <c:v>102.64694</c:v>
                </c:pt>
                <c:pt idx="1307">
                  <c:v>102.14014400000001</c:v>
                </c:pt>
                <c:pt idx="1308">
                  <c:v>102.03666</c:v>
                </c:pt>
                <c:pt idx="1309">
                  <c:v>102.38679</c:v>
                </c:pt>
                <c:pt idx="1310">
                  <c:v>102.75429</c:v>
                </c:pt>
                <c:pt idx="1311">
                  <c:v>102.72547</c:v>
                </c:pt>
                <c:pt idx="1312">
                  <c:v>102.65549</c:v>
                </c:pt>
                <c:pt idx="1313">
                  <c:v>102.41391</c:v>
                </c:pt>
                <c:pt idx="1314">
                  <c:v>102.20012</c:v>
                </c:pt>
                <c:pt idx="1315">
                  <c:v>102.411835</c:v>
                </c:pt>
                <c:pt idx="1316">
                  <c:v>100.22017</c:v>
                </c:pt>
                <c:pt idx="1317">
                  <c:v>101.01828</c:v>
                </c:pt>
                <c:pt idx="1318">
                  <c:v>103.34043</c:v>
                </c:pt>
                <c:pt idx="1319">
                  <c:v>103.34113000000001</c:v>
                </c:pt>
                <c:pt idx="1320">
                  <c:v>103.45721399999999</c:v>
                </c:pt>
                <c:pt idx="1321">
                  <c:v>103.948105</c:v>
                </c:pt>
                <c:pt idx="1322">
                  <c:v>103.98466000000001</c:v>
                </c:pt>
                <c:pt idx="1323">
                  <c:v>104.42954</c:v>
                </c:pt>
                <c:pt idx="1324">
                  <c:v>104.71253</c:v>
                </c:pt>
                <c:pt idx="1325">
                  <c:v>104.901436</c:v>
                </c:pt>
                <c:pt idx="1326">
                  <c:v>105.36982</c:v>
                </c:pt>
                <c:pt idx="1327">
                  <c:v>105.54134000000001</c:v>
                </c:pt>
                <c:pt idx="1328">
                  <c:v>104.61442</c:v>
                </c:pt>
                <c:pt idx="1329">
                  <c:v>105.26186</c:v>
                </c:pt>
                <c:pt idx="1330">
                  <c:v>104.56287399999999</c:v>
                </c:pt>
                <c:pt idx="1331">
                  <c:v>103.55289500000001</c:v>
                </c:pt>
                <c:pt idx="1332">
                  <c:v>102.970024</c:v>
                </c:pt>
                <c:pt idx="1333">
                  <c:v>102.50564</c:v>
                </c:pt>
                <c:pt idx="1334">
                  <c:v>102.66073</c:v>
                </c:pt>
                <c:pt idx="1335">
                  <c:v>103.217636</c:v>
                </c:pt>
                <c:pt idx="1336">
                  <c:v>103.83234</c:v>
                </c:pt>
                <c:pt idx="1337">
                  <c:v>104.72538</c:v>
                </c:pt>
                <c:pt idx="1338">
                  <c:v>105.26929</c:v>
                </c:pt>
                <c:pt idx="1339">
                  <c:v>105.67004</c:v>
                </c:pt>
                <c:pt idx="1340">
                  <c:v>105.95659999999999</c:v>
                </c:pt>
                <c:pt idx="1341">
                  <c:v>106.174644</c:v>
                </c:pt>
                <c:pt idx="1342">
                  <c:v>106.49290999999999</c:v>
                </c:pt>
                <c:pt idx="1343">
                  <c:v>106.50539000000001</c:v>
                </c:pt>
                <c:pt idx="1344">
                  <c:v>105.81826</c:v>
                </c:pt>
                <c:pt idx="1345">
                  <c:v>105.14828</c:v>
                </c:pt>
                <c:pt idx="1346">
                  <c:v>106.40397</c:v>
                </c:pt>
                <c:pt idx="1347">
                  <c:v>105.61677</c:v>
                </c:pt>
                <c:pt idx="1348">
                  <c:v>105.33441999999999</c:v>
                </c:pt>
                <c:pt idx="1349">
                  <c:v>105.61727999999999</c:v>
                </c:pt>
                <c:pt idx="1350">
                  <c:v>105.3443</c:v>
                </c:pt>
                <c:pt idx="1351">
                  <c:v>105.34174</c:v>
                </c:pt>
                <c:pt idx="1352">
                  <c:v>103.75902600000001</c:v>
                </c:pt>
                <c:pt idx="1353">
                  <c:v>105.175354</c:v>
                </c:pt>
                <c:pt idx="1354">
                  <c:v>106.119934</c:v>
                </c:pt>
                <c:pt idx="1355">
                  <c:v>106.23169</c:v>
                </c:pt>
                <c:pt idx="1356">
                  <c:v>105.99576</c:v>
                </c:pt>
                <c:pt idx="1357">
                  <c:v>106.27151000000001</c:v>
                </c:pt>
                <c:pt idx="1358">
                  <c:v>106.57267</c:v>
                </c:pt>
                <c:pt idx="1359">
                  <c:v>107.04761000000001</c:v>
                </c:pt>
                <c:pt idx="1360">
                  <c:v>107.32799</c:v>
                </c:pt>
                <c:pt idx="1361">
                  <c:v>107.41348000000001</c:v>
                </c:pt>
                <c:pt idx="1362">
                  <c:v>107.92171500000001</c:v>
                </c:pt>
                <c:pt idx="1363">
                  <c:v>107.20257599999999</c:v>
                </c:pt>
                <c:pt idx="1364">
                  <c:v>107.10766</c:v>
                </c:pt>
                <c:pt idx="1365">
                  <c:v>107.40376000000001</c:v>
                </c:pt>
                <c:pt idx="1366">
                  <c:v>107.594666</c:v>
                </c:pt>
                <c:pt idx="1367">
                  <c:v>108.32549</c:v>
                </c:pt>
                <c:pt idx="1368">
                  <c:v>108.20487</c:v>
                </c:pt>
                <c:pt idx="1369">
                  <c:v>107.83752</c:v>
                </c:pt>
                <c:pt idx="1370">
                  <c:v>108.0641</c:v>
                </c:pt>
                <c:pt idx="1371">
                  <c:v>109.03864</c:v>
                </c:pt>
                <c:pt idx="1372">
                  <c:v>110.3617</c:v>
                </c:pt>
                <c:pt idx="1373">
                  <c:v>109.878174</c:v>
                </c:pt>
                <c:pt idx="1374">
                  <c:v>109.28506</c:v>
                </c:pt>
                <c:pt idx="1375">
                  <c:v>109.18079</c:v>
                </c:pt>
                <c:pt idx="1376">
                  <c:v>108.76555</c:v>
                </c:pt>
                <c:pt idx="1377">
                  <c:v>107.75762</c:v>
                </c:pt>
                <c:pt idx="1378">
                  <c:v>107.528564</c:v>
                </c:pt>
                <c:pt idx="1379">
                  <c:v>107.965294</c:v>
                </c:pt>
                <c:pt idx="1380">
                  <c:v>110.40246999999999</c:v>
                </c:pt>
                <c:pt idx="1381">
                  <c:v>112.239</c:v>
                </c:pt>
                <c:pt idx="1382">
                  <c:v>113.229546</c:v>
                </c:pt>
                <c:pt idx="1383">
                  <c:v>113.632835</c:v>
                </c:pt>
                <c:pt idx="1384">
                  <c:v>113.768036</c:v>
                </c:pt>
                <c:pt idx="1385">
                  <c:v>114.12135000000001</c:v>
                </c:pt>
                <c:pt idx="1386">
                  <c:v>113.89679</c:v>
                </c:pt>
                <c:pt idx="1387">
                  <c:v>113.635544</c:v>
                </c:pt>
                <c:pt idx="1388">
                  <c:v>113.5556</c:v>
                </c:pt>
                <c:pt idx="1389">
                  <c:v>113.51801</c:v>
                </c:pt>
                <c:pt idx="1390">
                  <c:v>113.49932</c:v>
                </c:pt>
                <c:pt idx="1391">
                  <c:v>111.84148399999999</c:v>
                </c:pt>
                <c:pt idx="1392">
                  <c:v>110.84863</c:v>
                </c:pt>
                <c:pt idx="1393">
                  <c:v>109.95354500000001</c:v>
                </c:pt>
                <c:pt idx="1394">
                  <c:v>109.45035</c:v>
                </c:pt>
                <c:pt idx="1395">
                  <c:v>108.58776</c:v>
                </c:pt>
                <c:pt idx="1396">
                  <c:v>108.25018</c:v>
                </c:pt>
                <c:pt idx="1397">
                  <c:v>107.19212</c:v>
                </c:pt>
                <c:pt idx="1398">
                  <c:v>106.77099</c:v>
                </c:pt>
                <c:pt idx="1399">
                  <c:v>106.78691000000001</c:v>
                </c:pt>
                <c:pt idx="1400">
                  <c:v>106.80493</c:v>
                </c:pt>
                <c:pt idx="1401">
                  <c:v>106.30501599999999</c:v>
                </c:pt>
                <c:pt idx="1402">
                  <c:v>105.48743</c:v>
                </c:pt>
                <c:pt idx="1403">
                  <c:v>104.70384</c:v>
                </c:pt>
                <c:pt idx="1404">
                  <c:v>104.52366000000001</c:v>
                </c:pt>
                <c:pt idx="1405">
                  <c:v>104.47573</c:v>
                </c:pt>
                <c:pt idx="1406">
                  <c:v>104.795845</c:v>
                </c:pt>
                <c:pt idx="1407">
                  <c:v>105.416115</c:v>
                </c:pt>
                <c:pt idx="1408">
                  <c:v>105.8541</c:v>
                </c:pt>
                <c:pt idx="1409">
                  <c:v>106.5741</c:v>
                </c:pt>
                <c:pt idx="1410">
                  <c:v>107.35980000000001</c:v>
                </c:pt>
                <c:pt idx="1411">
                  <c:v>108.47702</c:v>
                </c:pt>
                <c:pt idx="1412">
                  <c:v>113.62039</c:v>
                </c:pt>
                <c:pt idx="1413">
                  <c:v>115.93340999999999</c:v>
                </c:pt>
                <c:pt idx="1414">
                  <c:v>117.11132000000001</c:v>
                </c:pt>
                <c:pt idx="1415">
                  <c:v>117.63162</c:v>
                </c:pt>
                <c:pt idx="1416">
                  <c:v>116.80458</c:v>
                </c:pt>
                <c:pt idx="1417">
                  <c:v>115.9819</c:v>
                </c:pt>
                <c:pt idx="1418">
                  <c:v>115.60833</c:v>
                </c:pt>
                <c:pt idx="1419">
                  <c:v>115.81762000000001</c:v>
                </c:pt>
                <c:pt idx="1420">
                  <c:v>114.192154</c:v>
                </c:pt>
                <c:pt idx="1421">
                  <c:v>115.20375</c:v>
                </c:pt>
                <c:pt idx="1422">
                  <c:v>112.5371</c:v>
                </c:pt>
                <c:pt idx="1423">
                  <c:v>111.63236000000001</c:v>
                </c:pt>
                <c:pt idx="1424">
                  <c:v>111.17287399999999</c:v>
                </c:pt>
                <c:pt idx="1425">
                  <c:v>110.27132400000001</c:v>
                </c:pt>
                <c:pt idx="1426">
                  <c:v>109.36681</c:v>
                </c:pt>
                <c:pt idx="1427">
                  <c:v>109.66557</c:v>
                </c:pt>
                <c:pt idx="1428">
                  <c:v>112.16553</c:v>
                </c:pt>
                <c:pt idx="1429">
                  <c:v>120.07375</c:v>
                </c:pt>
                <c:pt idx="1430">
                  <c:v>111.60165000000001</c:v>
                </c:pt>
                <c:pt idx="1431">
                  <c:v>112.463234</c:v>
                </c:pt>
                <c:pt idx="1432">
                  <c:v>113.78785000000001</c:v>
                </c:pt>
                <c:pt idx="1433">
                  <c:v>115.544815</c:v>
                </c:pt>
                <c:pt idx="1434">
                  <c:v>113.66719000000001</c:v>
                </c:pt>
                <c:pt idx="1435">
                  <c:v>112.79250999999999</c:v>
                </c:pt>
                <c:pt idx="1436">
                  <c:v>112.30929</c:v>
                </c:pt>
                <c:pt idx="1437">
                  <c:v>111.38529</c:v>
                </c:pt>
                <c:pt idx="1438">
                  <c:v>111.11982999999999</c:v>
                </c:pt>
                <c:pt idx="1439">
                  <c:v>112.04645499999999</c:v>
                </c:pt>
                <c:pt idx="1440">
                  <c:v>113.95084</c:v>
                </c:pt>
                <c:pt idx="1441">
                  <c:v>115.914986</c:v>
                </c:pt>
                <c:pt idx="1442">
                  <c:v>116.48390999999999</c:v>
                </c:pt>
                <c:pt idx="1443">
                  <c:v>119.26520499999999</c:v>
                </c:pt>
                <c:pt idx="1444">
                  <c:v>112.119316</c:v>
                </c:pt>
                <c:pt idx="1445">
                  <c:v>113.85822</c:v>
                </c:pt>
                <c:pt idx="1446">
                  <c:v>112.11530999999999</c:v>
                </c:pt>
                <c:pt idx="1447">
                  <c:v>109.5055</c:v>
                </c:pt>
                <c:pt idx="1448">
                  <c:v>105.4354</c:v>
                </c:pt>
                <c:pt idx="1449">
                  <c:v>103.20162000000001</c:v>
                </c:pt>
                <c:pt idx="1450">
                  <c:v>103.10302</c:v>
                </c:pt>
                <c:pt idx="1451">
                  <c:v>104.11609</c:v>
                </c:pt>
                <c:pt idx="1452">
                  <c:v>104.98124</c:v>
                </c:pt>
                <c:pt idx="1453">
                  <c:v>104.93053399999999</c:v>
                </c:pt>
                <c:pt idx="1454">
                  <c:v>104.11654</c:v>
                </c:pt>
                <c:pt idx="1455">
                  <c:v>103.23027999999999</c:v>
                </c:pt>
                <c:pt idx="1456">
                  <c:v>102.201324</c:v>
                </c:pt>
                <c:pt idx="1457">
                  <c:v>102.51322</c:v>
                </c:pt>
                <c:pt idx="1458">
                  <c:v>103.04549</c:v>
                </c:pt>
                <c:pt idx="1459">
                  <c:v>104.51271</c:v>
                </c:pt>
                <c:pt idx="1460">
                  <c:v>105.45235</c:v>
                </c:pt>
                <c:pt idx="1461">
                  <c:v>106.10401</c:v>
                </c:pt>
                <c:pt idx="1462">
                  <c:v>106.03112</c:v>
                </c:pt>
                <c:pt idx="1463">
                  <c:v>104.33216</c:v>
                </c:pt>
                <c:pt idx="1464">
                  <c:v>103.14104500000001</c:v>
                </c:pt>
                <c:pt idx="1465">
                  <c:v>101.69595</c:v>
                </c:pt>
                <c:pt idx="1466">
                  <c:v>101.43747999999999</c:v>
                </c:pt>
                <c:pt idx="1467">
                  <c:v>101.74969</c:v>
                </c:pt>
                <c:pt idx="1468">
                  <c:v>102.61447</c:v>
                </c:pt>
                <c:pt idx="1469">
                  <c:v>103.40714</c:v>
                </c:pt>
                <c:pt idx="1470">
                  <c:v>103.35124999999999</c:v>
                </c:pt>
                <c:pt idx="1471">
                  <c:v>102.48176599999999</c:v>
                </c:pt>
                <c:pt idx="1472">
                  <c:v>101.7248</c:v>
                </c:pt>
                <c:pt idx="1473">
                  <c:v>100.90794</c:v>
                </c:pt>
                <c:pt idx="1474">
                  <c:v>99.999170000000007</c:v>
                </c:pt>
                <c:pt idx="1475">
                  <c:v>99.492904999999993</c:v>
                </c:pt>
                <c:pt idx="1476">
                  <c:v>98.087789999999998</c:v>
                </c:pt>
                <c:pt idx="1477">
                  <c:v>99.311549999999997</c:v>
                </c:pt>
                <c:pt idx="1478">
                  <c:v>101.35314</c:v>
                </c:pt>
                <c:pt idx="1479">
                  <c:v>105.02995</c:v>
                </c:pt>
                <c:pt idx="1480">
                  <c:v>107.48678</c:v>
                </c:pt>
                <c:pt idx="1481">
                  <c:v>110.56829</c:v>
                </c:pt>
                <c:pt idx="1482">
                  <c:v>112.03422</c:v>
                </c:pt>
                <c:pt idx="1483">
                  <c:v>112.961136</c:v>
                </c:pt>
                <c:pt idx="1484">
                  <c:v>111.044</c:v>
                </c:pt>
                <c:pt idx="1485">
                  <c:v>111.20724</c:v>
                </c:pt>
                <c:pt idx="1486">
                  <c:v>109.18494</c:v>
                </c:pt>
                <c:pt idx="1487">
                  <c:v>107.58297</c:v>
                </c:pt>
                <c:pt idx="1488">
                  <c:v>106.90262</c:v>
                </c:pt>
                <c:pt idx="1489">
                  <c:v>107.22654</c:v>
                </c:pt>
                <c:pt idx="1490">
                  <c:v>108.30592</c:v>
                </c:pt>
                <c:pt idx="1491">
                  <c:v>109.13911</c:v>
                </c:pt>
                <c:pt idx="1492">
                  <c:v>109.86196</c:v>
                </c:pt>
                <c:pt idx="1493">
                  <c:v>110.57132</c:v>
                </c:pt>
                <c:pt idx="1494">
                  <c:v>109.68849</c:v>
                </c:pt>
                <c:pt idx="1495">
                  <c:v>107.22949</c:v>
                </c:pt>
                <c:pt idx="1496">
                  <c:v>104.07812</c:v>
                </c:pt>
                <c:pt idx="1497">
                  <c:v>102.09327999999999</c:v>
                </c:pt>
                <c:pt idx="1498">
                  <c:v>101.95132</c:v>
                </c:pt>
                <c:pt idx="1499">
                  <c:v>102.91685</c:v>
                </c:pt>
                <c:pt idx="1500">
                  <c:v>104.23821</c:v>
                </c:pt>
                <c:pt idx="1501">
                  <c:v>105.22202</c:v>
                </c:pt>
                <c:pt idx="1502">
                  <c:v>105.31054</c:v>
                </c:pt>
                <c:pt idx="1503">
                  <c:v>105.155106</c:v>
                </c:pt>
                <c:pt idx="1504">
                  <c:v>105.77191999999999</c:v>
                </c:pt>
                <c:pt idx="1505">
                  <c:v>105.59447</c:v>
                </c:pt>
                <c:pt idx="1506">
                  <c:v>107.12287999999999</c:v>
                </c:pt>
                <c:pt idx="1507">
                  <c:v>104.567055</c:v>
                </c:pt>
                <c:pt idx="1508">
                  <c:v>104.45734</c:v>
                </c:pt>
                <c:pt idx="1509">
                  <c:v>105.06766</c:v>
                </c:pt>
                <c:pt idx="1510">
                  <c:v>105.875984</c:v>
                </c:pt>
                <c:pt idx="1511">
                  <c:v>106.45180000000001</c:v>
                </c:pt>
                <c:pt idx="1512">
                  <c:v>107.66727</c:v>
                </c:pt>
                <c:pt idx="1513">
                  <c:v>108.39348</c:v>
                </c:pt>
                <c:pt idx="1514">
                  <c:v>109.653946</c:v>
                </c:pt>
                <c:pt idx="1515">
                  <c:v>108.69398</c:v>
                </c:pt>
                <c:pt idx="1516">
                  <c:v>108.559135</c:v>
                </c:pt>
                <c:pt idx="1517">
                  <c:v>108.36313</c:v>
                </c:pt>
                <c:pt idx="1518">
                  <c:v>108.03927</c:v>
                </c:pt>
                <c:pt idx="1519">
                  <c:v>107.68339</c:v>
                </c:pt>
                <c:pt idx="1520">
                  <c:v>107.48493000000001</c:v>
                </c:pt>
                <c:pt idx="1521">
                  <c:v>107.68034</c:v>
                </c:pt>
                <c:pt idx="1522">
                  <c:v>107.77244</c:v>
                </c:pt>
                <c:pt idx="1523">
                  <c:v>107.93675</c:v>
                </c:pt>
                <c:pt idx="1524">
                  <c:v>107.749466</c:v>
                </c:pt>
                <c:pt idx="1525">
                  <c:v>107.05124000000001</c:v>
                </c:pt>
                <c:pt idx="1526">
                  <c:v>106.23569000000001</c:v>
                </c:pt>
                <c:pt idx="1527">
                  <c:v>106.20161400000001</c:v>
                </c:pt>
                <c:pt idx="1528">
                  <c:v>106.42328000000001</c:v>
                </c:pt>
                <c:pt idx="1529">
                  <c:v>107.574326</c:v>
                </c:pt>
                <c:pt idx="1530">
                  <c:v>108.19589000000001</c:v>
                </c:pt>
                <c:pt idx="1531">
                  <c:v>108.43232</c:v>
                </c:pt>
                <c:pt idx="1532">
                  <c:v>108.88112</c:v>
                </c:pt>
                <c:pt idx="1533">
                  <c:v>110.44992000000001</c:v>
                </c:pt>
                <c:pt idx="1534">
                  <c:v>110.18248</c:v>
                </c:pt>
                <c:pt idx="1535">
                  <c:v>110.40481</c:v>
                </c:pt>
                <c:pt idx="1536">
                  <c:v>110.49816</c:v>
                </c:pt>
                <c:pt idx="1537">
                  <c:v>110.60106</c:v>
                </c:pt>
                <c:pt idx="1538">
                  <c:v>111.00588</c:v>
                </c:pt>
                <c:pt idx="1539">
                  <c:v>111.54446</c:v>
                </c:pt>
                <c:pt idx="1540">
                  <c:v>112.53145000000001</c:v>
                </c:pt>
                <c:pt idx="1541">
                  <c:v>113.37666</c:v>
                </c:pt>
                <c:pt idx="1542">
                  <c:v>113.76382</c:v>
                </c:pt>
                <c:pt idx="1543">
                  <c:v>114.366646</c:v>
                </c:pt>
                <c:pt idx="1544">
                  <c:v>114.95412</c:v>
                </c:pt>
                <c:pt idx="1545">
                  <c:v>115.02345</c:v>
                </c:pt>
                <c:pt idx="1546">
                  <c:v>115.17985</c:v>
                </c:pt>
                <c:pt idx="1547">
                  <c:v>115.85047</c:v>
                </c:pt>
                <c:pt idx="1548">
                  <c:v>116.502556</c:v>
                </c:pt>
                <c:pt idx="1549">
                  <c:v>116.43218</c:v>
                </c:pt>
                <c:pt idx="1550">
                  <c:v>122.05424499999999</c:v>
                </c:pt>
                <c:pt idx="1551">
                  <c:v>136.37852000000001</c:v>
                </c:pt>
                <c:pt idx="1552">
                  <c:v>130.09569999999999</c:v>
                </c:pt>
                <c:pt idx="1553">
                  <c:v>129.18271999999999</c:v>
                </c:pt>
                <c:pt idx="1554">
                  <c:v>131.6122</c:v>
                </c:pt>
                <c:pt idx="1555">
                  <c:v>133.37711999999999</c:v>
                </c:pt>
                <c:pt idx="1556">
                  <c:v>134.25206</c:v>
                </c:pt>
                <c:pt idx="1557">
                  <c:v>134.86199999999999</c:v>
                </c:pt>
                <c:pt idx="1558">
                  <c:v>137.10660999999999</c:v>
                </c:pt>
                <c:pt idx="1559">
                  <c:v>136.84714</c:v>
                </c:pt>
                <c:pt idx="1560">
                  <c:v>136.77608000000001</c:v>
                </c:pt>
                <c:pt idx="1561">
                  <c:v>135.26051000000001</c:v>
                </c:pt>
                <c:pt idx="1562">
                  <c:v>133.82921999999999</c:v>
                </c:pt>
                <c:pt idx="1563">
                  <c:v>133.49176</c:v>
                </c:pt>
                <c:pt idx="1564">
                  <c:v>132.11116000000001</c:v>
                </c:pt>
                <c:pt idx="1565">
                  <c:v>131.75313</c:v>
                </c:pt>
                <c:pt idx="1566">
                  <c:v>131.78184999999999</c:v>
                </c:pt>
                <c:pt idx="1567">
                  <c:v>131.77583000000001</c:v>
                </c:pt>
                <c:pt idx="1568">
                  <c:v>131.16692</c:v>
                </c:pt>
                <c:pt idx="1569">
                  <c:v>130.78820999999999</c:v>
                </c:pt>
                <c:pt idx="1570">
                  <c:v>131.64986999999999</c:v>
                </c:pt>
                <c:pt idx="1571">
                  <c:v>131.48508000000001</c:v>
                </c:pt>
                <c:pt idx="1572">
                  <c:v>132.37288000000001</c:v>
                </c:pt>
                <c:pt idx="1573">
                  <c:v>134.86676</c:v>
                </c:pt>
                <c:pt idx="1574">
                  <c:v>135.26154</c:v>
                </c:pt>
                <c:pt idx="1575">
                  <c:v>134.92698999999999</c:v>
                </c:pt>
                <c:pt idx="1576">
                  <c:v>134.86868000000001</c:v>
                </c:pt>
                <c:pt idx="1577">
                  <c:v>134.25102000000001</c:v>
                </c:pt>
                <c:pt idx="1578">
                  <c:v>132.99257</c:v>
                </c:pt>
                <c:pt idx="1579">
                  <c:v>132.09809999999999</c:v>
                </c:pt>
                <c:pt idx="1580">
                  <c:v>131.43780000000001</c:v>
                </c:pt>
                <c:pt idx="1581">
                  <c:v>131.97127</c:v>
                </c:pt>
                <c:pt idx="1582">
                  <c:v>133.23223999999999</c:v>
                </c:pt>
                <c:pt idx="1583">
                  <c:v>132.05869000000001</c:v>
                </c:pt>
                <c:pt idx="1584">
                  <c:v>132.94333</c:v>
                </c:pt>
                <c:pt idx="1585">
                  <c:v>132.03755000000001</c:v>
                </c:pt>
                <c:pt idx="1586">
                  <c:v>131.72745</c:v>
                </c:pt>
                <c:pt idx="1587">
                  <c:v>131.83093</c:v>
                </c:pt>
                <c:pt idx="1588">
                  <c:v>132.06734</c:v>
                </c:pt>
                <c:pt idx="1589">
                  <c:v>132.71926999999999</c:v>
                </c:pt>
                <c:pt idx="1590">
                  <c:v>133.10667000000001</c:v>
                </c:pt>
                <c:pt idx="1591">
                  <c:v>133.47308000000001</c:v>
                </c:pt>
                <c:pt idx="1592">
                  <c:v>134.26070999999999</c:v>
                </c:pt>
                <c:pt idx="1593">
                  <c:v>133.10605000000001</c:v>
                </c:pt>
                <c:pt idx="1594">
                  <c:v>131.89570000000001</c:v>
                </c:pt>
                <c:pt idx="1595">
                  <c:v>129.39060000000001</c:v>
                </c:pt>
                <c:pt idx="1596">
                  <c:v>137.22206</c:v>
                </c:pt>
                <c:pt idx="1597">
                  <c:v>137.24735999999999</c:v>
                </c:pt>
                <c:pt idx="1598">
                  <c:v>133.65864999999999</c:v>
                </c:pt>
                <c:pt idx="1599">
                  <c:v>132.55987999999999</c:v>
                </c:pt>
                <c:pt idx="1600">
                  <c:v>133.31323</c:v>
                </c:pt>
                <c:pt idx="1601">
                  <c:v>134.35534999999999</c:v>
                </c:pt>
                <c:pt idx="1602">
                  <c:v>133.96321</c:v>
                </c:pt>
                <c:pt idx="1603">
                  <c:v>133.85298</c:v>
                </c:pt>
                <c:pt idx="1604">
                  <c:v>136.70437999999999</c:v>
                </c:pt>
                <c:pt idx="1605">
                  <c:v>138.32447999999999</c:v>
                </c:pt>
                <c:pt idx="1606">
                  <c:v>139.67617999999999</c:v>
                </c:pt>
                <c:pt idx="1607">
                  <c:v>140.99352999999999</c:v>
                </c:pt>
                <c:pt idx="1608">
                  <c:v>142.10854</c:v>
                </c:pt>
                <c:pt idx="1609">
                  <c:v>142.31801999999999</c:v>
                </c:pt>
                <c:pt idx="1610">
                  <c:v>143.40514999999999</c:v>
                </c:pt>
                <c:pt idx="1611">
                  <c:v>145.06190000000001</c:v>
                </c:pt>
                <c:pt idx="1612">
                  <c:v>139.77873</c:v>
                </c:pt>
                <c:pt idx="1613">
                  <c:v>138.66472999999999</c:v>
                </c:pt>
                <c:pt idx="1614">
                  <c:v>139.67734999999999</c:v>
                </c:pt>
                <c:pt idx="1615">
                  <c:v>141.80464000000001</c:v>
                </c:pt>
                <c:pt idx="1616">
                  <c:v>139.68407999999999</c:v>
                </c:pt>
                <c:pt idx="1617">
                  <c:v>143.02762000000001</c:v>
                </c:pt>
                <c:pt idx="1618">
                  <c:v>139.47899000000001</c:v>
                </c:pt>
                <c:pt idx="1619">
                  <c:v>139.12286</c:v>
                </c:pt>
                <c:pt idx="1620">
                  <c:v>138.7467</c:v>
                </c:pt>
                <c:pt idx="1621">
                  <c:v>139.00156999999999</c:v>
                </c:pt>
                <c:pt idx="1622">
                  <c:v>137.65183999999999</c:v>
                </c:pt>
                <c:pt idx="1623">
                  <c:v>137.25699</c:v>
                </c:pt>
                <c:pt idx="1624">
                  <c:v>137.26477</c:v>
                </c:pt>
                <c:pt idx="1625">
                  <c:v>136.95769000000001</c:v>
                </c:pt>
                <c:pt idx="1626">
                  <c:v>136.60593</c:v>
                </c:pt>
                <c:pt idx="1627">
                  <c:v>136.12253999999999</c:v>
                </c:pt>
                <c:pt idx="1628">
                  <c:v>135.16634999999999</c:v>
                </c:pt>
                <c:pt idx="1629">
                  <c:v>133.8331</c:v>
                </c:pt>
                <c:pt idx="1630">
                  <c:v>133.58702</c:v>
                </c:pt>
                <c:pt idx="1631">
                  <c:v>134.56088</c:v>
                </c:pt>
                <c:pt idx="1632">
                  <c:v>134.79861</c:v>
                </c:pt>
                <c:pt idx="1633">
                  <c:v>133.93489</c:v>
                </c:pt>
                <c:pt idx="1634">
                  <c:v>132.80588</c:v>
                </c:pt>
                <c:pt idx="1635">
                  <c:v>132.536</c:v>
                </c:pt>
                <c:pt idx="1636">
                  <c:v>131.89769999999999</c:v>
                </c:pt>
                <c:pt idx="1637">
                  <c:v>131.0932</c:v>
                </c:pt>
                <c:pt idx="1638">
                  <c:v>130.54060000000001</c:v>
                </c:pt>
                <c:pt idx="1639">
                  <c:v>131.10457</c:v>
                </c:pt>
                <c:pt idx="1640">
                  <c:v>130.97577999999999</c:v>
                </c:pt>
                <c:pt idx="1641">
                  <c:v>130.84271000000001</c:v>
                </c:pt>
                <c:pt idx="1642">
                  <c:v>130.87693999999999</c:v>
                </c:pt>
                <c:pt idx="1643">
                  <c:v>130.72379000000001</c:v>
                </c:pt>
                <c:pt idx="1644">
                  <c:v>131.09415999999999</c:v>
                </c:pt>
                <c:pt idx="1645">
                  <c:v>131.20089999999999</c:v>
                </c:pt>
                <c:pt idx="1646">
                  <c:v>131.79886999999999</c:v>
                </c:pt>
                <c:pt idx="1647">
                  <c:v>132.62843000000001</c:v>
                </c:pt>
                <c:pt idx="1648">
                  <c:v>133.72798</c:v>
                </c:pt>
                <c:pt idx="1649">
                  <c:v>137.19153</c:v>
                </c:pt>
                <c:pt idx="1650">
                  <c:v>135.60854</c:v>
                </c:pt>
                <c:pt idx="1651">
                  <c:v>136.79340999999999</c:v>
                </c:pt>
                <c:pt idx="1652">
                  <c:v>137.45475999999999</c:v>
                </c:pt>
                <c:pt idx="1653">
                  <c:v>137.73419000000001</c:v>
                </c:pt>
                <c:pt idx="1654">
                  <c:v>137.90792999999999</c:v>
                </c:pt>
                <c:pt idx="1655">
                  <c:v>137.92681999999999</c:v>
                </c:pt>
                <c:pt idx="1656">
                  <c:v>137.64943</c:v>
                </c:pt>
                <c:pt idx="1657">
                  <c:v>137.06358</c:v>
                </c:pt>
                <c:pt idx="1658">
                  <c:v>136.38864000000001</c:v>
                </c:pt>
                <c:pt idx="1659">
                  <c:v>135.75761</c:v>
                </c:pt>
                <c:pt idx="1660">
                  <c:v>133.18163999999999</c:v>
                </c:pt>
                <c:pt idx="1661">
                  <c:v>133.97403</c:v>
                </c:pt>
                <c:pt idx="1662">
                  <c:v>134.55026000000001</c:v>
                </c:pt>
                <c:pt idx="1663">
                  <c:v>134.16022000000001</c:v>
                </c:pt>
                <c:pt idx="1664">
                  <c:v>134.17429000000001</c:v>
                </c:pt>
                <c:pt idx="1665">
                  <c:v>134.10332</c:v>
                </c:pt>
                <c:pt idx="1666">
                  <c:v>133.99046000000001</c:v>
                </c:pt>
                <c:pt idx="1667">
                  <c:v>133.30756</c:v>
                </c:pt>
                <c:pt idx="1668">
                  <c:v>132.91443000000001</c:v>
                </c:pt>
                <c:pt idx="1669">
                  <c:v>131.64456000000001</c:v>
                </c:pt>
                <c:pt idx="1670">
                  <c:v>131.94533999999999</c:v>
                </c:pt>
                <c:pt idx="1671">
                  <c:v>129.99886000000001</c:v>
                </c:pt>
                <c:pt idx="1672">
                  <c:v>130.51659000000001</c:v>
                </c:pt>
                <c:pt idx="1673">
                  <c:v>129.8477</c:v>
                </c:pt>
                <c:pt idx="1674">
                  <c:v>129.09361000000001</c:v>
                </c:pt>
                <c:pt idx="1675">
                  <c:v>128.62071</c:v>
                </c:pt>
                <c:pt idx="1676">
                  <c:v>128.24678</c:v>
                </c:pt>
                <c:pt idx="1677">
                  <c:v>128.23922999999999</c:v>
                </c:pt>
                <c:pt idx="1678">
                  <c:v>128.52370999999999</c:v>
                </c:pt>
                <c:pt idx="1679">
                  <c:v>128.66050000000001</c:v>
                </c:pt>
                <c:pt idx="1680">
                  <c:v>129.54706999999999</c:v>
                </c:pt>
                <c:pt idx="1681">
                  <c:v>129.85054</c:v>
                </c:pt>
                <c:pt idx="1682">
                  <c:v>130.28588999999999</c:v>
                </c:pt>
                <c:pt idx="1683">
                  <c:v>130.53505999999999</c:v>
                </c:pt>
                <c:pt idx="1684">
                  <c:v>130.95751999999999</c:v>
                </c:pt>
                <c:pt idx="1685">
                  <c:v>131.23056</c:v>
                </c:pt>
                <c:pt idx="1686">
                  <c:v>132.57993999999999</c:v>
                </c:pt>
                <c:pt idx="1687">
                  <c:v>132.15532999999999</c:v>
                </c:pt>
                <c:pt idx="1688">
                  <c:v>132.99782999999999</c:v>
                </c:pt>
                <c:pt idx="1689">
                  <c:v>133.64258000000001</c:v>
                </c:pt>
                <c:pt idx="1690">
                  <c:v>134.26107999999999</c:v>
                </c:pt>
                <c:pt idx="1691">
                  <c:v>134.47772000000001</c:v>
                </c:pt>
                <c:pt idx="1692">
                  <c:v>134.48374999999999</c:v>
                </c:pt>
                <c:pt idx="1693">
                  <c:v>135.08812</c:v>
                </c:pt>
                <c:pt idx="1694">
                  <c:v>135.31387000000001</c:v>
                </c:pt>
                <c:pt idx="1695">
                  <c:v>135.88210000000001</c:v>
                </c:pt>
                <c:pt idx="1696">
                  <c:v>136.79306</c:v>
                </c:pt>
                <c:pt idx="1697">
                  <c:v>138.49811</c:v>
                </c:pt>
                <c:pt idx="1698">
                  <c:v>139.97862000000001</c:v>
                </c:pt>
                <c:pt idx="1699">
                  <c:v>139.37518</c:v>
                </c:pt>
                <c:pt idx="1700">
                  <c:v>140.74553</c:v>
                </c:pt>
                <c:pt idx="1701">
                  <c:v>141.61102</c:v>
                </c:pt>
                <c:pt idx="1702">
                  <c:v>141.62393</c:v>
                </c:pt>
                <c:pt idx="1703">
                  <c:v>143.7353</c:v>
                </c:pt>
                <c:pt idx="1704">
                  <c:v>142.56082000000001</c:v>
                </c:pt>
                <c:pt idx="1705">
                  <c:v>142.69139000000001</c:v>
                </c:pt>
                <c:pt idx="1706">
                  <c:v>142.64187999999999</c:v>
                </c:pt>
                <c:pt idx="1707">
                  <c:v>142.82703000000001</c:v>
                </c:pt>
                <c:pt idx="1708">
                  <c:v>142.98227</c:v>
                </c:pt>
                <c:pt idx="1709">
                  <c:v>145.55568</c:v>
                </c:pt>
                <c:pt idx="1710">
                  <c:v>143.24180000000001</c:v>
                </c:pt>
                <c:pt idx="1711">
                  <c:v>143.10869</c:v>
                </c:pt>
                <c:pt idx="1712">
                  <c:v>143.84799000000001</c:v>
                </c:pt>
                <c:pt idx="1713">
                  <c:v>142.51208</c:v>
                </c:pt>
                <c:pt idx="1714">
                  <c:v>142.06138999999999</c:v>
                </c:pt>
                <c:pt idx="1715">
                  <c:v>140.79894999999999</c:v>
                </c:pt>
                <c:pt idx="1716">
                  <c:v>139.01907</c:v>
                </c:pt>
                <c:pt idx="1717">
                  <c:v>140.34836999999999</c:v>
                </c:pt>
                <c:pt idx="1718">
                  <c:v>144.42911000000001</c:v>
                </c:pt>
                <c:pt idx="1719">
                  <c:v>146.44073</c:v>
                </c:pt>
                <c:pt idx="1720">
                  <c:v>145.65129999999999</c:v>
                </c:pt>
                <c:pt idx="1721">
                  <c:v>145.18049999999999</c:v>
                </c:pt>
                <c:pt idx="1722">
                  <c:v>143.67303000000001</c:v>
                </c:pt>
                <c:pt idx="1723">
                  <c:v>144.62152</c:v>
                </c:pt>
                <c:pt idx="1724">
                  <c:v>145.89806999999999</c:v>
                </c:pt>
                <c:pt idx="1725">
                  <c:v>147.93582000000001</c:v>
                </c:pt>
                <c:pt idx="1726">
                  <c:v>149.27495999999999</c:v>
                </c:pt>
                <c:pt idx="1727">
                  <c:v>147.53047000000001</c:v>
                </c:pt>
                <c:pt idx="1728">
                  <c:v>145.64902000000001</c:v>
                </c:pt>
                <c:pt idx="1729">
                  <c:v>142.49712</c:v>
                </c:pt>
                <c:pt idx="1730">
                  <c:v>141.39313000000001</c:v>
                </c:pt>
                <c:pt idx="1731">
                  <c:v>144.23193000000001</c:v>
                </c:pt>
                <c:pt idx="1732">
                  <c:v>142.90947</c:v>
                </c:pt>
                <c:pt idx="1733">
                  <c:v>143.56236000000001</c:v>
                </c:pt>
                <c:pt idx="1734">
                  <c:v>143.77770000000001</c:v>
                </c:pt>
                <c:pt idx="1735">
                  <c:v>143.91051999999999</c:v>
                </c:pt>
                <c:pt idx="1736">
                  <c:v>143.81206</c:v>
                </c:pt>
                <c:pt idx="1737">
                  <c:v>143.94118</c:v>
                </c:pt>
                <c:pt idx="1738">
                  <c:v>144.20920000000001</c:v>
                </c:pt>
                <c:pt idx="1739">
                  <c:v>144.73781</c:v>
                </c:pt>
                <c:pt idx="1740">
                  <c:v>144.81018</c:v>
                </c:pt>
                <c:pt idx="1741">
                  <c:v>146.56285</c:v>
                </c:pt>
                <c:pt idx="1742">
                  <c:v>143.79926</c:v>
                </c:pt>
                <c:pt idx="1743">
                  <c:v>145.13079999999999</c:v>
                </c:pt>
                <c:pt idx="1744">
                  <c:v>145.56401</c:v>
                </c:pt>
                <c:pt idx="1745">
                  <c:v>145.28158999999999</c:v>
                </c:pt>
                <c:pt idx="1746">
                  <c:v>145.08054999999999</c:v>
                </c:pt>
                <c:pt idx="1747">
                  <c:v>144.25574</c:v>
                </c:pt>
                <c:pt idx="1748">
                  <c:v>145.42151000000001</c:v>
                </c:pt>
                <c:pt idx="1749">
                  <c:v>145.35783000000001</c:v>
                </c:pt>
                <c:pt idx="1750">
                  <c:v>145.35388</c:v>
                </c:pt>
                <c:pt idx="1751">
                  <c:v>145.39409000000001</c:v>
                </c:pt>
                <c:pt idx="1752">
                  <c:v>145.45000999999999</c:v>
                </c:pt>
                <c:pt idx="1753">
                  <c:v>145.36942999999999</c:v>
                </c:pt>
                <c:pt idx="1754">
                  <c:v>145.40457000000001</c:v>
                </c:pt>
                <c:pt idx="1755">
                  <c:v>142.42823999999999</c:v>
                </c:pt>
                <c:pt idx="1756">
                  <c:v>145.83247</c:v>
                </c:pt>
                <c:pt idx="1757">
                  <c:v>145.98661999999999</c:v>
                </c:pt>
                <c:pt idx="1758">
                  <c:v>145.61795000000001</c:v>
                </c:pt>
                <c:pt idx="1759">
                  <c:v>145.16506999999999</c:v>
                </c:pt>
                <c:pt idx="1760">
                  <c:v>145.18297000000001</c:v>
                </c:pt>
                <c:pt idx="1761">
                  <c:v>143.08319</c:v>
                </c:pt>
                <c:pt idx="1762">
                  <c:v>141.10104000000001</c:v>
                </c:pt>
                <c:pt idx="1763">
                  <c:v>140.78711999999999</c:v>
                </c:pt>
                <c:pt idx="1764">
                  <c:v>141.34989999999999</c:v>
                </c:pt>
                <c:pt idx="1765">
                  <c:v>139.46420000000001</c:v>
                </c:pt>
                <c:pt idx="1766">
                  <c:v>133.10945000000001</c:v>
                </c:pt>
                <c:pt idx="1767">
                  <c:v>128.70922999999999</c:v>
                </c:pt>
                <c:pt idx="1768">
                  <c:v>124.00771</c:v>
                </c:pt>
                <c:pt idx="1769">
                  <c:v>122.94790999999999</c:v>
                </c:pt>
                <c:pt idx="1770">
                  <c:v>121.31662</c:v>
                </c:pt>
                <c:pt idx="1771">
                  <c:v>120.352554</c:v>
                </c:pt>
                <c:pt idx="1772">
                  <c:v>116.89709000000001</c:v>
                </c:pt>
                <c:pt idx="1773">
                  <c:v>115.28997</c:v>
                </c:pt>
                <c:pt idx="1774">
                  <c:v>113.38625</c:v>
                </c:pt>
                <c:pt idx="1775">
                  <c:v>112.89986399999999</c:v>
                </c:pt>
                <c:pt idx="1776">
                  <c:v>111.19768500000001</c:v>
                </c:pt>
                <c:pt idx="1777">
                  <c:v>109.278076</c:v>
                </c:pt>
                <c:pt idx="1778">
                  <c:v>105.271385</c:v>
                </c:pt>
                <c:pt idx="1779">
                  <c:v>103.6784</c:v>
                </c:pt>
                <c:pt idx="1780">
                  <c:v>100.67377999999999</c:v>
                </c:pt>
                <c:pt idx="1781">
                  <c:v>96.644480000000001</c:v>
                </c:pt>
                <c:pt idx="1782">
                  <c:v>96.963239999999999</c:v>
                </c:pt>
                <c:pt idx="1783">
                  <c:v>94.305859999999996</c:v>
                </c:pt>
                <c:pt idx="1784">
                  <c:v>93.970505000000003</c:v>
                </c:pt>
                <c:pt idx="1785">
                  <c:v>94.146209999999996</c:v>
                </c:pt>
                <c:pt idx="1786">
                  <c:v>93.425939999999997</c:v>
                </c:pt>
                <c:pt idx="1787">
                  <c:v>93.025180000000006</c:v>
                </c:pt>
                <c:pt idx="1788">
                  <c:v>92.511160000000004</c:v>
                </c:pt>
                <c:pt idx="1789">
                  <c:v>93.736260000000001</c:v>
                </c:pt>
                <c:pt idx="1790">
                  <c:v>94.533500000000004</c:v>
                </c:pt>
                <c:pt idx="1791">
                  <c:v>98.051865000000006</c:v>
                </c:pt>
                <c:pt idx="1792">
                  <c:v>95.394620000000003</c:v>
                </c:pt>
                <c:pt idx="1793">
                  <c:v>96.756720000000001</c:v>
                </c:pt>
                <c:pt idx="1794">
                  <c:v>96.865840000000006</c:v>
                </c:pt>
                <c:pt idx="1795">
                  <c:v>96.031654000000003</c:v>
                </c:pt>
                <c:pt idx="1796">
                  <c:v>96.507800000000003</c:v>
                </c:pt>
                <c:pt idx="1797">
                  <c:v>96.362759999999994</c:v>
                </c:pt>
                <c:pt idx="1798">
                  <c:v>98.972719999999995</c:v>
                </c:pt>
                <c:pt idx="1799">
                  <c:v>101.16995</c:v>
                </c:pt>
                <c:pt idx="1800">
                  <c:v>103.46261</c:v>
                </c:pt>
                <c:pt idx="1801">
                  <c:v>105.05911</c:v>
                </c:pt>
                <c:pt idx="1802">
                  <c:v>104.77194</c:v>
                </c:pt>
                <c:pt idx="1803">
                  <c:v>105.41795999999999</c:v>
                </c:pt>
                <c:pt idx="1804">
                  <c:v>104.810486</c:v>
                </c:pt>
                <c:pt idx="1805">
                  <c:v>104.76305000000001</c:v>
                </c:pt>
                <c:pt idx="1806">
                  <c:v>105.13375000000001</c:v>
                </c:pt>
                <c:pt idx="1807">
                  <c:v>104.89729</c:v>
                </c:pt>
                <c:pt idx="1808">
                  <c:v>104.86427999999999</c:v>
                </c:pt>
                <c:pt idx="1809">
                  <c:v>103.54057</c:v>
                </c:pt>
                <c:pt idx="1810">
                  <c:v>103.7606</c:v>
                </c:pt>
                <c:pt idx="1811">
                  <c:v>103.94062</c:v>
                </c:pt>
                <c:pt idx="1812">
                  <c:v>104.60875</c:v>
                </c:pt>
                <c:pt idx="1813">
                  <c:v>104.974045</c:v>
                </c:pt>
                <c:pt idx="1814">
                  <c:v>105.78169</c:v>
                </c:pt>
                <c:pt idx="1815">
                  <c:v>106.72557999999999</c:v>
                </c:pt>
                <c:pt idx="1816">
                  <c:v>104.92443</c:v>
                </c:pt>
                <c:pt idx="1817">
                  <c:v>105.92712</c:v>
                </c:pt>
                <c:pt idx="1818">
                  <c:v>105.52161</c:v>
                </c:pt>
                <c:pt idx="1819">
                  <c:v>106.299774</c:v>
                </c:pt>
                <c:pt idx="1820">
                  <c:v>105.71930999999999</c:v>
                </c:pt>
                <c:pt idx="1821">
                  <c:v>106.90049</c:v>
                </c:pt>
                <c:pt idx="1822">
                  <c:v>108.6994</c:v>
                </c:pt>
                <c:pt idx="1823">
                  <c:v>111.34187</c:v>
                </c:pt>
                <c:pt idx="1824">
                  <c:v>113.74112</c:v>
                </c:pt>
                <c:pt idx="1825">
                  <c:v>113.68753</c:v>
                </c:pt>
                <c:pt idx="1826">
                  <c:v>113.40334</c:v>
                </c:pt>
                <c:pt idx="1827">
                  <c:v>113.75793</c:v>
                </c:pt>
                <c:pt idx="1828">
                  <c:v>114.02597</c:v>
                </c:pt>
                <c:pt idx="1829">
                  <c:v>115.24</c:v>
                </c:pt>
                <c:pt idx="1830">
                  <c:v>113.89422</c:v>
                </c:pt>
                <c:pt idx="1831">
                  <c:v>114.56399999999999</c:v>
                </c:pt>
                <c:pt idx="1832">
                  <c:v>115.18456</c:v>
                </c:pt>
                <c:pt idx="1833">
                  <c:v>116.19642</c:v>
                </c:pt>
                <c:pt idx="1834">
                  <c:v>115.733154</c:v>
                </c:pt>
                <c:pt idx="1835">
                  <c:v>116.05849000000001</c:v>
                </c:pt>
                <c:pt idx="1836">
                  <c:v>116.39617</c:v>
                </c:pt>
                <c:pt idx="1837">
                  <c:v>117.02973</c:v>
                </c:pt>
                <c:pt idx="1838">
                  <c:v>118.050804</c:v>
                </c:pt>
                <c:pt idx="1839">
                  <c:v>118.55257400000001</c:v>
                </c:pt>
                <c:pt idx="1840">
                  <c:v>119.65478</c:v>
                </c:pt>
                <c:pt idx="1841">
                  <c:v>120.845474</c:v>
                </c:pt>
                <c:pt idx="1842">
                  <c:v>121.863686</c:v>
                </c:pt>
                <c:pt idx="1843">
                  <c:v>122.66558999999999</c:v>
                </c:pt>
                <c:pt idx="1844">
                  <c:v>121.19438</c:v>
                </c:pt>
                <c:pt idx="1845">
                  <c:v>120.05544</c:v>
                </c:pt>
                <c:pt idx="1846">
                  <c:v>119.32474000000001</c:v>
                </c:pt>
                <c:pt idx="1847">
                  <c:v>119.28801</c:v>
                </c:pt>
                <c:pt idx="1848">
                  <c:v>119.33092499999999</c:v>
                </c:pt>
                <c:pt idx="1849">
                  <c:v>119.72495000000001</c:v>
                </c:pt>
                <c:pt idx="1850">
                  <c:v>119.22709</c:v>
                </c:pt>
                <c:pt idx="1851">
                  <c:v>118.90904999999999</c:v>
                </c:pt>
                <c:pt idx="1852">
                  <c:v>118.82304999999999</c:v>
                </c:pt>
                <c:pt idx="1853">
                  <c:v>116.59052</c:v>
                </c:pt>
                <c:pt idx="1854">
                  <c:v>116.71214999999999</c:v>
                </c:pt>
                <c:pt idx="1855">
                  <c:v>112.471695</c:v>
                </c:pt>
                <c:pt idx="1856">
                  <c:v>112.080635</c:v>
                </c:pt>
                <c:pt idx="1857">
                  <c:v>112.67833</c:v>
                </c:pt>
                <c:pt idx="1858">
                  <c:v>114.11426</c:v>
                </c:pt>
                <c:pt idx="1859">
                  <c:v>113.78743</c:v>
                </c:pt>
                <c:pt idx="1860">
                  <c:v>114.6491</c:v>
                </c:pt>
                <c:pt idx="1861">
                  <c:v>114.535866</c:v>
                </c:pt>
                <c:pt idx="1862">
                  <c:v>116.47932400000001</c:v>
                </c:pt>
                <c:pt idx="1863">
                  <c:v>115.691124</c:v>
                </c:pt>
                <c:pt idx="1864">
                  <c:v>116.52222999999999</c:v>
                </c:pt>
                <c:pt idx="1865">
                  <c:v>116.99586499999999</c:v>
                </c:pt>
                <c:pt idx="1866">
                  <c:v>117.20491</c:v>
                </c:pt>
                <c:pt idx="1867">
                  <c:v>117.79550999999999</c:v>
                </c:pt>
                <c:pt idx="1868">
                  <c:v>119.27567999999999</c:v>
                </c:pt>
                <c:pt idx="1869">
                  <c:v>118.674736</c:v>
                </c:pt>
                <c:pt idx="1870">
                  <c:v>119.59894</c:v>
                </c:pt>
                <c:pt idx="1871">
                  <c:v>120.19271000000001</c:v>
                </c:pt>
                <c:pt idx="1872">
                  <c:v>120.93782</c:v>
                </c:pt>
                <c:pt idx="1873">
                  <c:v>119.44276000000001</c:v>
                </c:pt>
                <c:pt idx="1874">
                  <c:v>118.72311000000001</c:v>
                </c:pt>
                <c:pt idx="1875">
                  <c:v>120.71777</c:v>
                </c:pt>
                <c:pt idx="1876">
                  <c:v>120.70432</c:v>
                </c:pt>
                <c:pt idx="1877">
                  <c:v>121.06621</c:v>
                </c:pt>
                <c:pt idx="1878">
                  <c:v>120.20385</c:v>
                </c:pt>
                <c:pt idx="1879">
                  <c:v>120.02059</c:v>
                </c:pt>
                <c:pt idx="1880">
                  <c:v>121.71729999999999</c:v>
                </c:pt>
                <c:pt idx="1881">
                  <c:v>125.10595000000001</c:v>
                </c:pt>
                <c:pt idx="1882">
                  <c:v>123.36799999999999</c:v>
                </c:pt>
                <c:pt idx="1883">
                  <c:v>126.919586</c:v>
                </c:pt>
                <c:pt idx="1884">
                  <c:v>128.52426</c:v>
                </c:pt>
                <c:pt idx="1885">
                  <c:v>129.38982999999999</c:v>
                </c:pt>
                <c:pt idx="1886">
                  <c:v>128.94954999999999</c:v>
                </c:pt>
                <c:pt idx="1887">
                  <c:v>127.07478</c:v>
                </c:pt>
                <c:pt idx="1888">
                  <c:v>126.48746</c:v>
                </c:pt>
                <c:pt idx="1889">
                  <c:v>125.624374</c:v>
                </c:pt>
                <c:pt idx="1890">
                  <c:v>125.341705</c:v>
                </c:pt>
                <c:pt idx="1891">
                  <c:v>124.88052999999999</c:v>
                </c:pt>
                <c:pt idx="1892">
                  <c:v>125.05853</c:v>
                </c:pt>
                <c:pt idx="1893">
                  <c:v>125.2667</c:v>
                </c:pt>
                <c:pt idx="1894">
                  <c:v>125.97154</c:v>
                </c:pt>
                <c:pt idx="1895">
                  <c:v>128.23400000000001</c:v>
                </c:pt>
                <c:pt idx="1896">
                  <c:v>129.52385000000001</c:v>
                </c:pt>
                <c:pt idx="1897">
                  <c:v>136.74141</c:v>
                </c:pt>
                <c:pt idx="1898">
                  <c:v>135.46278000000001</c:v>
                </c:pt>
                <c:pt idx="1899">
                  <c:v>133.87277</c:v>
                </c:pt>
                <c:pt idx="1900">
                  <c:v>132.72150999999999</c:v>
                </c:pt>
                <c:pt idx="1901">
                  <c:v>130.02658</c:v>
                </c:pt>
                <c:pt idx="1902">
                  <c:v>128.66472999999999</c:v>
                </c:pt>
                <c:pt idx="1903">
                  <c:v>127.06439</c:v>
                </c:pt>
                <c:pt idx="1904">
                  <c:v>125.75027</c:v>
                </c:pt>
                <c:pt idx="1905">
                  <c:v>124.20802</c:v>
                </c:pt>
                <c:pt idx="1906">
                  <c:v>122.80006400000001</c:v>
                </c:pt>
                <c:pt idx="1907">
                  <c:v>121.52379999999999</c:v>
                </c:pt>
                <c:pt idx="1908">
                  <c:v>120.20581</c:v>
                </c:pt>
                <c:pt idx="1909">
                  <c:v>120.83897</c:v>
                </c:pt>
                <c:pt idx="1910">
                  <c:v>119.172585</c:v>
                </c:pt>
                <c:pt idx="1911">
                  <c:v>118.69834</c:v>
                </c:pt>
                <c:pt idx="1912">
                  <c:v>119.51359600000001</c:v>
                </c:pt>
                <c:pt idx="1913">
                  <c:v>122.26359600000001</c:v>
                </c:pt>
                <c:pt idx="1914">
                  <c:v>124.788506</c:v>
                </c:pt>
                <c:pt idx="1915">
                  <c:v>123.53366</c:v>
                </c:pt>
                <c:pt idx="1916">
                  <c:v>126.73978</c:v>
                </c:pt>
                <c:pt idx="1917">
                  <c:v>132.68248</c:v>
                </c:pt>
                <c:pt idx="1918">
                  <c:v>126.42437</c:v>
                </c:pt>
                <c:pt idx="1919">
                  <c:v>123.10842</c:v>
                </c:pt>
                <c:pt idx="1920">
                  <c:v>121.55797</c:v>
                </c:pt>
                <c:pt idx="1921">
                  <c:v>120.54056</c:v>
                </c:pt>
                <c:pt idx="1922">
                  <c:v>120.04586</c:v>
                </c:pt>
                <c:pt idx="1923">
                  <c:v>121.88375000000001</c:v>
                </c:pt>
                <c:pt idx="1924">
                  <c:v>121.899185</c:v>
                </c:pt>
                <c:pt idx="1925">
                  <c:v>122.06359</c:v>
                </c:pt>
                <c:pt idx="1926">
                  <c:v>122.69022</c:v>
                </c:pt>
                <c:pt idx="1927">
                  <c:v>123.563515</c:v>
                </c:pt>
                <c:pt idx="1928">
                  <c:v>125.44556</c:v>
                </c:pt>
                <c:pt idx="1929">
                  <c:v>128.06213</c:v>
                </c:pt>
                <c:pt idx="1930">
                  <c:v>130.15818999999999</c:v>
                </c:pt>
                <c:pt idx="1931">
                  <c:v>130.57293999999999</c:v>
                </c:pt>
                <c:pt idx="1932">
                  <c:v>131.29168999999999</c:v>
                </c:pt>
                <c:pt idx="1933">
                  <c:v>133.10101</c:v>
                </c:pt>
                <c:pt idx="1934">
                  <c:v>135.26778999999999</c:v>
                </c:pt>
                <c:pt idx="1935">
                  <c:v>144.8066</c:v>
                </c:pt>
                <c:pt idx="1936">
                  <c:v>145.10452000000001</c:v>
                </c:pt>
                <c:pt idx="1937">
                  <c:v>143.37706</c:v>
                </c:pt>
                <c:pt idx="1938">
                  <c:v>143.52198999999999</c:v>
                </c:pt>
                <c:pt idx="1939">
                  <c:v>143.24008000000001</c:v>
                </c:pt>
                <c:pt idx="1940">
                  <c:v>142.97667000000001</c:v>
                </c:pt>
                <c:pt idx="1941">
                  <c:v>142.19016999999999</c:v>
                </c:pt>
                <c:pt idx="1942">
                  <c:v>142.14251999999999</c:v>
                </c:pt>
                <c:pt idx="1943">
                  <c:v>141.30439999999999</c:v>
                </c:pt>
                <c:pt idx="1944">
                  <c:v>140.94255000000001</c:v>
                </c:pt>
                <c:pt idx="1945">
                  <c:v>133.29006999999999</c:v>
                </c:pt>
                <c:pt idx="1946">
                  <c:v>130.20587</c:v>
                </c:pt>
                <c:pt idx="1947">
                  <c:v>129.67972</c:v>
                </c:pt>
                <c:pt idx="1948">
                  <c:v>128.47298000000001</c:v>
                </c:pt>
                <c:pt idx="1949">
                  <c:v>128.28549000000001</c:v>
                </c:pt>
                <c:pt idx="1950">
                  <c:v>128.46834999999999</c:v>
                </c:pt>
                <c:pt idx="1951">
                  <c:v>130.41243</c:v>
                </c:pt>
                <c:pt idx="1952">
                  <c:v>131.85267999999999</c:v>
                </c:pt>
                <c:pt idx="1953">
                  <c:v>130.38310000000001</c:v>
                </c:pt>
                <c:pt idx="1954">
                  <c:v>130.57715999999999</c:v>
                </c:pt>
                <c:pt idx="1955">
                  <c:v>130.78659999999999</c:v>
                </c:pt>
                <c:pt idx="1956">
                  <c:v>131.02378999999999</c:v>
                </c:pt>
                <c:pt idx="1957">
                  <c:v>130.93512999999999</c:v>
                </c:pt>
                <c:pt idx="1958">
                  <c:v>131.31775999999999</c:v>
                </c:pt>
                <c:pt idx="1959">
                  <c:v>131.89998</c:v>
                </c:pt>
                <c:pt idx="1960">
                  <c:v>136.13887</c:v>
                </c:pt>
                <c:pt idx="1961">
                  <c:v>139.54445999999999</c:v>
                </c:pt>
                <c:pt idx="1962">
                  <c:v>139.57830999999999</c:v>
                </c:pt>
                <c:pt idx="1963">
                  <c:v>137.64153999999999</c:v>
                </c:pt>
                <c:pt idx="1964">
                  <c:v>136.57593</c:v>
                </c:pt>
                <c:pt idx="1965">
                  <c:v>138.20836</c:v>
                </c:pt>
                <c:pt idx="1966">
                  <c:v>135.18546000000001</c:v>
                </c:pt>
                <c:pt idx="1967">
                  <c:v>134.37470999999999</c:v>
                </c:pt>
                <c:pt idx="1968">
                  <c:v>133.60061999999999</c:v>
                </c:pt>
                <c:pt idx="1969">
                  <c:v>133.34152</c:v>
                </c:pt>
                <c:pt idx="1970">
                  <c:v>132.56404000000001</c:v>
                </c:pt>
                <c:pt idx="1971">
                  <c:v>133.80774</c:v>
                </c:pt>
                <c:pt idx="1972">
                  <c:v>128.69684000000001</c:v>
                </c:pt>
                <c:pt idx="1973">
                  <c:v>128.4255</c:v>
                </c:pt>
                <c:pt idx="1974">
                  <c:v>129.82387</c:v>
                </c:pt>
                <c:pt idx="1975">
                  <c:v>130.27179000000001</c:v>
                </c:pt>
                <c:pt idx="1976">
                  <c:v>130.74492000000001</c:v>
                </c:pt>
                <c:pt idx="1977">
                  <c:v>131.0137</c:v>
                </c:pt>
                <c:pt idx="1978">
                  <c:v>130.82051000000001</c:v>
                </c:pt>
                <c:pt idx="1979">
                  <c:v>131.20681999999999</c:v>
                </c:pt>
                <c:pt idx="1980">
                  <c:v>131.53702999999999</c:v>
                </c:pt>
                <c:pt idx="1981">
                  <c:v>131.39688000000001</c:v>
                </c:pt>
                <c:pt idx="1982">
                  <c:v>131.95747</c:v>
                </c:pt>
                <c:pt idx="1983">
                  <c:v>132.33170999999999</c:v>
                </c:pt>
                <c:pt idx="1984">
                  <c:v>133.03708</c:v>
                </c:pt>
                <c:pt idx="1985">
                  <c:v>133.81470999999999</c:v>
                </c:pt>
                <c:pt idx="1986">
                  <c:v>133.75068999999999</c:v>
                </c:pt>
                <c:pt idx="1987">
                  <c:v>133.63531</c:v>
                </c:pt>
                <c:pt idx="1988">
                  <c:v>133.71770000000001</c:v>
                </c:pt>
                <c:pt idx="1989">
                  <c:v>134.24677</c:v>
                </c:pt>
                <c:pt idx="1990">
                  <c:v>135.07401999999999</c:v>
                </c:pt>
                <c:pt idx="1991">
                  <c:v>135.20451</c:v>
                </c:pt>
                <c:pt idx="1992">
                  <c:v>135.04230000000001</c:v>
                </c:pt>
                <c:pt idx="1993">
                  <c:v>135.13750999999999</c:v>
                </c:pt>
                <c:pt idx="1994">
                  <c:v>135.12523999999999</c:v>
                </c:pt>
                <c:pt idx="1995">
                  <c:v>134.99564000000001</c:v>
                </c:pt>
                <c:pt idx="1996">
                  <c:v>134.99657999999999</c:v>
                </c:pt>
                <c:pt idx="1997">
                  <c:v>135.23990000000001</c:v>
                </c:pt>
                <c:pt idx="1998">
                  <c:v>135.34099000000001</c:v>
                </c:pt>
                <c:pt idx="1999">
                  <c:v>135.41962000000001</c:v>
                </c:pt>
                <c:pt idx="2000">
                  <c:v>135.50261</c:v>
                </c:pt>
                <c:pt idx="2001">
                  <c:v>135.37774999999999</c:v>
                </c:pt>
                <c:pt idx="2002">
                  <c:v>134.88551000000001</c:v>
                </c:pt>
                <c:pt idx="2003">
                  <c:v>134.86771999999999</c:v>
                </c:pt>
                <c:pt idx="2004">
                  <c:v>134.68998999999999</c:v>
                </c:pt>
                <c:pt idx="2005">
                  <c:v>134.714</c:v>
                </c:pt>
                <c:pt idx="2006">
                  <c:v>134.94048000000001</c:v>
                </c:pt>
                <c:pt idx="2007">
                  <c:v>137.61525</c:v>
                </c:pt>
                <c:pt idx="2008">
                  <c:v>136.13587999999999</c:v>
                </c:pt>
                <c:pt idx="2009">
                  <c:v>136.20359999999999</c:v>
                </c:pt>
                <c:pt idx="2010">
                  <c:v>137.20311000000001</c:v>
                </c:pt>
                <c:pt idx="2011">
                  <c:v>136.42017999999999</c:v>
                </c:pt>
                <c:pt idx="2012">
                  <c:v>136.88431</c:v>
                </c:pt>
                <c:pt idx="2013">
                  <c:v>137.32031000000001</c:v>
                </c:pt>
                <c:pt idx="2014">
                  <c:v>136.97235000000001</c:v>
                </c:pt>
                <c:pt idx="2015">
                  <c:v>137.08043000000001</c:v>
                </c:pt>
                <c:pt idx="2016">
                  <c:v>137.60677000000001</c:v>
                </c:pt>
                <c:pt idx="2017">
                  <c:v>137.55473000000001</c:v>
                </c:pt>
                <c:pt idx="2018">
                  <c:v>137.50400999999999</c:v>
                </c:pt>
                <c:pt idx="2019">
                  <c:v>137.27762000000001</c:v>
                </c:pt>
                <c:pt idx="2020">
                  <c:v>136.95792</c:v>
                </c:pt>
                <c:pt idx="2021">
                  <c:v>137.02748</c:v>
                </c:pt>
                <c:pt idx="2022">
                  <c:v>136.80170000000001</c:v>
                </c:pt>
                <c:pt idx="2023">
                  <c:v>136.40450000000001</c:v>
                </c:pt>
                <c:pt idx="2024">
                  <c:v>136.55643000000001</c:v>
                </c:pt>
                <c:pt idx="2025">
                  <c:v>136.65720999999999</c:v>
                </c:pt>
                <c:pt idx="2026">
                  <c:v>136.13094000000001</c:v>
                </c:pt>
                <c:pt idx="2027">
                  <c:v>136.28980999999999</c:v>
                </c:pt>
                <c:pt idx="2028">
                  <c:v>135.82404</c:v>
                </c:pt>
                <c:pt idx="2029">
                  <c:v>135.61472000000001</c:v>
                </c:pt>
                <c:pt idx="2030">
                  <c:v>135.5153</c:v>
                </c:pt>
                <c:pt idx="2031">
                  <c:v>135.79405</c:v>
                </c:pt>
                <c:pt idx="2032">
                  <c:v>136.4068</c:v>
                </c:pt>
                <c:pt idx="2033">
                  <c:v>136.74036000000001</c:v>
                </c:pt>
                <c:pt idx="2034">
                  <c:v>137.08279999999999</c:v>
                </c:pt>
                <c:pt idx="2035">
                  <c:v>137.25815</c:v>
                </c:pt>
                <c:pt idx="2036">
                  <c:v>137.44660999999999</c:v>
                </c:pt>
                <c:pt idx="2037">
                  <c:v>137.22149999999999</c:v>
                </c:pt>
                <c:pt idx="2038">
                  <c:v>136.92578</c:v>
                </c:pt>
                <c:pt idx="2039">
                  <c:v>136.87988000000001</c:v>
                </c:pt>
                <c:pt idx="2040">
                  <c:v>137.10846000000001</c:v>
                </c:pt>
                <c:pt idx="2041">
                  <c:v>136.88122999999999</c:v>
                </c:pt>
                <c:pt idx="2042">
                  <c:v>135.09389999999999</c:v>
                </c:pt>
                <c:pt idx="2043">
                  <c:v>137.15656999999999</c:v>
                </c:pt>
                <c:pt idx="2044">
                  <c:v>137.40474</c:v>
                </c:pt>
                <c:pt idx="2045">
                  <c:v>137.50294</c:v>
                </c:pt>
                <c:pt idx="2046">
                  <c:v>137.62085999999999</c:v>
                </c:pt>
                <c:pt idx="2047">
                  <c:v>136.76184000000001</c:v>
                </c:pt>
                <c:pt idx="2048">
                  <c:v>137.14214000000001</c:v>
                </c:pt>
                <c:pt idx="2049">
                  <c:v>137.42106999999999</c:v>
                </c:pt>
                <c:pt idx="2050">
                  <c:v>137.70436000000001</c:v>
                </c:pt>
                <c:pt idx="2051">
                  <c:v>138.66307</c:v>
                </c:pt>
                <c:pt idx="2052">
                  <c:v>138.22592</c:v>
                </c:pt>
                <c:pt idx="2053">
                  <c:v>138.45987</c:v>
                </c:pt>
                <c:pt idx="2054">
                  <c:v>138.62389999999999</c:v>
                </c:pt>
                <c:pt idx="2055">
                  <c:v>138.65100000000001</c:v>
                </c:pt>
                <c:pt idx="2056">
                  <c:v>138.81535</c:v>
                </c:pt>
                <c:pt idx="2057">
                  <c:v>138.97421</c:v>
                </c:pt>
                <c:pt idx="2058">
                  <c:v>138.99029999999999</c:v>
                </c:pt>
                <c:pt idx="2059">
                  <c:v>138.9812</c:v>
                </c:pt>
                <c:pt idx="2060">
                  <c:v>139.13104000000001</c:v>
                </c:pt>
                <c:pt idx="2061">
                  <c:v>139.15762000000001</c:v>
                </c:pt>
                <c:pt idx="2062">
                  <c:v>139.28313</c:v>
                </c:pt>
                <c:pt idx="2063">
                  <c:v>139.40776</c:v>
                </c:pt>
                <c:pt idx="2064">
                  <c:v>139.46646000000001</c:v>
                </c:pt>
                <c:pt idx="2065">
                  <c:v>139.50226000000001</c:v>
                </c:pt>
                <c:pt idx="2066">
                  <c:v>139.61313999999999</c:v>
                </c:pt>
                <c:pt idx="2067">
                  <c:v>139.38826</c:v>
                </c:pt>
                <c:pt idx="2068">
                  <c:v>139.69381999999999</c:v>
                </c:pt>
                <c:pt idx="2069">
                  <c:v>139.64102</c:v>
                </c:pt>
                <c:pt idx="2070">
                  <c:v>139.68485999999999</c:v>
                </c:pt>
                <c:pt idx="2071">
                  <c:v>139.83385000000001</c:v>
                </c:pt>
                <c:pt idx="2072">
                  <c:v>139.92111</c:v>
                </c:pt>
                <c:pt idx="2073">
                  <c:v>139.92596</c:v>
                </c:pt>
                <c:pt idx="2074">
                  <c:v>139.77539999999999</c:v>
                </c:pt>
                <c:pt idx="2075">
                  <c:v>139.47677999999999</c:v>
                </c:pt>
                <c:pt idx="2076">
                  <c:v>141.07042000000001</c:v>
                </c:pt>
                <c:pt idx="2077">
                  <c:v>139.05928</c:v>
                </c:pt>
                <c:pt idx="2078">
                  <c:v>138.99797000000001</c:v>
                </c:pt>
                <c:pt idx="2079">
                  <c:v>139.23401000000001</c:v>
                </c:pt>
                <c:pt idx="2080">
                  <c:v>139.23021</c:v>
                </c:pt>
                <c:pt idx="2081">
                  <c:v>139.34010000000001</c:v>
                </c:pt>
                <c:pt idx="2082">
                  <c:v>139.35704000000001</c:v>
                </c:pt>
                <c:pt idx="2083">
                  <c:v>139.47219999999999</c:v>
                </c:pt>
                <c:pt idx="2084">
                  <c:v>139.50952000000001</c:v>
                </c:pt>
                <c:pt idx="2085">
                  <c:v>139.59829999999999</c:v>
                </c:pt>
                <c:pt idx="2086">
                  <c:v>139.58202</c:v>
                </c:pt>
                <c:pt idx="2087">
                  <c:v>139.69046</c:v>
                </c:pt>
                <c:pt idx="2088">
                  <c:v>139.83229</c:v>
                </c:pt>
                <c:pt idx="2089">
                  <c:v>143.4571</c:v>
                </c:pt>
                <c:pt idx="2090">
                  <c:v>140.00631999999999</c:v>
                </c:pt>
                <c:pt idx="2091">
                  <c:v>140.11646999999999</c:v>
                </c:pt>
                <c:pt idx="2092">
                  <c:v>140.11690999999999</c:v>
                </c:pt>
                <c:pt idx="2093">
                  <c:v>140.13315</c:v>
                </c:pt>
                <c:pt idx="2094">
                  <c:v>140.08323999999999</c:v>
                </c:pt>
                <c:pt idx="2095">
                  <c:v>140.08452</c:v>
                </c:pt>
                <c:pt idx="2096">
                  <c:v>140.09232</c:v>
                </c:pt>
                <c:pt idx="2097">
                  <c:v>140.07822999999999</c:v>
                </c:pt>
                <c:pt idx="2098">
                  <c:v>140.05976999999999</c:v>
                </c:pt>
                <c:pt idx="2099">
                  <c:v>140.00278</c:v>
                </c:pt>
                <c:pt idx="2100">
                  <c:v>139.89957999999999</c:v>
                </c:pt>
                <c:pt idx="2101">
                  <c:v>139.68209999999999</c:v>
                </c:pt>
                <c:pt idx="2102">
                  <c:v>140.50355999999999</c:v>
                </c:pt>
                <c:pt idx="2103">
                  <c:v>139.84357</c:v>
                </c:pt>
                <c:pt idx="2104">
                  <c:v>139.82375999999999</c:v>
                </c:pt>
                <c:pt idx="2105">
                  <c:v>139.86823000000001</c:v>
                </c:pt>
                <c:pt idx="2106">
                  <c:v>139.92526000000001</c:v>
                </c:pt>
                <c:pt idx="2107">
                  <c:v>140.03368</c:v>
                </c:pt>
                <c:pt idx="2108">
                  <c:v>140.12923000000001</c:v>
                </c:pt>
                <c:pt idx="2109">
                  <c:v>140.22993</c:v>
                </c:pt>
              </c:numCache>
            </c:numRef>
          </c:val>
          <c:smooth val="0"/>
          <c:extLst>
            <c:ext xmlns:c16="http://schemas.microsoft.com/office/drawing/2014/chart" uri="{C3380CC4-5D6E-409C-BE32-E72D297353CC}">
              <c16:uniqueId val="{00000001-B998-C442-B095-CD8526EFFC4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200"/>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50"/>
        <c:min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26477981025568E-2"/>
          <c:y val="3.9286234984628063E-2"/>
          <c:w val="0.95403901905410082"/>
          <c:h val="0.92142753003074385"/>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1115</c:f>
              <c:numCache>
                <c:formatCode>m/d/yy</c:formatCode>
                <c:ptCount val="1114"/>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B$2:$B$1115</c:f>
              <c:numCache>
                <c:formatCode>General</c:formatCode>
                <c:ptCount val="1114"/>
                <c:pt idx="0">
                  <c:v>105.00306999999999</c:v>
                </c:pt>
                <c:pt idx="1">
                  <c:v>105.65424</c:v>
                </c:pt>
                <c:pt idx="2">
                  <c:v>105.510605</c:v>
                </c:pt>
                <c:pt idx="3">
                  <c:v>106.01814</c:v>
                </c:pt>
                <c:pt idx="4">
                  <c:v>105.39567599999999</c:v>
                </c:pt>
                <c:pt idx="5">
                  <c:v>105.34781</c:v>
                </c:pt>
                <c:pt idx="6">
                  <c:v>105.45314</c:v>
                </c:pt>
                <c:pt idx="7">
                  <c:v>105.07966999999999</c:v>
                </c:pt>
                <c:pt idx="8">
                  <c:v>105.64467</c:v>
                </c:pt>
                <c:pt idx="9">
                  <c:v>105.55847</c:v>
                </c:pt>
                <c:pt idx="10">
                  <c:v>105.42440999999999</c:v>
                </c:pt>
                <c:pt idx="11">
                  <c:v>106.33414999999999</c:v>
                </c:pt>
                <c:pt idx="12">
                  <c:v>105.90322</c:v>
                </c:pt>
                <c:pt idx="13">
                  <c:v>106.525665</c:v>
                </c:pt>
                <c:pt idx="14">
                  <c:v>105.97983600000001</c:v>
                </c:pt>
                <c:pt idx="15">
                  <c:v>106.16177</c:v>
                </c:pt>
                <c:pt idx="16">
                  <c:v>106.142624</c:v>
                </c:pt>
                <c:pt idx="17">
                  <c:v>106.32458</c:v>
                </c:pt>
                <c:pt idx="18">
                  <c:v>106.21924</c:v>
                </c:pt>
                <c:pt idx="19">
                  <c:v>106.79380999999999</c:v>
                </c:pt>
                <c:pt idx="20">
                  <c:v>107.55032</c:v>
                </c:pt>
                <c:pt idx="21">
                  <c:v>107.128975</c:v>
                </c:pt>
                <c:pt idx="22">
                  <c:v>106.97575000000001</c:v>
                </c:pt>
                <c:pt idx="23">
                  <c:v>107.023636</c:v>
                </c:pt>
                <c:pt idx="24">
                  <c:v>107.93337</c:v>
                </c:pt>
                <c:pt idx="25">
                  <c:v>107.01406</c:v>
                </c:pt>
                <c:pt idx="26">
                  <c:v>107.33008</c:v>
                </c:pt>
                <c:pt idx="27">
                  <c:v>107.4833</c:v>
                </c:pt>
                <c:pt idx="28">
                  <c:v>107.387535</c:v>
                </c:pt>
                <c:pt idx="29">
                  <c:v>107.617355</c:v>
                </c:pt>
                <c:pt idx="30">
                  <c:v>108.25897000000001</c:v>
                </c:pt>
                <c:pt idx="31">
                  <c:v>107.76101</c:v>
                </c:pt>
                <c:pt idx="32">
                  <c:v>108.38345</c:v>
                </c:pt>
                <c:pt idx="33">
                  <c:v>108.584564</c:v>
                </c:pt>
                <c:pt idx="34">
                  <c:v>108.40260000000001</c:v>
                </c:pt>
                <c:pt idx="35">
                  <c:v>108.24939000000001</c:v>
                </c:pt>
                <c:pt idx="36">
                  <c:v>108.21109</c:v>
                </c:pt>
                <c:pt idx="37">
                  <c:v>108.25897000000001</c:v>
                </c:pt>
                <c:pt idx="38">
                  <c:v>107.80888</c:v>
                </c:pt>
                <c:pt idx="39">
                  <c:v>107.665245</c:v>
                </c:pt>
                <c:pt idx="40">
                  <c:v>108.27812</c:v>
                </c:pt>
                <c:pt idx="41">
                  <c:v>108.24939000000001</c:v>
                </c:pt>
                <c:pt idx="42">
                  <c:v>108.40260000000001</c:v>
                </c:pt>
                <c:pt idx="43">
                  <c:v>108.95802999999999</c:v>
                </c:pt>
                <c:pt idx="44">
                  <c:v>109.35066</c:v>
                </c:pt>
                <c:pt idx="45">
                  <c:v>108.91016</c:v>
                </c:pt>
                <c:pt idx="46">
                  <c:v>109.92523</c:v>
                </c:pt>
                <c:pt idx="47">
                  <c:v>109.59005999999999</c:v>
                </c:pt>
                <c:pt idx="48">
                  <c:v>108.881424</c:v>
                </c:pt>
                <c:pt idx="49">
                  <c:v>110.298706</c:v>
                </c:pt>
                <c:pt idx="50">
                  <c:v>110.68174999999999</c:v>
                </c:pt>
                <c:pt idx="51">
                  <c:v>110.930725</c:v>
                </c:pt>
                <c:pt idx="52">
                  <c:v>110.7009</c:v>
                </c:pt>
                <c:pt idx="53">
                  <c:v>109.86777499999999</c:v>
                </c:pt>
                <c:pt idx="54">
                  <c:v>109.52303000000001</c:v>
                </c:pt>
                <c:pt idx="55">
                  <c:v>106.88958</c:v>
                </c:pt>
                <c:pt idx="56">
                  <c:v>106.45864</c:v>
                </c:pt>
                <c:pt idx="57">
                  <c:v>107.24387</c:v>
                </c:pt>
                <c:pt idx="58">
                  <c:v>106.698044</c:v>
                </c:pt>
                <c:pt idx="59">
                  <c:v>107.3205</c:v>
                </c:pt>
                <c:pt idx="60">
                  <c:v>105.01264</c:v>
                </c:pt>
                <c:pt idx="61">
                  <c:v>104.936035</c:v>
                </c:pt>
                <c:pt idx="62">
                  <c:v>105.04137</c:v>
                </c:pt>
                <c:pt idx="63">
                  <c:v>104.5051</c:v>
                </c:pt>
                <c:pt idx="64">
                  <c:v>103.40383</c:v>
                </c:pt>
                <c:pt idx="65">
                  <c:v>101.80459999999999</c:v>
                </c:pt>
                <c:pt idx="66">
                  <c:v>102.15893</c:v>
                </c:pt>
                <c:pt idx="67">
                  <c:v>102.963326</c:v>
                </c:pt>
                <c:pt idx="68">
                  <c:v>103.06867</c:v>
                </c:pt>
                <c:pt idx="69">
                  <c:v>102.48451</c:v>
                </c:pt>
                <c:pt idx="70">
                  <c:v>103.14527</c:v>
                </c:pt>
                <c:pt idx="71">
                  <c:v>102.72392000000001</c:v>
                </c:pt>
                <c:pt idx="72">
                  <c:v>103.81560500000001</c:v>
                </c:pt>
                <c:pt idx="73">
                  <c:v>103.74857</c:v>
                </c:pt>
                <c:pt idx="74">
                  <c:v>103.36553000000001</c:v>
                </c:pt>
                <c:pt idx="75">
                  <c:v>103.624084</c:v>
                </c:pt>
                <c:pt idx="76">
                  <c:v>102.63773</c:v>
                </c:pt>
                <c:pt idx="77">
                  <c:v>102.00570999999999</c:v>
                </c:pt>
                <c:pt idx="78">
                  <c:v>101.02894000000001</c:v>
                </c:pt>
                <c:pt idx="79">
                  <c:v>101.43113</c:v>
                </c:pt>
                <c:pt idx="80">
                  <c:v>99.898949999999999</c:v>
                </c:pt>
                <c:pt idx="81">
                  <c:v>101.143845</c:v>
                </c:pt>
                <c:pt idx="82">
                  <c:v>102.50367</c:v>
                </c:pt>
                <c:pt idx="83">
                  <c:v>102.04402</c:v>
                </c:pt>
                <c:pt idx="84">
                  <c:v>101.64181499999999</c:v>
                </c:pt>
                <c:pt idx="85">
                  <c:v>101.48860000000001</c:v>
                </c:pt>
                <c:pt idx="86">
                  <c:v>101.03852000000001</c:v>
                </c:pt>
                <c:pt idx="87">
                  <c:v>100.90445</c:v>
                </c:pt>
                <c:pt idx="88">
                  <c:v>99.535049999999998</c:v>
                </c:pt>
                <c:pt idx="89">
                  <c:v>100.3586</c:v>
                </c:pt>
                <c:pt idx="90">
                  <c:v>99.803190000000001</c:v>
                </c:pt>
                <c:pt idx="91">
                  <c:v>99.937250000000006</c:v>
                </c:pt>
                <c:pt idx="92">
                  <c:v>101.09598</c:v>
                </c:pt>
                <c:pt idx="93">
                  <c:v>100.94276000000001</c:v>
                </c:pt>
                <c:pt idx="94">
                  <c:v>102.33131</c:v>
                </c:pt>
                <c:pt idx="95">
                  <c:v>101.230034</c:v>
                </c:pt>
                <c:pt idx="96">
                  <c:v>101.74715399999999</c:v>
                </c:pt>
                <c:pt idx="97">
                  <c:v>102.90587600000001</c:v>
                </c:pt>
                <c:pt idx="98">
                  <c:v>101.15342</c:v>
                </c:pt>
                <c:pt idx="99">
                  <c:v>99.706310000000002</c:v>
                </c:pt>
                <c:pt idx="100">
                  <c:v>99.677359999999993</c:v>
                </c:pt>
                <c:pt idx="101">
                  <c:v>99.937849999999997</c:v>
                </c:pt>
                <c:pt idx="102">
                  <c:v>100.17901999999999</c:v>
                </c:pt>
                <c:pt idx="103">
                  <c:v>100.7</c:v>
                </c:pt>
                <c:pt idx="104">
                  <c:v>100.613174</c:v>
                </c:pt>
                <c:pt idx="105">
                  <c:v>101.384964</c:v>
                </c:pt>
                <c:pt idx="106">
                  <c:v>101.095535</c:v>
                </c:pt>
                <c:pt idx="107">
                  <c:v>102.02169000000001</c:v>
                </c:pt>
                <c:pt idx="108">
                  <c:v>103.05396</c:v>
                </c:pt>
                <c:pt idx="109">
                  <c:v>103.57495</c:v>
                </c:pt>
                <c:pt idx="110">
                  <c:v>103.31444500000001</c:v>
                </c:pt>
                <c:pt idx="111">
                  <c:v>103.22763</c:v>
                </c:pt>
                <c:pt idx="112">
                  <c:v>102.66807</c:v>
                </c:pt>
                <c:pt idx="113">
                  <c:v>103.16974</c:v>
                </c:pt>
                <c:pt idx="114">
                  <c:v>106.12186</c:v>
                </c:pt>
                <c:pt idx="115">
                  <c:v>106.08327</c:v>
                </c:pt>
                <c:pt idx="116">
                  <c:v>106.05432</c:v>
                </c:pt>
                <c:pt idx="117">
                  <c:v>106.71035999999999</c:v>
                </c:pt>
                <c:pt idx="118">
                  <c:v>104.838745</c:v>
                </c:pt>
                <c:pt idx="119">
                  <c:v>105.27289</c:v>
                </c:pt>
                <c:pt idx="120">
                  <c:v>103.8933</c:v>
                </c:pt>
                <c:pt idx="121">
                  <c:v>102.60053000000001</c:v>
                </c:pt>
                <c:pt idx="122">
                  <c:v>103.20833</c:v>
                </c:pt>
                <c:pt idx="123">
                  <c:v>99.204639999999998</c:v>
                </c:pt>
                <c:pt idx="124">
                  <c:v>97.776820000000001</c:v>
                </c:pt>
                <c:pt idx="125">
                  <c:v>98.394260000000003</c:v>
                </c:pt>
                <c:pt idx="126">
                  <c:v>97.825059999999993</c:v>
                </c:pt>
                <c:pt idx="127">
                  <c:v>97.931174999999996</c:v>
                </c:pt>
                <c:pt idx="128">
                  <c:v>98.596850000000003</c:v>
                </c:pt>
                <c:pt idx="129">
                  <c:v>97.805760000000006</c:v>
                </c:pt>
                <c:pt idx="130">
                  <c:v>97.149730000000005</c:v>
                </c:pt>
                <c:pt idx="131">
                  <c:v>97.603160000000003</c:v>
                </c:pt>
                <c:pt idx="132">
                  <c:v>99.146749999999997</c:v>
                </c:pt>
                <c:pt idx="133">
                  <c:v>97.921530000000004</c:v>
                </c:pt>
                <c:pt idx="134">
                  <c:v>97.940830000000005</c:v>
                </c:pt>
                <c:pt idx="135">
                  <c:v>98.799449999999993</c:v>
                </c:pt>
                <c:pt idx="136">
                  <c:v>98.944149999999993</c:v>
                </c:pt>
                <c:pt idx="137">
                  <c:v>98.953804000000005</c:v>
                </c:pt>
                <c:pt idx="138">
                  <c:v>99.243229999999997</c:v>
                </c:pt>
                <c:pt idx="139">
                  <c:v>97.632109999999997</c:v>
                </c:pt>
                <c:pt idx="140">
                  <c:v>97.921530000000004</c:v>
                </c:pt>
                <c:pt idx="141">
                  <c:v>98.018005000000002</c:v>
                </c:pt>
                <c:pt idx="142">
                  <c:v>97.921530000000004</c:v>
                </c:pt>
                <c:pt idx="143">
                  <c:v>93.638069999999999</c:v>
                </c:pt>
                <c:pt idx="144">
                  <c:v>93.647710000000004</c:v>
                </c:pt>
                <c:pt idx="145">
                  <c:v>93.667010000000005</c:v>
                </c:pt>
                <c:pt idx="146">
                  <c:v>94.438805000000002</c:v>
                </c:pt>
                <c:pt idx="147">
                  <c:v>95.336010000000002</c:v>
                </c:pt>
                <c:pt idx="148">
                  <c:v>94.448455999999993</c:v>
                </c:pt>
                <c:pt idx="149">
                  <c:v>95.046589999999995</c:v>
                </c:pt>
                <c:pt idx="150">
                  <c:v>94.641396</c:v>
                </c:pt>
                <c:pt idx="151">
                  <c:v>94.959760000000003</c:v>
                </c:pt>
                <c:pt idx="152">
                  <c:v>95.712265000000002</c:v>
                </c:pt>
                <c:pt idx="153">
                  <c:v>95.403549999999996</c:v>
                </c:pt>
                <c:pt idx="154">
                  <c:v>95.123769999999993</c:v>
                </c:pt>
                <c:pt idx="155">
                  <c:v>96.059579999999997</c:v>
                </c:pt>
                <c:pt idx="156">
                  <c:v>95.152709999999999</c:v>
                </c:pt>
                <c:pt idx="157">
                  <c:v>95.741209999999995</c:v>
                </c:pt>
                <c:pt idx="158">
                  <c:v>94.593159999999997</c:v>
                </c:pt>
                <c:pt idx="159">
                  <c:v>95.094830000000002</c:v>
                </c:pt>
                <c:pt idx="160">
                  <c:v>96.339354999999998</c:v>
                </c:pt>
                <c:pt idx="161">
                  <c:v>97.236564999999999</c:v>
                </c:pt>
                <c:pt idx="162">
                  <c:v>97.005030000000005</c:v>
                </c:pt>
                <c:pt idx="163">
                  <c:v>96.580535999999995</c:v>
                </c:pt>
                <c:pt idx="164">
                  <c:v>96.541939999999997</c:v>
                </c:pt>
                <c:pt idx="165">
                  <c:v>96.059579999999997</c:v>
                </c:pt>
                <c:pt idx="166">
                  <c:v>96.069230000000005</c:v>
                </c:pt>
                <c:pt idx="167">
                  <c:v>95.075540000000004</c:v>
                </c:pt>
                <c:pt idx="168">
                  <c:v>93.512649999999994</c:v>
                </c:pt>
                <c:pt idx="169">
                  <c:v>93.946785000000006</c:v>
                </c:pt>
                <c:pt idx="170">
                  <c:v>94.670333999999997</c:v>
                </c:pt>
                <c:pt idx="171">
                  <c:v>94.892240000000001</c:v>
                </c:pt>
                <c:pt idx="172">
                  <c:v>94.786119999999997</c:v>
                </c:pt>
                <c:pt idx="173">
                  <c:v>95.519329999999997</c:v>
                </c:pt>
                <c:pt idx="174">
                  <c:v>95.895579999999995</c:v>
                </c:pt>
                <c:pt idx="175">
                  <c:v>95.220245000000006</c:v>
                </c:pt>
                <c:pt idx="176">
                  <c:v>94.824700000000007</c:v>
                </c:pt>
                <c:pt idx="177">
                  <c:v>94.351973999999998</c:v>
                </c:pt>
                <c:pt idx="178">
                  <c:v>95.085179999999994</c:v>
                </c:pt>
                <c:pt idx="179">
                  <c:v>94.843999999999994</c:v>
                </c:pt>
                <c:pt idx="180">
                  <c:v>94.583510000000004</c:v>
                </c:pt>
                <c:pt idx="181">
                  <c:v>94.361626000000001</c:v>
                </c:pt>
                <c:pt idx="182">
                  <c:v>95.538605000000004</c:v>
                </c:pt>
                <c:pt idx="183">
                  <c:v>94.882589999999993</c:v>
                </c:pt>
                <c:pt idx="184">
                  <c:v>95.162369999999996</c:v>
                </c:pt>
                <c:pt idx="185">
                  <c:v>97.091849999999994</c:v>
                </c:pt>
                <c:pt idx="186">
                  <c:v>98.027659999999997</c:v>
                </c:pt>
                <c:pt idx="187">
                  <c:v>97.612809999999996</c:v>
                </c:pt>
                <c:pt idx="188">
                  <c:v>99.059920000000005</c:v>
                </c:pt>
                <c:pt idx="189">
                  <c:v>101.08589000000001</c:v>
                </c:pt>
                <c:pt idx="190">
                  <c:v>101.04730000000001</c:v>
                </c:pt>
                <c:pt idx="191">
                  <c:v>99.532650000000004</c:v>
                </c:pt>
                <c:pt idx="192">
                  <c:v>100.03431999999999</c:v>
                </c:pt>
                <c:pt idx="193">
                  <c:v>99.947495000000004</c:v>
                </c:pt>
                <c:pt idx="194">
                  <c:v>99.793130000000005</c:v>
                </c:pt>
                <c:pt idx="195">
                  <c:v>99.127459999999999</c:v>
                </c:pt>
                <c:pt idx="196">
                  <c:v>99.368645000000001</c:v>
                </c:pt>
                <c:pt idx="197">
                  <c:v>99.117810000000006</c:v>
                </c:pt>
                <c:pt idx="198">
                  <c:v>99.021330000000006</c:v>
                </c:pt>
                <c:pt idx="199">
                  <c:v>99.166045999999994</c:v>
                </c:pt>
                <c:pt idx="200">
                  <c:v>99.764200000000002</c:v>
                </c:pt>
                <c:pt idx="201">
                  <c:v>101.52967</c:v>
                </c:pt>
                <c:pt idx="202">
                  <c:v>101.12447</c:v>
                </c:pt>
                <c:pt idx="203">
                  <c:v>101.53932</c:v>
                </c:pt>
                <c:pt idx="204">
                  <c:v>106.33409</c:v>
                </c:pt>
                <c:pt idx="205">
                  <c:v>103.43986</c:v>
                </c:pt>
                <c:pt idx="206">
                  <c:v>101.74191</c:v>
                </c:pt>
                <c:pt idx="207">
                  <c:v>101.54897</c:v>
                </c:pt>
                <c:pt idx="208">
                  <c:v>101.364204</c:v>
                </c:pt>
                <c:pt idx="209">
                  <c:v>103.89270999999999</c:v>
                </c:pt>
                <c:pt idx="210">
                  <c:v>104.476204</c:v>
                </c:pt>
                <c:pt idx="211">
                  <c:v>104.65125999999999</c:v>
                </c:pt>
                <c:pt idx="212">
                  <c:v>107.52988000000001</c:v>
                </c:pt>
                <c:pt idx="213">
                  <c:v>108.21062499999999</c:v>
                </c:pt>
                <c:pt idx="214">
                  <c:v>107.97723000000001</c:v>
                </c:pt>
                <c:pt idx="215">
                  <c:v>108.73578000000001</c:v>
                </c:pt>
                <c:pt idx="216">
                  <c:v>106.67407</c:v>
                </c:pt>
                <c:pt idx="217">
                  <c:v>106.557365</c:v>
                </c:pt>
                <c:pt idx="218">
                  <c:v>105.68210999999999</c:v>
                </c:pt>
                <c:pt idx="219">
                  <c:v>105.14724</c:v>
                </c:pt>
                <c:pt idx="220">
                  <c:v>104.680435</c:v>
                </c:pt>
                <c:pt idx="221">
                  <c:v>104.80686</c:v>
                </c:pt>
                <c:pt idx="222">
                  <c:v>104.55401000000001</c:v>
                </c:pt>
                <c:pt idx="223">
                  <c:v>104.55401000000001</c:v>
                </c:pt>
                <c:pt idx="224">
                  <c:v>108.72607000000001</c:v>
                </c:pt>
                <c:pt idx="225">
                  <c:v>108.72607000000001</c:v>
                </c:pt>
                <c:pt idx="226">
                  <c:v>109.19285600000001</c:v>
                </c:pt>
                <c:pt idx="227">
                  <c:v>109.14424</c:v>
                </c:pt>
                <c:pt idx="228">
                  <c:v>108.551</c:v>
                </c:pt>
                <c:pt idx="229">
                  <c:v>106.994995</c:v>
                </c:pt>
                <c:pt idx="230">
                  <c:v>106.91719000000001</c:v>
                </c:pt>
                <c:pt idx="231">
                  <c:v>106.46011</c:v>
                </c:pt>
                <c:pt idx="232">
                  <c:v>107.93832399999999</c:v>
                </c:pt>
                <c:pt idx="233">
                  <c:v>109.37763</c:v>
                </c:pt>
                <c:pt idx="234">
                  <c:v>107.646576</c:v>
                </c:pt>
                <c:pt idx="235">
                  <c:v>108.89138</c:v>
                </c:pt>
                <c:pt idx="236">
                  <c:v>107.384</c:v>
                </c:pt>
                <c:pt idx="237">
                  <c:v>107.54931999999999</c:v>
                </c:pt>
                <c:pt idx="238">
                  <c:v>108.04529599999999</c:v>
                </c:pt>
                <c:pt idx="239">
                  <c:v>107.37428</c:v>
                </c:pt>
                <c:pt idx="240">
                  <c:v>107.46178999999999</c:v>
                </c:pt>
                <c:pt idx="241">
                  <c:v>107.51042</c:v>
                </c:pt>
                <c:pt idx="242">
                  <c:v>109.10533</c:v>
                </c:pt>
                <c:pt idx="243">
                  <c:v>108.473206</c:v>
                </c:pt>
                <c:pt idx="244">
                  <c:v>107.08252</c:v>
                </c:pt>
                <c:pt idx="245">
                  <c:v>105.68210999999999</c:v>
                </c:pt>
                <c:pt idx="246">
                  <c:v>107.45207000000001</c:v>
                </c:pt>
                <c:pt idx="247">
                  <c:v>105.71129000000001</c:v>
                </c:pt>
                <c:pt idx="248">
                  <c:v>101.82126599999999</c:v>
                </c:pt>
                <c:pt idx="249">
                  <c:v>103.250854</c:v>
                </c:pt>
                <c:pt idx="250">
                  <c:v>101.87962</c:v>
                </c:pt>
                <c:pt idx="251">
                  <c:v>98.563379999999995</c:v>
                </c:pt>
                <c:pt idx="252">
                  <c:v>100.25552999999999</c:v>
                </c:pt>
                <c:pt idx="253">
                  <c:v>100.54729</c:v>
                </c:pt>
                <c:pt idx="254">
                  <c:v>101.25722</c:v>
                </c:pt>
                <c:pt idx="255">
                  <c:v>101.724014</c:v>
                </c:pt>
                <c:pt idx="256">
                  <c:v>102.28807</c:v>
                </c:pt>
                <c:pt idx="257">
                  <c:v>103.60095</c:v>
                </c:pt>
                <c:pt idx="258">
                  <c:v>103.06608</c:v>
                </c:pt>
                <c:pt idx="259">
                  <c:v>102.16164999999999</c:v>
                </c:pt>
                <c:pt idx="260">
                  <c:v>102.34641999999999</c:v>
                </c:pt>
                <c:pt idx="261">
                  <c:v>104.30115499999999</c:v>
                </c:pt>
                <c:pt idx="262">
                  <c:v>106.79076999999999</c:v>
                </c:pt>
                <c:pt idx="263">
                  <c:v>101.98659499999999</c:v>
                </c:pt>
                <c:pt idx="264">
                  <c:v>100.323616</c:v>
                </c:pt>
                <c:pt idx="265">
                  <c:v>99.749830000000003</c:v>
                </c:pt>
                <c:pt idx="266">
                  <c:v>100.15828999999999</c:v>
                </c:pt>
                <c:pt idx="267">
                  <c:v>100.56674</c:v>
                </c:pt>
                <c:pt idx="268">
                  <c:v>102.05468</c:v>
                </c:pt>
                <c:pt idx="269">
                  <c:v>100.74178999999999</c:v>
                </c:pt>
                <c:pt idx="270">
                  <c:v>101.169685</c:v>
                </c:pt>
                <c:pt idx="271">
                  <c:v>101.85045</c:v>
                </c:pt>
                <c:pt idx="272">
                  <c:v>102.27834</c:v>
                </c:pt>
                <c:pt idx="273">
                  <c:v>100.87794</c:v>
                </c:pt>
                <c:pt idx="274">
                  <c:v>101.04327000000001</c:v>
                </c:pt>
                <c:pt idx="275">
                  <c:v>100.401405</c:v>
                </c:pt>
                <c:pt idx="276">
                  <c:v>100.04159</c:v>
                </c:pt>
                <c:pt idx="277">
                  <c:v>98.689803999999995</c:v>
                </c:pt>
                <c:pt idx="278">
                  <c:v>98.563379999999995</c:v>
                </c:pt>
                <c:pt idx="279">
                  <c:v>99.020454000000001</c:v>
                </c:pt>
                <c:pt idx="280">
                  <c:v>97.834000000000003</c:v>
                </c:pt>
                <c:pt idx="281">
                  <c:v>95.830640000000002</c:v>
                </c:pt>
                <c:pt idx="282">
                  <c:v>97.882620000000003</c:v>
                </c:pt>
                <c:pt idx="283">
                  <c:v>96.62809</c:v>
                </c:pt>
                <c:pt idx="284">
                  <c:v>95.830640000000002</c:v>
                </c:pt>
                <c:pt idx="285">
                  <c:v>97.678399999999996</c:v>
                </c:pt>
                <c:pt idx="286">
                  <c:v>95.947339999999997</c:v>
                </c:pt>
                <c:pt idx="287">
                  <c:v>96.686440000000005</c:v>
                </c:pt>
                <c:pt idx="288">
                  <c:v>98.174379999999999</c:v>
                </c:pt>
                <c:pt idx="289">
                  <c:v>99.302480000000003</c:v>
                </c:pt>
                <c:pt idx="290">
                  <c:v>97.590869999999995</c:v>
                </c:pt>
                <c:pt idx="291">
                  <c:v>96.958749999999995</c:v>
                </c:pt>
                <c:pt idx="292">
                  <c:v>98.582830000000001</c:v>
                </c:pt>
                <c:pt idx="293">
                  <c:v>98.028499999999994</c:v>
                </c:pt>
                <c:pt idx="294">
                  <c:v>97.629769999999994</c:v>
                </c:pt>
                <c:pt idx="295">
                  <c:v>97.590869999999995</c:v>
                </c:pt>
                <c:pt idx="296">
                  <c:v>97.483894000000006</c:v>
                </c:pt>
                <c:pt idx="297">
                  <c:v>99.360825000000006</c:v>
                </c:pt>
                <c:pt idx="298">
                  <c:v>98.427220000000005</c:v>
                </c:pt>
                <c:pt idx="299">
                  <c:v>98.116020000000006</c:v>
                </c:pt>
                <c:pt idx="300">
                  <c:v>97.483894000000006</c:v>
                </c:pt>
                <c:pt idx="301">
                  <c:v>97.396370000000005</c:v>
                </c:pt>
                <c:pt idx="302">
                  <c:v>96.725340000000003</c:v>
                </c:pt>
                <c:pt idx="303">
                  <c:v>98.368870000000001</c:v>
                </c:pt>
                <c:pt idx="304">
                  <c:v>97.094893999999996</c:v>
                </c:pt>
                <c:pt idx="305">
                  <c:v>96.501660000000001</c:v>
                </c:pt>
                <c:pt idx="306">
                  <c:v>97.571430000000007</c:v>
                </c:pt>
                <c:pt idx="307">
                  <c:v>97.308846000000003</c:v>
                </c:pt>
                <c:pt idx="308">
                  <c:v>96.880939999999995</c:v>
                </c:pt>
                <c:pt idx="309">
                  <c:v>96.044589999999999</c:v>
                </c:pt>
                <c:pt idx="310">
                  <c:v>98.368870000000001</c:v>
                </c:pt>
                <c:pt idx="311">
                  <c:v>99.662310000000005</c:v>
                </c:pt>
                <c:pt idx="312">
                  <c:v>98.991280000000003</c:v>
                </c:pt>
                <c:pt idx="313">
                  <c:v>97.221320000000006</c:v>
                </c:pt>
                <c:pt idx="314">
                  <c:v>98.884309999999999</c:v>
                </c:pt>
                <c:pt idx="315">
                  <c:v>99.263580000000005</c:v>
                </c:pt>
                <c:pt idx="316">
                  <c:v>99.623410000000007</c:v>
                </c:pt>
                <c:pt idx="317">
                  <c:v>100.0902</c:v>
                </c:pt>
                <c:pt idx="318">
                  <c:v>102.15192399999999</c:v>
                </c:pt>
                <c:pt idx="319">
                  <c:v>101.47117</c:v>
                </c:pt>
                <c:pt idx="320">
                  <c:v>101.07244</c:v>
                </c:pt>
                <c:pt idx="321">
                  <c:v>101.19886</c:v>
                </c:pt>
                <c:pt idx="322">
                  <c:v>101.20859</c:v>
                </c:pt>
                <c:pt idx="323">
                  <c:v>100.06104000000001</c:v>
                </c:pt>
                <c:pt idx="324">
                  <c:v>99.302480000000003</c:v>
                </c:pt>
                <c:pt idx="325">
                  <c:v>99.39</c:v>
                </c:pt>
                <c:pt idx="326">
                  <c:v>96.949020000000004</c:v>
                </c:pt>
                <c:pt idx="327">
                  <c:v>97.231049999999996</c:v>
                </c:pt>
                <c:pt idx="328">
                  <c:v>96.735069999999993</c:v>
                </c:pt>
                <c:pt idx="329">
                  <c:v>96.62809</c:v>
                </c:pt>
                <c:pt idx="330">
                  <c:v>97.483894000000006</c:v>
                </c:pt>
                <c:pt idx="331">
                  <c:v>97.192149999999998</c:v>
                </c:pt>
                <c:pt idx="332">
                  <c:v>99.107979999999998</c:v>
                </c:pt>
                <c:pt idx="333">
                  <c:v>99.65258</c:v>
                </c:pt>
                <c:pt idx="334">
                  <c:v>101.12107</c:v>
                </c:pt>
                <c:pt idx="335">
                  <c:v>101.480896</c:v>
                </c:pt>
                <c:pt idx="336">
                  <c:v>101.46145</c:v>
                </c:pt>
                <c:pt idx="337">
                  <c:v>103.387</c:v>
                </c:pt>
                <c:pt idx="338">
                  <c:v>105.75991999999999</c:v>
                </c:pt>
                <c:pt idx="339">
                  <c:v>105.85717</c:v>
                </c:pt>
                <c:pt idx="340">
                  <c:v>104.11638000000001</c:v>
                </c:pt>
                <c:pt idx="341">
                  <c:v>103.18277999999999</c:v>
                </c:pt>
                <c:pt idx="342">
                  <c:v>104.2039</c:v>
                </c:pt>
                <c:pt idx="343">
                  <c:v>102.97854599999999</c:v>
                </c:pt>
                <c:pt idx="344">
                  <c:v>103.41616999999999</c:v>
                </c:pt>
                <c:pt idx="345">
                  <c:v>101.57814</c:v>
                </c:pt>
                <c:pt idx="346">
                  <c:v>101.39337</c:v>
                </c:pt>
                <c:pt idx="347">
                  <c:v>101.10161600000001</c:v>
                </c:pt>
                <c:pt idx="348">
                  <c:v>101.88934999999999</c:v>
                </c:pt>
                <c:pt idx="349">
                  <c:v>101.928246</c:v>
                </c:pt>
                <c:pt idx="350">
                  <c:v>102.43394499999999</c:v>
                </c:pt>
                <c:pt idx="351">
                  <c:v>101.17941999999999</c:v>
                </c:pt>
                <c:pt idx="352">
                  <c:v>102.44367</c:v>
                </c:pt>
                <c:pt idx="353">
                  <c:v>102.71817</c:v>
                </c:pt>
                <c:pt idx="354">
                  <c:v>103.93376000000001</c:v>
                </c:pt>
                <c:pt idx="355">
                  <c:v>103.94356500000001</c:v>
                </c:pt>
                <c:pt idx="356">
                  <c:v>105.91401999999999</c:v>
                </c:pt>
                <c:pt idx="357">
                  <c:v>106.11989</c:v>
                </c:pt>
                <c:pt idx="358">
                  <c:v>107.83544999999999</c:v>
                </c:pt>
                <c:pt idx="359">
                  <c:v>108.03149999999999</c:v>
                </c:pt>
                <c:pt idx="360">
                  <c:v>108.12954999999999</c:v>
                </c:pt>
                <c:pt idx="361">
                  <c:v>108.51187</c:v>
                </c:pt>
                <c:pt idx="362">
                  <c:v>109.92354</c:v>
                </c:pt>
                <c:pt idx="363">
                  <c:v>109.28633000000001</c:v>
                </c:pt>
                <c:pt idx="364">
                  <c:v>108.90398999999999</c:v>
                </c:pt>
                <c:pt idx="365">
                  <c:v>108.52167</c:v>
                </c:pt>
                <c:pt idx="366">
                  <c:v>108.99223000000001</c:v>
                </c:pt>
                <c:pt idx="367">
                  <c:v>111.276375</c:v>
                </c:pt>
                <c:pt idx="368">
                  <c:v>110.40389</c:v>
                </c:pt>
                <c:pt idx="369">
                  <c:v>110.41370000000001</c:v>
                </c:pt>
                <c:pt idx="370">
                  <c:v>111.3254</c:v>
                </c:pt>
                <c:pt idx="371">
                  <c:v>110.74701</c:v>
                </c:pt>
                <c:pt idx="372">
                  <c:v>110.53133</c:v>
                </c:pt>
                <c:pt idx="373">
                  <c:v>111.84496</c:v>
                </c:pt>
                <c:pt idx="374">
                  <c:v>113.65857</c:v>
                </c:pt>
                <c:pt idx="375">
                  <c:v>114.26636000000001</c:v>
                </c:pt>
                <c:pt idx="376">
                  <c:v>111.73712999999999</c:v>
                </c:pt>
                <c:pt idx="377">
                  <c:v>111.9136</c:v>
                </c:pt>
                <c:pt idx="378">
                  <c:v>110.462715</c:v>
                </c:pt>
                <c:pt idx="379">
                  <c:v>109.91373400000001</c:v>
                </c:pt>
                <c:pt idx="380">
                  <c:v>110.53133</c:v>
                </c:pt>
                <c:pt idx="381">
                  <c:v>110.629364</c:v>
                </c:pt>
                <c:pt idx="382">
                  <c:v>110.26665</c:v>
                </c:pt>
                <c:pt idx="383">
                  <c:v>110.26665</c:v>
                </c:pt>
                <c:pt idx="384">
                  <c:v>109.78628</c:v>
                </c:pt>
                <c:pt idx="385">
                  <c:v>110.17841</c:v>
                </c:pt>
                <c:pt idx="386">
                  <c:v>109.737274</c:v>
                </c:pt>
                <c:pt idx="387">
                  <c:v>109.79609000000001</c:v>
                </c:pt>
                <c:pt idx="388">
                  <c:v>109.72748</c:v>
                </c:pt>
                <c:pt idx="389">
                  <c:v>110.11960000000001</c:v>
                </c:pt>
                <c:pt idx="390">
                  <c:v>110.36468000000001</c:v>
                </c:pt>
                <c:pt idx="391">
                  <c:v>110.23723</c:v>
                </c:pt>
                <c:pt idx="392">
                  <c:v>109.71767</c:v>
                </c:pt>
                <c:pt idx="393">
                  <c:v>109.81569</c:v>
                </c:pt>
                <c:pt idx="394">
                  <c:v>108.66871999999999</c:v>
                </c:pt>
                <c:pt idx="395">
                  <c:v>107.70801</c:v>
                </c:pt>
                <c:pt idx="396">
                  <c:v>108.09032999999999</c:v>
                </c:pt>
                <c:pt idx="397">
                  <c:v>108.78636</c:v>
                </c:pt>
                <c:pt idx="398">
                  <c:v>108.50207</c:v>
                </c:pt>
                <c:pt idx="399">
                  <c:v>107.44331</c:v>
                </c:pt>
                <c:pt idx="400">
                  <c:v>107.30607000000001</c:v>
                </c:pt>
                <c:pt idx="401">
                  <c:v>108.49226</c:v>
                </c:pt>
                <c:pt idx="402">
                  <c:v>107.110016</c:v>
                </c:pt>
                <c:pt idx="403">
                  <c:v>107.20804</c:v>
                </c:pt>
                <c:pt idx="404">
                  <c:v>107.374695</c:v>
                </c:pt>
                <c:pt idx="405">
                  <c:v>107.62958</c:v>
                </c:pt>
                <c:pt idx="406">
                  <c:v>109.42357</c:v>
                </c:pt>
                <c:pt idx="407">
                  <c:v>108.22758</c:v>
                </c:pt>
                <c:pt idx="408">
                  <c:v>110.550934</c:v>
                </c:pt>
                <c:pt idx="409">
                  <c:v>111.39400999999999</c:v>
                </c:pt>
                <c:pt idx="410">
                  <c:v>112.942924</c:v>
                </c:pt>
                <c:pt idx="411">
                  <c:v>113.75660000000001</c:v>
                </c:pt>
                <c:pt idx="412">
                  <c:v>114.638885</c:v>
                </c:pt>
                <c:pt idx="413">
                  <c:v>113.95265999999999</c:v>
                </c:pt>
                <c:pt idx="414">
                  <c:v>115.34471000000001</c:v>
                </c:pt>
                <c:pt idx="415">
                  <c:v>114.60947400000001</c:v>
                </c:pt>
                <c:pt idx="416">
                  <c:v>113.84482</c:v>
                </c:pt>
                <c:pt idx="417">
                  <c:v>112.52139</c:v>
                </c:pt>
                <c:pt idx="418">
                  <c:v>113.73698400000001</c:v>
                </c:pt>
                <c:pt idx="419">
                  <c:v>114.58987</c:v>
                </c:pt>
                <c:pt idx="420">
                  <c:v>110.63917499999999</c:v>
                </c:pt>
                <c:pt idx="421">
                  <c:v>108.96281999999999</c:v>
                </c:pt>
                <c:pt idx="422">
                  <c:v>110.39409000000001</c:v>
                </c:pt>
                <c:pt idx="423">
                  <c:v>111.207756</c:v>
                </c:pt>
                <c:pt idx="424">
                  <c:v>113.90364</c:v>
                </c:pt>
                <c:pt idx="425">
                  <c:v>114.82514999999999</c:v>
                </c:pt>
                <c:pt idx="426">
                  <c:v>113.89384</c:v>
                </c:pt>
                <c:pt idx="427">
                  <c:v>116.56032</c:v>
                </c:pt>
                <c:pt idx="428">
                  <c:v>115.94271000000001</c:v>
                </c:pt>
                <c:pt idx="429">
                  <c:v>115.530975</c:v>
                </c:pt>
                <c:pt idx="430">
                  <c:v>109.413765</c:v>
                </c:pt>
                <c:pt idx="431">
                  <c:v>111.9136</c:v>
                </c:pt>
                <c:pt idx="432">
                  <c:v>110.96268000000001</c:v>
                </c:pt>
                <c:pt idx="433">
                  <c:v>110.81563</c:v>
                </c:pt>
                <c:pt idx="434">
                  <c:v>112.501785</c:v>
                </c:pt>
                <c:pt idx="435">
                  <c:v>112.570404</c:v>
                </c:pt>
                <c:pt idx="436">
                  <c:v>113.81541</c:v>
                </c:pt>
                <c:pt idx="437">
                  <c:v>112.91352000000001</c:v>
                </c:pt>
                <c:pt idx="438">
                  <c:v>113.1782</c:v>
                </c:pt>
                <c:pt idx="439">
                  <c:v>114.413414</c:v>
                </c:pt>
                <c:pt idx="440">
                  <c:v>114.74672</c:v>
                </c:pt>
                <c:pt idx="441">
                  <c:v>113.717384</c:v>
                </c:pt>
                <c:pt idx="442">
                  <c:v>115.67802399999999</c:v>
                </c:pt>
                <c:pt idx="443">
                  <c:v>114.40361</c:v>
                </c:pt>
                <c:pt idx="444">
                  <c:v>114.55065</c:v>
                </c:pt>
                <c:pt idx="445">
                  <c:v>114.81535</c:v>
                </c:pt>
                <c:pt idx="446">
                  <c:v>114.80555</c:v>
                </c:pt>
                <c:pt idx="447">
                  <c:v>113.90364</c:v>
                </c:pt>
                <c:pt idx="448">
                  <c:v>113.14879000000001</c:v>
                </c:pt>
                <c:pt idx="449">
                  <c:v>109.668655</c:v>
                </c:pt>
                <c:pt idx="450">
                  <c:v>110.805824</c:v>
                </c:pt>
                <c:pt idx="451">
                  <c:v>109.87452</c:v>
                </c:pt>
                <c:pt idx="452">
                  <c:v>110.33526999999999</c:v>
                </c:pt>
                <c:pt idx="453">
                  <c:v>111.65871</c:v>
                </c:pt>
                <c:pt idx="454">
                  <c:v>113.81541</c:v>
                </c:pt>
                <c:pt idx="455">
                  <c:v>114.31538</c:v>
                </c:pt>
                <c:pt idx="456">
                  <c:v>113.217415</c:v>
                </c:pt>
                <c:pt idx="457">
                  <c:v>113.46249</c:v>
                </c:pt>
                <c:pt idx="458">
                  <c:v>110.64897999999999</c:v>
                </c:pt>
                <c:pt idx="459">
                  <c:v>112.080246</c:v>
                </c:pt>
                <c:pt idx="460">
                  <c:v>110.628</c:v>
                </c:pt>
                <c:pt idx="461">
                  <c:v>110.50944</c:v>
                </c:pt>
                <c:pt idx="462">
                  <c:v>110.61812</c:v>
                </c:pt>
                <c:pt idx="463">
                  <c:v>110.85522</c:v>
                </c:pt>
                <c:pt idx="464">
                  <c:v>112.020966</c:v>
                </c:pt>
                <c:pt idx="465">
                  <c:v>110.84533999999999</c:v>
                </c:pt>
                <c:pt idx="466">
                  <c:v>109.28442</c:v>
                </c:pt>
                <c:pt idx="467">
                  <c:v>108.12853</c:v>
                </c:pt>
                <c:pt idx="468">
                  <c:v>107.90132</c:v>
                </c:pt>
                <c:pt idx="469">
                  <c:v>105.70811999999999</c:v>
                </c:pt>
                <c:pt idx="470">
                  <c:v>102.96169</c:v>
                </c:pt>
                <c:pt idx="471">
                  <c:v>99.138409999999993</c:v>
                </c:pt>
                <c:pt idx="472">
                  <c:v>104.55225</c:v>
                </c:pt>
                <c:pt idx="473">
                  <c:v>105.23390999999999</c:v>
                </c:pt>
                <c:pt idx="474">
                  <c:v>106.00449999999999</c:v>
                </c:pt>
                <c:pt idx="475">
                  <c:v>108.326126</c:v>
                </c:pt>
                <c:pt idx="476">
                  <c:v>108.326126</c:v>
                </c:pt>
                <c:pt idx="477">
                  <c:v>107.65434</c:v>
                </c:pt>
                <c:pt idx="478">
                  <c:v>107.65434</c:v>
                </c:pt>
                <c:pt idx="479">
                  <c:v>105.04621</c:v>
                </c:pt>
                <c:pt idx="480">
                  <c:v>108.28660600000001</c:v>
                </c:pt>
                <c:pt idx="481">
                  <c:v>109.22513600000001</c:v>
                </c:pt>
                <c:pt idx="482">
                  <c:v>110.07474999999999</c:v>
                </c:pt>
                <c:pt idx="483">
                  <c:v>111.30965999999999</c:v>
                </c:pt>
                <c:pt idx="484">
                  <c:v>111.438095</c:v>
                </c:pt>
                <c:pt idx="485">
                  <c:v>111.28991000000001</c:v>
                </c:pt>
                <c:pt idx="486">
                  <c:v>111.06268</c:v>
                </c:pt>
                <c:pt idx="487">
                  <c:v>110.41065</c:v>
                </c:pt>
                <c:pt idx="488">
                  <c:v>109.570915</c:v>
                </c:pt>
                <c:pt idx="489">
                  <c:v>109.66970999999999</c:v>
                </c:pt>
                <c:pt idx="490">
                  <c:v>109.69935</c:v>
                </c:pt>
                <c:pt idx="491">
                  <c:v>109.264656</c:v>
                </c:pt>
                <c:pt idx="492">
                  <c:v>109.77838</c:v>
                </c:pt>
                <c:pt idx="493">
                  <c:v>109.21526</c:v>
                </c:pt>
                <c:pt idx="494">
                  <c:v>109.74872999999999</c:v>
                </c:pt>
                <c:pt idx="495">
                  <c:v>109.472115</c:v>
                </c:pt>
                <c:pt idx="496">
                  <c:v>109.561035</c:v>
                </c:pt>
                <c:pt idx="497">
                  <c:v>108.80033</c:v>
                </c:pt>
                <c:pt idx="498">
                  <c:v>110.17355000000001</c:v>
                </c:pt>
                <c:pt idx="499">
                  <c:v>109.95621</c:v>
                </c:pt>
                <c:pt idx="500">
                  <c:v>110.45017</c:v>
                </c:pt>
                <c:pt idx="501">
                  <c:v>111.29979</c:v>
                </c:pt>
                <c:pt idx="502">
                  <c:v>110.06488</c:v>
                </c:pt>
                <c:pt idx="503">
                  <c:v>109.61042</c:v>
                </c:pt>
                <c:pt idx="504">
                  <c:v>110.16367</c:v>
                </c:pt>
                <c:pt idx="505">
                  <c:v>108.11866999999999</c:v>
                </c:pt>
                <c:pt idx="506">
                  <c:v>107.88155</c:v>
                </c:pt>
                <c:pt idx="507">
                  <c:v>108.86948</c:v>
                </c:pt>
                <c:pt idx="508">
                  <c:v>109.32393</c:v>
                </c:pt>
                <c:pt idx="509">
                  <c:v>111.23062</c:v>
                </c:pt>
                <c:pt idx="510">
                  <c:v>112.13952</c:v>
                </c:pt>
                <c:pt idx="511">
                  <c:v>112.30746499999999</c:v>
                </c:pt>
                <c:pt idx="512">
                  <c:v>112.9101</c:v>
                </c:pt>
                <c:pt idx="513">
                  <c:v>113.85851</c:v>
                </c:pt>
                <c:pt idx="514">
                  <c:v>112.21854999999999</c:v>
                </c:pt>
                <c:pt idx="515">
                  <c:v>112.12963999999999</c:v>
                </c:pt>
                <c:pt idx="516">
                  <c:v>111.418335</c:v>
                </c:pt>
                <c:pt idx="517">
                  <c:v>111.47761</c:v>
                </c:pt>
                <c:pt idx="518">
                  <c:v>112.633484</c:v>
                </c:pt>
                <c:pt idx="519">
                  <c:v>112.94962</c:v>
                </c:pt>
                <c:pt idx="520">
                  <c:v>112.623604</c:v>
                </c:pt>
                <c:pt idx="521">
                  <c:v>113.46334</c:v>
                </c:pt>
                <c:pt idx="522">
                  <c:v>112.633484</c:v>
                </c:pt>
                <c:pt idx="523">
                  <c:v>112.4359</c:v>
                </c:pt>
                <c:pt idx="524">
                  <c:v>113.36454999999999</c:v>
                </c:pt>
                <c:pt idx="525">
                  <c:v>113.344795</c:v>
                </c:pt>
                <c:pt idx="526">
                  <c:v>112.71252</c:v>
                </c:pt>
                <c:pt idx="527">
                  <c:v>113.09782</c:v>
                </c:pt>
                <c:pt idx="528">
                  <c:v>113.572014</c:v>
                </c:pt>
                <c:pt idx="529">
                  <c:v>111.754234</c:v>
                </c:pt>
                <c:pt idx="530">
                  <c:v>108.67189999999999</c:v>
                </c:pt>
                <c:pt idx="531">
                  <c:v>108.66202</c:v>
                </c:pt>
                <c:pt idx="532">
                  <c:v>107.34808</c:v>
                </c:pt>
                <c:pt idx="533">
                  <c:v>106.92328000000001</c:v>
                </c:pt>
                <c:pt idx="534">
                  <c:v>106.48859</c:v>
                </c:pt>
                <c:pt idx="535">
                  <c:v>108.81021</c:v>
                </c:pt>
                <c:pt idx="536">
                  <c:v>108.94852</c:v>
                </c:pt>
                <c:pt idx="537">
                  <c:v>109.37333</c:v>
                </c:pt>
                <c:pt idx="538">
                  <c:v>109.68946</c:v>
                </c:pt>
                <c:pt idx="539">
                  <c:v>111.151596</c:v>
                </c:pt>
                <c:pt idx="540">
                  <c:v>110.60824</c:v>
                </c:pt>
                <c:pt idx="541">
                  <c:v>111.16146999999999</c:v>
                </c:pt>
                <c:pt idx="542">
                  <c:v>113.36454999999999</c:v>
                </c:pt>
                <c:pt idx="543">
                  <c:v>113.61153</c:v>
                </c:pt>
                <c:pt idx="544">
                  <c:v>113.572014</c:v>
                </c:pt>
                <c:pt idx="545">
                  <c:v>115.44907000000001</c:v>
                </c:pt>
                <c:pt idx="546">
                  <c:v>115.74547</c:v>
                </c:pt>
                <c:pt idx="547">
                  <c:v>115.192215</c:v>
                </c:pt>
                <c:pt idx="548">
                  <c:v>128.4897</c:v>
                </c:pt>
                <c:pt idx="549">
                  <c:v>130.44578999999999</c:v>
                </c:pt>
                <c:pt idx="550">
                  <c:v>128.33161999999999</c:v>
                </c:pt>
                <c:pt idx="551">
                  <c:v>130.1593</c:v>
                </c:pt>
                <c:pt idx="552">
                  <c:v>130.85085000000001</c:v>
                </c:pt>
                <c:pt idx="553">
                  <c:v>130.09012999999999</c:v>
                </c:pt>
                <c:pt idx="554">
                  <c:v>131.74986000000001</c:v>
                </c:pt>
                <c:pt idx="555">
                  <c:v>133.46886000000001</c:v>
                </c:pt>
                <c:pt idx="556">
                  <c:v>135.58301</c:v>
                </c:pt>
                <c:pt idx="557">
                  <c:v>138.23067</c:v>
                </c:pt>
                <c:pt idx="558">
                  <c:v>137.61815000000001</c:v>
                </c:pt>
                <c:pt idx="559">
                  <c:v>135.31627</c:v>
                </c:pt>
                <c:pt idx="560">
                  <c:v>134.73339999999999</c:v>
                </c:pt>
                <c:pt idx="561">
                  <c:v>132.52046000000001</c:v>
                </c:pt>
                <c:pt idx="562">
                  <c:v>132.70815999999999</c:v>
                </c:pt>
                <c:pt idx="563">
                  <c:v>133.37006</c:v>
                </c:pt>
                <c:pt idx="564">
                  <c:v>131.82889</c:v>
                </c:pt>
                <c:pt idx="565">
                  <c:v>133.36018000000001</c:v>
                </c:pt>
                <c:pt idx="566">
                  <c:v>131.97708</c:v>
                </c:pt>
                <c:pt idx="567">
                  <c:v>132.42165</c:v>
                </c:pt>
                <c:pt idx="568">
                  <c:v>129.75424000000001</c:v>
                </c:pt>
                <c:pt idx="569">
                  <c:v>131.59178</c:v>
                </c:pt>
                <c:pt idx="570">
                  <c:v>133.05391</c:v>
                </c:pt>
                <c:pt idx="571">
                  <c:v>133.86401000000001</c:v>
                </c:pt>
                <c:pt idx="572">
                  <c:v>133.40958000000001</c:v>
                </c:pt>
                <c:pt idx="573">
                  <c:v>132.29322999999999</c:v>
                </c:pt>
                <c:pt idx="574">
                  <c:v>132.47103999999999</c:v>
                </c:pt>
                <c:pt idx="575">
                  <c:v>132.23394999999999</c:v>
                </c:pt>
                <c:pt idx="576">
                  <c:v>131.12746999999999</c:v>
                </c:pt>
                <c:pt idx="577">
                  <c:v>131.18672000000001</c:v>
                </c:pt>
                <c:pt idx="578">
                  <c:v>131.01877999999999</c:v>
                </c:pt>
                <c:pt idx="579">
                  <c:v>129.98149000000001</c:v>
                </c:pt>
                <c:pt idx="580">
                  <c:v>130.60384999999999</c:v>
                </c:pt>
                <c:pt idx="581">
                  <c:v>130.44578999999999</c:v>
                </c:pt>
                <c:pt idx="582">
                  <c:v>130.87064000000001</c:v>
                </c:pt>
                <c:pt idx="583">
                  <c:v>133.19225</c:v>
                </c:pt>
                <c:pt idx="584">
                  <c:v>134.29872</c:v>
                </c:pt>
                <c:pt idx="585">
                  <c:v>135.55339000000001</c:v>
                </c:pt>
                <c:pt idx="586">
                  <c:v>136.37334999999999</c:v>
                </c:pt>
                <c:pt idx="587">
                  <c:v>135.41506999999999</c:v>
                </c:pt>
                <c:pt idx="588">
                  <c:v>133.44909999999999</c:v>
                </c:pt>
                <c:pt idx="589">
                  <c:v>134.08138</c:v>
                </c:pt>
                <c:pt idx="590">
                  <c:v>140.02869000000001</c:v>
                </c:pt>
                <c:pt idx="591">
                  <c:v>139.93977000000001</c:v>
                </c:pt>
                <c:pt idx="592">
                  <c:v>139.26796999999999</c:v>
                </c:pt>
                <c:pt idx="593">
                  <c:v>137.55887000000001</c:v>
                </c:pt>
                <c:pt idx="594">
                  <c:v>139.21858</c:v>
                </c:pt>
                <c:pt idx="595">
                  <c:v>140.30529999999999</c:v>
                </c:pt>
                <c:pt idx="596">
                  <c:v>138.5369</c:v>
                </c:pt>
                <c:pt idx="597">
                  <c:v>137.53910999999999</c:v>
                </c:pt>
                <c:pt idx="598">
                  <c:v>138.25040999999999</c:v>
                </c:pt>
                <c:pt idx="599">
                  <c:v>138.70484999999999</c:v>
                </c:pt>
                <c:pt idx="600">
                  <c:v>137.61815000000001</c:v>
                </c:pt>
                <c:pt idx="601">
                  <c:v>137.95402999999999</c:v>
                </c:pt>
                <c:pt idx="602">
                  <c:v>139.93977000000001</c:v>
                </c:pt>
                <c:pt idx="603">
                  <c:v>140.80914000000001</c:v>
                </c:pt>
                <c:pt idx="604">
                  <c:v>141.25371000000001</c:v>
                </c:pt>
                <c:pt idx="605">
                  <c:v>141.60162</c:v>
                </c:pt>
                <c:pt idx="606">
                  <c:v>140.18015</c:v>
                </c:pt>
                <c:pt idx="607">
                  <c:v>140.76662999999999</c:v>
                </c:pt>
                <c:pt idx="608">
                  <c:v>142.68512999999999</c:v>
                </c:pt>
                <c:pt idx="609">
                  <c:v>142.70501999999999</c:v>
                </c:pt>
                <c:pt idx="610">
                  <c:v>144.01716999999999</c:v>
                </c:pt>
                <c:pt idx="611">
                  <c:v>144.19607999999999</c:v>
                </c:pt>
                <c:pt idx="612">
                  <c:v>143.44060999999999</c:v>
                </c:pt>
                <c:pt idx="613">
                  <c:v>141.72092000000001</c:v>
                </c:pt>
                <c:pt idx="614">
                  <c:v>140.78650999999999</c:v>
                </c:pt>
                <c:pt idx="615">
                  <c:v>139.01712000000001</c:v>
                </c:pt>
                <c:pt idx="616">
                  <c:v>140.00120000000001</c:v>
                </c:pt>
                <c:pt idx="617">
                  <c:v>140.41872000000001</c:v>
                </c:pt>
                <c:pt idx="618">
                  <c:v>140.44853000000001</c:v>
                </c:pt>
                <c:pt idx="619">
                  <c:v>142.3571</c:v>
                </c:pt>
                <c:pt idx="620">
                  <c:v>143.78851</c:v>
                </c:pt>
                <c:pt idx="621">
                  <c:v>145.51815999999999</c:v>
                </c:pt>
                <c:pt idx="622">
                  <c:v>144.06684999999999</c:v>
                </c:pt>
                <c:pt idx="623">
                  <c:v>142.1583</c:v>
                </c:pt>
                <c:pt idx="624">
                  <c:v>141.0052</c:v>
                </c:pt>
                <c:pt idx="625">
                  <c:v>140.86604</c:v>
                </c:pt>
                <c:pt idx="626">
                  <c:v>137.47635</c:v>
                </c:pt>
                <c:pt idx="627">
                  <c:v>141.02507</c:v>
                </c:pt>
                <c:pt idx="628">
                  <c:v>134.05683999999999</c:v>
                </c:pt>
                <c:pt idx="629">
                  <c:v>137.06879000000001</c:v>
                </c:pt>
                <c:pt idx="630">
                  <c:v>137.69504000000001</c:v>
                </c:pt>
                <c:pt idx="631">
                  <c:v>134.94153</c:v>
                </c:pt>
                <c:pt idx="632">
                  <c:v>136.19401999999999</c:v>
                </c:pt>
                <c:pt idx="633">
                  <c:v>132.05879999999999</c:v>
                </c:pt>
                <c:pt idx="634">
                  <c:v>132.61546000000001</c:v>
                </c:pt>
                <c:pt idx="635">
                  <c:v>134.3948</c:v>
                </c:pt>
                <c:pt idx="636">
                  <c:v>134.48427000000001</c:v>
                </c:pt>
                <c:pt idx="637">
                  <c:v>134.32523</c:v>
                </c:pt>
                <c:pt idx="638">
                  <c:v>134.95146</c:v>
                </c:pt>
                <c:pt idx="639">
                  <c:v>135.26956000000001</c:v>
                </c:pt>
                <c:pt idx="640">
                  <c:v>130.88583</c:v>
                </c:pt>
                <c:pt idx="641">
                  <c:v>133.80833000000001</c:v>
                </c:pt>
                <c:pt idx="642">
                  <c:v>133.68904000000001</c:v>
                </c:pt>
                <c:pt idx="643">
                  <c:v>135.73679000000001</c:v>
                </c:pt>
                <c:pt idx="644">
                  <c:v>137.01907</c:v>
                </c:pt>
                <c:pt idx="645">
                  <c:v>136.44254000000001</c:v>
                </c:pt>
                <c:pt idx="646">
                  <c:v>135.4982</c:v>
                </c:pt>
                <c:pt idx="647">
                  <c:v>137.06879000000001</c:v>
                </c:pt>
                <c:pt idx="648">
                  <c:v>138.01311999999999</c:v>
                </c:pt>
                <c:pt idx="649">
                  <c:v>138.71889999999999</c:v>
                </c:pt>
                <c:pt idx="650">
                  <c:v>138.00318999999999</c:v>
                </c:pt>
                <c:pt idx="651">
                  <c:v>134.9813</c:v>
                </c:pt>
                <c:pt idx="652">
                  <c:v>135.37889999999999</c:v>
                </c:pt>
                <c:pt idx="653">
                  <c:v>136.68111999999999</c:v>
                </c:pt>
                <c:pt idx="654">
                  <c:v>137.19801000000001</c:v>
                </c:pt>
                <c:pt idx="655">
                  <c:v>134.99124</c:v>
                </c:pt>
                <c:pt idx="656">
                  <c:v>135.4982</c:v>
                </c:pt>
                <c:pt idx="657">
                  <c:v>135.98527999999999</c:v>
                </c:pt>
                <c:pt idx="658">
                  <c:v>132.50612000000001</c:v>
                </c:pt>
                <c:pt idx="659">
                  <c:v>131.48224999999999</c:v>
                </c:pt>
                <c:pt idx="660">
                  <c:v>131.67113000000001</c:v>
                </c:pt>
                <c:pt idx="661">
                  <c:v>131.18404000000001</c:v>
                </c:pt>
                <c:pt idx="662">
                  <c:v>132.29736</c:v>
                </c:pt>
                <c:pt idx="663">
                  <c:v>130.48822000000001</c:v>
                </c:pt>
                <c:pt idx="664">
                  <c:v>129.18602000000001</c:v>
                </c:pt>
                <c:pt idx="665">
                  <c:v>129.54387</c:v>
                </c:pt>
                <c:pt idx="666">
                  <c:v>128.77846</c:v>
                </c:pt>
                <c:pt idx="667">
                  <c:v>128.37090000000001</c:v>
                </c:pt>
                <c:pt idx="668">
                  <c:v>127.38678</c:v>
                </c:pt>
                <c:pt idx="669">
                  <c:v>129.49417</c:v>
                </c:pt>
                <c:pt idx="670">
                  <c:v>130.12039999999999</c:v>
                </c:pt>
                <c:pt idx="671">
                  <c:v>127.70489000000001</c:v>
                </c:pt>
                <c:pt idx="672">
                  <c:v>128.55976999999999</c:v>
                </c:pt>
                <c:pt idx="673">
                  <c:v>128.56970000000001</c:v>
                </c:pt>
                <c:pt idx="674">
                  <c:v>129.24566999999999</c:v>
                </c:pt>
                <c:pt idx="675">
                  <c:v>128.92755</c:v>
                </c:pt>
                <c:pt idx="676">
                  <c:v>128.9872</c:v>
                </c:pt>
                <c:pt idx="677">
                  <c:v>130.08065999999999</c:v>
                </c:pt>
                <c:pt idx="678">
                  <c:v>131.58165</c:v>
                </c:pt>
                <c:pt idx="679">
                  <c:v>130.11046999999999</c:v>
                </c:pt>
                <c:pt idx="680">
                  <c:v>129.48421999999999</c:v>
                </c:pt>
                <c:pt idx="681">
                  <c:v>131.61148</c:v>
                </c:pt>
                <c:pt idx="682">
                  <c:v>130.34904</c:v>
                </c:pt>
                <c:pt idx="683">
                  <c:v>129.48421999999999</c:v>
                </c:pt>
                <c:pt idx="684">
                  <c:v>130.12039999999999</c:v>
                </c:pt>
                <c:pt idx="685">
                  <c:v>129.75262000000001</c:v>
                </c:pt>
                <c:pt idx="686">
                  <c:v>128.70887999999999</c:v>
                </c:pt>
                <c:pt idx="687">
                  <c:v>128.82817</c:v>
                </c:pt>
                <c:pt idx="688">
                  <c:v>129.14626000000001</c:v>
                </c:pt>
                <c:pt idx="689">
                  <c:v>131.95939999999999</c:v>
                </c:pt>
                <c:pt idx="690">
                  <c:v>132.12839</c:v>
                </c:pt>
                <c:pt idx="691">
                  <c:v>130.66712999999999</c:v>
                </c:pt>
                <c:pt idx="692">
                  <c:v>130.48822000000001</c:v>
                </c:pt>
                <c:pt idx="693">
                  <c:v>132.16815</c:v>
                </c:pt>
                <c:pt idx="694">
                  <c:v>137.13838000000001</c:v>
                </c:pt>
                <c:pt idx="695">
                  <c:v>135.92563999999999</c:v>
                </c:pt>
                <c:pt idx="696">
                  <c:v>137.75468000000001</c:v>
                </c:pt>
                <c:pt idx="697">
                  <c:v>147.83429000000001</c:v>
                </c:pt>
                <c:pt idx="698">
                  <c:v>146.27364</c:v>
                </c:pt>
                <c:pt idx="699">
                  <c:v>143.80841000000001</c:v>
                </c:pt>
                <c:pt idx="700">
                  <c:v>146.77065999999999</c:v>
                </c:pt>
                <c:pt idx="701">
                  <c:v>147.49632</c:v>
                </c:pt>
                <c:pt idx="702">
                  <c:v>146.05494999999999</c:v>
                </c:pt>
                <c:pt idx="703">
                  <c:v>146.02512999999999</c:v>
                </c:pt>
                <c:pt idx="704">
                  <c:v>147.40684999999999</c:v>
                </c:pt>
                <c:pt idx="705">
                  <c:v>148.79850999999999</c:v>
                </c:pt>
                <c:pt idx="706">
                  <c:v>150.73689999999999</c:v>
                </c:pt>
                <c:pt idx="707">
                  <c:v>150.57785000000001</c:v>
                </c:pt>
                <c:pt idx="708">
                  <c:v>150.67728</c:v>
                </c:pt>
                <c:pt idx="709">
                  <c:v>149.72296</c:v>
                </c:pt>
                <c:pt idx="710">
                  <c:v>147.69514000000001</c:v>
                </c:pt>
                <c:pt idx="711">
                  <c:v>147.39693</c:v>
                </c:pt>
                <c:pt idx="712">
                  <c:v>146.56191999999999</c:v>
                </c:pt>
                <c:pt idx="713">
                  <c:v>146.78061</c:v>
                </c:pt>
                <c:pt idx="714">
                  <c:v>145.33926</c:v>
                </c:pt>
                <c:pt idx="715">
                  <c:v>145.22989000000001</c:v>
                </c:pt>
                <c:pt idx="716">
                  <c:v>146.71102999999999</c:v>
                </c:pt>
                <c:pt idx="717">
                  <c:v>146.88</c:v>
                </c:pt>
                <c:pt idx="718">
                  <c:v>146.38</c:v>
                </c:pt>
                <c:pt idx="719">
                  <c:v>148.46001999999999</c:v>
                </c:pt>
                <c:pt idx="720">
                  <c:v>147.73000999999999</c:v>
                </c:pt>
                <c:pt idx="721">
                  <c:v>146.26</c:v>
                </c:pt>
                <c:pt idx="722">
                  <c:v>146.15</c:v>
                </c:pt>
                <c:pt idx="723">
                  <c:v>146.88</c:v>
                </c:pt>
                <c:pt idx="724">
                  <c:v>144.68</c:v>
                </c:pt>
                <c:pt idx="725">
                  <c:v>145.29</c:v>
                </c:pt>
                <c:pt idx="726">
                  <c:v>145.69999999999999</c:v>
                </c:pt>
                <c:pt idx="727">
                  <c:v>145.75</c:v>
                </c:pt>
                <c:pt idx="728">
                  <c:v>143.77000000000001</c:v>
                </c:pt>
                <c:pt idx="729">
                  <c:v>143.77000000000001</c:v>
                </c:pt>
                <c:pt idx="730">
                  <c:v>144.63002</c:v>
                </c:pt>
                <c:pt idx="731">
                  <c:v>144.63002</c:v>
                </c:pt>
                <c:pt idx="732">
                  <c:v>148.19999999999999</c:v>
                </c:pt>
                <c:pt idx="733">
                  <c:v>148.19999999999999</c:v>
                </c:pt>
                <c:pt idx="734">
                  <c:v>146.5</c:v>
                </c:pt>
                <c:pt idx="735">
                  <c:v>145.65</c:v>
                </c:pt>
                <c:pt idx="736">
                  <c:v>145.69999999999999</c:v>
                </c:pt>
                <c:pt idx="737">
                  <c:v>145.4</c:v>
                </c:pt>
                <c:pt idx="738">
                  <c:v>144.83000000000001</c:v>
                </c:pt>
                <c:pt idx="739">
                  <c:v>144.62001000000001</c:v>
                </c:pt>
                <c:pt idx="740">
                  <c:v>143.88</c:v>
                </c:pt>
                <c:pt idx="741">
                  <c:v>145.20000999999999</c:v>
                </c:pt>
                <c:pt idx="742">
                  <c:v>144.32</c:v>
                </c:pt>
                <c:pt idx="743">
                  <c:v>145.12</c:v>
                </c:pt>
                <c:pt idx="744">
                  <c:v>144.33001999999999</c:v>
                </c:pt>
                <c:pt idx="745">
                  <c:v>143.56</c:v>
                </c:pt>
                <c:pt idx="746">
                  <c:v>144.01</c:v>
                </c:pt>
                <c:pt idx="747">
                  <c:v>142.19999999999999</c:v>
                </c:pt>
                <c:pt idx="748">
                  <c:v>140.08000000000001</c:v>
                </c:pt>
                <c:pt idx="749">
                  <c:v>135.9</c:v>
                </c:pt>
                <c:pt idx="750">
                  <c:v>138.37</c:v>
                </c:pt>
                <c:pt idx="751">
                  <c:v>136.06</c:v>
                </c:pt>
                <c:pt idx="752">
                  <c:v>137.81001000000001</c:v>
                </c:pt>
                <c:pt idx="753">
                  <c:v>138.31</c:v>
                </c:pt>
                <c:pt idx="754">
                  <c:v>141.32</c:v>
                </c:pt>
                <c:pt idx="755">
                  <c:v>144.72999999999999</c:v>
                </c:pt>
                <c:pt idx="756">
                  <c:v>141.37</c:v>
                </c:pt>
                <c:pt idx="757">
                  <c:v>142.69999999999999</c:v>
                </c:pt>
                <c:pt idx="758">
                  <c:v>141.02000000000001</c:v>
                </c:pt>
                <c:pt idx="759">
                  <c:v>142.59</c:v>
                </c:pt>
                <c:pt idx="760">
                  <c:v>141.01</c:v>
                </c:pt>
                <c:pt idx="761">
                  <c:v>141.85</c:v>
                </c:pt>
                <c:pt idx="762">
                  <c:v>140.9</c:v>
                </c:pt>
                <c:pt idx="763">
                  <c:v>139.54</c:v>
                </c:pt>
                <c:pt idx="764">
                  <c:v>139.13999999999999</c:v>
                </c:pt>
                <c:pt idx="765">
                  <c:v>141.30000000000001</c:v>
                </c:pt>
                <c:pt idx="766">
                  <c:v>140.37</c:v>
                </c:pt>
                <c:pt idx="767">
                  <c:v>138.97002000000001</c:v>
                </c:pt>
                <c:pt idx="768">
                  <c:v>133.01</c:v>
                </c:pt>
                <c:pt idx="769">
                  <c:v>128.19</c:v>
                </c:pt>
                <c:pt idx="770">
                  <c:v>123.36</c:v>
                </c:pt>
                <c:pt idx="771">
                  <c:v>118.04</c:v>
                </c:pt>
                <c:pt idx="772">
                  <c:v>117.65</c:v>
                </c:pt>
                <c:pt idx="773">
                  <c:v>119.98</c:v>
                </c:pt>
                <c:pt idx="774">
                  <c:v>116.44999</c:v>
                </c:pt>
                <c:pt idx="775">
                  <c:v>119.18</c:v>
                </c:pt>
                <c:pt idx="776">
                  <c:v>113.98</c:v>
                </c:pt>
                <c:pt idx="777">
                  <c:v>115.27</c:v>
                </c:pt>
                <c:pt idx="778">
                  <c:v>104.35</c:v>
                </c:pt>
                <c:pt idx="779">
                  <c:v>111.46</c:v>
                </c:pt>
                <c:pt idx="780">
                  <c:v>105.51</c:v>
                </c:pt>
                <c:pt idx="781">
                  <c:v>91.81</c:v>
                </c:pt>
                <c:pt idx="782">
                  <c:v>102.52</c:v>
                </c:pt>
                <c:pt idx="783">
                  <c:v>95.01</c:v>
                </c:pt>
                <c:pt idx="784">
                  <c:v>93.53</c:v>
                </c:pt>
                <c:pt idx="785">
                  <c:v>88.8</c:v>
                </c:pt>
                <c:pt idx="786">
                  <c:v>94.93</c:v>
                </c:pt>
                <c:pt idx="787">
                  <c:v>85.98</c:v>
                </c:pt>
                <c:pt idx="788">
                  <c:v>85.76</c:v>
                </c:pt>
                <c:pt idx="789">
                  <c:v>98.12</c:v>
                </c:pt>
                <c:pt idx="790">
                  <c:v>100.73</c:v>
                </c:pt>
                <c:pt idx="791">
                  <c:v>105.36</c:v>
                </c:pt>
                <c:pt idx="792">
                  <c:v>96.4</c:v>
                </c:pt>
                <c:pt idx="793">
                  <c:v>99.8</c:v>
                </c:pt>
                <c:pt idx="794">
                  <c:v>96.6</c:v>
                </c:pt>
                <c:pt idx="795">
                  <c:v>94.92</c:v>
                </c:pt>
                <c:pt idx="796">
                  <c:v>96.97</c:v>
                </c:pt>
                <c:pt idx="797">
                  <c:v>93.88</c:v>
                </c:pt>
                <c:pt idx="798">
                  <c:v>99.58</c:v>
                </c:pt>
                <c:pt idx="799">
                  <c:v>101.24</c:v>
                </c:pt>
                <c:pt idx="800">
                  <c:v>101.07</c:v>
                </c:pt>
                <c:pt idx="801">
                  <c:v>104.5</c:v>
                </c:pt>
                <c:pt idx="802">
                  <c:v>103.5</c:v>
                </c:pt>
                <c:pt idx="803">
                  <c:v>106.03</c:v>
                </c:pt>
                <c:pt idx="804">
                  <c:v>103.37</c:v>
                </c:pt>
                <c:pt idx="805">
                  <c:v>102.02</c:v>
                </c:pt>
                <c:pt idx="806">
                  <c:v>106.63</c:v>
                </c:pt>
                <c:pt idx="807">
                  <c:v>102.26</c:v>
                </c:pt>
                <c:pt idx="808">
                  <c:v>100.54</c:v>
                </c:pt>
                <c:pt idx="809">
                  <c:v>100.99</c:v>
                </c:pt>
                <c:pt idx="810">
                  <c:v>101</c:v>
                </c:pt>
                <c:pt idx="811">
                  <c:v>101.19</c:v>
                </c:pt>
                <c:pt idx="812">
                  <c:v>106.06</c:v>
                </c:pt>
                <c:pt idx="813">
                  <c:v>106.21</c:v>
                </c:pt>
                <c:pt idx="814">
                  <c:v>112.25</c:v>
                </c:pt>
                <c:pt idx="815">
                  <c:v>108.15</c:v>
                </c:pt>
                <c:pt idx="816">
                  <c:v>105.5</c:v>
                </c:pt>
                <c:pt idx="817">
                  <c:v>103.18</c:v>
                </c:pt>
                <c:pt idx="818">
                  <c:v>101.06</c:v>
                </c:pt>
                <c:pt idx="819">
                  <c:v>100.88</c:v>
                </c:pt>
                <c:pt idx="820">
                  <c:v>105.57</c:v>
                </c:pt>
                <c:pt idx="821">
                  <c:v>109.16</c:v>
                </c:pt>
                <c:pt idx="822">
                  <c:v>107.77</c:v>
                </c:pt>
                <c:pt idx="823">
                  <c:v>104.56</c:v>
                </c:pt>
                <c:pt idx="824">
                  <c:v>102.92</c:v>
                </c:pt>
                <c:pt idx="825">
                  <c:v>105.91</c:v>
                </c:pt>
                <c:pt idx="826">
                  <c:v>109.05</c:v>
                </c:pt>
                <c:pt idx="827">
                  <c:v>116.84999000000001</c:v>
                </c:pt>
                <c:pt idx="828">
                  <c:v>114.37</c:v>
                </c:pt>
                <c:pt idx="829">
                  <c:v>119.91999</c:v>
                </c:pt>
                <c:pt idx="830">
                  <c:v>117.83</c:v>
                </c:pt>
                <c:pt idx="831">
                  <c:v>118.02</c:v>
                </c:pt>
                <c:pt idx="832">
                  <c:v>120.95</c:v>
                </c:pt>
                <c:pt idx="833">
                  <c:v>121.53</c:v>
                </c:pt>
                <c:pt idx="834">
                  <c:v>116.75</c:v>
                </c:pt>
                <c:pt idx="835">
                  <c:v>117.30001</c:v>
                </c:pt>
                <c:pt idx="836">
                  <c:v>118.77</c:v>
                </c:pt>
                <c:pt idx="837">
                  <c:v>118.75001</c:v>
                </c:pt>
                <c:pt idx="838">
                  <c:v>122.18001</c:v>
                </c:pt>
                <c:pt idx="839">
                  <c:v>123.689995</c:v>
                </c:pt>
                <c:pt idx="840">
                  <c:v>124.82</c:v>
                </c:pt>
                <c:pt idx="841">
                  <c:v>127.28</c:v>
                </c:pt>
                <c:pt idx="842">
                  <c:v>123.89001</c:v>
                </c:pt>
                <c:pt idx="843">
                  <c:v>122.18001</c:v>
                </c:pt>
                <c:pt idx="844">
                  <c:v>112.64</c:v>
                </c:pt>
                <c:pt idx="845">
                  <c:v>115.49</c:v>
                </c:pt>
                <c:pt idx="846">
                  <c:v>117.08001</c:v>
                </c:pt>
                <c:pt idx="847">
                  <c:v>118.44</c:v>
                </c:pt>
                <c:pt idx="848">
                  <c:v>117.65</c:v>
                </c:pt>
                <c:pt idx="849">
                  <c:v>118.369995</c:v>
                </c:pt>
                <c:pt idx="850">
                  <c:v>114.35</c:v>
                </c:pt>
                <c:pt idx="851">
                  <c:v>115.92</c:v>
                </c:pt>
                <c:pt idx="852">
                  <c:v>116.58999</c:v>
                </c:pt>
                <c:pt idx="853">
                  <c:v>112.07</c:v>
                </c:pt>
                <c:pt idx="854">
                  <c:v>111.36</c:v>
                </c:pt>
                <c:pt idx="855">
                  <c:v>109.1</c:v>
                </c:pt>
                <c:pt idx="856">
                  <c:v>111.52</c:v>
                </c:pt>
                <c:pt idx="857">
                  <c:v>111.51</c:v>
                </c:pt>
                <c:pt idx="858">
                  <c:v>113.01</c:v>
                </c:pt>
                <c:pt idx="859">
                  <c:v>112.18</c:v>
                </c:pt>
                <c:pt idx="860">
                  <c:v>114.43</c:v>
                </c:pt>
                <c:pt idx="861">
                  <c:v>113.63</c:v>
                </c:pt>
                <c:pt idx="862">
                  <c:v>116.66001</c:v>
                </c:pt>
                <c:pt idx="863">
                  <c:v>116.80999</c:v>
                </c:pt>
                <c:pt idx="864">
                  <c:v>119.33999</c:v>
                </c:pt>
                <c:pt idx="865">
                  <c:v>116.22001</c:v>
                </c:pt>
                <c:pt idx="866">
                  <c:v>118.66</c:v>
                </c:pt>
                <c:pt idx="867">
                  <c:v>120.90000999999999</c:v>
                </c:pt>
                <c:pt idx="868">
                  <c:v>119.43001</c:v>
                </c:pt>
                <c:pt idx="869">
                  <c:v>118.65000999999999</c:v>
                </c:pt>
                <c:pt idx="870">
                  <c:v>117.78999</c:v>
                </c:pt>
                <c:pt idx="871">
                  <c:v>118.62</c:v>
                </c:pt>
                <c:pt idx="872">
                  <c:v>119.03001</c:v>
                </c:pt>
                <c:pt idx="873">
                  <c:v>118.12</c:v>
                </c:pt>
                <c:pt idx="874">
                  <c:v>117.60999</c:v>
                </c:pt>
                <c:pt idx="875">
                  <c:v>116.31</c:v>
                </c:pt>
                <c:pt idx="876">
                  <c:v>116.18001</c:v>
                </c:pt>
                <c:pt idx="877">
                  <c:v>115.61</c:v>
                </c:pt>
                <c:pt idx="878">
                  <c:v>115.66</c:v>
                </c:pt>
                <c:pt idx="879">
                  <c:v>116.94001</c:v>
                </c:pt>
                <c:pt idx="880">
                  <c:v>116.35</c:v>
                </c:pt>
                <c:pt idx="881">
                  <c:v>117.29</c:v>
                </c:pt>
                <c:pt idx="882">
                  <c:v>127.61</c:v>
                </c:pt>
                <c:pt idx="883">
                  <c:v>130.82</c:v>
                </c:pt>
                <c:pt idx="884">
                  <c:v>129.93</c:v>
                </c:pt>
                <c:pt idx="885">
                  <c:v>128.79</c:v>
                </c:pt>
                <c:pt idx="886">
                  <c:v>130.49</c:v>
                </c:pt>
                <c:pt idx="887">
                  <c:v>131.79</c:v>
                </c:pt>
                <c:pt idx="888">
                  <c:v>130.96</c:v>
                </c:pt>
                <c:pt idx="889">
                  <c:v>130.53</c:v>
                </c:pt>
                <c:pt idx="890">
                  <c:v>129.37</c:v>
                </c:pt>
                <c:pt idx="891">
                  <c:v>128.91999999999999</c:v>
                </c:pt>
                <c:pt idx="892">
                  <c:v>127.770004</c:v>
                </c:pt>
                <c:pt idx="893">
                  <c:v>128.12001000000001</c:v>
                </c:pt>
                <c:pt idx="894">
                  <c:v>127.44001</c:v>
                </c:pt>
                <c:pt idx="895">
                  <c:v>130.69</c:v>
                </c:pt>
                <c:pt idx="896">
                  <c:v>129.79</c:v>
                </c:pt>
                <c:pt idx="897">
                  <c:v>132.18</c:v>
                </c:pt>
                <c:pt idx="898">
                  <c:v>133.72999999999999</c:v>
                </c:pt>
                <c:pt idx="899">
                  <c:v>135.54</c:v>
                </c:pt>
                <c:pt idx="900">
                  <c:v>131.87</c:v>
                </c:pt>
                <c:pt idx="901">
                  <c:v>133.55000000000001</c:v>
                </c:pt>
                <c:pt idx="902">
                  <c:v>135.38999999999999</c:v>
                </c:pt>
                <c:pt idx="903">
                  <c:v>133.24</c:v>
                </c:pt>
                <c:pt idx="904">
                  <c:v>131.99</c:v>
                </c:pt>
                <c:pt idx="905">
                  <c:v>134.19999999999999</c:v>
                </c:pt>
                <c:pt idx="906">
                  <c:v>133.36000000000001</c:v>
                </c:pt>
                <c:pt idx="907">
                  <c:v>133.22</c:v>
                </c:pt>
                <c:pt idx="908">
                  <c:v>131.75</c:v>
                </c:pt>
                <c:pt idx="909">
                  <c:v>131.25</c:v>
                </c:pt>
                <c:pt idx="910">
                  <c:v>131.24</c:v>
                </c:pt>
                <c:pt idx="911">
                  <c:v>132.09</c:v>
                </c:pt>
                <c:pt idx="912">
                  <c:v>130.22</c:v>
                </c:pt>
                <c:pt idx="913">
                  <c:v>128.63</c:v>
                </c:pt>
                <c:pt idx="914">
                  <c:v>125.41001</c:v>
                </c:pt>
                <c:pt idx="915">
                  <c:v>127.21</c:v>
                </c:pt>
                <c:pt idx="916">
                  <c:v>123.28</c:v>
                </c:pt>
                <c:pt idx="917">
                  <c:v>122.490005</c:v>
                </c:pt>
                <c:pt idx="918">
                  <c:v>124</c:v>
                </c:pt>
                <c:pt idx="919">
                  <c:v>125.99</c:v>
                </c:pt>
                <c:pt idx="920">
                  <c:v>125.4</c:v>
                </c:pt>
                <c:pt idx="921">
                  <c:v>124.08</c:v>
                </c:pt>
                <c:pt idx="922">
                  <c:v>123.310005</c:v>
                </c:pt>
                <c:pt idx="923">
                  <c:v>122.55</c:v>
                </c:pt>
                <c:pt idx="924">
                  <c:v>123.369995</c:v>
                </c:pt>
                <c:pt idx="925">
                  <c:v>120.93</c:v>
                </c:pt>
                <c:pt idx="926">
                  <c:v>122.91</c:v>
                </c:pt>
                <c:pt idx="927">
                  <c:v>123.09000399999999</c:v>
                </c:pt>
                <c:pt idx="928">
                  <c:v>124.98</c:v>
                </c:pt>
                <c:pt idx="929">
                  <c:v>124.97001</c:v>
                </c:pt>
                <c:pt idx="930">
                  <c:v>128.96</c:v>
                </c:pt>
                <c:pt idx="931">
                  <c:v>126.58999</c:v>
                </c:pt>
                <c:pt idx="932">
                  <c:v>127.36001</c:v>
                </c:pt>
                <c:pt idx="933">
                  <c:v>126.81</c:v>
                </c:pt>
                <c:pt idx="934">
                  <c:v>124.23000999999999</c:v>
                </c:pt>
                <c:pt idx="935">
                  <c:v>124.95</c:v>
                </c:pt>
                <c:pt idx="936">
                  <c:v>126.63</c:v>
                </c:pt>
                <c:pt idx="937">
                  <c:v>127.56</c:v>
                </c:pt>
                <c:pt idx="938">
                  <c:v>128.35</c:v>
                </c:pt>
                <c:pt idx="939">
                  <c:v>124.06</c:v>
                </c:pt>
                <c:pt idx="940">
                  <c:v>123.310005</c:v>
                </c:pt>
                <c:pt idx="941">
                  <c:v>118.47001</c:v>
                </c:pt>
                <c:pt idx="942">
                  <c:v>121.54001</c:v>
                </c:pt>
                <c:pt idx="943">
                  <c:v>121.25</c:v>
                </c:pt>
                <c:pt idx="944">
                  <c:v>120.13</c:v>
                </c:pt>
                <c:pt idx="945">
                  <c:v>124.01999000000001</c:v>
                </c:pt>
                <c:pt idx="946">
                  <c:v>125.07</c:v>
                </c:pt>
                <c:pt idx="947">
                  <c:v>126.96001</c:v>
                </c:pt>
                <c:pt idx="948">
                  <c:v>127.46</c:v>
                </c:pt>
                <c:pt idx="949">
                  <c:v>142.59</c:v>
                </c:pt>
                <c:pt idx="950">
                  <c:v>142.11000000000001</c:v>
                </c:pt>
                <c:pt idx="951">
                  <c:v>137.82</c:v>
                </c:pt>
                <c:pt idx="952">
                  <c:v>135.52000000000001</c:v>
                </c:pt>
                <c:pt idx="953">
                  <c:v>138.36000000000001</c:v>
                </c:pt>
                <c:pt idx="954">
                  <c:v>144.66999999999999</c:v>
                </c:pt>
                <c:pt idx="955">
                  <c:v>144.5</c:v>
                </c:pt>
                <c:pt idx="956">
                  <c:v>143.90001000000001</c:v>
                </c:pt>
                <c:pt idx="957">
                  <c:v>141.72</c:v>
                </c:pt>
                <c:pt idx="958">
                  <c:v>141.07</c:v>
                </c:pt>
                <c:pt idx="959">
                  <c:v>145.97999999999999</c:v>
                </c:pt>
                <c:pt idx="960">
                  <c:v>151.49</c:v>
                </c:pt>
                <c:pt idx="961">
                  <c:v>149.09</c:v>
                </c:pt>
                <c:pt idx="962">
                  <c:v>147.13</c:v>
                </c:pt>
                <c:pt idx="963">
                  <c:v>148.01</c:v>
                </c:pt>
                <c:pt idx="964">
                  <c:v>149.44</c:v>
                </c:pt>
                <c:pt idx="965">
                  <c:v>153.61001999999999</c:v>
                </c:pt>
                <c:pt idx="966">
                  <c:v>153.24001999999999</c:v>
                </c:pt>
                <c:pt idx="967">
                  <c:v>154.13999999999999</c:v>
                </c:pt>
                <c:pt idx="968">
                  <c:v>153.68001000000001</c:v>
                </c:pt>
                <c:pt idx="969">
                  <c:v>153.72</c:v>
                </c:pt>
                <c:pt idx="970">
                  <c:v>154.43</c:v>
                </c:pt>
                <c:pt idx="971">
                  <c:v>154.69002</c:v>
                </c:pt>
                <c:pt idx="972">
                  <c:v>175.72</c:v>
                </c:pt>
                <c:pt idx="973">
                  <c:v>169.3</c:v>
                </c:pt>
                <c:pt idx="974">
                  <c:v>173.94</c:v>
                </c:pt>
                <c:pt idx="975">
                  <c:v>173.12</c:v>
                </c:pt>
                <c:pt idx="976">
                  <c:v>173.55</c:v>
                </c:pt>
                <c:pt idx="977">
                  <c:v>172.89</c:v>
                </c:pt>
                <c:pt idx="978">
                  <c:v>170.69</c:v>
                </c:pt>
                <c:pt idx="979">
                  <c:v>170.45</c:v>
                </c:pt>
                <c:pt idx="980">
                  <c:v>173.55</c:v>
                </c:pt>
                <c:pt idx="981">
                  <c:v>173.73</c:v>
                </c:pt>
                <c:pt idx="982">
                  <c:v>178.86</c:v>
                </c:pt>
                <c:pt idx="983">
                  <c:v>177.3</c:v>
                </c:pt>
                <c:pt idx="984">
                  <c:v>177.3</c:v>
                </c:pt>
                <c:pt idx="985">
                  <c:v>181.17</c:v>
                </c:pt>
                <c:pt idx="986">
                  <c:v>181.17</c:v>
                </c:pt>
                <c:pt idx="987">
                  <c:v>181.18</c:v>
                </c:pt>
                <c:pt idx="988">
                  <c:v>181.18</c:v>
                </c:pt>
                <c:pt idx="989">
                  <c:v>177.68</c:v>
                </c:pt>
                <c:pt idx="990">
                  <c:v>178.44</c:v>
                </c:pt>
                <c:pt idx="991">
                  <c:v>179.12</c:v>
                </c:pt>
                <c:pt idx="992">
                  <c:v>178.58</c:v>
                </c:pt>
                <c:pt idx="993">
                  <c:v>178.69</c:v>
                </c:pt>
                <c:pt idx="994">
                  <c:v>179.09</c:v>
                </c:pt>
                <c:pt idx="995">
                  <c:v>175.99001999999999</c:v>
                </c:pt>
                <c:pt idx="996">
                  <c:v>176.12</c:v>
                </c:pt>
                <c:pt idx="997">
                  <c:v>173.43</c:v>
                </c:pt>
                <c:pt idx="998">
                  <c:v>171.44</c:v>
                </c:pt>
                <c:pt idx="999">
                  <c:v>172.26</c:v>
                </c:pt>
                <c:pt idx="1000">
                  <c:v>173.64</c:v>
                </c:pt>
                <c:pt idx="1001">
                  <c:v>171.28001</c:v>
                </c:pt>
                <c:pt idx="1002">
                  <c:v>172.78</c:v>
                </c:pt>
                <c:pt idx="1003">
                  <c:v>171.89</c:v>
                </c:pt>
                <c:pt idx="1004">
                  <c:v>169.56</c:v>
                </c:pt>
                <c:pt idx="1005">
                  <c:v>163.03</c:v>
                </c:pt>
                <c:pt idx="1006">
                  <c:v>171.88</c:v>
                </c:pt>
                <c:pt idx="1007">
                  <c:v>168.17</c:v>
                </c:pt>
                <c:pt idx="1008">
                  <c:v>170.97</c:v>
                </c:pt>
                <c:pt idx="1009">
                  <c:v>176.96</c:v>
                </c:pt>
                <c:pt idx="1010">
                  <c:v>176.43</c:v>
                </c:pt>
                <c:pt idx="1011">
                  <c:v>180.23</c:v>
                </c:pt>
                <c:pt idx="1012">
                  <c:v>181.16</c:v>
                </c:pt>
                <c:pt idx="1013">
                  <c:v>190</c:v>
                </c:pt>
                <c:pt idx="1014">
                  <c:v>188.21</c:v>
                </c:pt>
                <c:pt idx="1015">
                  <c:v>189.63</c:v>
                </c:pt>
                <c:pt idx="1016">
                  <c:v>190.91002</c:v>
                </c:pt>
                <c:pt idx="1017">
                  <c:v>187.67</c:v>
                </c:pt>
                <c:pt idx="1018">
                  <c:v>186.35002</c:v>
                </c:pt>
                <c:pt idx="1019">
                  <c:v>186.44</c:v>
                </c:pt>
                <c:pt idx="1020">
                  <c:v>183</c:v>
                </c:pt>
                <c:pt idx="1021">
                  <c:v>183.65</c:v>
                </c:pt>
                <c:pt idx="1022">
                  <c:v>191.76</c:v>
                </c:pt>
                <c:pt idx="1023">
                  <c:v>197.09</c:v>
                </c:pt>
                <c:pt idx="1024">
                  <c:v>197.51</c:v>
                </c:pt>
                <c:pt idx="1025">
                  <c:v>190.98000999999999</c:v>
                </c:pt>
                <c:pt idx="1026">
                  <c:v>189.04</c:v>
                </c:pt>
                <c:pt idx="1027">
                  <c:v>194.98</c:v>
                </c:pt>
                <c:pt idx="1028">
                  <c:v>193.94</c:v>
                </c:pt>
                <c:pt idx="1029">
                  <c:v>192.26</c:v>
                </c:pt>
                <c:pt idx="1030">
                  <c:v>188.03</c:v>
                </c:pt>
                <c:pt idx="1031">
                  <c:v>189.99</c:v>
                </c:pt>
                <c:pt idx="1032">
                  <c:v>201.91</c:v>
                </c:pt>
                <c:pt idx="1033">
                  <c:v>194.51</c:v>
                </c:pt>
                <c:pt idx="1034">
                  <c:v>195.06</c:v>
                </c:pt>
                <c:pt idx="1035">
                  <c:v>196.75</c:v>
                </c:pt>
                <c:pt idx="1036">
                  <c:v>197.16</c:v>
                </c:pt>
                <c:pt idx="1037">
                  <c:v>196.76</c:v>
                </c:pt>
                <c:pt idx="1038">
                  <c:v>194.24001999999999</c:v>
                </c:pt>
                <c:pt idx="1039">
                  <c:v>195.24</c:v>
                </c:pt>
                <c:pt idx="1040">
                  <c:v>192.28001</c:v>
                </c:pt>
                <c:pt idx="1041">
                  <c:v>191.14</c:v>
                </c:pt>
                <c:pt idx="1042">
                  <c:v>192.86001999999999</c:v>
                </c:pt>
                <c:pt idx="1043">
                  <c:v>188.73000999999999</c:v>
                </c:pt>
                <c:pt idx="1044">
                  <c:v>184.72</c:v>
                </c:pt>
                <c:pt idx="1045">
                  <c:v>186.91</c:v>
                </c:pt>
                <c:pt idx="1046">
                  <c:v>185.92</c:v>
                </c:pt>
                <c:pt idx="1047">
                  <c:v>184.85</c:v>
                </c:pt>
                <c:pt idx="1048">
                  <c:v>185.53</c:v>
                </c:pt>
                <c:pt idx="1049">
                  <c:v>184.52</c:v>
                </c:pt>
                <c:pt idx="1050">
                  <c:v>188.97</c:v>
                </c:pt>
                <c:pt idx="1051">
                  <c:v>188.5</c:v>
                </c:pt>
                <c:pt idx="1052">
                  <c:v>189.73</c:v>
                </c:pt>
                <c:pt idx="1053">
                  <c:v>187.56</c:v>
                </c:pt>
                <c:pt idx="1054">
                  <c:v>187.32</c:v>
                </c:pt>
                <c:pt idx="1055">
                  <c:v>187.89</c:v>
                </c:pt>
                <c:pt idx="1056">
                  <c:v>186.49001999999999</c:v>
                </c:pt>
                <c:pt idx="1057">
                  <c:v>185.49</c:v>
                </c:pt>
                <c:pt idx="1058">
                  <c:v>187.46</c:v>
                </c:pt>
                <c:pt idx="1059">
                  <c:v>185.93001000000001</c:v>
                </c:pt>
                <c:pt idx="1060">
                  <c:v>187.26</c:v>
                </c:pt>
                <c:pt idx="1061">
                  <c:v>187.43001000000001</c:v>
                </c:pt>
                <c:pt idx="1062">
                  <c:v>182.79001</c:v>
                </c:pt>
                <c:pt idx="1063">
                  <c:v>183.11</c:v>
                </c:pt>
                <c:pt idx="1064">
                  <c:v>182.76</c:v>
                </c:pt>
                <c:pt idx="1065">
                  <c:v>183.02</c:v>
                </c:pt>
                <c:pt idx="1066">
                  <c:v>184.27</c:v>
                </c:pt>
                <c:pt idx="1067">
                  <c:v>184.64</c:v>
                </c:pt>
                <c:pt idx="1068">
                  <c:v>183.39</c:v>
                </c:pt>
                <c:pt idx="1069">
                  <c:v>185.33</c:v>
                </c:pt>
                <c:pt idx="1070">
                  <c:v>186.02</c:v>
                </c:pt>
                <c:pt idx="1071">
                  <c:v>185.51</c:v>
                </c:pt>
                <c:pt idx="1072">
                  <c:v>184.25002000000001</c:v>
                </c:pt>
                <c:pt idx="1073">
                  <c:v>181.51000999999999</c:v>
                </c:pt>
                <c:pt idx="1074">
                  <c:v>181.79001</c:v>
                </c:pt>
                <c:pt idx="1075">
                  <c:v>184.84001000000001</c:v>
                </c:pt>
                <c:pt idx="1076">
                  <c:v>184.3</c:v>
                </c:pt>
                <c:pt idx="1077">
                  <c:v>181.67</c:v>
                </c:pt>
                <c:pt idx="1078">
                  <c:v>177.84998999999999</c:v>
                </c:pt>
                <c:pt idx="1079">
                  <c:v>178.34</c:v>
                </c:pt>
                <c:pt idx="1080">
                  <c:v>173.7</c:v>
                </c:pt>
                <c:pt idx="1081">
                  <c:v>170.08</c:v>
                </c:pt>
                <c:pt idx="1082">
                  <c:v>169.68001000000001</c:v>
                </c:pt>
                <c:pt idx="1083">
                  <c:v>169.27</c:v>
                </c:pt>
                <c:pt idx="1084">
                  <c:v>171.36</c:v>
                </c:pt>
                <c:pt idx="1085">
                  <c:v>172.40001000000001</c:v>
                </c:pt>
                <c:pt idx="1086">
                  <c:v>174.31</c:v>
                </c:pt>
                <c:pt idx="1087">
                  <c:v>176.17</c:v>
                </c:pt>
                <c:pt idx="1088">
                  <c:v>176.47</c:v>
                </c:pt>
                <c:pt idx="1089">
                  <c:v>179.04001</c:v>
                </c:pt>
                <c:pt idx="1090">
                  <c:v>178.65</c:v>
                </c:pt>
                <c:pt idx="1091">
                  <c:v>178.84</c:v>
                </c:pt>
                <c:pt idx="1092">
                  <c:v>177.00002000000001</c:v>
                </c:pt>
                <c:pt idx="1093">
                  <c:v>176.24</c:v>
                </c:pt>
                <c:pt idx="1094">
                  <c:v>177.18001000000001</c:v>
                </c:pt>
                <c:pt idx="1095">
                  <c:v>176.99</c:v>
                </c:pt>
                <c:pt idx="1096">
                  <c:v>176.33</c:v>
                </c:pt>
                <c:pt idx="1097">
                  <c:v>176.04</c:v>
                </c:pt>
                <c:pt idx="1098">
                  <c:v>176.57</c:v>
                </c:pt>
                <c:pt idx="1099">
                  <c:v>177.38</c:v>
                </c:pt>
                <c:pt idx="1100">
                  <c:v>178.18001000000001</c:v>
                </c:pt>
                <c:pt idx="1101">
                  <c:v>175.86</c:v>
                </c:pt>
                <c:pt idx="1102">
                  <c:v>174.66</c:v>
                </c:pt>
                <c:pt idx="1103">
                  <c:v>174.65</c:v>
                </c:pt>
                <c:pt idx="1104">
                  <c:v>172.42</c:v>
                </c:pt>
                <c:pt idx="1105">
                  <c:v>173.97</c:v>
                </c:pt>
                <c:pt idx="1106">
                  <c:v>173.5</c:v>
                </c:pt>
                <c:pt idx="1107">
                  <c:v>175.33001999999999</c:v>
                </c:pt>
                <c:pt idx="1108">
                  <c:v>177.93</c:v>
                </c:pt>
                <c:pt idx="1109">
                  <c:v>178.35</c:v>
                </c:pt>
                <c:pt idx="1110">
                  <c:v>176.57</c:v>
                </c:pt>
                <c:pt idx="1111">
                  <c:v>173.93</c:v>
                </c:pt>
                <c:pt idx="1112">
                  <c:v>175.77</c:v>
                </c:pt>
                <c:pt idx="1113">
                  <c:v>177.26</c:v>
                </c:pt>
              </c:numCache>
            </c:numRef>
          </c:val>
          <c:smooth val="0"/>
          <c:extLst>
            <c:ext xmlns:c16="http://schemas.microsoft.com/office/drawing/2014/chart" uri="{C3380CC4-5D6E-409C-BE32-E72D297353CC}">
              <c16:uniqueId val="{00000000-A0B9-E64A-A193-9BDDB87CB34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1115</c:f>
              <c:numCache>
                <c:formatCode>m/d/yy</c:formatCode>
                <c:ptCount val="1114"/>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C$2:$C$1115</c:f>
              <c:numCache>
                <c:formatCode>General</c:formatCode>
                <c:ptCount val="1114"/>
                <c:pt idx="0">
                  <c:v>102.99198</c:v>
                </c:pt>
                <c:pt idx="1">
                  <c:v>103.47278</c:v>
                </c:pt>
                <c:pt idx="2">
                  <c:v>104.0676</c:v>
                </c:pt>
                <c:pt idx="3">
                  <c:v>104.0279</c:v>
                </c:pt>
                <c:pt idx="4">
                  <c:v>104.16728000000001</c:v>
                </c:pt>
                <c:pt idx="5">
                  <c:v>104.33978999999999</c:v>
                </c:pt>
                <c:pt idx="6">
                  <c:v>104.767235</c:v>
                </c:pt>
                <c:pt idx="7">
                  <c:v>104.883606</c:v>
                </c:pt>
                <c:pt idx="8">
                  <c:v>105.18586999999999</c:v>
                </c:pt>
                <c:pt idx="9">
                  <c:v>105.57541999999999</c:v>
                </c:pt>
                <c:pt idx="10">
                  <c:v>106.23425</c:v>
                </c:pt>
                <c:pt idx="11">
                  <c:v>106.29837999999999</c:v>
                </c:pt>
                <c:pt idx="12">
                  <c:v>106.17815400000001</c:v>
                </c:pt>
                <c:pt idx="13">
                  <c:v>106.44983000000001</c:v>
                </c:pt>
                <c:pt idx="14">
                  <c:v>106.06179</c:v>
                </c:pt>
                <c:pt idx="15">
                  <c:v>106.09488</c:v>
                </c:pt>
                <c:pt idx="16">
                  <c:v>106.16491000000001</c:v>
                </c:pt>
                <c:pt idx="17">
                  <c:v>106.32487500000001</c:v>
                </c:pt>
                <c:pt idx="18">
                  <c:v>106.57049600000001</c:v>
                </c:pt>
                <c:pt idx="19">
                  <c:v>106.7046</c:v>
                </c:pt>
                <c:pt idx="20">
                  <c:v>106.634766</c:v>
                </c:pt>
                <c:pt idx="21">
                  <c:v>107.2714</c:v>
                </c:pt>
                <c:pt idx="22">
                  <c:v>108.159065</c:v>
                </c:pt>
                <c:pt idx="23">
                  <c:v>109.42797</c:v>
                </c:pt>
                <c:pt idx="24">
                  <c:v>109.226776</c:v>
                </c:pt>
                <c:pt idx="25">
                  <c:v>109.73827</c:v>
                </c:pt>
                <c:pt idx="26">
                  <c:v>110.114075</c:v>
                </c:pt>
                <c:pt idx="27">
                  <c:v>111.19784</c:v>
                </c:pt>
                <c:pt idx="28">
                  <c:v>111.86327</c:v>
                </c:pt>
                <c:pt idx="29">
                  <c:v>112.23242999999999</c:v>
                </c:pt>
                <c:pt idx="30">
                  <c:v>112.46372</c:v>
                </c:pt>
                <c:pt idx="31">
                  <c:v>112.32926</c:v>
                </c:pt>
                <c:pt idx="32">
                  <c:v>112.572845</c:v>
                </c:pt>
                <c:pt idx="33">
                  <c:v>104.92440999999999</c:v>
                </c:pt>
                <c:pt idx="34">
                  <c:v>105.45038</c:v>
                </c:pt>
                <c:pt idx="35">
                  <c:v>105.73533</c:v>
                </c:pt>
                <c:pt idx="36">
                  <c:v>106.03749000000001</c:v>
                </c:pt>
                <c:pt idx="37">
                  <c:v>106.13691</c:v>
                </c:pt>
                <c:pt idx="38">
                  <c:v>106.369576</c:v>
                </c:pt>
                <c:pt idx="39">
                  <c:v>106.76809</c:v>
                </c:pt>
                <c:pt idx="40">
                  <c:v>106.86184</c:v>
                </c:pt>
                <c:pt idx="41">
                  <c:v>106.969185</c:v>
                </c:pt>
                <c:pt idx="42">
                  <c:v>107.41785400000001</c:v>
                </c:pt>
                <c:pt idx="43">
                  <c:v>107.69242</c:v>
                </c:pt>
                <c:pt idx="44">
                  <c:v>108.00059</c:v>
                </c:pt>
                <c:pt idx="45">
                  <c:v>108.01167</c:v>
                </c:pt>
                <c:pt idx="46">
                  <c:v>108.17457</c:v>
                </c:pt>
                <c:pt idx="47">
                  <c:v>108.17066</c:v>
                </c:pt>
                <c:pt idx="48">
                  <c:v>108.18362999999999</c:v>
                </c:pt>
                <c:pt idx="49">
                  <c:v>108.034775</c:v>
                </c:pt>
                <c:pt idx="50">
                  <c:v>107.99678</c:v>
                </c:pt>
                <c:pt idx="51">
                  <c:v>108.21607</c:v>
                </c:pt>
                <c:pt idx="52">
                  <c:v>108.1669</c:v>
                </c:pt>
                <c:pt idx="53">
                  <c:v>108.210106</c:v>
                </c:pt>
                <c:pt idx="54">
                  <c:v>108.432846</c:v>
                </c:pt>
                <c:pt idx="55">
                  <c:v>108.418335</c:v>
                </c:pt>
                <c:pt idx="56">
                  <c:v>108.42076</c:v>
                </c:pt>
                <c:pt idx="57">
                  <c:v>108.37653</c:v>
                </c:pt>
                <c:pt idx="58">
                  <c:v>108.64767999999999</c:v>
                </c:pt>
                <c:pt idx="59">
                  <c:v>107.47968</c:v>
                </c:pt>
                <c:pt idx="60">
                  <c:v>107.65612</c:v>
                </c:pt>
                <c:pt idx="61">
                  <c:v>106.90577</c:v>
                </c:pt>
                <c:pt idx="62">
                  <c:v>106.62333</c:v>
                </c:pt>
                <c:pt idx="63">
                  <c:v>106.19797</c:v>
                </c:pt>
                <c:pt idx="64">
                  <c:v>105.52058</c:v>
                </c:pt>
                <c:pt idx="65">
                  <c:v>104.66931</c:v>
                </c:pt>
                <c:pt idx="66">
                  <c:v>103.52834</c:v>
                </c:pt>
                <c:pt idx="67">
                  <c:v>103.14436000000001</c:v>
                </c:pt>
                <c:pt idx="68">
                  <c:v>102.56332</c:v>
                </c:pt>
                <c:pt idx="69">
                  <c:v>102.06711</c:v>
                </c:pt>
                <c:pt idx="70">
                  <c:v>101.32143000000001</c:v>
                </c:pt>
                <c:pt idx="71">
                  <c:v>101.37497</c:v>
                </c:pt>
                <c:pt idx="72">
                  <c:v>100.70138</c:v>
                </c:pt>
                <c:pt idx="73">
                  <c:v>100.92236</c:v>
                </c:pt>
                <c:pt idx="74">
                  <c:v>101.02684000000001</c:v>
                </c:pt>
                <c:pt idx="75">
                  <c:v>100.54233000000001</c:v>
                </c:pt>
                <c:pt idx="76">
                  <c:v>100.209946</c:v>
                </c:pt>
                <c:pt idx="77">
                  <c:v>100.41667</c:v>
                </c:pt>
                <c:pt idx="78">
                  <c:v>100.73857</c:v>
                </c:pt>
                <c:pt idx="79">
                  <c:v>100.46201000000001</c:v>
                </c:pt>
                <c:pt idx="80">
                  <c:v>101.0087</c:v>
                </c:pt>
                <c:pt idx="81">
                  <c:v>100.91311</c:v>
                </c:pt>
                <c:pt idx="82">
                  <c:v>100.78604</c:v>
                </c:pt>
                <c:pt idx="83">
                  <c:v>100.02369</c:v>
                </c:pt>
                <c:pt idx="84">
                  <c:v>99.848269999999999</c:v>
                </c:pt>
                <c:pt idx="85">
                  <c:v>100.33060500000001</c:v>
                </c:pt>
                <c:pt idx="86">
                  <c:v>101.79347</c:v>
                </c:pt>
                <c:pt idx="87">
                  <c:v>102.0085</c:v>
                </c:pt>
                <c:pt idx="88">
                  <c:v>102.20282</c:v>
                </c:pt>
                <c:pt idx="89">
                  <c:v>100.48775999999999</c:v>
                </c:pt>
                <c:pt idx="90">
                  <c:v>102.16094</c:v>
                </c:pt>
                <c:pt idx="91">
                  <c:v>102.1913</c:v>
                </c:pt>
                <c:pt idx="92">
                  <c:v>100.42376</c:v>
                </c:pt>
                <c:pt idx="93">
                  <c:v>101.14327</c:v>
                </c:pt>
                <c:pt idx="94">
                  <c:v>101.45428</c:v>
                </c:pt>
                <c:pt idx="95">
                  <c:v>101.053955</c:v>
                </c:pt>
                <c:pt idx="96">
                  <c:v>99.641329999999996</c:v>
                </c:pt>
                <c:pt idx="97">
                  <c:v>100.27218000000001</c:v>
                </c:pt>
                <c:pt idx="98">
                  <c:v>100.72871000000001</c:v>
                </c:pt>
                <c:pt idx="99">
                  <c:v>100.79550999999999</c:v>
                </c:pt>
                <c:pt idx="100">
                  <c:v>100.70895400000001</c:v>
                </c:pt>
                <c:pt idx="101">
                  <c:v>101.40313</c:v>
                </c:pt>
                <c:pt idx="102">
                  <c:v>101.82116000000001</c:v>
                </c:pt>
                <c:pt idx="103">
                  <c:v>102.25832</c:v>
                </c:pt>
                <c:pt idx="104">
                  <c:v>102.59743</c:v>
                </c:pt>
                <c:pt idx="105">
                  <c:v>102.3895</c:v>
                </c:pt>
                <c:pt idx="106">
                  <c:v>102.772644</c:v>
                </c:pt>
                <c:pt idx="107">
                  <c:v>102.79188499999999</c:v>
                </c:pt>
                <c:pt idx="108">
                  <c:v>102.79281</c:v>
                </c:pt>
                <c:pt idx="109">
                  <c:v>103.23891</c:v>
                </c:pt>
                <c:pt idx="110">
                  <c:v>103.09592000000001</c:v>
                </c:pt>
                <c:pt idx="111">
                  <c:v>103.891075</c:v>
                </c:pt>
                <c:pt idx="112">
                  <c:v>104.3296</c:v>
                </c:pt>
                <c:pt idx="113">
                  <c:v>104.547104</c:v>
                </c:pt>
                <c:pt idx="114">
                  <c:v>104.69499</c:v>
                </c:pt>
                <c:pt idx="115">
                  <c:v>104.16013</c:v>
                </c:pt>
                <c:pt idx="116">
                  <c:v>104.62223</c:v>
                </c:pt>
                <c:pt idx="117">
                  <c:v>104.76499</c:v>
                </c:pt>
                <c:pt idx="118">
                  <c:v>104.82812</c:v>
                </c:pt>
                <c:pt idx="119">
                  <c:v>104.81679</c:v>
                </c:pt>
                <c:pt idx="120">
                  <c:v>105.09671</c:v>
                </c:pt>
                <c:pt idx="121">
                  <c:v>105.012344</c:v>
                </c:pt>
                <c:pt idx="122">
                  <c:v>105.57867400000001</c:v>
                </c:pt>
                <c:pt idx="123">
                  <c:v>105.44857</c:v>
                </c:pt>
                <c:pt idx="124">
                  <c:v>104.04232</c:v>
                </c:pt>
                <c:pt idx="125">
                  <c:v>103.228424</c:v>
                </c:pt>
                <c:pt idx="126">
                  <c:v>102.34192</c:v>
                </c:pt>
                <c:pt idx="127">
                  <c:v>99.991159999999994</c:v>
                </c:pt>
                <c:pt idx="128">
                  <c:v>100.7851</c:v>
                </c:pt>
                <c:pt idx="129">
                  <c:v>100.81547999999999</c:v>
                </c:pt>
                <c:pt idx="130">
                  <c:v>100.878426</c:v>
                </c:pt>
                <c:pt idx="131">
                  <c:v>100.96326000000001</c:v>
                </c:pt>
                <c:pt idx="132">
                  <c:v>101.246376</c:v>
                </c:pt>
                <c:pt idx="133">
                  <c:v>101.59735000000001</c:v>
                </c:pt>
                <c:pt idx="134">
                  <c:v>102.16954</c:v>
                </c:pt>
                <c:pt idx="135">
                  <c:v>102.51392</c:v>
                </c:pt>
                <c:pt idx="136">
                  <c:v>103.01202000000001</c:v>
                </c:pt>
                <c:pt idx="137">
                  <c:v>103.410995</c:v>
                </c:pt>
                <c:pt idx="138">
                  <c:v>103.57528000000001</c:v>
                </c:pt>
                <c:pt idx="139">
                  <c:v>103.57486</c:v>
                </c:pt>
                <c:pt idx="140">
                  <c:v>103.07538</c:v>
                </c:pt>
                <c:pt idx="141">
                  <c:v>102.77099</c:v>
                </c:pt>
                <c:pt idx="142">
                  <c:v>102.01936000000001</c:v>
                </c:pt>
                <c:pt idx="143">
                  <c:v>101.55171</c:v>
                </c:pt>
                <c:pt idx="144">
                  <c:v>97.973740000000006</c:v>
                </c:pt>
                <c:pt idx="145">
                  <c:v>98.394869999999997</c:v>
                </c:pt>
                <c:pt idx="146">
                  <c:v>96.800124999999994</c:v>
                </c:pt>
                <c:pt idx="147">
                  <c:v>95.880740000000003</c:v>
                </c:pt>
                <c:pt idx="148">
                  <c:v>95.092444999999998</c:v>
                </c:pt>
                <c:pt idx="149">
                  <c:v>95.189155999999997</c:v>
                </c:pt>
                <c:pt idx="150">
                  <c:v>93.041899999999998</c:v>
                </c:pt>
                <c:pt idx="151">
                  <c:v>93.501499999999993</c:v>
                </c:pt>
                <c:pt idx="152">
                  <c:v>93.455573999999999</c:v>
                </c:pt>
                <c:pt idx="153">
                  <c:v>95.003746000000007</c:v>
                </c:pt>
                <c:pt idx="154">
                  <c:v>99.443309999999997</c:v>
                </c:pt>
                <c:pt idx="155">
                  <c:v>100.74379</c:v>
                </c:pt>
                <c:pt idx="156">
                  <c:v>101.150665</c:v>
                </c:pt>
                <c:pt idx="157">
                  <c:v>101.62621</c:v>
                </c:pt>
                <c:pt idx="158">
                  <c:v>101.64816999999999</c:v>
                </c:pt>
                <c:pt idx="159">
                  <c:v>101.405365</c:v>
                </c:pt>
                <c:pt idx="160">
                  <c:v>95.150954999999996</c:v>
                </c:pt>
                <c:pt idx="161">
                  <c:v>95.253555000000006</c:v>
                </c:pt>
                <c:pt idx="162">
                  <c:v>95.558440000000004</c:v>
                </c:pt>
                <c:pt idx="163">
                  <c:v>95.932304000000002</c:v>
                </c:pt>
                <c:pt idx="164">
                  <c:v>96.304739999999995</c:v>
                </c:pt>
                <c:pt idx="165">
                  <c:v>97.239109999999997</c:v>
                </c:pt>
                <c:pt idx="166">
                  <c:v>97.568039999999996</c:v>
                </c:pt>
                <c:pt idx="167">
                  <c:v>97.507416000000006</c:v>
                </c:pt>
                <c:pt idx="168">
                  <c:v>97.574299999999994</c:v>
                </c:pt>
                <c:pt idx="169">
                  <c:v>97.350110000000001</c:v>
                </c:pt>
                <c:pt idx="170">
                  <c:v>98.492546000000004</c:v>
                </c:pt>
                <c:pt idx="171">
                  <c:v>99.380486000000005</c:v>
                </c:pt>
                <c:pt idx="172">
                  <c:v>100.39587400000001</c:v>
                </c:pt>
                <c:pt idx="173">
                  <c:v>101.219864</c:v>
                </c:pt>
                <c:pt idx="174">
                  <c:v>101.04250999999999</c:v>
                </c:pt>
                <c:pt idx="175">
                  <c:v>100.625916</c:v>
                </c:pt>
                <c:pt idx="176">
                  <c:v>100.40951</c:v>
                </c:pt>
                <c:pt idx="177">
                  <c:v>100.8137</c:v>
                </c:pt>
                <c:pt idx="178">
                  <c:v>101.07615</c:v>
                </c:pt>
                <c:pt idx="179">
                  <c:v>101.39870000000001</c:v>
                </c:pt>
                <c:pt idx="180">
                  <c:v>102.15728</c:v>
                </c:pt>
                <c:pt idx="181">
                  <c:v>102.315445</c:v>
                </c:pt>
                <c:pt idx="182">
                  <c:v>102.51108600000001</c:v>
                </c:pt>
                <c:pt idx="183">
                  <c:v>101.75318</c:v>
                </c:pt>
                <c:pt idx="184">
                  <c:v>102.528786</c:v>
                </c:pt>
                <c:pt idx="185">
                  <c:v>102.92946999999999</c:v>
                </c:pt>
                <c:pt idx="186">
                  <c:v>102.44697600000001</c:v>
                </c:pt>
                <c:pt idx="187">
                  <c:v>101.77030000000001</c:v>
                </c:pt>
                <c:pt idx="188">
                  <c:v>101.29175600000001</c:v>
                </c:pt>
                <c:pt idx="189">
                  <c:v>101.738434</c:v>
                </c:pt>
                <c:pt idx="190">
                  <c:v>101.1563</c:v>
                </c:pt>
                <c:pt idx="191">
                  <c:v>101.096115</c:v>
                </c:pt>
                <c:pt idx="192">
                  <c:v>101.73909999999999</c:v>
                </c:pt>
                <c:pt idx="193">
                  <c:v>101.250595</c:v>
                </c:pt>
                <c:pt idx="194">
                  <c:v>101.476135</c:v>
                </c:pt>
                <c:pt idx="195">
                  <c:v>101.80041</c:v>
                </c:pt>
                <c:pt idx="196">
                  <c:v>102.31045</c:v>
                </c:pt>
                <c:pt idx="197">
                  <c:v>102.62175999999999</c:v>
                </c:pt>
                <c:pt idx="198">
                  <c:v>103.15443</c:v>
                </c:pt>
                <c:pt idx="199">
                  <c:v>103.82962000000001</c:v>
                </c:pt>
                <c:pt idx="200">
                  <c:v>103.99608000000001</c:v>
                </c:pt>
                <c:pt idx="201">
                  <c:v>103.84273</c:v>
                </c:pt>
                <c:pt idx="202">
                  <c:v>103.52261</c:v>
                </c:pt>
                <c:pt idx="203">
                  <c:v>103.63854000000001</c:v>
                </c:pt>
                <c:pt idx="204">
                  <c:v>103.77705</c:v>
                </c:pt>
                <c:pt idx="205">
                  <c:v>103.28239000000001</c:v>
                </c:pt>
                <c:pt idx="206">
                  <c:v>102.52387</c:v>
                </c:pt>
                <c:pt idx="207">
                  <c:v>103.2731</c:v>
                </c:pt>
                <c:pt idx="208">
                  <c:v>103.84273</c:v>
                </c:pt>
                <c:pt idx="209">
                  <c:v>104.68285</c:v>
                </c:pt>
                <c:pt idx="210">
                  <c:v>105.192566</c:v>
                </c:pt>
                <c:pt idx="211">
                  <c:v>105.57838</c:v>
                </c:pt>
                <c:pt idx="212">
                  <c:v>104.12851000000001</c:v>
                </c:pt>
                <c:pt idx="213">
                  <c:v>105.76461</c:v>
                </c:pt>
                <c:pt idx="214">
                  <c:v>105.293015</c:v>
                </c:pt>
                <c:pt idx="215">
                  <c:v>105.55418400000001</c:v>
                </c:pt>
                <c:pt idx="216">
                  <c:v>105.723885</c:v>
                </c:pt>
                <c:pt idx="217">
                  <c:v>106.02481</c:v>
                </c:pt>
                <c:pt idx="218">
                  <c:v>106.17</c:v>
                </c:pt>
                <c:pt idx="219">
                  <c:v>106.73337600000001</c:v>
                </c:pt>
                <c:pt idx="220">
                  <c:v>107.58893</c:v>
                </c:pt>
                <c:pt idx="221">
                  <c:v>107.92838999999999</c:v>
                </c:pt>
                <c:pt idx="222">
                  <c:v>108.50664</c:v>
                </c:pt>
                <c:pt idx="223">
                  <c:v>108.71105</c:v>
                </c:pt>
                <c:pt idx="224">
                  <c:v>108.39856</c:v>
                </c:pt>
                <c:pt idx="225">
                  <c:v>107.96961</c:v>
                </c:pt>
                <c:pt idx="226">
                  <c:v>107.768845</c:v>
                </c:pt>
                <c:pt idx="227">
                  <c:v>107.95435000000001</c:v>
                </c:pt>
                <c:pt idx="228">
                  <c:v>108.217865</c:v>
                </c:pt>
                <c:pt idx="229">
                  <c:v>108.69105999999999</c:v>
                </c:pt>
                <c:pt idx="230">
                  <c:v>108.90971999999999</c:v>
                </c:pt>
                <c:pt idx="231">
                  <c:v>109.32195</c:v>
                </c:pt>
                <c:pt idx="232">
                  <c:v>109.20479</c:v>
                </c:pt>
                <c:pt idx="233">
                  <c:v>108.90242000000001</c:v>
                </c:pt>
                <c:pt idx="234">
                  <c:v>108.49567</c:v>
                </c:pt>
                <c:pt idx="235">
                  <c:v>107.36299</c:v>
                </c:pt>
                <c:pt idx="236">
                  <c:v>107.10813</c:v>
                </c:pt>
                <c:pt idx="237">
                  <c:v>107.11371</c:v>
                </c:pt>
                <c:pt idx="238">
                  <c:v>107.17021</c:v>
                </c:pt>
                <c:pt idx="239">
                  <c:v>107.60857</c:v>
                </c:pt>
                <c:pt idx="240">
                  <c:v>108.06875599999999</c:v>
                </c:pt>
                <c:pt idx="241">
                  <c:v>108.46472</c:v>
                </c:pt>
                <c:pt idx="242">
                  <c:v>108.92345</c:v>
                </c:pt>
                <c:pt idx="243">
                  <c:v>109.61758</c:v>
                </c:pt>
                <c:pt idx="244">
                  <c:v>110.04124</c:v>
                </c:pt>
                <c:pt idx="245">
                  <c:v>110.09213</c:v>
                </c:pt>
                <c:pt idx="246">
                  <c:v>110.18143499999999</c:v>
                </c:pt>
                <c:pt idx="247">
                  <c:v>110.33356000000001</c:v>
                </c:pt>
                <c:pt idx="248">
                  <c:v>109.93461000000001</c:v>
                </c:pt>
                <c:pt idx="249">
                  <c:v>108.28286</c:v>
                </c:pt>
                <c:pt idx="250">
                  <c:v>107.753006</c:v>
                </c:pt>
                <c:pt idx="251">
                  <c:v>106.91763</c:v>
                </c:pt>
                <c:pt idx="252">
                  <c:v>105.28413999999999</c:v>
                </c:pt>
                <c:pt idx="253">
                  <c:v>104.09565000000001</c:v>
                </c:pt>
                <c:pt idx="254">
                  <c:v>103.66661000000001</c:v>
                </c:pt>
                <c:pt idx="255">
                  <c:v>103.40669</c:v>
                </c:pt>
                <c:pt idx="256">
                  <c:v>103.54143999999999</c:v>
                </c:pt>
                <c:pt idx="257">
                  <c:v>104.00127000000001</c:v>
                </c:pt>
                <c:pt idx="258">
                  <c:v>104.22167</c:v>
                </c:pt>
                <c:pt idx="259">
                  <c:v>104.57089000000001</c:v>
                </c:pt>
                <c:pt idx="260">
                  <c:v>104.77182999999999</c:v>
                </c:pt>
                <c:pt idx="261">
                  <c:v>105.20681999999999</c:v>
                </c:pt>
                <c:pt idx="262">
                  <c:v>105.62298</c:v>
                </c:pt>
                <c:pt idx="263">
                  <c:v>106.09954</c:v>
                </c:pt>
                <c:pt idx="264">
                  <c:v>106.27443</c:v>
                </c:pt>
                <c:pt idx="265">
                  <c:v>106.3326</c:v>
                </c:pt>
                <c:pt idx="266">
                  <c:v>105.56771000000001</c:v>
                </c:pt>
                <c:pt idx="267">
                  <c:v>105.724045</c:v>
                </c:pt>
                <c:pt idx="268">
                  <c:v>105.66634000000001</c:v>
                </c:pt>
                <c:pt idx="269">
                  <c:v>104.786964</c:v>
                </c:pt>
                <c:pt idx="270">
                  <c:v>105.277565</c:v>
                </c:pt>
                <c:pt idx="271">
                  <c:v>105.15356</c:v>
                </c:pt>
                <c:pt idx="272">
                  <c:v>105.29485</c:v>
                </c:pt>
                <c:pt idx="273">
                  <c:v>105.30786999999999</c:v>
                </c:pt>
                <c:pt idx="274">
                  <c:v>105.282234</c:v>
                </c:pt>
                <c:pt idx="275">
                  <c:v>105.29843</c:v>
                </c:pt>
                <c:pt idx="276">
                  <c:v>105.399574</c:v>
                </c:pt>
                <c:pt idx="277">
                  <c:v>105.2226</c:v>
                </c:pt>
                <c:pt idx="278">
                  <c:v>105.15127</c:v>
                </c:pt>
                <c:pt idx="279">
                  <c:v>105.01052</c:v>
                </c:pt>
                <c:pt idx="280">
                  <c:v>105.1131</c:v>
                </c:pt>
                <c:pt idx="281">
                  <c:v>104.71898</c:v>
                </c:pt>
                <c:pt idx="282">
                  <c:v>104.40246</c:v>
                </c:pt>
                <c:pt idx="283">
                  <c:v>104.43333</c:v>
                </c:pt>
                <c:pt idx="284">
                  <c:v>104.32561</c:v>
                </c:pt>
                <c:pt idx="285">
                  <c:v>104.062904</c:v>
                </c:pt>
                <c:pt idx="286">
                  <c:v>101.04033</c:v>
                </c:pt>
                <c:pt idx="287">
                  <c:v>101.46615</c:v>
                </c:pt>
                <c:pt idx="288">
                  <c:v>100.72777000000001</c:v>
                </c:pt>
                <c:pt idx="289">
                  <c:v>100.71773</c:v>
                </c:pt>
                <c:pt idx="290">
                  <c:v>100.95389</c:v>
                </c:pt>
                <c:pt idx="291">
                  <c:v>100.932785</c:v>
                </c:pt>
                <c:pt idx="292">
                  <c:v>100.84704000000001</c:v>
                </c:pt>
                <c:pt idx="293">
                  <c:v>100.83421</c:v>
                </c:pt>
                <c:pt idx="294">
                  <c:v>101.00006</c:v>
                </c:pt>
                <c:pt idx="295">
                  <c:v>101.07571</c:v>
                </c:pt>
                <c:pt idx="296">
                  <c:v>101.30880999999999</c:v>
                </c:pt>
                <c:pt idx="297">
                  <c:v>101.22139</c:v>
                </c:pt>
                <c:pt idx="298">
                  <c:v>101.36588</c:v>
                </c:pt>
                <c:pt idx="299">
                  <c:v>101.736626</c:v>
                </c:pt>
                <c:pt idx="300">
                  <c:v>101.45072</c:v>
                </c:pt>
                <c:pt idx="301">
                  <c:v>101.78806</c:v>
                </c:pt>
                <c:pt idx="302">
                  <c:v>101.77324</c:v>
                </c:pt>
                <c:pt idx="303">
                  <c:v>101.60178999999999</c:v>
                </c:pt>
                <c:pt idx="304">
                  <c:v>101.33320000000001</c:v>
                </c:pt>
                <c:pt idx="305">
                  <c:v>101.341095</c:v>
                </c:pt>
                <c:pt idx="306">
                  <c:v>101.34737</c:v>
                </c:pt>
                <c:pt idx="307">
                  <c:v>101.19797</c:v>
                </c:pt>
                <c:pt idx="308">
                  <c:v>101.238</c:v>
                </c:pt>
                <c:pt idx="309">
                  <c:v>100.96895600000001</c:v>
                </c:pt>
                <c:pt idx="310">
                  <c:v>100.64279000000001</c:v>
                </c:pt>
                <c:pt idx="311">
                  <c:v>100.60319</c:v>
                </c:pt>
                <c:pt idx="312">
                  <c:v>99.54504</c:v>
                </c:pt>
                <c:pt idx="313">
                  <c:v>98.688220000000001</c:v>
                </c:pt>
                <c:pt idx="314">
                  <c:v>100.030045</c:v>
                </c:pt>
                <c:pt idx="315">
                  <c:v>100.52964</c:v>
                </c:pt>
                <c:pt idx="316">
                  <c:v>101.23625</c:v>
                </c:pt>
                <c:pt idx="317">
                  <c:v>101.49527999999999</c:v>
                </c:pt>
                <c:pt idx="318">
                  <c:v>101.98313</c:v>
                </c:pt>
                <c:pt idx="319">
                  <c:v>102.21634</c:v>
                </c:pt>
                <c:pt idx="320">
                  <c:v>102.477</c:v>
                </c:pt>
                <c:pt idx="321">
                  <c:v>102.69073</c:v>
                </c:pt>
                <c:pt idx="322">
                  <c:v>102.78274500000001</c:v>
                </c:pt>
                <c:pt idx="323">
                  <c:v>102.69386</c:v>
                </c:pt>
                <c:pt idx="324">
                  <c:v>102.210945</c:v>
                </c:pt>
                <c:pt idx="325">
                  <c:v>102.48027</c:v>
                </c:pt>
                <c:pt idx="326">
                  <c:v>102.40205400000001</c:v>
                </c:pt>
                <c:pt idx="327">
                  <c:v>101.92522</c:v>
                </c:pt>
                <c:pt idx="328">
                  <c:v>102.05463</c:v>
                </c:pt>
                <c:pt idx="329">
                  <c:v>101.9091</c:v>
                </c:pt>
                <c:pt idx="330">
                  <c:v>102.1091</c:v>
                </c:pt>
                <c:pt idx="331">
                  <c:v>102.32928</c:v>
                </c:pt>
                <c:pt idx="332">
                  <c:v>102.527214</c:v>
                </c:pt>
                <c:pt idx="333">
                  <c:v>102.6095</c:v>
                </c:pt>
                <c:pt idx="334">
                  <c:v>102.72662</c:v>
                </c:pt>
                <c:pt idx="335">
                  <c:v>102.93425999999999</c:v>
                </c:pt>
                <c:pt idx="336">
                  <c:v>103.075356</c:v>
                </c:pt>
                <c:pt idx="337">
                  <c:v>103.2272</c:v>
                </c:pt>
                <c:pt idx="338">
                  <c:v>103.78966</c:v>
                </c:pt>
                <c:pt idx="339">
                  <c:v>103.30182000000001</c:v>
                </c:pt>
                <c:pt idx="340">
                  <c:v>103.354614</c:v>
                </c:pt>
                <c:pt idx="341">
                  <c:v>103.50215</c:v>
                </c:pt>
                <c:pt idx="342">
                  <c:v>102.76868399999999</c:v>
                </c:pt>
                <c:pt idx="343">
                  <c:v>103.18183000000001</c:v>
                </c:pt>
                <c:pt idx="344">
                  <c:v>102.98007</c:v>
                </c:pt>
                <c:pt idx="345">
                  <c:v>102.9293</c:v>
                </c:pt>
                <c:pt idx="346">
                  <c:v>102.47353</c:v>
                </c:pt>
                <c:pt idx="347">
                  <c:v>102.30553</c:v>
                </c:pt>
                <c:pt idx="348">
                  <c:v>101.37645999999999</c:v>
                </c:pt>
                <c:pt idx="349">
                  <c:v>101.78284499999999</c:v>
                </c:pt>
                <c:pt idx="350">
                  <c:v>104.202415</c:v>
                </c:pt>
                <c:pt idx="351">
                  <c:v>104.39336</c:v>
                </c:pt>
                <c:pt idx="352">
                  <c:v>104.79685000000001</c:v>
                </c:pt>
                <c:pt idx="353">
                  <c:v>104.864265</c:v>
                </c:pt>
                <c:pt idx="354">
                  <c:v>105.29778</c:v>
                </c:pt>
                <c:pt idx="355">
                  <c:v>105.66995</c:v>
                </c:pt>
                <c:pt idx="356">
                  <c:v>106.03479</c:v>
                </c:pt>
                <c:pt idx="357">
                  <c:v>106.18819999999999</c:v>
                </c:pt>
                <c:pt idx="358">
                  <c:v>105.86799000000001</c:v>
                </c:pt>
                <c:pt idx="359">
                  <c:v>107.13759</c:v>
                </c:pt>
                <c:pt idx="360">
                  <c:v>107.436516</c:v>
                </c:pt>
                <c:pt idx="361">
                  <c:v>107.77479599999999</c:v>
                </c:pt>
                <c:pt idx="362">
                  <c:v>108.16197</c:v>
                </c:pt>
                <c:pt idx="363">
                  <c:v>108.40483999999999</c:v>
                </c:pt>
                <c:pt idx="364">
                  <c:v>108.565056</c:v>
                </c:pt>
                <c:pt idx="365">
                  <c:v>108.97546</c:v>
                </c:pt>
                <c:pt idx="366">
                  <c:v>109.25108</c:v>
                </c:pt>
                <c:pt idx="367">
                  <c:v>109.58409</c:v>
                </c:pt>
                <c:pt idx="368">
                  <c:v>110.25485999999999</c:v>
                </c:pt>
                <c:pt idx="369">
                  <c:v>109.8809</c:v>
                </c:pt>
                <c:pt idx="370">
                  <c:v>109.77019</c:v>
                </c:pt>
                <c:pt idx="371">
                  <c:v>109.7092</c:v>
                </c:pt>
                <c:pt idx="372">
                  <c:v>109.73752</c:v>
                </c:pt>
                <c:pt idx="373">
                  <c:v>109.73493999999999</c:v>
                </c:pt>
                <c:pt idx="374">
                  <c:v>109.752426</c:v>
                </c:pt>
                <c:pt idx="375">
                  <c:v>109.265236</c:v>
                </c:pt>
                <c:pt idx="376">
                  <c:v>110.96796999999999</c:v>
                </c:pt>
                <c:pt idx="377">
                  <c:v>111.38903999999999</c:v>
                </c:pt>
                <c:pt idx="378">
                  <c:v>112.07191</c:v>
                </c:pt>
                <c:pt idx="379">
                  <c:v>112.496925</c:v>
                </c:pt>
                <c:pt idx="380">
                  <c:v>112.68076000000001</c:v>
                </c:pt>
                <c:pt idx="381">
                  <c:v>113.055046</c:v>
                </c:pt>
                <c:pt idx="382">
                  <c:v>113.31111</c:v>
                </c:pt>
                <c:pt idx="383">
                  <c:v>113.14754000000001</c:v>
                </c:pt>
                <c:pt idx="384">
                  <c:v>112.576866</c:v>
                </c:pt>
                <c:pt idx="385">
                  <c:v>111.4802</c:v>
                </c:pt>
                <c:pt idx="386">
                  <c:v>111.02513</c:v>
                </c:pt>
                <c:pt idx="387">
                  <c:v>111.24769999999999</c:v>
                </c:pt>
                <c:pt idx="388">
                  <c:v>112.94826500000001</c:v>
                </c:pt>
                <c:pt idx="389">
                  <c:v>114.392914</c:v>
                </c:pt>
                <c:pt idx="390">
                  <c:v>116.03295</c:v>
                </c:pt>
                <c:pt idx="391">
                  <c:v>116.42867</c:v>
                </c:pt>
                <c:pt idx="392">
                  <c:v>116.94588</c:v>
                </c:pt>
                <c:pt idx="393">
                  <c:v>113.77695</c:v>
                </c:pt>
                <c:pt idx="394">
                  <c:v>112.12799</c:v>
                </c:pt>
                <c:pt idx="395">
                  <c:v>112.47217000000001</c:v>
                </c:pt>
                <c:pt idx="396">
                  <c:v>112.44219</c:v>
                </c:pt>
                <c:pt idx="397">
                  <c:v>111.275696</c:v>
                </c:pt>
                <c:pt idx="398">
                  <c:v>109.58839</c:v>
                </c:pt>
                <c:pt idx="399">
                  <c:v>109.48934</c:v>
                </c:pt>
                <c:pt idx="400">
                  <c:v>110.202866</c:v>
                </c:pt>
                <c:pt idx="401">
                  <c:v>110.1688</c:v>
                </c:pt>
                <c:pt idx="402">
                  <c:v>110.280396</c:v>
                </c:pt>
                <c:pt idx="403">
                  <c:v>109.89764</c:v>
                </c:pt>
                <c:pt idx="404">
                  <c:v>109.07701</c:v>
                </c:pt>
                <c:pt idx="405">
                  <c:v>107.412964</c:v>
                </c:pt>
                <c:pt idx="406">
                  <c:v>106.72410000000001</c:v>
                </c:pt>
                <c:pt idx="407">
                  <c:v>108.28397</c:v>
                </c:pt>
                <c:pt idx="408">
                  <c:v>110.21902</c:v>
                </c:pt>
                <c:pt idx="409">
                  <c:v>112.67707</c:v>
                </c:pt>
                <c:pt idx="410">
                  <c:v>113.756294</c:v>
                </c:pt>
                <c:pt idx="411">
                  <c:v>114.16469600000001</c:v>
                </c:pt>
                <c:pt idx="412">
                  <c:v>114.160736</c:v>
                </c:pt>
                <c:pt idx="413">
                  <c:v>113.63299600000001</c:v>
                </c:pt>
                <c:pt idx="414">
                  <c:v>114.02348000000001</c:v>
                </c:pt>
                <c:pt idx="415">
                  <c:v>115.296616</c:v>
                </c:pt>
                <c:pt idx="416">
                  <c:v>114.9579</c:v>
                </c:pt>
                <c:pt idx="417">
                  <c:v>115.67654</c:v>
                </c:pt>
                <c:pt idx="418">
                  <c:v>114.218</c:v>
                </c:pt>
                <c:pt idx="419">
                  <c:v>112.41059</c:v>
                </c:pt>
                <c:pt idx="420">
                  <c:v>110.394226</c:v>
                </c:pt>
                <c:pt idx="421">
                  <c:v>108.92232</c:v>
                </c:pt>
                <c:pt idx="422">
                  <c:v>110.62159</c:v>
                </c:pt>
                <c:pt idx="423">
                  <c:v>112.40935</c:v>
                </c:pt>
                <c:pt idx="424">
                  <c:v>113.731255</c:v>
                </c:pt>
                <c:pt idx="425">
                  <c:v>114.38334999999999</c:v>
                </c:pt>
                <c:pt idx="426">
                  <c:v>115.69587</c:v>
                </c:pt>
                <c:pt idx="427">
                  <c:v>115.90900999999999</c:v>
                </c:pt>
                <c:pt idx="428">
                  <c:v>115.13788599999999</c:v>
                </c:pt>
                <c:pt idx="429">
                  <c:v>115.92328999999999</c:v>
                </c:pt>
                <c:pt idx="430">
                  <c:v>114.60312</c:v>
                </c:pt>
                <c:pt idx="431">
                  <c:v>113.85058600000001</c:v>
                </c:pt>
                <c:pt idx="432">
                  <c:v>113.83426</c:v>
                </c:pt>
                <c:pt idx="433">
                  <c:v>113.44145</c:v>
                </c:pt>
                <c:pt idx="434">
                  <c:v>112.74521</c:v>
                </c:pt>
                <c:pt idx="435">
                  <c:v>112.84663</c:v>
                </c:pt>
                <c:pt idx="436">
                  <c:v>113.11824</c:v>
                </c:pt>
                <c:pt idx="437">
                  <c:v>113.68572</c:v>
                </c:pt>
                <c:pt idx="438">
                  <c:v>113.046486</c:v>
                </c:pt>
                <c:pt idx="439">
                  <c:v>113.03009</c:v>
                </c:pt>
                <c:pt idx="440">
                  <c:v>112.16843</c:v>
                </c:pt>
                <c:pt idx="441">
                  <c:v>113.672104</c:v>
                </c:pt>
                <c:pt idx="442">
                  <c:v>114.93158</c:v>
                </c:pt>
                <c:pt idx="443">
                  <c:v>117.117836</c:v>
                </c:pt>
                <c:pt idx="444">
                  <c:v>117.52495999999999</c:v>
                </c:pt>
                <c:pt idx="445">
                  <c:v>116.69589999999999</c:v>
                </c:pt>
                <c:pt idx="446">
                  <c:v>108.304085</c:v>
                </c:pt>
                <c:pt idx="447">
                  <c:v>107.48624</c:v>
                </c:pt>
                <c:pt idx="448">
                  <c:v>107.21386</c:v>
                </c:pt>
                <c:pt idx="449">
                  <c:v>106.611694</c:v>
                </c:pt>
                <c:pt idx="450">
                  <c:v>105.784904</c:v>
                </c:pt>
                <c:pt idx="451">
                  <c:v>105.55531000000001</c:v>
                </c:pt>
                <c:pt idx="452">
                  <c:v>105.751976</c:v>
                </c:pt>
                <c:pt idx="453">
                  <c:v>105.60997999999999</c:v>
                </c:pt>
                <c:pt idx="454">
                  <c:v>105.64915499999999</c:v>
                </c:pt>
                <c:pt idx="455">
                  <c:v>105.77676</c:v>
                </c:pt>
                <c:pt idx="456">
                  <c:v>105.79673</c:v>
                </c:pt>
                <c:pt idx="457">
                  <c:v>105.84493000000001</c:v>
                </c:pt>
                <c:pt idx="458">
                  <c:v>106.264824</c:v>
                </c:pt>
                <c:pt idx="459">
                  <c:v>105.8686</c:v>
                </c:pt>
                <c:pt idx="460">
                  <c:v>105.39709000000001</c:v>
                </c:pt>
                <c:pt idx="461">
                  <c:v>104.91544</c:v>
                </c:pt>
                <c:pt idx="462">
                  <c:v>104.57832999999999</c:v>
                </c:pt>
                <c:pt idx="463">
                  <c:v>104.450935</c:v>
                </c:pt>
                <c:pt idx="464">
                  <c:v>104.415504</c:v>
                </c:pt>
                <c:pt idx="465">
                  <c:v>104.51721999999999</c:v>
                </c:pt>
                <c:pt idx="466">
                  <c:v>104.34586</c:v>
                </c:pt>
                <c:pt idx="467">
                  <c:v>104.04391</c:v>
                </c:pt>
                <c:pt idx="468">
                  <c:v>104.01649</c:v>
                </c:pt>
                <c:pt idx="469">
                  <c:v>103.659485</c:v>
                </c:pt>
                <c:pt idx="470">
                  <c:v>103.31219</c:v>
                </c:pt>
                <c:pt idx="471">
                  <c:v>102.22327</c:v>
                </c:pt>
                <c:pt idx="472">
                  <c:v>102.17950999999999</c:v>
                </c:pt>
                <c:pt idx="473">
                  <c:v>101.93071</c:v>
                </c:pt>
                <c:pt idx="474">
                  <c:v>102.18294</c:v>
                </c:pt>
                <c:pt idx="475">
                  <c:v>104.90509</c:v>
                </c:pt>
                <c:pt idx="476">
                  <c:v>105.35656</c:v>
                </c:pt>
                <c:pt idx="477">
                  <c:v>104.84544</c:v>
                </c:pt>
                <c:pt idx="478">
                  <c:v>105.01064</c:v>
                </c:pt>
                <c:pt idx="479">
                  <c:v>105.13132</c:v>
                </c:pt>
                <c:pt idx="480">
                  <c:v>104.88003999999999</c:v>
                </c:pt>
                <c:pt idx="481">
                  <c:v>105.00100999999999</c:v>
                </c:pt>
                <c:pt idx="482">
                  <c:v>105.13183600000001</c:v>
                </c:pt>
                <c:pt idx="483">
                  <c:v>105.90954000000001</c:v>
                </c:pt>
                <c:pt idx="484">
                  <c:v>106.56783</c:v>
                </c:pt>
                <c:pt idx="485">
                  <c:v>107.15263</c:v>
                </c:pt>
                <c:pt idx="486">
                  <c:v>107.7929</c:v>
                </c:pt>
                <c:pt idx="487">
                  <c:v>107.89035</c:v>
                </c:pt>
                <c:pt idx="488">
                  <c:v>107.88836999999999</c:v>
                </c:pt>
                <c:pt idx="489">
                  <c:v>108.306274</c:v>
                </c:pt>
                <c:pt idx="490">
                  <c:v>108.574974</c:v>
                </c:pt>
                <c:pt idx="491">
                  <c:v>108.68673</c:v>
                </c:pt>
                <c:pt idx="492">
                  <c:v>108.88563000000001</c:v>
                </c:pt>
                <c:pt idx="493">
                  <c:v>109.042404</c:v>
                </c:pt>
                <c:pt idx="494">
                  <c:v>109.19714999999999</c:v>
                </c:pt>
                <c:pt idx="495">
                  <c:v>109.51221</c:v>
                </c:pt>
                <c:pt idx="496">
                  <c:v>109.59302</c:v>
                </c:pt>
                <c:pt idx="497">
                  <c:v>109.69238</c:v>
                </c:pt>
                <c:pt idx="498">
                  <c:v>109.58072</c:v>
                </c:pt>
                <c:pt idx="499">
                  <c:v>109.42337000000001</c:v>
                </c:pt>
                <c:pt idx="500">
                  <c:v>109.21048999999999</c:v>
                </c:pt>
                <c:pt idx="501">
                  <c:v>108.29139000000001</c:v>
                </c:pt>
                <c:pt idx="502">
                  <c:v>107.75714000000001</c:v>
                </c:pt>
                <c:pt idx="503">
                  <c:v>107.478264</c:v>
                </c:pt>
                <c:pt idx="504">
                  <c:v>109.87342</c:v>
                </c:pt>
                <c:pt idx="505">
                  <c:v>107.57513400000001</c:v>
                </c:pt>
                <c:pt idx="506">
                  <c:v>107.27039000000001</c:v>
                </c:pt>
                <c:pt idx="507">
                  <c:v>107.48517</c:v>
                </c:pt>
                <c:pt idx="508">
                  <c:v>107.7428</c:v>
                </c:pt>
                <c:pt idx="509">
                  <c:v>107.90562</c:v>
                </c:pt>
                <c:pt idx="510">
                  <c:v>108.04474999999999</c:v>
                </c:pt>
                <c:pt idx="511">
                  <c:v>108.25386</c:v>
                </c:pt>
                <c:pt idx="512">
                  <c:v>109.63242</c:v>
                </c:pt>
                <c:pt idx="513">
                  <c:v>108.52443</c:v>
                </c:pt>
                <c:pt idx="514">
                  <c:v>108.66840000000001</c:v>
                </c:pt>
                <c:pt idx="515">
                  <c:v>108.83768999999999</c:v>
                </c:pt>
                <c:pt idx="516">
                  <c:v>108.976105</c:v>
                </c:pt>
                <c:pt idx="517">
                  <c:v>109.203575</c:v>
                </c:pt>
                <c:pt idx="518">
                  <c:v>109.35643</c:v>
                </c:pt>
                <c:pt idx="519">
                  <c:v>109.53010999999999</c:v>
                </c:pt>
                <c:pt idx="520">
                  <c:v>109.68548</c:v>
                </c:pt>
                <c:pt idx="521">
                  <c:v>109.797325</c:v>
                </c:pt>
                <c:pt idx="522">
                  <c:v>109.68716999999999</c:v>
                </c:pt>
                <c:pt idx="523">
                  <c:v>109.56014</c:v>
                </c:pt>
                <c:pt idx="524">
                  <c:v>109.415474</c:v>
                </c:pt>
                <c:pt idx="525">
                  <c:v>109.54611</c:v>
                </c:pt>
                <c:pt idx="526">
                  <c:v>109.74365</c:v>
                </c:pt>
                <c:pt idx="527">
                  <c:v>110.26725</c:v>
                </c:pt>
                <c:pt idx="528">
                  <c:v>110.67576</c:v>
                </c:pt>
                <c:pt idx="529">
                  <c:v>111.06274999999999</c:v>
                </c:pt>
                <c:pt idx="530">
                  <c:v>111.52059</c:v>
                </c:pt>
                <c:pt idx="531">
                  <c:v>113.093994</c:v>
                </c:pt>
                <c:pt idx="532">
                  <c:v>112.72352600000001</c:v>
                </c:pt>
                <c:pt idx="533">
                  <c:v>112.70089</c:v>
                </c:pt>
                <c:pt idx="534">
                  <c:v>111.69569</c:v>
                </c:pt>
                <c:pt idx="535">
                  <c:v>110.80965999999999</c:v>
                </c:pt>
                <c:pt idx="536">
                  <c:v>110.48479</c:v>
                </c:pt>
                <c:pt idx="537">
                  <c:v>110.35776</c:v>
                </c:pt>
                <c:pt idx="538">
                  <c:v>110.42950999999999</c:v>
                </c:pt>
                <c:pt idx="539">
                  <c:v>107.082184</c:v>
                </c:pt>
                <c:pt idx="540">
                  <c:v>108.03953</c:v>
                </c:pt>
                <c:pt idx="541">
                  <c:v>109.48611</c:v>
                </c:pt>
                <c:pt idx="542">
                  <c:v>110.87860999999999</c:v>
                </c:pt>
                <c:pt idx="543">
                  <c:v>112.59421</c:v>
                </c:pt>
                <c:pt idx="544">
                  <c:v>115.03326</c:v>
                </c:pt>
                <c:pt idx="545">
                  <c:v>117.89686</c:v>
                </c:pt>
                <c:pt idx="546">
                  <c:v>119.79079400000001</c:v>
                </c:pt>
                <c:pt idx="547">
                  <c:v>121.54353999999999</c:v>
                </c:pt>
                <c:pt idx="548">
                  <c:v>123.544876</c:v>
                </c:pt>
                <c:pt idx="549">
                  <c:v>125.280655</c:v>
                </c:pt>
                <c:pt idx="550">
                  <c:v>123.174065</c:v>
                </c:pt>
                <c:pt idx="551">
                  <c:v>126.02368</c:v>
                </c:pt>
                <c:pt idx="552">
                  <c:v>132.57339999999999</c:v>
                </c:pt>
                <c:pt idx="553">
                  <c:v>134.62296000000001</c:v>
                </c:pt>
                <c:pt idx="554">
                  <c:v>134.9151</c:v>
                </c:pt>
                <c:pt idx="555">
                  <c:v>134.47148000000001</c:v>
                </c:pt>
                <c:pt idx="556">
                  <c:v>136.15262999999999</c:v>
                </c:pt>
                <c:pt idx="557">
                  <c:v>136.11179999999999</c:v>
                </c:pt>
                <c:pt idx="558">
                  <c:v>138.76285999999999</c:v>
                </c:pt>
                <c:pt idx="559">
                  <c:v>139.25319999999999</c:v>
                </c:pt>
                <c:pt idx="560">
                  <c:v>131.26508000000001</c:v>
                </c:pt>
                <c:pt idx="561">
                  <c:v>129.01725999999999</c:v>
                </c:pt>
                <c:pt idx="562">
                  <c:v>130.70060000000001</c:v>
                </c:pt>
                <c:pt idx="563">
                  <c:v>131.95909</c:v>
                </c:pt>
                <c:pt idx="564">
                  <c:v>133.04283000000001</c:v>
                </c:pt>
                <c:pt idx="565">
                  <c:v>133.19238000000001</c:v>
                </c:pt>
                <c:pt idx="566">
                  <c:v>132.93834000000001</c:v>
                </c:pt>
                <c:pt idx="567">
                  <c:v>132.47862000000001</c:v>
                </c:pt>
                <c:pt idx="568">
                  <c:v>132.67122000000001</c:v>
                </c:pt>
                <c:pt idx="569">
                  <c:v>132.30264</c:v>
                </c:pt>
                <c:pt idx="570">
                  <c:v>132.3389</c:v>
                </c:pt>
                <c:pt idx="571">
                  <c:v>132.42868000000001</c:v>
                </c:pt>
                <c:pt idx="572">
                  <c:v>132.89655999999999</c:v>
                </c:pt>
                <c:pt idx="573">
                  <c:v>133.55369999999999</c:v>
                </c:pt>
                <c:pt idx="574">
                  <c:v>133.7953</c:v>
                </c:pt>
                <c:pt idx="575">
                  <c:v>134.20107999999999</c:v>
                </c:pt>
                <c:pt idx="576">
                  <c:v>134.36693</c:v>
                </c:pt>
                <c:pt idx="577">
                  <c:v>133.35066</c:v>
                </c:pt>
                <c:pt idx="578">
                  <c:v>131.75243</c:v>
                </c:pt>
                <c:pt idx="579">
                  <c:v>130.43677</c:v>
                </c:pt>
                <c:pt idx="580">
                  <c:v>130.30447000000001</c:v>
                </c:pt>
                <c:pt idx="581">
                  <c:v>127.36490999999999</c:v>
                </c:pt>
                <c:pt idx="582">
                  <c:v>130.09164000000001</c:v>
                </c:pt>
                <c:pt idx="583">
                  <c:v>130.76537999999999</c:v>
                </c:pt>
                <c:pt idx="584">
                  <c:v>133.07378</c:v>
                </c:pt>
                <c:pt idx="585">
                  <c:v>134.59710000000001</c:v>
                </c:pt>
                <c:pt idx="586">
                  <c:v>135.19725</c:v>
                </c:pt>
                <c:pt idx="587">
                  <c:v>135.21802</c:v>
                </c:pt>
                <c:pt idx="588">
                  <c:v>135.39957000000001</c:v>
                </c:pt>
                <c:pt idx="589">
                  <c:v>135.65165999999999</c:v>
                </c:pt>
                <c:pt idx="590">
                  <c:v>137.31029000000001</c:v>
                </c:pt>
                <c:pt idx="591">
                  <c:v>137.01732999999999</c:v>
                </c:pt>
                <c:pt idx="592">
                  <c:v>137.30774</c:v>
                </c:pt>
                <c:pt idx="593">
                  <c:v>137.84517</c:v>
                </c:pt>
                <c:pt idx="594">
                  <c:v>139.0421</c:v>
                </c:pt>
                <c:pt idx="595">
                  <c:v>140.59030000000001</c:v>
                </c:pt>
                <c:pt idx="596">
                  <c:v>142.57884000000001</c:v>
                </c:pt>
                <c:pt idx="597">
                  <c:v>142.53511</c:v>
                </c:pt>
                <c:pt idx="598">
                  <c:v>141.84192999999999</c:v>
                </c:pt>
                <c:pt idx="599">
                  <c:v>144.44728000000001</c:v>
                </c:pt>
                <c:pt idx="600">
                  <c:v>145.04477</c:v>
                </c:pt>
                <c:pt idx="601">
                  <c:v>144.26957999999999</c:v>
                </c:pt>
                <c:pt idx="602">
                  <c:v>151.36959999999999</c:v>
                </c:pt>
                <c:pt idx="603">
                  <c:v>145.83468999999999</c:v>
                </c:pt>
                <c:pt idx="604">
                  <c:v>144.94963000000001</c:v>
                </c:pt>
                <c:pt idx="605">
                  <c:v>144.28593000000001</c:v>
                </c:pt>
                <c:pt idx="606">
                  <c:v>144.15527</c:v>
                </c:pt>
                <c:pt idx="607">
                  <c:v>145.00479999999999</c:v>
                </c:pt>
                <c:pt idx="608">
                  <c:v>146.81498999999999</c:v>
                </c:pt>
                <c:pt idx="609">
                  <c:v>147.16092</c:v>
                </c:pt>
                <c:pt idx="610">
                  <c:v>145.60216</c:v>
                </c:pt>
                <c:pt idx="611">
                  <c:v>143.11707999999999</c:v>
                </c:pt>
                <c:pt idx="612">
                  <c:v>142.02620999999999</c:v>
                </c:pt>
                <c:pt idx="613">
                  <c:v>143.32795999999999</c:v>
                </c:pt>
                <c:pt idx="614">
                  <c:v>143.34875</c:v>
                </c:pt>
                <c:pt idx="615">
                  <c:v>144.85257999999999</c:v>
                </c:pt>
                <c:pt idx="616">
                  <c:v>144.82916</c:v>
                </c:pt>
                <c:pt idx="617">
                  <c:v>145.04427999999999</c:v>
                </c:pt>
                <c:pt idx="618">
                  <c:v>143.43562</c:v>
                </c:pt>
                <c:pt idx="619">
                  <c:v>145.77798000000001</c:v>
                </c:pt>
                <c:pt idx="620">
                  <c:v>145.30426</c:v>
                </c:pt>
                <c:pt idx="621">
                  <c:v>144.30422999999999</c:v>
                </c:pt>
                <c:pt idx="622">
                  <c:v>143.95913999999999</c:v>
                </c:pt>
                <c:pt idx="623">
                  <c:v>143.4933</c:v>
                </c:pt>
                <c:pt idx="624">
                  <c:v>142.38247999999999</c:v>
                </c:pt>
                <c:pt idx="625">
                  <c:v>140.77440999999999</c:v>
                </c:pt>
                <c:pt idx="626">
                  <c:v>139.10965999999999</c:v>
                </c:pt>
                <c:pt idx="627">
                  <c:v>137.31134</c:v>
                </c:pt>
                <c:pt idx="628">
                  <c:v>136.0925</c:v>
                </c:pt>
                <c:pt idx="629">
                  <c:v>138.19732999999999</c:v>
                </c:pt>
                <c:pt idx="630">
                  <c:v>139.67375000000001</c:v>
                </c:pt>
                <c:pt idx="631">
                  <c:v>141.46845999999999</c:v>
                </c:pt>
                <c:pt idx="632">
                  <c:v>138.52676</c:v>
                </c:pt>
                <c:pt idx="633">
                  <c:v>137.79655</c:v>
                </c:pt>
                <c:pt idx="634">
                  <c:v>136.04309000000001</c:v>
                </c:pt>
                <c:pt idx="635">
                  <c:v>135.32343</c:v>
                </c:pt>
                <c:pt idx="636">
                  <c:v>135.1199</c:v>
                </c:pt>
                <c:pt idx="637">
                  <c:v>135.93109000000001</c:v>
                </c:pt>
                <c:pt idx="638">
                  <c:v>135.98685</c:v>
                </c:pt>
                <c:pt idx="639">
                  <c:v>135.80037999999999</c:v>
                </c:pt>
                <c:pt idx="640">
                  <c:v>135.01067</c:v>
                </c:pt>
                <c:pt idx="641">
                  <c:v>133.59009</c:v>
                </c:pt>
                <c:pt idx="642">
                  <c:v>134.08584999999999</c:v>
                </c:pt>
                <c:pt idx="643">
                  <c:v>135.31621999999999</c:v>
                </c:pt>
                <c:pt idx="644">
                  <c:v>137.8809</c:v>
                </c:pt>
                <c:pt idx="645">
                  <c:v>140.50846999999999</c:v>
                </c:pt>
                <c:pt idx="646">
                  <c:v>137.73822000000001</c:v>
                </c:pt>
                <c:pt idx="647">
                  <c:v>135.80065999999999</c:v>
                </c:pt>
                <c:pt idx="648">
                  <c:v>140.81926999999999</c:v>
                </c:pt>
                <c:pt idx="649">
                  <c:v>144.74549999999999</c:v>
                </c:pt>
                <c:pt idx="650">
                  <c:v>139.2996</c:v>
                </c:pt>
                <c:pt idx="651">
                  <c:v>138.12411</c:v>
                </c:pt>
                <c:pt idx="652">
                  <c:v>137.63903999999999</c:v>
                </c:pt>
                <c:pt idx="653">
                  <c:v>138.16892999999999</c:v>
                </c:pt>
                <c:pt idx="654">
                  <c:v>138.11623</c:v>
                </c:pt>
                <c:pt idx="655">
                  <c:v>137.08206000000001</c:v>
                </c:pt>
                <c:pt idx="656">
                  <c:v>136.11565999999999</c:v>
                </c:pt>
                <c:pt idx="657">
                  <c:v>135.40714</c:v>
                </c:pt>
                <c:pt idx="658">
                  <c:v>133.54945000000001</c:v>
                </c:pt>
                <c:pt idx="659">
                  <c:v>131.25597999999999</c:v>
                </c:pt>
                <c:pt idx="660">
                  <c:v>130.58392000000001</c:v>
                </c:pt>
                <c:pt idx="661">
                  <c:v>130.88817</c:v>
                </c:pt>
                <c:pt idx="662">
                  <c:v>131.35458</c:v>
                </c:pt>
                <c:pt idx="663">
                  <c:v>131.31786</c:v>
                </c:pt>
                <c:pt idx="664">
                  <c:v>130.91454999999999</c:v>
                </c:pt>
                <c:pt idx="665">
                  <c:v>134.37651</c:v>
                </c:pt>
                <c:pt idx="666">
                  <c:v>134.98553000000001</c:v>
                </c:pt>
                <c:pt idx="667">
                  <c:v>133.05199999999999</c:v>
                </c:pt>
                <c:pt idx="668">
                  <c:v>131.15123</c:v>
                </c:pt>
                <c:pt idx="669">
                  <c:v>131.66147000000001</c:v>
                </c:pt>
                <c:pt idx="670">
                  <c:v>130.83804000000001</c:v>
                </c:pt>
                <c:pt idx="671">
                  <c:v>130.30242999999999</c:v>
                </c:pt>
                <c:pt idx="672">
                  <c:v>129.60471999999999</c:v>
                </c:pt>
                <c:pt idx="673">
                  <c:v>129.93709999999999</c:v>
                </c:pt>
                <c:pt idx="674">
                  <c:v>130.27262999999999</c:v>
                </c:pt>
                <c:pt idx="675">
                  <c:v>130.72331</c:v>
                </c:pt>
                <c:pt idx="676">
                  <c:v>131.16171</c:v>
                </c:pt>
                <c:pt idx="677">
                  <c:v>132.54275999999999</c:v>
                </c:pt>
                <c:pt idx="678">
                  <c:v>134.06625</c:v>
                </c:pt>
                <c:pt idx="679">
                  <c:v>132.39823999999999</c:v>
                </c:pt>
                <c:pt idx="680">
                  <c:v>130.56314</c:v>
                </c:pt>
                <c:pt idx="681">
                  <c:v>131.87945999999999</c:v>
                </c:pt>
                <c:pt idx="682">
                  <c:v>132.29285999999999</c:v>
                </c:pt>
                <c:pt idx="683">
                  <c:v>131.51299</c:v>
                </c:pt>
                <c:pt idx="684">
                  <c:v>130.95830000000001</c:v>
                </c:pt>
                <c:pt idx="685">
                  <c:v>131.27269999999999</c:v>
                </c:pt>
                <c:pt idx="686">
                  <c:v>130.32758999999999</c:v>
                </c:pt>
                <c:pt idx="687">
                  <c:v>129.32221999999999</c:v>
                </c:pt>
                <c:pt idx="688">
                  <c:v>130.09155000000001</c:v>
                </c:pt>
                <c:pt idx="689">
                  <c:v>132.57243</c:v>
                </c:pt>
                <c:pt idx="690">
                  <c:v>133.76503</c:v>
                </c:pt>
                <c:pt idx="691">
                  <c:v>131.65163999999999</c:v>
                </c:pt>
                <c:pt idx="692">
                  <c:v>130.74422000000001</c:v>
                </c:pt>
                <c:pt idx="693">
                  <c:v>135.41162</c:v>
                </c:pt>
                <c:pt idx="694">
                  <c:v>136.31658999999999</c:v>
                </c:pt>
                <c:pt idx="695">
                  <c:v>138.83133000000001</c:v>
                </c:pt>
                <c:pt idx="696">
                  <c:v>141.83315999999999</c:v>
                </c:pt>
                <c:pt idx="697">
                  <c:v>142.98148</c:v>
                </c:pt>
                <c:pt idx="698">
                  <c:v>144.43181000000001</c:v>
                </c:pt>
                <c:pt idx="699">
                  <c:v>144.78892999999999</c:v>
                </c:pt>
                <c:pt idx="700">
                  <c:v>145.09862000000001</c:v>
                </c:pt>
                <c:pt idx="701">
                  <c:v>146.11224000000001</c:v>
                </c:pt>
                <c:pt idx="702">
                  <c:v>145.99883</c:v>
                </c:pt>
                <c:pt idx="703">
                  <c:v>145.34293</c:v>
                </c:pt>
                <c:pt idx="704">
                  <c:v>146.47864999999999</c:v>
                </c:pt>
                <c:pt idx="705">
                  <c:v>152.23491999999999</c:v>
                </c:pt>
                <c:pt idx="706">
                  <c:v>152.55681999999999</c:v>
                </c:pt>
                <c:pt idx="707">
                  <c:v>151.50017</c:v>
                </c:pt>
                <c:pt idx="708">
                  <c:v>148.32223999999999</c:v>
                </c:pt>
                <c:pt idx="709">
                  <c:v>148.27038999999999</c:v>
                </c:pt>
                <c:pt idx="710">
                  <c:v>148.72227000000001</c:v>
                </c:pt>
                <c:pt idx="711">
                  <c:v>146.57294999999999</c:v>
                </c:pt>
                <c:pt idx="712">
                  <c:v>146.72656000000001</c:v>
                </c:pt>
                <c:pt idx="713">
                  <c:v>145.34202999999999</c:v>
                </c:pt>
                <c:pt idx="714">
                  <c:v>143.99539999999999</c:v>
                </c:pt>
                <c:pt idx="715">
                  <c:v>142.47891000000001</c:v>
                </c:pt>
                <c:pt idx="716">
                  <c:v>142.66315</c:v>
                </c:pt>
                <c:pt idx="717">
                  <c:v>141.42402999999999</c:v>
                </c:pt>
                <c:pt idx="718">
                  <c:v>143.9666</c:v>
                </c:pt>
                <c:pt idx="719">
                  <c:v>144.05915999999999</c:v>
                </c:pt>
                <c:pt idx="720">
                  <c:v>147.26933</c:v>
                </c:pt>
                <c:pt idx="721">
                  <c:v>148.06344999999999</c:v>
                </c:pt>
                <c:pt idx="722">
                  <c:v>148.99142000000001</c:v>
                </c:pt>
                <c:pt idx="723">
                  <c:v>148.26752999999999</c:v>
                </c:pt>
                <c:pt idx="724">
                  <c:v>146.36197000000001</c:v>
                </c:pt>
                <c:pt idx="725">
                  <c:v>144.59735000000001</c:v>
                </c:pt>
                <c:pt idx="726">
                  <c:v>143.50655</c:v>
                </c:pt>
                <c:pt idx="727">
                  <c:v>142.48949999999999</c:v>
                </c:pt>
                <c:pt idx="728">
                  <c:v>147.17363</c:v>
                </c:pt>
                <c:pt idx="729">
                  <c:v>146.50003000000001</c:v>
                </c:pt>
                <c:pt idx="730">
                  <c:v>146.42838</c:v>
                </c:pt>
                <c:pt idx="731">
                  <c:v>146.34358</c:v>
                </c:pt>
                <c:pt idx="732">
                  <c:v>145.66609</c:v>
                </c:pt>
                <c:pt idx="733">
                  <c:v>145.31676999999999</c:v>
                </c:pt>
                <c:pt idx="734">
                  <c:v>144.80292</c:v>
                </c:pt>
                <c:pt idx="735">
                  <c:v>144.40415999999999</c:v>
                </c:pt>
                <c:pt idx="736">
                  <c:v>144.77473000000001</c:v>
                </c:pt>
                <c:pt idx="737">
                  <c:v>144.75227000000001</c:v>
                </c:pt>
                <c:pt idx="738">
                  <c:v>145.86832999999999</c:v>
                </c:pt>
                <c:pt idx="739">
                  <c:v>146.4573</c:v>
                </c:pt>
                <c:pt idx="740">
                  <c:v>146.06560999999999</c:v>
                </c:pt>
                <c:pt idx="741">
                  <c:v>145.61529999999999</c:v>
                </c:pt>
                <c:pt idx="742">
                  <c:v>147.69653</c:v>
                </c:pt>
                <c:pt idx="743">
                  <c:v>143.47604000000001</c:v>
                </c:pt>
                <c:pt idx="744">
                  <c:v>144.39429000000001</c:v>
                </c:pt>
                <c:pt idx="745">
                  <c:v>142.93579</c:v>
                </c:pt>
                <c:pt idx="746">
                  <c:v>143.17943</c:v>
                </c:pt>
                <c:pt idx="747">
                  <c:v>143.2961</c:v>
                </c:pt>
                <c:pt idx="748">
                  <c:v>142.31621000000001</c:v>
                </c:pt>
                <c:pt idx="749">
                  <c:v>140.53220999999999</c:v>
                </c:pt>
                <c:pt idx="750">
                  <c:v>138.41454999999999</c:v>
                </c:pt>
                <c:pt idx="751">
                  <c:v>138.2371</c:v>
                </c:pt>
                <c:pt idx="752">
                  <c:v>139.04005000000001</c:v>
                </c:pt>
                <c:pt idx="753">
                  <c:v>140.19005000000001</c:v>
                </c:pt>
                <c:pt idx="754">
                  <c:v>140.74871999999999</c:v>
                </c:pt>
                <c:pt idx="755">
                  <c:v>141.11703</c:v>
                </c:pt>
                <c:pt idx="756">
                  <c:v>138.88086000000001</c:v>
                </c:pt>
                <c:pt idx="757">
                  <c:v>140.89786000000001</c:v>
                </c:pt>
                <c:pt idx="758">
                  <c:v>141.958</c:v>
                </c:pt>
                <c:pt idx="759">
                  <c:v>142.97022999999999</c:v>
                </c:pt>
                <c:pt idx="760">
                  <c:v>143.55975000000001</c:v>
                </c:pt>
                <c:pt idx="761">
                  <c:v>145.27663000000001</c:v>
                </c:pt>
                <c:pt idx="762">
                  <c:v>142.23133999999999</c:v>
                </c:pt>
                <c:pt idx="763">
                  <c:v>140.83508</c:v>
                </c:pt>
                <c:pt idx="764">
                  <c:v>139.18082999999999</c:v>
                </c:pt>
                <c:pt idx="765">
                  <c:v>138.10570000000001</c:v>
                </c:pt>
                <c:pt idx="766">
                  <c:v>137.40042</c:v>
                </c:pt>
                <c:pt idx="767">
                  <c:v>139.28806</c:v>
                </c:pt>
                <c:pt idx="768">
                  <c:v>134.77151000000001</c:v>
                </c:pt>
                <c:pt idx="769">
                  <c:v>130.86084</c:v>
                </c:pt>
                <c:pt idx="770">
                  <c:v>123.52931</c:v>
                </c:pt>
                <c:pt idx="771">
                  <c:v>124.02634999999999</c:v>
                </c:pt>
                <c:pt idx="772">
                  <c:v>120.17137</c:v>
                </c:pt>
                <c:pt idx="773">
                  <c:v>116.51072000000001</c:v>
                </c:pt>
                <c:pt idx="774">
                  <c:v>115.01528</c:v>
                </c:pt>
                <c:pt idx="775">
                  <c:v>114.715576</c:v>
                </c:pt>
                <c:pt idx="776">
                  <c:v>113.25516500000001</c:v>
                </c:pt>
                <c:pt idx="777">
                  <c:v>111.898994</c:v>
                </c:pt>
                <c:pt idx="778">
                  <c:v>110.60317999999999</c:v>
                </c:pt>
                <c:pt idx="779">
                  <c:v>107.08851</c:v>
                </c:pt>
                <c:pt idx="780">
                  <c:v>106.16663</c:v>
                </c:pt>
                <c:pt idx="781">
                  <c:v>103.58152</c:v>
                </c:pt>
                <c:pt idx="782">
                  <c:v>100.676216</c:v>
                </c:pt>
                <c:pt idx="783">
                  <c:v>99.444940000000003</c:v>
                </c:pt>
                <c:pt idx="784">
                  <c:v>95.718019999999996</c:v>
                </c:pt>
                <c:pt idx="785">
                  <c:v>93.938479999999998</c:v>
                </c:pt>
                <c:pt idx="786">
                  <c:v>92.28013</c:v>
                </c:pt>
                <c:pt idx="787">
                  <c:v>91.275769999999994</c:v>
                </c:pt>
                <c:pt idx="788">
                  <c:v>91.129580000000004</c:v>
                </c:pt>
                <c:pt idx="789">
                  <c:v>92.720436000000007</c:v>
                </c:pt>
                <c:pt idx="790">
                  <c:v>95.818150000000003</c:v>
                </c:pt>
                <c:pt idx="791">
                  <c:v>96.761160000000004</c:v>
                </c:pt>
                <c:pt idx="792">
                  <c:v>95.194400000000002</c:v>
                </c:pt>
                <c:pt idx="793">
                  <c:v>101.549644</c:v>
                </c:pt>
                <c:pt idx="794">
                  <c:v>101.080505</c:v>
                </c:pt>
                <c:pt idx="795">
                  <c:v>100.586105</c:v>
                </c:pt>
                <c:pt idx="796">
                  <c:v>100.08875</c:v>
                </c:pt>
                <c:pt idx="797">
                  <c:v>99.655919999999995</c:v>
                </c:pt>
                <c:pt idx="798">
                  <c:v>99.647689999999997</c:v>
                </c:pt>
                <c:pt idx="799">
                  <c:v>100.03776999999999</c:v>
                </c:pt>
                <c:pt idx="800">
                  <c:v>100.70847000000001</c:v>
                </c:pt>
                <c:pt idx="801">
                  <c:v>101.63406000000001</c:v>
                </c:pt>
                <c:pt idx="802">
                  <c:v>102.84053</c:v>
                </c:pt>
                <c:pt idx="803">
                  <c:v>103.3026</c:v>
                </c:pt>
                <c:pt idx="804">
                  <c:v>103.63217</c:v>
                </c:pt>
                <c:pt idx="805">
                  <c:v>103.645966</c:v>
                </c:pt>
                <c:pt idx="806">
                  <c:v>103.52007999999999</c:v>
                </c:pt>
                <c:pt idx="807">
                  <c:v>104.06842</c:v>
                </c:pt>
                <c:pt idx="808">
                  <c:v>104.36936</c:v>
                </c:pt>
                <c:pt idx="809">
                  <c:v>104.134094</c:v>
                </c:pt>
                <c:pt idx="810">
                  <c:v>104.53511</c:v>
                </c:pt>
                <c:pt idx="811">
                  <c:v>104.71199</c:v>
                </c:pt>
                <c:pt idx="812">
                  <c:v>105.37849</c:v>
                </c:pt>
                <c:pt idx="813">
                  <c:v>106.11288999999999</c:v>
                </c:pt>
                <c:pt idx="814">
                  <c:v>106.97754999999999</c:v>
                </c:pt>
                <c:pt idx="815">
                  <c:v>108.44253500000001</c:v>
                </c:pt>
                <c:pt idx="816">
                  <c:v>106.36494999999999</c:v>
                </c:pt>
                <c:pt idx="817">
                  <c:v>102.19978999999999</c:v>
                </c:pt>
                <c:pt idx="818">
                  <c:v>104.92804</c:v>
                </c:pt>
                <c:pt idx="819">
                  <c:v>102.55856</c:v>
                </c:pt>
                <c:pt idx="820">
                  <c:v>105.57319</c:v>
                </c:pt>
                <c:pt idx="821">
                  <c:v>106.31231</c:v>
                </c:pt>
                <c:pt idx="822">
                  <c:v>107.62432</c:v>
                </c:pt>
                <c:pt idx="823">
                  <c:v>109.81798999999999</c:v>
                </c:pt>
                <c:pt idx="824">
                  <c:v>109.78480500000001</c:v>
                </c:pt>
                <c:pt idx="825">
                  <c:v>109.98035</c:v>
                </c:pt>
                <c:pt idx="826">
                  <c:v>111.4378</c:v>
                </c:pt>
                <c:pt idx="827">
                  <c:v>113.14788</c:v>
                </c:pt>
                <c:pt idx="828">
                  <c:v>118.08986</c:v>
                </c:pt>
                <c:pt idx="829">
                  <c:v>119.58172999999999</c:v>
                </c:pt>
                <c:pt idx="830">
                  <c:v>122.60657500000001</c:v>
                </c:pt>
                <c:pt idx="831">
                  <c:v>121.76390000000001</c:v>
                </c:pt>
                <c:pt idx="832">
                  <c:v>121.36933999999999</c:v>
                </c:pt>
                <c:pt idx="833">
                  <c:v>120.4504</c:v>
                </c:pt>
                <c:pt idx="834">
                  <c:v>119.30212400000001</c:v>
                </c:pt>
                <c:pt idx="835">
                  <c:v>119.11084</c:v>
                </c:pt>
                <c:pt idx="836">
                  <c:v>118.61901</c:v>
                </c:pt>
                <c:pt idx="837">
                  <c:v>118.29808</c:v>
                </c:pt>
                <c:pt idx="838">
                  <c:v>118.33686</c:v>
                </c:pt>
                <c:pt idx="839">
                  <c:v>118.86443</c:v>
                </c:pt>
                <c:pt idx="840">
                  <c:v>119.03385</c:v>
                </c:pt>
                <c:pt idx="841">
                  <c:v>120.44840000000001</c:v>
                </c:pt>
                <c:pt idx="842">
                  <c:v>122.38664</c:v>
                </c:pt>
                <c:pt idx="843">
                  <c:v>123.57624</c:v>
                </c:pt>
                <c:pt idx="844">
                  <c:v>123.82648</c:v>
                </c:pt>
                <c:pt idx="845">
                  <c:v>120.45287</c:v>
                </c:pt>
                <c:pt idx="846">
                  <c:v>117.85375999999999</c:v>
                </c:pt>
                <c:pt idx="847">
                  <c:v>116.22396999999999</c:v>
                </c:pt>
                <c:pt idx="848">
                  <c:v>115.45684</c:v>
                </c:pt>
                <c:pt idx="849">
                  <c:v>114.878174</c:v>
                </c:pt>
                <c:pt idx="850">
                  <c:v>115.33029000000001</c:v>
                </c:pt>
                <c:pt idx="851">
                  <c:v>115.46035000000001</c:v>
                </c:pt>
                <c:pt idx="852">
                  <c:v>116.44414</c:v>
                </c:pt>
                <c:pt idx="853">
                  <c:v>117.76358</c:v>
                </c:pt>
                <c:pt idx="854">
                  <c:v>116.15921</c:v>
                </c:pt>
                <c:pt idx="855">
                  <c:v>118.97190000000001</c:v>
                </c:pt>
                <c:pt idx="856">
                  <c:v>100.927414</c:v>
                </c:pt>
                <c:pt idx="857">
                  <c:v>103.326584</c:v>
                </c:pt>
                <c:pt idx="858">
                  <c:v>106.99612399999999</c:v>
                </c:pt>
                <c:pt idx="859">
                  <c:v>110.837715</c:v>
                </c:pt>
                <c:pt idx="860">
                  <c:v>112.09646600000001</c:v>
                </c:pt>
                <c:pt idx="861">
                  <c:v>114.59792</c:v>
                </c:pt>
                <c:pt idx="862">
                  <c:v>115.41023</c:v>
                </c:pt>
                <c:pt idx="863">
                  <c:v>117.75163999999999</c:v>
                </c:pt>
                <c:pt idx="864">
                  <c:v>118.94488</c:v>
                </c:pt>
                <c:pt idx="865">
                  <c:v>121.068214</c:v>
                </c:pt>
                <c:pt idx="866">
                  <c:v>121.62985</c:v>
                </c:pt>
                <c:pt idx="867">
                  <c:v>120.833145</c:v>
                </c:pt>
                <c:pt idx="868">
                  <c:v>120.22278</c:v>
                </c:pt>
                <c:pt idx="869">
                  <c:v>120.59188</c:v>
                </c:pt>
                <c:pt idx="870">
                  <c:v>120.56918</c:v>
                </c:pt>
                <c:pt idx="871">
                  <c:v>121.551056</c:v>
                </c:pt>
                <c:pt idx="872">
                  <c:v>121.56413999999999</c:v>
                </c:pt>
                <c:pt idx="873">
                  <c:v>121.86378499999999</c:v>
                </c:pt>
                <c:pt idx="874">
                  <c:v>120.20826</c:v>
                </c:pt>
                <c:pt idx="875">
                  <c:v>120.4044</c:v>
                </c:pt>
                <c:pt idx="876">
                  <c:v>119.98522</c:v>
                </c:pt>
                <c:pt idx="877">
                  <c:v>119.22749</c:v>
                </c:pt>
                <c:pt idx="878">
                  <c:v>119.29428</c:v>
                </c:pt>
                <c:pt idx="879">
                  <c:v>119.27750399999999</c:v>
                </c:pt>
                <c:pt idx="880">
                  <c:v>120.30954</c:v>
                </c:pt>
                <c:pt idx="881">
                  <c:v>119.23998</c:v>
                </c:pt>
                <c:pt idx="882">
                  <c:v>123.40456</c:v>
                </c:pt>
                <c:pt idx="883">
                  <c:v>125.14995999999999</c:v>
                </c:pt>
                <c:pt idx="884">
                  <c:v>126.544106</c:v>
                </c:pt>
                <c:pt idx="885">
                  <c:v>128.00454999999999</c:v>
                </c:pt>
                <c:pt idx="886">
                  <c:v>129.12262999999999</c:v>
                </c:pt>
                <c:pt idx="887">
                  <c:v>129.11466999999999</c:v>
                </c:pt>
                <c:pt idx="888">
                  <c:v>127.814674</c:v>
                </c:pt>
                <c:pt idx="889">
                  <c:v>127.764534</c:v>
                </c:pt>
                <c:pt idx="890">
                  <c:v>127.87206</c:v>
                </c:pt>
                <c:pt idx="891">
                  <c:v>127.66119</c:v>
                </c:pt>
                <c:pt idx="892">
                  <c:v>127.53519</c:v>
                </c:pt>
                <c:pt idx="893">
                  <c:v>127.24213399999999</c:v>
                </c:pt>
                <c:pt idx="894">
                  <c:v>127.38771</c:v>
                </c:pt>
                <c:pt idx="895">
                  <c:v>128.02869000000001</c:v>
                </c:pt>
                <c:pt idx="896">
                  <c:v>128.72047000000001</c:v>
                </c:pt>
                <c:pt idx="897">
                  <c:v>129.55966000000001</c:v>
                </c:pt>
                <c:pt idx="898">
                  <c:v>130.54309000000001</c:v>
                </c:pt>
                <c:pt idx="899">
                  <c:v>131.1833</c:v>
                </c:pt>
                <c:pt idx="900">
                  <c:v>132.43818999999999</c:v>
                </c:pt>
                <c:pt idx="901">
                  <c:v>133.47540000000001</c:v>
                </c:pt>
                <c:pt idx="902">
                  <c:v>134.14784</c:v>
                </c:pt>
                <c:pt idx="903">
                  <c:v>135.87255999999999</c:v>
                </c:pt>
                <c:pt idx="904">
                  <c:v>135.84327999999999</c:v>
                </c:pt>
                <c:pt idx="905">
                  <c:v>135.97331</c:v>
                </c:pt>
                <c:pt idx="906">
                  <c:v>134.13719</c:v>
                </c:pt>
                <c:pt idx="907">
                  <c:v>133.69167999999999</c:v>
                </c:pt>
                <c:pt idx="908">
                  <c:v>132.74584999999999</c:v>
                </c:pt>
                <c:pt idx="909">
                  <c:v>132.44557</c:v>
                </c:pt>
                <c:pt idx="910">
                  <c:v>133.27654000000001</c:v>
                </c:pt>
                <c:pt idx="911">
                  <c:v>132.87654000000001</c:v>
                </c:pt>
                <c:pt idx="912">
                  <c:v>132.62851000000001</c:v>
                </c:pt>
                <c:pt idx="913">
                  <c:v>128.68991</c:v>
                </c:pt>
                <c:pt idx="914">
                  <c:v>125.66218600000001</c:v>
                </c:pt>
                <c:pt idx="915">
                  <c:v>125.34081999999999</c:v>
                </c:pt>
                <c:pt idx="916">
                  <c:v>126.22861</c:v>
                </c:pt>
                <c:pt idx="917">
                  <c:v>125.12121</c:v>
                </c:pt>
                <c:pt idx="918">
                  <c:v>124.501755</c:v>
                </c:pt>
                <c:pt idx="919">
                  <c:v>124.85287</c:v>
                </c:pt>
                <c:pt idx="920">
                  <c:v>125.2577</c:v>
                </c:pt>
                <c:pt idx="921">
                  <c:v>125.35944000000001</c:v>
                </c:pt>
                <c:pt idx="922">
                  <c:v>125.72364</c:v>
                </c:pt>
                <c:pt idx="923">
                  <c:v>125.91005</c:v>
                </c:pt>
                <c:pt idx="924">
                  <c:v>125.72559</c:v>
                </c:pt>
                <c:pt idx="925">
                  <c:v>123.98913</c:v>
                </c:pt>
                <c:pt idx="926">
                  <c:v>122.5883</c:v>
                </c:pt>
                <c:pt idx="927">
                  <c:v>123.38296</c:v>
                </c:pt>
                <c:pt idx="928">
                  <c:v>124.800766</c:v>
                </c:pt>
                <c:pt idx="929">
                  <c:v>126.18608999999999</c:v>
                </c:pt>
                <c:pt idx="930">
                  <c:v>127.56788</c:v>
                </c:pt>
                <c:pt idx="931">
                  <c:v>128.49154999999999</c:v>
                </c:pt>
                <c:pt idx="932">
                  <c:v>128.90298000000001</c:v>
                </c:pt>
                <c:pt idx="933">
                  <c:v>128.26183</c:v>
                </c:pt>
                <c:pt idx="934">
                  <c:v>127.887596</c:v>
                </c:pt>
                <c:pt idx="935">
                  <c:v>125.896034</c:v>
                </c:pt>
                <c:pt idx="936">
                  <c:v>126.53196</c:v>
                </c:pt>
                <c:pt idx="937">
                  <c:v>125.912125</c:v>
                </c:pt>
                <c:pt idx="938">
                  <c:v>125.02706999999999</c:v>
                </c:pt>
                <c:pt idx="939">
                  <c:v>124.53129</c:v>
                </c:pt>
                <c:pt idx="940">
                  <c:v>123.37494</c:v>
                </c:pt>
                <c:pt idx="941">
                  <c:v>122.91186999999999</c:v>
                </c:pt>
                <c:pt idx="942">
                  <c:v>122.42287</c:v>
                </c:pt>
                <c:pt idx="943">
                  <c:v>123.88527000000001</c:v>
                </c:pt>
                <c:pt idx="944">
                  <c:v>125.64413500000001</c:v>
                </c:pt>
                <c:pt idx="945">
                  <c:v>127.47447</c:v>
                </c:pt>
                <c:pt idx="946">
                  <c:v>130.51670999999999</c:v>
                </c:pt>
                <c:pt idx="947">
                  <c:v>131.61530999999999</c:v>
                </c:pt>
                <c:pt idx="948">
                  <c:v>133.06546</c:v>
                </c:pt>
                <c:pt idx="949">
                  <c:v>135.0386</c:v>
                </c:pt>
                <c:pt idx="950">
                  <c:v>138.12428</c:v>
                </c:pt>
                <c:pt idx="951">
                  <c:v>140.00892999999999</c:v>
                </c:pt>
                <c:pt idx="952">
                  <c:v>141.72667000000001</c:v>
                </c:pt>
                <c:pt idx="953">
                  <c:v>143.02029999999999</c:v>
                </c:pt>
                <c:pt idx="954">
                  <c:v>144.28461999999999</c:v>
                </c:pt>
                <c:pt idx="955">
                  <c:v>146.40674999999999</c:v>
                </c:pt>
                <c:pt idx="956">
                  <c:v>146.17975999999999</c:v>
                </c:pt>
                <c:pt idx="957">
                  <c:v>145.50916000000001</c:v>
                </c:pt>
                <c:pt idx="958">
                  <c:v>145.74690000000001</c:v>
                </c:pt>
                <c:pt idx="959">
                  <c:v>147.45769000000001</c:v>
                </c:pt>
                <c:pt idx="960">
                  <c:v>149.38054</c:v>
                </c:pt>
                <c:pt idx="961">
                  <c:v>150.42330000000001</c:v>
                </c:pt>
                <c:pt idx="962">
                  <c:v>151.12227999999999</c:v>
                </c:pt>
                <c:pt idx="963">
                  <c:v>152.27892</c:v>
                </c:pt>
                <c:pt idx="964">
                  <c:v>152.91630000000001</c:v>
                </c:pt>
                <c:pt idx="965">
                  <c:v>153.15326999999999</c:v>
                </c:pt>
                <c:pt idx="966">
                  <c:v>153.07802000000001</c:v>
                </c:pt>
                <c:pt idx="967">
                  <c:v>152.18242000000001</c:v>
                </c:pt>
                <c:pt idx="968">
                  <c:v>152.83468999999999</c:v>
                </c:pt>
                <c:pt idx="969">
                  <c:v>154.01477</c:v>
                </c:pt>
                <c:pt idx="970">
                  <c:v>155.99268000000001</c:v>
                </c:pt>
                <c:pt idx="971">
                  <c:v>162.81482</c:v>
                </c:pt>
                <c:pt idx="972">
                  <c:v>173.95694</c:v>
                </c:pt>
                <c:pt idx="973">
                  <c:v>174.84673000000001</c:v>
                </c:pt>
                <c:pt idx="974">
                  <c:v>174.63737</c:v>
                </c:pt>
                <c:pt idx="975">
                  <c:v>173.27284</c:v>
                </c:pt>
                <c:pt idx="976">
                  <c:v>173.6103</c:v>
                </c:pt>
                <c:pt idx="977">
                  <c:v>172.69379000000001</c:v>
                </c:pt>
                <c:pt idx="978">
                  <c:v>171.91368</c:v>
                </c:pt>
                <c:pt idx="979">
                  <c:v>171.33966000000001</c:v>
                </c:pt>
                <c:pt idx="980">
                  <c:v>177.37706</c:v>
                </c:pt>
                <c:pt idx="981">
                  <c:v>178.15768</c:v>
                </c:pt>
                <c:pt idx="982">
                  <c:v>178.31036</c:v>
                </c:pt>
                <c:pt idx="983">
                  <c:v>178.71512999999999</c:v>
                </c:pt>
                <c:pt idx="984">
                  <c:v>179.49197000000001</c:v>
                </c:pt>
                <c:pt idx="985">
                  <c:v>179.76549</c:v>
                </c:pt>
                <c:pt idx="986">
                  <c:v>179.51794000000001</c:v>
                </c:pt>
                <c:pt idx="987">
                  <c:v>179.28890999999999</c:v>
                </c:pt>
                <c:pt idx="988">
                  <c:v>179.23468</c:v>
                </c:pt>
                <c:pt idx="989">
                  <c:v>177.78909999999999</c:v>
                </c:pt>
                <c:pt idx="990">
                  <c:v>177.45707999999999</c:v>
                </c:pt>
                <c:pt idx="991">
                  <c:v>177.68776</c:v>
                </c:pt>
                <c:pt idx="992">
                  <c:v>177.49422000000001</c:v>
                </c:pt>
                <c:pt idx="993">
                  <c:v>177.09688</c:v>
                </c:pt>
                <c:pt idx="994">
                  <c:v>177.08233999999999</c:v>
                </c:pt>
                <c:pt idx="995">
                  <c:v>176.59360000000001</c:v>
                </c:pt>
                <c:pt idx="996">
                  <c:v>176.10186999999999</c:v>
                </c:pt>
                <c:pt idx="997">
                  <c:v>175.29433</c:v>
                </c:pt>
                <c:pt idx="998">
                  <c:v>173.60236</c:v>
                </c:pt>
                <c:pt idx="999">
                  <c:v>171.75233</c:v>
                </c:pt>
                <c:pt idx="1000">
                  <c:v>171.29372000000001</c:v>
                </c:pt>
                <c:pt idx="1001">
                  <c:v>172.12766999999999</c:v>
                </c:pt>
                <c:pt idx="1002">
                  <c:v>172.96358000000001</c:v>
                </c:pt>
                <c:pt idx="1003">
                  <c:v>175.21419</c:v>
                </c:pt>
                <c:pt idx="1004">
                  <c:v>175.78638000000001</c:v>
                </c:pt>
                <c:pt idx="1005">
                  <c:v>175.81673000000001</c:v>
                </c:pt>
                <c:pt idx="1006">
                  <c:v>175.07368</c:v>
                </c:pt>
                <c:pt idx="1007">
                  <c:v>174.80215000000001</c:v>
                </c:pt>
                <c:pt idx="1008">
                  <c:v>174.59388999999999</c:v>
                </c:pt>
                <c:pt idx="1009">
                  <c:v>174.7439</c:v>
                </c:pt>
                <c:pt idx="1010">
                  <c:v>174.92070000000001</c:v>
                </c:pt>
                <c:pt idx="1011">
                  <c:v>175.44936000000001</c:v>
                </c:pt>
                <c:pt idx="1012">
                  <c:v>175.37476000000001</c:v>
                </c:pt>
                <c:pt idx="1013">
                  <c:v>175.65110999999999</c:v>
                </c:pt>
                <c:pt idx="1014">
                  <c:v>175.69756000000001</c:v>
                </c:pt>
                <c:pt idx="1015">
                  <c:v>175.68561</c:v>
                </c:pt>
                <c:pt idx="1016">
                  <c:v>175.70505</c:v>
                </c:pt>
                <c:pt idx="1017">
                  <c:v>176.74700000000001</c:v>
                </c:pt>
                <c:pt idx="1018">
                  <c:v>175.45998</c:v>
                </c:pt>
                <c:pt idx="1019">
                  <c:v>175.51915</c:v>
                </c:pt>
                <c:pt idx="1020">
                  <c:v>175.58225999999999</c:v>
                </c:pt>
                <c:pt idx="1021">
                  <c:v>175.47568000000001</c:v>
                </c:pt>
                <c:pt idx="1022">
                  <c:v>175.39187999999999</c:v>
                </c:pt>
                <c:pt idx="1023">
                  <c:v>175.04973000000001</c:v>
                </c:pt>
                <c:pt idx="1024">
                  <c:v>174.77632</c:v>
                </c:pt>
                <c:pt idx="1025">
                  <c:v>174.83924999999999</c:v>
                </c:pt>
                <c:pt idx="1026">
                  <c:v>174.60852</c:v>
                </c:pt>
                <c:pt idx="1027">
                  <c:v>174.327</c:v>
                </c:pt>
                <c:pt idx="1028">
                  <c:v>174.57570000000001</c:v>
                </c:pt>
                <c:pt idx="1029">
                  <c:v>174.6414</c:v>
                </c:pt>
                <c:pt idx="1030">
                  <c:v>174.79378</c:v>
                </c:pt>
                <c:pt idx="1031">
                  <c:v>176.52203</c:v>
                </c:pt>
                <c:pt idx="1032">
                  <c:v>174.16309000000001</c:v>
                </c:pt>
                <c:pt idx="1033">
                  <c:v>173.91576000000001</c:v>
                </c:pt>
                <c:pt idx="1034">
                  <c:v>174.01697999999999</c:v>
                </c:pt>
                <c:pt idx="1035">
                  <c:v>174.34350000000001</c:v>
                </c:pt>
                <c:pt idx="1036">
                  <c:v>174.77704</c:v>
                </c:pt>
                <c:pt idx="1037">
                  <c:v>174.95714000000001</c:v>
                </c:pt>
                <c:pt idx="1038">
                  <c:v>175.18819999999999</c:v>
                </c:pt>
                <c:pt idx="1039">
                  <c:v>175.24554000000001</c:v>
                </c:pt>
                <c:pt idx="1040">
                  <c:v>175.20724000000001</c:v>
                </c:pt>
                <c:pt idx="1041">
                  <c:v>175.00821999999999</c:v>
                </c:pt>
                <c:pt idx="1042">
                  <c:v>174.59289999999999</c:v>
                </c:pt>
                <c:pt idx="1043">
                  <c:v>174.61349999999999</c:v>
                </c:pt>
                <c:pt idx="1044">
                  <c:v>174.51712000000001</c:v>
                </c:pt>
                <c:pt idx="1045">
                  <c:v>174.28523000000001</c:v>
                </c:pt>
                <c:pt idx="1046">
                  <c:v>173.51490000000001</c:v>
                </c:pt>
                <c:pt idx="1047">
                  <c:v>174.33313000000001</c:v>
                </c:pt>
                <c:pt idx="1048">
                  <c:v>174.44185999999999</c:v>
                </c:pt>
                <c:pt idx="1049">
                  <c:v>174.40291999999999</c:v>
                </c:pt>
                <c:pt idx="1050">
                  <c:v>174.31943999999999</c:v>
                </c:pt>
                <c:pt idx="1051">
                  <c:v>164.56943000000001</c:v>
                </c:pt>
                <c:pt idx="1052">
                  <c:v>164.71088</c:v>
                </c:pt>
                <c:pt idx="1053">
                  <c:v>164.79863</c:v>
                </c:pt>
                <c:pt idx="1054">
                  <c:v>164.89412999999999</c:v>
                </c:pt>
                <c:pt idx="1055">
                  <c:v>165.42902000000001</c:v>
                </c:pt>
                <c:pt idx="1056">
                  <c:v>165.10820000000001</c:v>
                </c:pt>
                <c:pt idx="1057">
                  <c:v>165.13813999999999</c:v>
                </c:pt>
                <c:pt idx="1058">
                  <c:v>165.15588</c:v>
                </c:pt>
                <c:pt idx="1059">
                  <c:v>165.11148</c:v>
                </c:pt>
                <c:pt idx="1060">
                  <c:v>165.1671</c:v>
                </c:pt>
                <c:pt idx="1061">
                  <c:v>165.2681</c:v>
                </c:pt>
                <c:pt idx="1062">
                  <c:v>165.26863</c:v>
                </c:pt>
                <c:pt idx="1063">
                  <c:v>165.24431000000001</c:v>
                </c:pt>
                <c:pt idx="1064">
                  <c:v>165.31533999999999</c:v>
                </c:pt>
                <c:pt idx="1065">
                  <c:v>165.30420000000001</c:v>
                </c:pt>
                <c:pt idx="1066">
                  <c:v>165.42084</c:v>
                </c:pt>
                <c:pt idx="1067">
                  <c:v>165.45284000000001</c:v>
                </c:pt>
                <c:pt idx="1068">
                  <c:v>165.47237999999999</c:v>
                </c:pt>
                <c:pt idx="1069">
                  <c:v>165.47471999999999</c:v>
                </c:pt>
                <c:pt idx="1070">
                  <c:v>165.50290000000001</c:v>
                </c:pt>
                <c:pt idx="1071">
                  <c:v>166.25880000000001</c:v>
                </c:pt>
                <c:pt idx="1072">
                  <c:v>165.51935</c:v>
                </c:pt>
                <c:pt idx="1073">
                  <c:v>165.49393000000001</c:v>
                </c:pt>
                <c:pt idx="1074">
                  <c:v>165.51741000000001</c:v>
                </c:pt>
                <c:pt idx="1075">
                  <c:v>165.54015000000001</c:v>
                </c:pt>
                <c:pt idx="1076">
                  <c:v>165.59055000000001</c:v>
                </c:pt>
                <c:pt idx="1077">
                  <c:v>165.55627000000001</c:v>
                </c:pt>
                <c:pt idx="1078">
                  <c:v>165.49829</c:v>
                </c:pt>
                <c:pt idx="1079">
                  <c:v>165.39554999999999</c:v>
                </c:pt>
                <c:pt idx="1080">
                  <c:v>166.27585999999999</c:v>
                </c:pt>
                <c:pt idx="1081">
                  <c:v>165.4102</c:v>
                </c:pt>
                <c:pt idx="1082">
                  <c:v>165.37450000000001</c:v>
                </c:pt>
                <c:pt idx="1083">
                  <c:v>165.41753</c:v>
                </c:pt>
                <c:pt idx="1084">
                  <c:v>165.44875999999999</c:v>
                </c:pt>
                <c:pt idx="1085">
                  <c:v>165.53442000000001</c:v>
                </c:pt>
                <c:pt idx="1086">
                  <c:v>165.54697999999999</c:v>
                </c:pt>
                <c:pt idx="1087">
                  <c:v>165.60990000000001</c:v>
                </c:pt>
                <c:pt idx="1088">
                  <c:v>165.60462999999999</c:v>
                </c:pt>
                <c:pt idx="1089">
                  <c:v>165.61199999999999</c:v>
                </c:pt>
                <c:pt idx="1090">
                  <c:v>165.58148</c:v>
                </c:pt>
                <c:pt idx="1091">
                  <c:v>165.57353000000001</c:v>
                </c:pt>
                <c:pt idx="1092">
                  <c:v>165.58588</c:v>
                </c:pt>
                <c:pt idx="1093">
                  <c:v>166.33019999999999</c:v>
                </c:pt>
                <c:pt idx="1094">
                  <c:v>165.55950000000001</c:v>
                </c:pt>
                <c:pt idx="1095">
                  <c:v>165.55735999999999</c:v>
                </c:pt>
                <c:pt idx="1096">
                  <c:v>165.55146999999999</c:v>
                </c:pt>
                <c:pt idx="1097">
                  <c:v>165.5428</c:v>
                </c:pt>
                <c:pt idx="1098">
                  <c:v>165.51639</c:v>
                </c:pt>
                <c:pt idx="1099">
                  <c:v>165.51043999999999</c:v>
                </c:pt>
                <c:pt idx="1100">
                  <c:v>165.47855999999999</c:v>
                </c:pt>
                <c:pt idx="1101">
                  <c:v>165.45891</c:v>
                </c:pt>
                <c:pt idx="1102">
                  <c:v>165.4391</c:v>
                </c:pt>
                <c:pt idx="1103">
                  <c:v>165.40248</c:v>
                </c:pt>
                <c:pt idx="1104">
                  <c:v>165.37780000000001</c:v>
                </c:pt>
                <c:pt idx="1105">
                  <c:v>165.27126999999999</c:v>
                </c:pt>
                <c:pt idx="1106">
                  <c:v>167.07813999999999</c:v>
                </c:pt>
                <c:pt idx="1107">
                  <c:v>165.34569999999999</c:v>
                </c:pt>
                <c:pt idx="1108">
                  <c:v>165.33510000000001</c:v>
                </c:pt>
                <c:pt idx="1109">
                  <c:v>165.35785999999999</c:v>
                </c:pt>
                <c:pt idx="1110">
                  <c:v>165.35572999999999</c:v>
                </c:pt>
                <c:pt idx="1111">
                  <c:v>165.36201</c:v>
                </c:pt>
                <c:pt idx="1112">
                  <c:v>165.35938999999999</c:v>
                </c:pt>
                <c:pt idx="1113">
                  <c:v>165.37311</c:v>
                </c:pt>
              </c:numCache>
            </c:numRef>
          </c:val>
          <c:smooth val="0"/>
          <c:extLst>
            <c:ext xmlns:c16="http://schemas.microsoft.com/office/drawing/2014/chart" uri="{C3380CC4-5D6E-409C-BE32-E72D297353CC}">
              <c16:uniqueId val="{00000001-A0B9-E64A-A193-9BDDB87CB34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200"/>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5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59248616432522E-2"/>
          <c:y val="3.4909703755316636E-2"/>
          <c:w val="0.92264075138356749"/>
          <c:h val="0.82973718082790593"/>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B$2:$B$2111</c:f>
              <c:numCache>
                <c:formatCode>General</c:formatCode>
                <c:ptCount val="2110"/>
                <c:pt idx="0">
                  <c:v>93.213745000000003</c:v>
                </c:pt>
                <c:pt idx="1">
                  <c:v>93.563773999999995</c:v>
                </c:pt>
                <c:pt idx="2">
                  <c:v>93.397514000000001</c:v>
                </c:pt>
                <c:pt idx="3">
                  <c:v>94.613879999999995</c:v>
                </c:pt>
                <c:pt idx="4">
                  <c:v>94.640144000000006</c:v>
                </c:pt>
                <c:pt idx="5">
                  <c:v>95.698989999999995</c:v>
                </c:pt>
                <c:pt idx="6">
                  <c:v>95.742744000000002</c:v>
                </c:pt>
                <c:pt idx="7">
                  <c:v>95.856514000000004</c:v>
                </c:pt>
                <c:pt idx="8">
                  <c:v>96.110275000000001</c:v>
                </c:pt>
                <c:pt idx="9">
                  <c:v>95.620230000000006</c:v>
                </c:pt>
                <c:pt idx="10">
                  <c:v>96.591570000000004</c:v>
                </c:pt>
                <c:pt idx="11">
                  <c:v>96.682334999999995</c:v>
                </c:pt>
                <c:pt idx="12">
                  <c:v>97.017120000000006</c:v>
                </c:pt>
                <c:pt idx="13">
                  <c:v>97.413629999999998</c:v>
                </c:pt>
                <c:pt idx="14">
                  <c:v>96.594210000000004</c:v>
                </c:pt>
                <c:pt idx="15">
                  <c:v>96.321070000000006</c:v>
                </c:pt>
                <c:pt idx="16">
                  <c:v>96.303439999999995</c:v>
                </c:pt>
                <c:pt idx="17">
                  <c:v>96.056749999999994</c:v>
                </c:pt>
                <c:pt idx="18">
                  <c:v>96.558975000000004</c:v>
                </c:pt>
                <c:pt idx="19">
                  <c:v>96.400369999999995</c:v>
                </c:pt>
                <c:pt idx="20">
                  <c:v>96.33869</c:v>
                </c:pt>
                <c:pt idx="21">
                  <c:v>97.898223999999999</c:v>
                </c:pt>
                <c:pt idx="22">
                  <c:v>97.924670000000006</c:v>
                </c:pt>
                <c:pt idx="23">
                  <c:v>98.144936000000001</c:v>
                </c:pt>
                <c:pt idx="24">
                  <c:v>97.933480000000003</c:v>
                </c:pt>
                <c:pt idx="25">
                  <c:v>98.479730000000004</c:v>
                </c:pt>
                <c:pt idx="26">
                  <c:v>98.700040000000001</c:v>
                </c:pt>
                <c:pt idx="27">
                  <c:v>98.488556000000003</c:v>
                </c:pt>
                <c:pt idx="28">
                  <c:v>98.788123999999996</c:v>
                </c:pt>
                <c:pt idx="29">
                  <c:v>98.532619999999994</c:v>
                </c:pt>
                <c:pt idx="30">
                  <c:v>99.078896</c:v>
                </c:pt>
                <c:pt idx="31">
                  <c:v>99.061269999999993</c:v>
                </c:pt>
                <c:pt idx="32">
                  <c:v>98.840990000000005</c:v>
                </c:pt>
                <c:pt idx="33">
                  <c:v>98.559049999999999</c:v>
                </c:pt>
                <c:pt idx="34">
                  <c:v>98.559049999999999</c:v>
                </c:pt>
                <c:pt idx="35">
                  <c:v>98.752883999999995</c:v>
                </c:pt>
                <c:pt idx="36">
                  <c:v>98.629530000000003</c:v>
                </c:pt>
                <c:pt idx="37">
                  <c:v>98.312340000000006</c:v>
                </c:pt>
                <c:pt idx="38">
                  <c:v>98.338775999999996</c:v>
                </c:pt>
                <c:pt idx="39">
                  <c:v>98.700040000000001</c:v>
                </c:pt>
                <c:pt idx="40">
                  <c:v>98.444500000000005</c:v>
                </c:pt>
                <c:pt idx="41">
                  <c:v>100.10095</c:v>
                </c:pt>
                <c:pt idx="42">
                  <c:v>99.281559999999999</c:v>
                </c:pt>
                <c:pt idx="43">
                  <c:v>99.845439999999996</c:v>
                </c:pt>
                <c:pt idx="44">
                  <c:v>100.6913</c:v>
                </c:pt>
                <c:pt idx="45">
                  <c:v>100.10977</c:v>
                </c:pt>
                <c:pt idx="46">
                  <c:v>100.08335</c:v>
                </c:pt>
                <c:pt idx="47">
                  <c:v>99.942374999999998</c:v>
                </c:pt>
                <c:pt idx="48">
                  <c:v>100.72653</c:v>
                </c:pt>
                <c:pt idx="49">
                  <c:v>100.585556</c:v>
                </c:pt>
                <c:pt idx="50">
                  <c:v>99.854259999999996</c:v>
                </c:pt>
                <c:pt idx="51">
                  <c:v>99.246300000000005</c:v>
                </c:pt>
                <c:pt idx="52">
                  <c:v>99.810196000000005</c:v>
                </c:pt>
                <c:pt idx="53">
                  <c:v>98.929100000000005</c:v>
                </c:pt>
                <c:pt idx="54">
                  <c:v>98.937910000000002</c:v>
                </c:pt>
                <c:pt idx="55">
                  <c:v>98.497370000000004</c:v>
                </c:pt>
                <c:pt idx="56">
                  <c:v>99.528260000000003</c:v>
                </c:pt>
                <c:pt idx="57">
                  <c:v>99.757323999999997</c:v>
                </c:pt>
                <c:pt idx="58">
                  <c:v>99.757323999999997</c:v>
                </c:pt>
                <c:pt idx="59">
                  <c:v>99.316779999999994</c:v>
                </c:pt>
                <c:pt idx="60">
                  <c:v>99.422516000000002</c:v>
                </c:pt>
                <c:pt idx="61">
                  <c:v>99.598724000000004</c:v>
                </c:pt>
                <c:pt idx="62">
                  <c:v>99.484189999999998</c:v>
                </c:pt>
                <c:pt idx="63">
                  <c:v>100.39172000000001</c:v>
                </c:pt>
                <c:pt idx="64">
                  <c:v>100.25955999999999</c:v>
                </c:pt>
                <c:pt idx="65">
                  <c:v>100.21549</c:v>
                </c:pt>
                <c:pt idx="66">
                  <c:v>100.47101000000001</c:v>
                </c:pt>
                <c:pt idx="67">
                  <c:v>100.17144</c:v>
                </c:pt>
                <c:pt idx="68">
                  <c:v>101.06135</c:v>
                </c:pt>
                <c:pt idx="69">
                  <c:v>101.36973</c:v>
                </c:pt>
                <c:pt idx="70">
                  <c:v>102.25964</c:v>
                </c:pt>
                <c:pt idx="71">
                  <c:v>103.554855</c:v>
                </c:pt>
                <c:pt idx="72">
                  <c:v>103.889656</c:v>
                </c:pt>
                <c:pt idx="73">
                  <c:v>103.97777600000001</c:v>
                </c:pt>
                <c:pt idx="74">
                  <c:v>103.68057</c:v>
                </c:pt>
                <c:pt idx="75">
                  <c:v>103.99995</c:v>
                </c:pt>
                <c:pt idx="76">
                  <c:v>104.3903</c:v>
                </c:pt>
                <c:pt idx="77">
                  <c:v>104.57658000000001</c:v>
                </c:pt>
                <c:pt idx="78">
                  <c:v>104.41691</c:v>
                </c:pt>
                <c:pt idx="79">
                  <c:v>103.840256</c:v>
                </c:pt>
                <c:pt idx="80">
                  <c:v>102.81119</c:v>
                </c:pt>
                <c:pt idx="81">
                  <c:v>102.85554999999999</c:v>
                </c:pt>
                <c:pt idx="82">
                  <c:v>103.11282</c:v>
                </c:pt>
                <c:pt idx="83">
                  <c:v>103.19264</c:v>
                </c:pt>
                <c:pt idx="84">
                  <c:v>104.124146</c:v>
                </c:pt>
                <c:pt idx="85">
                  <c:v>103.98219</c:v>
                </c:pt>
                <c:pt idx="86">
                  <c:v>103.6717</c:v>
                </c:pt>
                <c:pt idx="87">
                  <c:v>104.05318</c:v>
                </c:pt>
                <c:pt idx="88">
                  <c:v>104.638695</c:v>
                </c:pt>
                <c:pt idx="89">
                  <c:v>104.16849000000001</c:v>
                </c:pt>
                <c:pt idx="90">
                  <c:v>103.04183999999999</c:v>
                </c:pt>
                <c:pt idx="91">
                  <c:v>103.760414</c:v>
                </c:pt>
                <c:pt idx="92">
                  <c:v>103.90236</c:v>
                </c:pt>
                <c:pt idx="93">
                  <c:v>102.85554999999999</c:v>
                </c:pt>
                <c:pt idx="94">
                  <c:v>103.24585</c:v>
                </c:pt>
                <c:pt idx="95">
                  <c:v>102.18129999999999</c:v>
                </c:pt>
                <c:pt idx="96">
                  <c:v>102.45631</c:v>
                </c:pt>
                <c:pt idx="97">
                  <c:v>102.41194</c:v>
                </c:pt>
                <c:pt idx="98">
                  <c:v>102.28776000000001</c:v>
                </c:pt>
                <c:pt idx="99">
                  <c:v>102.13694</c:v>
                </c:pt>
                <c:pt idx="100">
                  <c:v>102.474075</c:v>
                </c:pt>
                <c:pt idx="101">
                  <c:v>101.37399000000001</c:v>
                </c:pt>
                <c:pt idx="102">
                  <c:v>100.9038</c:v>
                </c:pt>
                <c:pt idx="103">
                  <c:v>101.81756</c:v>
                </c:pt>
                <c:pt idx="104">
                  <c:v>101.152214</c:v>
                </c:pt>
                <c:pt idx="105">
                  <c:v>101.95950999999999</c:v>
                </c:pt>
                <c:pt idx="106">
                  <c:v>101.95950999999999</c:v>
                </c:pt>
                <c:pt idx="107">
                  <c:v>102.030495</c:v>
                </c:pt>
                <c:pt idx="108">
                  <c:v>102.323235</c:v>
                </c:pt>
                <c:pt idx="109">
                  <c:v>102.474075</c:v>
                </c:pt>
                <c:pt idx="110">
                  <c:v>103.46766</c:v>
                </c:pt>
                <c:pt idx="111">
                  <c:v>103.02409</c:v>
                </c:pt>
                <c:pt idx="112">
                  <c:v>103.30797</c:v>
                </c:pt>
                <c:pt idx="113">
                  <c:v>103.96447000000001</c:v>
                </c:pt>
                <c:pt idx="114">
                  <c:v>104.097534</c:v>
                </c:pt>
                <c:pt idx="115">
                  <c:v>103.44992000000001</c:v>
                </c:pt>
                <c:pt idx="116">
                  <c:v>103.44992000000001</c:v>
                </c:pt>
                <c:pt idx="117">
                  <c:v>102.83778</c:v>
                </c:pt>
                <c:pt idx="118">
                  <c:v>102.562775</c:v>
                </c:pt>
                <c:pt idx="119">
                  <c:v>103.17491</c:v>
                </c:pt>
                <c:pt idx="120">
                  <c:v>103.237015</c:v>
                </c:pt>
                <c:pt idx="121">
                  <c:v>103.760414</c:v>
                </c:pt>
                <c:pt idx="122">
                  <c:v>103.538635</c:v>
                </c:pt>
                <c:pt idx="123">
                  <c:v>103.46766</c:v>
                </c:pt>
                <c:pt idx="124">
                  <c:v>103.24585</c:v>
                </c:pt>
                <c:pt idx="125">
                  <c:v>103.36121</c:v>
                </c:pt>
                <c:pt idx="126">
                  <c:v>104.54111</c:v>
                </c:pt>
                <c:pt idx="127">
                  <c:v>105.54358999999999</c:v>
                </c:pt>
                <c:pt idx="128">
                  <c:v>105.65891999999999</c:v>
                </c:pt>
                <c:pt idx="129">
                  <c:v>105.02903000000001</c:v>
                </c:pt>
                <c:pt idx="130">
                  <c:v>104.32818</c:v>
                </c:pt>
                <c:pt idx="131">
                  <c:v>104.913704</c:v>
                </c:pt>
                <c:pt idx="132">
                  <c:v>104.6121</c:v>
                </c:pt>
                <c:pt idx="133">
                  <c:v>104.05318</c:v>
                </c:pt>
                <c:pt idx="134">
                  <c:v>103.10393999999999</c:v>
                </c:pt>
                <c:pt idx="135">
                  <c:v>102.775696</c:v>
                </c:pt>
                <c:pt idx="136">
                  <c:v>102.50069000000001</c:v>
                </c:pt>
                <c:pt idx="137">
                  <c:v>102.76681499999999</c:v>
                </c:pt>
                <c:pt idx="138">
                  <c:v>102.869545</c:v>
                </c:pt>
                <c:pt idx="139">
                  <c:v>103.38769499999999</c:v>
                </c:pt>
                <c:pt idx="140">
                  <c:v>103.48596999999999</c:v>
                </c:pt>
                <c:pt idx="141">
                  <c:v>103.51275</c:v>
                </c:pt>
                <c:pt idx="142">
                  <c:v>103.94157</c:v>
                </c:pt>
                <c:pt idx="143">
                  <c:v>104.51331</c:v>
                </c:pt>
                <c:pt idx="144">
                  <c:v>102.77128999999999</c:v>
                </c:pt>
                <c:pt idx="145">
                  <c:v>103.35196000000001</c:v>
                </c:pt>
                <c:pt idx="146">
                  <c:v>102.73555</c:v>
                </c:pt>
                <c:pt idx="147">
                  <c:v>102.24419399999999</c:v>
                </c:pt>
                <c:pt idx="148">
                  <c:v>102.01194</c:v>
                </c:pt>
                <c:pt idx="149">
                  <c:v>102.60156000000001</c:v>
                </c:pt>
                <c:pt idx="150">
                  <c:v>102.72662</c:v>
                </c:pt>
                <c:pt idx="151">
                  <c:v>102.279945</c:v>
                </c:pt>
                <c:pt idx="152">
                  <c:v>101.46699</c:v>
                </c:pt>
                <c:pt idx="153">
                  <c:v>100.77016999999999</c:v>
                </c:pt>
                <c:pt idx="154">
                  <c:v>99.921486000000002</c:v>
                </c:pt>
                <c:pt idx="155">
                  <c:v>100.00189</c:v>
                </c:pt>
                <c:pt idx="156">
                  <c:v>99.885750000000002</c:v>
                </c:pt>
                <c:pt idx="157">
                  <c:v>99.251464999999996</c:v>
                </c:pt>
                <c:pt idx="158">
                  <c:v>99.733890000000002</c:v>
                </c:pt>
                <c:pt idx="159">
                  <c:v>99.546270000000007</c:v>
                </c:pt>
                <c:pt idx="160">
                  <c:v>97.482619999999997</c:v>
                </c:pt>
                <c:pt idx="161">
                  <c:v>97.491553999999994</c:v>
                </c:pt>
                <c:pt idx="162">
                  <c:v>97.679169999999999</c:v>
                </c:pt>
                <c:pt idx="163">
                  <c:v>98.670783999999998</c:v>
                </c:pt>
                <c:pt idx="164">
                  <c:v>98.626130000000003</c:v>
                </c:pt>
                <c:pt idx="165">
                  <c:v>98.277720000000002</c:v>
                </c:pt>
                <c:pt idx="166">
                  <c:v>98.965599999999995</c:v>
                </c:pt>
                <c:pt idx="167">
                  <c:v>99.617750000000001</c:v>
                </c:pt>
                <c:pt idx="168">
                  <c:v>100.457504</c:v>
                </c:pt>
                <c:pt idx="169">
                  <c:v>100.60936</c:v>
                </c:pt>
                <c:pt idx="170">
                  <c:v>101.45805</c:v>
                </c:pt>
                <c:pt idx="171">
                  <c:v>100.22524</c:v>
                </c:pt>
                <c:pt idx="172">
                  <c:v>100.01082</c:v>
                </c:pt>
                <c:pt idx="173">
                  <c:v>100.654045</c:v>
                </c:pt>
                <c:pt idx="174">
                  <c:v>99.707085000000006</c:v>
                </c:pt>
                <c:pt idx="175">
                  <c:v>99.778559999999999</c:v>
                </c:pt>
                <c:pt idx="176">
                  <c:v>98.938820000000007</c:v>
                </c:pt>
                <c:pt idx="177">
                  <c:v>98.331329999999994</c:v>
                </c:pt>
                <c:pt idx="178">
                  <c:v>98.920929999999998</c:v>
                </c:pt>
                <c:pt idx="179">
                  <c:v>98.804789999999997</c:v>
                </c:pt>
                <c:pt idx="180">
                  <c:v>97.956115999999994</c:v>
                </c:pt>
                <c:pt idx="181">
                  <c:v>98.474249999999998</c:v>
                </c:pt>
                <c:pt idx="182">
                  <c:v>98.384919999999994</c:v>
                </c:pt>
                <c:pt idx="183">
                  <c:v>98.313445999999999</c:v>
                </c:pt>
                <c:pt idx="184">
                  <c:v>98.465320000000006</c:v>
                </c:pt>
                <c:pt idx="185">
                  <c:v>97.607709999999997</c:v>
                </c:pt>
                <c:pt idx="186">
                  <c:v>98.688670000000002</c:v>
                </c:pt>
                <c:pt idx="187">
                  <c:v>100.05549999999999</c:v>
                </c:pt>
                <c:pt idx="188">
                  <c:v>99.590940000000003</c:v>
                </c:pt>
                <c:pt idx="189">
                  <c:v>100.72552</c:v>
                </c:pt>
                <c:pt idx="190">
                  <c:v>101.87793000000001</c:v>
                </c:pt>
                <c:pt idx="191">
                  <c:v>103.4145</c:v>
                </c:pt>
                <c:pt idx="192">
                  <c:v>102.82487999999999</c:v>
                </c:pt>
                <c:pt idx="193">
                  <c:v>102.941025</c:v>
                </c:pt>
                <c:pt idx="194">
                  <c:v>102.44965999999999</c:v>
                </c:pt>
                <c:pt idx="195">
                  <c:v>102.65516</c:v>
                </c:pt>
                <c:pt idx="196">
                  <c:v>103.67358</c:v>
                </c:pt>
                <c:pt idx="197">
                  <c:v>102.807014</c:v>
                </c:pt>
                <c:pt idx="198">
                  <c:v>103.53955999999999</c:v>
                </c:pt>
                <c:pt idx="199">
                  <c:v>103.49491</c:v>
                </c:pt>
                <c:pt idx="200">
                  <c:v>104.316765</c:v>
                </c:pt>
                <c:pt idx="201">
                  <c:v>104.3793</c:v>
                </c:pt>
                <c:pt idx="202">
                  <c:v>104.81559</c:v>
                </c:pt>
                <c:pt idx="203">
                  <c:v>105.04947</c:v>
                </c:pt>
                <c:pt idx="204">
                  <c:v>105.66117</c:v>
                </c:pt>
                <c:pt idx="205">
                  <c:v>105.778114</c:v>
                </c:pt>
                <c:pt idx="206">
                  <c:v>106.95653</c:v>
                </c:pt>
                <c:pt idx="207">
                  <c:v>105.00451</c:v>
                </c:pt>
                <c:pt idx="208">
                  <c:v>104.86057</c:v>
                </c:pt>
                <c:pt idx="209">
                  <c:v>105.59820999999999</c:v>
                </c:pt>
                <c:pt idx="210">
                  <c:v>105.60720000000001</c:v>
                </c:pt>
                <c:pt idx="211">
                  <c:v>105.96701</c:v>
                </c:pt>
                <c:pt idx="212">
                  <c:v>106.16492</c:v>
                </c:pt>
                <c:pt idx="213">
                  <c:v>107.2444</c:v>
                </c:pt>
                <c:pt idx="214">
                  <c:v>106.191925</c:v>
                </c:pt>
                <c:pt idx="215">
                  <c:v>106.695656</c:v>
                </c:pt>
                <c:pt idx="216">
                  <c:v>107.06447</c:v>
                </c:pt>
                <c:pt idx="217">
                  <c:v>106.38082</c:v>
                </c:pt>
                <c:pt idx="218">
                  <c:v>106.68666</c:v>
                </c:pt>
                <c:pt idx="219">
                  <c:v>106.94753</c:v>
                </c:pt>
                <c:pt idx="220">
                  <c:v>107.31636</c:v>
                </c:pt>
                <c:pt idx="221">
                  <c:v>107.36133</c:v>
                </c:pt>
                <c:pt idx="222">
                  <c:v>107.874054</c:v>
                </c:pt>
                <c:pt idx="223">
                  <c:v>107.874054</c:v>
                </c:pt>
                <c:pt idx="224">
                  <c:v>106.20090999999999</c:v>
                </c:pt>
                <c:pt idx="225">
                  <c:v>106.20090999999999</c:v>
                </c:pt>
                <c:pt idx="226">
                  <c:v>105.92203499999999</c:v>
                </c:pt>
                <c:pt idx="227">
                  <c:v>106.44378</c:v>
                </c:pt>
                <c:pt idx="228">
                  <c:v>106.74962600000001</c:v>
                </c:pt>
                <c:pt idx="229">
                  <c:v>106.13793</c:v>
                </c:pt>
                <c:pt idx="230">
                  <c:v>106.218895</c:v>
                </c:pt>
                <c:pt idx="231">
                  <c:v>105.67916</c:v>
                </c:pt>
                <c:pt idx="232">
                  <c:v>105.13943</c:v>
                </c:pt>
                <c:pt idx="233">
                  <c:v>105.58922</c:v>
                </c:pt>
                <c:pt idx="234">
                  <c:v>106.02099</c:v>
                </c:pt>
                <c:pt idx="235">
                  <c:v>107.20841</c:v>
                </c:pt>
                <c:pt idx="236">
                  <c:v>107.09147</c:v>
                </c:pt>
                <c:pt idx="237">
                  <c:v>108.09896000000001</c:v>
                </c:pt>
                <c:pt idx="238">
                  <c:v>109.30435</c:v>
                </c:pt>
                <c:pt idx="239">
                  <c:v>109.11545599999999</c:v>
                </c:pt>
                <c:pt idx="240">
                  <c:v>108.97153</c:v>
                </c:pt>
                <c:pt idx="241">
                  <c:v>108.75563</c:v>
                </c:pt>
                <c:pt idx="242">
                  <c:v>109.52924</c:v>
                </c:pt>
                <c:pt idx="243">
                  <c:v>107.649185</c:v>
                </c:pt>
                <c:pt idx="244">
                  <c:v>107.847084</c:v>
                </c:pt>
                <c:pt idx="245">
                  <c:v>108.21590399999999</c:v>
                </c:pt>
                <c:pt idx="246">
                  <c:v>108.21590399999999</c:v>
                </c:pt>
                <c:pt idx="247">
                  <c:v>106.74962600000001</c:v>
                </c:pt>
                <c:pt idx="248">
                  <c:v>102.96253</c:v>
                </c:pt>
                <c:pt idx="249">
                  <c:v>102.15293</c:v>
                </c:pt>
                <c:pt idx="250">
                  <c:v>102.09895</c:v>
                </c:pt>
                <c:pt idx="251">
                  <c:v>99.085459999999998</c:v>
                </c:pt>
                <c:pt idx="252">
                  <c:v>100.01201</c:v>
                </c:pt>
                <c:pt idx="253">
                  <c:v>100.68667000000001</c:v>
                </c:pt>
                <c:pt idx="254">
                  <c:v>100.87558</c:v>
                </c:pt>
                <c:pt idx="255">
                  <c:v>98.149940000000001</c:v>
                </c:pt>
                <c:pt idx="256">
                  <c:v>99.823104999999998</c:v>
                </c:pt>
                <c:pt idx="257">
                  <c:v>99.904049999999998</c:v>
                </c:pt>
                <c:pt idx="258">
                  <c:v>98.482765000000001</c:v>
                </c:pt>
                <c:pt idx="259">
                  <c:v>97.151420000000002</c:v>
                </c:pt>
                <c:pt idx="260">
                  <c:v>98.284874000000002</c:v>
                </c:pt>
                <c:pt idx="261">
                  <c:v>98.662670000000006</c:v>
                </c:pt>
                <c:pt idx="262">
                  <c:v>99.796104</c:v>
                </c:pt>
                <c:pt idx="263">
                  <c:v>99.751140000000007</c:v>
                </c:pt>
                <c:pt idx="264">
                  <c:v>98.707663999999994</c:v>
                </c:pt>
                <c:pt idx="265">
                  <c:v>97.978160000000003</c:v>
                </c:pt>
                <c:pt idx="266">
                  <c:v>98.811859999999996</c:v>
                </c:pt>
                <c:pt idx="267">
                  <c:v>99.165300000000002</c:v>
                </c:pt>
                <c:pt idx="268">
                  <c:v>99.301215999999997</c:v>
                </c:pt>
                <c:pt idx="269">
                  <c:v>99.536829999999995</c:v>
                </c:pt>
                <c:pt idx="270">
                  <c:v>101.56671</c:v>
                </c:pt>
                <c:pt idx="271">
                  <c:v>101.98356</c:v>
                </c:pt>
                <c:pt idx="272">
                  <c:v>102.17385</c:v>
                </c:pt>
                <c:pt idx="273">
                  <c:v>102.94412</c:v>
                </c:pt>
                <c:pt idx="274">
                  <c:v>102.047</c:v>
                </c:pt>
                <c:pt idx="275">
                  <c:v>101.485146</c:v>
                </c:pt>
                <c:pt idx="276">
                  <c:v>101.16799</c:v>
                </c:pt>
                <c:pt idx="277">
                  <c:v>100.00805</c:v>
                </c:pt>
                <c:pt idx="278">
                  <c:v>99.591189999999997</c:v>
                </c:pt>
                <c:pt idx="279">
                  <c:v>98.540009999999995</c:v>
                </c:pt>
                <c:pt idx="280">
                  <c:v>97.815055999999998</c:v>
                </c:pt>
                <c:pt idx="281">
                  <c:v>96.192954999999998</c:v>
                </c:pt>
                <c:pt idx="282">
                  <c:v>96.791039999999995</c:v>
                </c:pt>
                <c:pt idx="283">
                  <c:v>97.543189999999996</c:v>
                </c:pt>
                <c:pt idx="284">
                  <c:v>98.938739999999996</c:v>
                </c:pt>
                <c:pt idx="285">
                  <c:v>98.911545000000004</c:v>
                </c:pt>
                <c:pt idx="286">
                  <c:v>97.008529999999993</c:v>
                </c:pt>
                <c:pt idx="287">
                  <c:v>98.041600000000003</c:v>
                </c:pt>
                <c:pt idx="288">
                  <c:v>99.844939999999994</c:v>
                </c:pt>
                <c:pt idx="289">
                  <c:v>100.19835999999999</c:v>
                </c:pt>
                <c:pt idx="290">
                  <c:v>99.047489999999996</c:v>
                </c:pt>
                <c:pt idx="291">
                  <c:v>99.119969999999995</c:v>
                </c:pt>
                <c:pt idx="292">
                  <c:v>99.138099999999994</c:v>
                </c:pt>
                <c:pt idx="293">
                  <c:v>98.485634000000005</c:v>
                </c:pt>
                <c:pt idx="294">
                  <c:v>98.150319999999994</c:v>
                </c:pt>
                <c:pt idx="295">
                  <c:v>99.011229999999998</c:v>
                </c:pt>
                <c:pt idx="296">
                  <c:v>99.60933</c:v>
                </c:pt>
                <c:pt idx="297">
                  <c:v>98.657820000000001</c:v>
                </c:pt>
                <c:pt idx="298">
                  <c:v>96.94511</c:v>
                </c:pt>
                <c:pt idx="299">
                  <c:v>95.667366000000001</c:v>
                </c:pt>
                <c:pt idx="300">
                  <c:v>92.86721</c:v>
                </c:pt>
                <c:pt idx="301">
                  <c:v>92.957830000000001</c:v>
                </c:pt>
                <c:pt idx="302">
                  <c:v>91.924760000000006</c:v>
                </c:pt>
                <c:pt idx="303">
                  <c:v>91.661969999999997</c:v>
                </c:pt>
                <c:pt idx="304">
                  <c:v>93.574036000000007</c:v>
                </c:pt>
                <c:pt idx="305">
                  <c:v>92.169426000000001</c:v>
                </c:pt>
                <c:pt idx="306">
                  <c:v>91.471664000000004</c:v>
                </c:pt>
                <c:pt idx="307">
                  <c:v>89.831440000000001</c:v>
                </c:pt>
                <c:pt idx="308">
                  <c:v>88.109669999999994</c:v>
                </c:pt>
                <c:pt idx="309">
                  <c:v>88.444940000000003</c:v>
                </c:pt>
                <c:pt idx="310">
                  <c:v>89.704570000000004</c:v>
                </c:pt>
                <c:pt idx="311">
                  <c:v>89.015854000000004</c:v>
                </c:pt>
                <c:pt idx="312">
                  <c:v>87.710939999999994</c:v>
                </c:pt>
                <c:pt idx="313">
                  <c:v>87.140029999999996</c:v>
                </c:pt>
                <c:pt idx="314">
                  <c:v>88.145899999999997</c:v>
                </c:pt>
                <c:pt idx="315">
                  <c:v>88.29092</c:v>
                </c:pt>
                <c:pt idx="316">
                  <c:v>88.037170000000003</c:v>
                </c:pt>
                <c:pt idx="317">
                  <c:v>87.719989999999996</c:v>
                </c:pt>
                <c:pt idx="318">
                  <c:v>88.073419999999999</c:v>
                </c:pt>
                <c:pt idx="319">
                  <c:v>88.734949999999998</c:v>
                </c:pt>
                <c:pt idx="320">
                  <c:v>88.363399999999999</c:v>
                </c:pt>
                <c:pt idx="321">
                  <c:v>90.175803999999999</c:v>
                </c:pt>
                <c:pt idx="322">
                  <c:v>90.556404000000001</c:v>
                </c:pt>
                <c:pt idx="323">
                  <c:v>91.027619999999999</c:v>
                </c:pt>
                <c:pt idx="324">
                  <c:v>90.782960000000003</c:v>
                </c:pt>
                <c:pt idx="325">
                  <c:v>90.900760000000005</c:v>
                </c:pt>
                <c:pt idx="326">
                  <c:v>91.616646000000003</c:v>
                </c:pt>
                <c:pt idx="327">
                  <c:v>92.278175000000005</c:v>
                </c:pt>
                <c:pt idx="328">
                  <c:v>91.681889999999996</c:v>
                </c:pt>
                <c:pt idx="329">
                  <c:v>91.681889999999996</c:v>
                </c:pt>
                <c:pt idx="330">
                  <c:v>91.563000000000002</c:v>
                </c:pt>
                <c:pt idx="331">
                  <c:v>91.645340000000004</c:v>
                </c:pt>
                <c:pt idx="332">
                  <c:v>92.212339999999998</c:v>
                </c:pt>
                <c:pt idx="333">
                  <c:v>92.514139999999998</c:v>
                </c:pt>
                <c:pt idx="334">
                  <c:v>93.730450000000005</c:v>
                </c:pt>
                <c:pt idx="335">
                  <c:v>94.388915999999995</c:v>
                </c:pt>
                <c:pt idx="336">
                  <c:v>95.550380000000004</c:v>
                </c:pt>
                <c:pt idx="337">
                  <c:v>96.272859999999994</c:v>
                </c:pt>
                <c:pt idx="338">
                  <c:v>96.144829999999999</c:v>
                </c:pt>
                <c:pt idx="339">
                  <c:v>98.412864999999996</c:v>
                </c:pt>
                <c:pt idx="340">
                  <c:v>96.373450000000005</c:v>
                </c:pt>
                <c:pt idx="341">
                  <c:v>96.903885000000002</c:v>
                </c:pt>
                <c:pt idx="342">
                  <c:v>96.7667</c:v>
                </c:pt>
                <c:pt idx="343">
                  <c:v>98.074485999999993</c:v>
                </c:pt>
                <c:pt idx="344">
                  <c:v>99.107910000000004</c:v>
                </c:pt>
                <c:pt idx="345">
                  <c:v>99.674930000000003</c:v>
                </c:pt>
                <c:pt idx="346">
                  <c:v>98.815253999999996</c:v>
                </c:pt>
                <c:pt idx="347">
                  <c:v>99.016450000000006</c:v>
                </c:pt>
                <c:pt idx="348">
                  <c:v>99.391425999999996</c:v>
                </c:pt>
                <c:pt idx="349">
                  <c:v>99.565179999999998</c:v>
                </c:pt>
                <c:pt idx="350">
                  <c:v>100.16876000000001</c:v>
                </c:pt>
                <c:pt idx="351">
                  <c:v>99.501159999999999</c:v>
                </c:pt>
                <c:pt idx="352">
                  <c:v>100.18707000000001</c:v>
                </c:pt>
                <c:pt idx="353">
                  <c:v>100.19619</c:v>
                </c:pt>
                <c:pt idx="354">
                  <c:v>98.550060000000002</c:v>
                </c:pt>
                <c:pt idx="355">
                  <c:v>103.24159</c:v>
                </c:pt>
                <c:pt idx="356">
                  <c:v>102.92151</c:v>
                </c:pt>
                <c:pt idx="357">
                  <c:v>101.99784</c:v>
                </c:pt>
                <c:pt idx="358">
                  <c:v>103.058685</c:v>
                </c:pt>
                <c:pt idx="359">
                  <c:v>103.305626</c:v>
                </c:pt>
                <c:pt idx="360">
                  <c:v>105.0615</c:v>
                </c:pt>
                <c:pt idx="361">
                  <c:v>105.01578000000001</c:v>
                </c:pt>
                <c:pt idx="362">
                  <c:v>105.875435</c:v>
                </c:pt>
                <c:pt idx="363">
                  <c:v>106.09492</c:v>
                </c:pt>
                <c:pt idx="364">
                  <c:v>104.61339</c:v>
                </c:pt>
                <c:pt idx="365">
                  <c:v>104.93348</c:v>
                </c:pt>
                <c:pt idx="366">
                  <c:v>105.363304</c:v>
                </c:pt>
                <c:pt idx="367">
                  <c:v>105.17127000000001</c:v>
                </c:pt>
                <c:pt idx="368">
                  <c:v>104.5128</c:v>
                </c:pt>
                <c:pt idx="369">
                  <c:v>104.42135</c:v>
                </c:pt>
                <c:pt idx="370">
                  <c:v>105.17127000000001</c:v>
                </c:pt>
                <c:pt idx="371">
                  <c:v>103.90006</c:v>
                </c:pt>
                <c:pt idx="372">
                  <c:v>104.88775</c:v>
                </c:pt>
                <c:pt idx="373">
                  <c:v>106.36015999999999</c:v>
                </c:pt>
                <c:pt idx="374">
                  <c:v>107.34784999999999</c:v>
                </c:pt>
                <c:pt idx="375">
                  <c:v>104.45792</c:v>
                </c:pt>
                <c:pt idx="376">
                  <c:v>103.79031999999999</c:v>
                </c:pt>
                <c:pt idx="377">
                  <c:v>103.98237</c:v>
                </c:pt>
                <c:pt idx="378">
                  <c:v>103.223305</c:v>
                </c:pt>
                <c:pt idx="379">
                  <c:v>103.36048</c:v>
                </c:pt>
                <c:pt idx="380">
                  <c:v>103.433655</c:v>
                </c:pt>
                <c:pt idx="381">
                  <c:v>103.75373999999999</c:v>
                </c:pt>
                <c:pt idx="382">
                  <c:v>104.48536</c:v>
                </c:pt>
                <c:pt idx="383">
                  <c:v>105.134674</c:v>
                </c:pt>
                <c:pt idx="384">
                  <c:v>105.02493</c:v>
                </c:pt>
                <c:pt idx="385">
                  <c:v>104.00064999999999</c:v>
                </c:pt>
                <c:pt idx="386">
                  <c:v>102.64713999999999</c:v>
                </c:pt>
                <c:pt idx="387">
                  <c:v>102.36364</c:v>
                </c:pt>
                <c:pt idx="388">
                  <c:v>102.564835</c:v>
                </c:pt>
                <c:pt idx="389">
                  <c:v>102.80262</c:v>
                </c:pt>
                <c:pt idx="390">
                  <c:v>101.6686</c:v>
                </c:pt>
                <c:pt idx="391">
                  <c:v>102.47338999999999</c:v>
                </c:pt>
                <c:pt idx="392">
                  <c:v>102.391075</c:v>
                </c:pt>
                <c:pt idx="393">
                  <c:v>102.436806</c:v>
                </c:pt>
                <c:pt idx="394">
                  <c:v>101.51313</c:v>
                </c:pt>
                <c:pt idx="395">
                  <c:v>103.45193999999999</c:v>
                </c:pt>
                <c:pt idx="396">
                  <c:v>104.65806000000001</c:v>
                </c:pt>
                <c:pt idx="397">
                  <c:v>103.95725</c:v>
                </c:pt>
                <c:pt idx="398">
                  <c:v>104.72259</c:v>
                </c:pt>
                <c:pt idx="399">
                  <c:v>104.50129</c:v>
                </c:pt>
                <c:pt idx="400">
                  <c:v>104.98078</c:v>
                </c:pt>
                <c:pt idx="401">
                  <c:v>106.03197</c:v>
                </c:pt>
                <c:pt idx="402">
                  <c:v>105.64467</c:v>
                </c:pt>
                <c:pt idx="403">
                  <c:v>106.41003000000001</c:v>
                </c:pt>
                <c:pt idx="404">
                  <c:v>105.10064</c:v>
                </c:pt>
                <c:pt idx="405">
                  <c:v>104.907</c:v>
                </c:pt>
                <c:pt idx="406">
                  <c:v>106.24405</c:v>
                </c:pt>
                <c:pt idx="407">
                  <c:v>105.95820000000001</c:v>
                </c:pt>
                <c:pt idx="408">
                  <c:v>103.52386</c:v>
                </c:pt>
                <c:pt idx="409">
                  <c:v>103.247246</c:v>
                </c:pt>
                <c:pt idx="410">
                  <c:v>102.81384</c:v>
                </c:pt>
                <c:pt idx="411">
                  <c:v>102.3989</c:v>
                </c:pt>
                <c:pt idx="412">
                  <c:v>103.09048</c:v>
                </c:pt>
                <c:pt idx="413">
                  <c:v>102.08539</c:v>
                </c:pt>
                <c:pt idx="414">
                  <c:v>100.25042000000001</c:v>
                </c:pt>
                <c:pt idx="415">
                  <c:v>99.143900000000002</c:v>
                </c:pt>
                <c:pt idx="416">
                  <c:v>98.3048</c:v>
                </c:pt>
                <c:pt idx="417">
                  <c:v>98.194145000000006</c:v>
                </c:pt>
                <c:pt idx="418">
                  <c:v>99.761696000000001</c:v>
                </c:pt>
                <c:pt idx="419">
                  <c:v>99.697159999999997</c:v>
                </c:pt>
                <c:pt idx="420">
                  <c:v>98.977930000000001</c:v>
                </c:pt>
                <c:pt idx="421">
                  <c:v>96.875540000000001</c:v>
                </c:pt>
                <c:pt idx="422">
                  <c:v>97.078400000000002</c:v>
                </c:pt>
                <c:pt idx="423">
                  <c:v>97.401129999999995</c:v>
                </c:pt>
                <c:pt idx="424">
                  <c:v>99.024024999999995</c:v>
                </c:pt>
                <c:pt idx="425">
                  <c:v>99.872370000000004</c:v>
                </c:pt>
                <c:pt idx="426">
                  <c:v>99.521950000000004</c:v>
                </c:pt>
                <c:pt idx="427">
                  <c:v>101.69813000000001</c:v>
                </c:pt>
                <c:pt idx="428">
                  <c:v>100.87746</c:v>
                </c:pt>
                <c:pt idx="429">
                  <c:v>101.55057499999999</c:v>
                </c:pt>
                <c:pt idx="430">
                  <c:v>104.16011</c:v>
                </c:pt>
                <c:pt idx="431">
                  <c:v>104.05868</c:v>
                </c:pt>
                <c:pt idx="432">
                  <c:v>101.84564</c:v>
                </c:pt>
                <c:pt idx="433">
                  <c:v>104.09556000000001</c:v>
                </c:pt>
                <c:pt idx="434">
                  <c:v>104.907</c:v>
                </c:pt>
                <c:pt idx="435">
                  <c:v>103.62528</c:v>
                </c:pt>
                <c:pt idx="436">
                  <c:v>102.82307400000001</c:v>
                </c:pt>
                <c:pt idx="437">
                  <c:v>102.50957</c:v>
                </c:pt>
                <c:pt idx="438">
                  <c:v>105.47873</c:v>
                </c:pt>
                <c:pt idx="439">
                  <c:v>106.23483</c:v>
                </c:pt>
                <c:pt idx="440">
                  <c:v>106.60366999999999</c:v>
                </c:pt>
                <c:pt idx="441">
                  <c:v>107.01861</c:v>
                </c:pt>
                <c:pt idx="442">
                  <c:v>108.327995</c:v>
                </c:pt>
                <c:pt idx="443">
                  <c:v>107.85773</c:v>
                </c:pt>
                <c:pt idx="444">
                  <c:v>108.01447</c:v>
                </c:pt>
                <c:pt idx="445">
                  <c:v>107.562645</c:v>
                </c:pt>
                <c:pt idx="446">
                  <c:v>107.70096599999999</c:v>
                </c:pt>
                <c:pt idx="447">
                  <c:v>109.13023</c:v>
                </c:pt>
                <c:pt idx="448">
                  <c:v>109.7388</c:v>
                </c:pt>
                <c:pt idx="449">
                  <c:v>106.96328</c:v>
                </c:pt>
                <c:pt idx="450">
                  <c:v>106.29937</c:v>
                </c:pt>
                <c:pt idx="451">
                  <c:v>106.41924</c:v>
                </c:pt>
                <c:pt idx="452">
                  <c:v>106.83419000000001</c:v>
                </c:pt>
                <c:pt idx="453">
                  <c:v>107.36902000000001</c:v>
                </c:pt>
                <c:pt idx="454">
                  <c:v>109.26853</c:v>
                </c:pt>
                <c:pt idx="455">
                  <c:v>109.05645</c:v>
                </c:pt>
                <c:pt idx="456">
                  <c:v>112.440544</c:v>
                </c:pt>
                <c:pt idx="457">
                  <c:v>109.711136</c:v>
                </c:pt>
                <c:pt idx="458">
                  <c:v>108.62308</c:v>
                </c:pt>
                <c:pt idx="459">
                  <c:v>108.593315</c:v>
                </c:pt>
                <c:pt idx="460">
                  <c:v>107.64530000000001</c:v>
                </c:pt>
                <c:pt idx="461">
                  <c:v>107.9892</c:v>
                </c:pt>
                <c:pt idx="462">
                  <c:v>109.011566</c:v>
                </c:pt>
                <c:pt idx="463">
                  <c:v>108.742035</c:v>
                </c:pt>
                <c:pt idx="464">
                  <c:v>109.996735</c:v>
                </c:pt>
                <c:pt idx="465">
                  <c:v>105.90730000000001</c:v>
                </c:pt>
                <c:pt idx="466">
                  <c:v>104.90353399999999</c:v>
                </c:pt>
                <c:pt idx="467">
                  <c:v>103.94623</c:v>
                </c:pt>
                <c:pt idx="468">
                  <c:v>102.27328</c:v>
                </c:pt>
                <c:pt idx="469">
                  <c:v>102.43127</c:v>
                </c:pt>
                <c:pt idx="470">
                  <c:v>101.69703</c:v>
                </c:pt>
                <c:pt idx="471">
                  <c:v>98.546310000000005</c:v>
                </c:pt>
                <c:pt idx="472">
                  <c:v>100.68397</c:v>
                </c:pt>
                <c:pt idx="473">
                  <c:v>101.69703</c:v>
                </c:pt>
                <c:pt idx="474">
                  <c:v>102.57069</c:v>
                </c:pt>
                <c:pt idx="475">
                  <c:v>102.68222</c:v>
                </c:pt>
                <c:pt idx="476">
                  <c:v>102.68222</c:v>
                </c:pt>
                <c:pt idx="477">
                  <c:v>101.5669</c:v>
                </c:pt>
                <c:pt idx="478">
                  <c:v>101.5669</c:v>
                </c:pt>
                <c:pt idx="479">
                  <c:v>100.61892</c:v>
                </c:pt>
                <c:pt idx="480">
                  <c:v>102.68222</c:v>
                </c:pt>
                <c:pt idx="481">
                  <c:v>101.799255</c:v>
                </c:pt>
                <c:pt idx="482">
                  <c:v>102.775154</c:v>
                </c:pt>
                <c:pt idx="483">
                  <c:v>99.903244000000001</c:v>
                </c:pt>
                <c:pt idx="484">
                  <c:v>100.51667</c:v>
                </c:pt>
                <c:pt idx="485">
                  <c:v>100.52596</c:v>
                </c:pt>
                <c:pt idx="486">
                  <c:v>99.745260000000002</c:v>
                </c:pt>
                <c:pt idx="487">
                  <c:v>101.297386</c:v>
                </c:pt>
                <c:pt idx="488">
                  <c:v>100.69326</c:v>
                </c:pt>
                <c:pt idx="489">
                  <c:v>101.51115</c:v>
                </c:pt>
                <c:pt idx="490">
                  <c:v>102.30115499999999</c:v>
                </c:pt>
                <c:pt idx="491">
                  <c:v>102.152435</c:v>
                </c:pt>
                <c:pt idx="492">
                  <c:v>102.91457</c:v>
                </c:pt>
                <c:pt idx="493">
                  <c:v>101.77137999999999</c:v>
                </c:pt>
                <c:pt idx="494">
                  <c:v>101.63197</c:v>
                </c:pt>
                <c:pt idx="495">
                  <c:v>101.13937</c:v>
                </c:pt>
                <c:pt idx="496">
                  <c:v>101.30668</c:v>
                </c:pt>
                <c:pt idx="497">
                  <c:v>102.99822</c:v>
                </c:pt>
                <c:pt idx="498">
                  <c:v>104.71764</c:v>
                </c:pt>
                <c:pt idx="499">
                  <c:v>104.27154</c:v>
                </c:pt>
                <c:pt idx="500">
                  <c:v>105.10799400000001</c:v>
                </c:pt>
                <c:pt idx="501">
                  <c:v>104.93142</c:v>
                </c:pt>
                <c:pt idx="502">
                  <c:v>105.07082</c:v>
                </c:pt>
                <c:pt idx="503">
                  <c:v>105.10799400000001</c:v>
                </c:pt>
                <c:pt idx="504">
                  <c:v>105.04294</c:v>
                </c:pt>
                <c:pt idx="505">
                  <c:v>104.99648000000001</c:v>
                </c:pt>
                <c:pt idx="506">
                  <c:v>105.758606</c:v>
                </c:pt>
                <c:pt idx="507">
                  <c:v>106.065285</c:v>
                </c:pt>
                <c:pt idx="508">
                  <c:v>104.64328</c:v>
                </c:pt>
                <c:pt idx="509">
                  <c:v>107.72896</c:v>
                </c:pt>
                <c:pt idx="510">
                  <c:v>107.74755999999999</c:v>
                </c:pt>
                <c:pt idx="511">
                  <c:v>107.654625</c:v>
                </c:pt>
                <c:pt idx="512">
                  <c:v>107.90555000000001</c:v>
                </c:pt>
                <c:pt idx="513">
                  <c:v>108.518974</c:v>
                </c:pt>
                <c:pt idx="514">
                  <c:v>107.86837</c:v>
                </c:pt>
                <c:pt idx="515">
                  <c:v>107.78471999999999</c:v>
                </c:pt>
                <c:pt idx="516">
                  <c:v>107.22708</c:v>
                </c:pt>
                <c:pt idx="517">
                  <c:v>108.34955600000001</c:v>
                </c:pt>
                <c:pt idx="518">
                  <c:v>108.855515</c:v>
                </c:pt>
                <c:pt idx="519">
                  <c:v>108.84614000000001</c:v>
                </c:pt>
                <c:pt idx="520">
                  <c:v>108.71496</c:v>
                </c:pt>
                <c:pt idx="521">
                  <c:v>109.30524</c:v>
                </c:pt>
                <c:pt idx="522">
                  <c:v>108.78055000000001</c:v>
                </c:pt>
                <c:pt idx="523">
                  <c:v>107.9654</c:v>
                </c:pt>
                <c:pt idx="524">
                  <c:v>109.23965</c:v>
                </c:pt>
                <c:pt idx="525">
                  <c:v>109.22092000000001</c:v>
                </c:pt>
                <c:pt idx="526">
                  <c:v>109.23029</c:v>
                </c:pt>
                <c:pt idx="527">
                  <c:v>108.21838</c:v>
                </c:pt>
                <c:pt idx="528">
                  <c:v>108.368286</c:v>
                </c:pt>
                <c:pt idx="529">
                  <c:v>109.876785</c:v>
                </c:pt>
                <c:pt idx="530">
                  <c:v>110.64509</c:v>
                </c:pt>
                <c:pt idx="531">
                  <c:v>110.860596</c:v>
                </c:pt>
                <c:pt idx="532">
                  <c:v>111.90998</c:v>
                </c:pt>
                <c:pt idx="533">
                  <c:v>113.10928</c:v>
                </c:pt>
                <c:pt idx="534">
                  <c:v>113.231094</c:v>
                </c:pt>
                <c:pt idx="535">
                  <c:v>114.327324</c:v>
                </c:pt>
                <c:pt idx="536">
                  <c:v>114.20553</c:v>
                </c:pt>
                <c:pt idx="537">
                  <c:v>114.158676</c:v>
                </c:pt>
                <c:pt idx="538">
                  <c:v>114.82391</c:v>
                </c:pt>
                <c:pt idx="539">
                  <c:v>114.30858600000001</c:v>
                </c:pt>
                <c:pt idx="540">
                  <c:v>114.00876599999999</c:v>
                </c:pt>
                <c:pt idx="541">
                  <c:v>113.89632400000001</c:v>
                </c:pt>
                <c:pt idx="542">
                  <c:v>113.812004</c:v>
                </c:pt>
                <c:pt idx="543">
                  <c:v>113.95256000000001</c:v>
                </c:pt>
                <c:pt idx="544">
                  <c:v>114.30858600000001</c:v>
                </c:pt>
                <c:pt idx="545">
                  <c:v>114.467865</c:v>
                </c:pt>
                <c:pt idx="546">
                  <c:v>114.34605999999999</c:v>
                </c:pt>
                <c:pt idx="547">
                  <c:v>113.99939999999999</c:v>
                </c:pt>
                <c:pt idx="548">
                  <c:v>114.52408</c:v>
                </c:pt>
                <c:pt idx="549">
                  <c:v>115.863945</c:v>
                </c:pt>
                <c:pt idx="550">
                  <c:v>114.69276000000001</c:v>
                </c:pt>
                <c:pt idx="551">
                  <c:v>119.00274</c:v>
                </c:pt>
                <c:pt idx="552">
                  <c:v>119.07769</c:v>
                </c:pt>
                <c:pt idx="553">
                  <c:v>118.46868000000001</c:v>
                </c:pt>
                <c:pt idx="554">
                  <c:v>119.07769</c:v>
                </c:pt>
                <c:pt idx="555">
                  <c:v>118.91840000000001</c:v>
                </c:pt>
                <c:pt idx="556">
                  <c:v>118.17822</c:v>
                </c:pt>
                <c:pt idx="557">
                  <c:v>118.43119</c:v>
                </c:pt>
                <c:pt idx="558">
                  <c:v>118.70291</c:v>
                </c:pt>
                <c:pt idx="559">
                  <c:v>119.97716</c:v>
                </c:pt>
                <c:pt idx="560">
                  <c:v>119.21823999999999</c:v>
                </c:pt>
                <c:pt idx="561">
                  <c:v>118.83410000000001</c:v>
                </c:pt>
                <c:pt idx="562">
                  <c:v>119.62112399999999</c:v>
                </c:pt>
                <c:pt idx="563">
                  <c:v>119.24634</c:v>
                </c:pt>
                <c:pt idx="564">
                  <c:v>118.037674</c:v>
                </c:pt>
                <c:pt idx="565">
                  <c:v>118.07514</c:v>
                </c:pt>
                <c:pt idx="566">
                  <c:v>118.10326000000001</c:v>
                </c:pt>
                <c:pt idx="567">
                  <c:v>119.93968</c:v>
                </c:pt>
                <c:pt idx="568">
                  <c:v>119.14327</c:v>
                </c:pt>
                <c:pt idx="569">
                  <c:v>119.37752500000001</c:v>
                </c:pt>
                <c:pt idx="570">
                  <c:v>121.19521</c:v>
                </c:pt>
                <c:pt idx="571">
                  <c:v>122.05723999999999</c:v>
                </c:pt>
                <c:pt idx="572">
                  <c:v>122.28206</c:v>
                </c:pt>
                <c:pt idx="573">
                  <c:v>121.79487</c:v>
                </c:pt>
                <c:pt idx="574">
                  <c:v>120.91414</c:v>
                </c:pt>
                <c:pt idx="575">
                  <c:v>121.86982999999999</c:v>
                </c:pt>
                <c:pt idx="576">
                  <c:v>121.77612999999999</c:v>
                </c:pt>
                <c:pt idx="577">
                  <c:v>121.33575399999999</c:v>
                </c:pt>
                <c:pt idx="578">
                  <c:v>119.58365000000001</c:v>
                </c:pt>
                <c:pt idx="579">
                  <c:v>120.08960999999999</c:v>
                </c:pt>
                <c:pt idx="580">
                  <c:v>120.50187</c:v>
                </c:pt>
                <c:pt idx="581">
                  <c:v>119.93031999999999</c:v>
                </c:pt>
                <c:pt idx="582">
                  <c:v>120.84853</c:v>
                </c:pt>
                <c:pt idx="583">
                  <c:v>120.93288</c:v>
                </c:pt>
                <c:pt idx="584">
                  <c:v>123.1066</c:v>
                </c:pt>
                <c:pt idx="585">
                  <c:v>124.56482</c:v>
                </c:pt>
                <c:pt idx="586">
                  <c:v>125.971085</c:v>
                </c:pt>
                <c:pt idx="587">
                  <c:v>126.08432999999999</c:v>
                </c:pt>
                <c:pt idx="588">
                  <c:v>125.71626999999999</c:v>
                </c:pt>
                <c:pt idx="589">
                  <c:v>125.659615</c:v>
                </c:pt>
                <c:pt idx="590">
                  <c:v>125.47084</c:v>
                </c:pt>
                <c:pt idx="591">
                  <c:v>125.27266</c:v>
                </c:pt>
                <c:pt idx="592">
                  <c:v>125.07446</c:v>
                </c:pt>
                <c:pt idx="593">
                  <c:v>124.6403</c:v>
                </c:pt>
                <c:pt idx="594">
                  <c:v>125.38592</c:v>
                </c:pt>
                <c:pt idx="595">
                  <c:v>126.62233999999999</c:v>
                </c:pt>
                <c:pt idx="596">
                  <c:v>126.43356</c:v>
                </c:pt>
                <c:pt idx="597">
                  <c:v>126.60344000000001</c:v>
                </c:pt>
                <c:pt idx="598">
                  <c:v>126.291954</c:v>
                </c:pt>
                <c:pt idx="599">
                  <c:v>124.88572000000001</c:v>
                </c:pt>
                <c:pt idx="600">
                  <c:v>124.2911</c:v>
                </c:pt>
                <c:pt idx="601">
                  <c:v>123.76256600000001</c:v>
                </c:pt>
                <c:pt idx="602">
                  <c:v>124.460976</c:v>
                </c:pt>
                <c:pt idx="603">
                  <c:v>124.98950000000001</c:v>
                </c:pt>
                <c:pt idx="604">
                  <c:v>126.46186</c:v>
                </c:pt>
                <c:pt idx="605">
                  <c:v>125.54638</c:v>
                </c:pt>
                <c:pt idx="606">
                  <c:v>125.11221</c:v>
                </c:pt>
                <c:pt idx="607">
                  <c:v>124.33828</c:v>
                </c:pt>
                <c:pt idx="608">
                  <c:v>126.85826</c:v>
                </c:pt>
                <c:pt idx="609">
                  <c:v>126.801636</c:v>
                </c:pt>
                <c:pt idx="610">
                  <c:v>125.79174</c:v>
                </c:pt>
                <c:pt idx="611">
                  <c:v>126.61286</c:v>
                </c:pt>
                <c:pt idx="612">
                  <c:v>126.28255</c:v>
                </c:pt>
                <c:pt idx="613">
                  <c:v>125.31984</c:v>
                </c:pt>
                <c:pt idx="614">
                  <c:v>125.41422</c:v>
                </c:pt>
                <c:pt idx="615">
                  <c:v>122.78099</c:v>
                </c:pt>
                <c:pt idx="616">
                  <c:v>122.96032</c:v>
                </c:pt>
                <c:pt idx="617">
                  <c:v>123.39446</c:v>
                </c:pt>
                <c:pt idx="618">
                  <c:v>121.95043</c:v>
                </c:pt>
                <c:pt idx="619">
                  <c:v>121.7428</c:v>
                </c:pt>
                <c:pt idx="620">
                  <c:v>123.84751</c:v>
                </c:pt>
                <c:pt idx="621">
                  <c:v>124.14008</c:v>
                </c:pt>
                <c:pt idx="622">
                  <c:v>123.14906000000001</c:v>
                </c:pt>
                <c:pt idx="623">
                  <c:v>120.62909000000001</c:v>
                </c:pt>
                <c:pt idx="624">
                  <c:v>119.996735</c:v>
                </c:pt>
                <c:pt idx="625">
                  <c:v>120.7329</c:v>
                </c:pt>
                <c:pt idx="626">
                  <c:v>117.410675</c:v>
                </c:pt>
                <c:pt idx="627">
                  <c:v>119.3455</c:v>
                </c:pt>
                <c:pt idx="628">
                  <c:v>120.60075999999999</c:v>
                </c:pt>
                <c:pt idx="629">
                  <c:v>122.19582</c:v>
                </c:pt>
                <c:pt idx="630">
                  <c:v>121.3747</c:v>
                </c:pt>
                <c:pt idx="631">
                  <c:v>121.138756</c:v>
                </c:pt>
                <c:pt idx="632">
                  <c:v>122.62994999999999</c:v>
                </c:pt>
                <c:pt idx="633">
                  <c:v>121.865486</c:v>
                </c:pt>
                <c:pt idx="634">
                  <c:v>123.37560000000001</c:v>
                </c:pt>
                <c:pt idx="635">
                  <c:v>124.35715</c:v>
                </c:pt>
                <c:pt idx="636">
                  <c:v>125.12165</c:v>
                </c:pt>
                <c:pt idx="637">
                  <c:v>124.6403</c:v>
                </c:pt>
                <c:pt idx="638">
                  <c:v>124.90459</c:v>
                </c:pt>
                <c:pt idx="639">
                  <c:v>125.20661</c:v>
                </c:pt>
                <c:pt idx="640">
                  <c:v>122.95088</c:v>
                </c:pt>
                <c:pt idx="641">
                  <c:v>126.22592</c:v>
                </c:pt>
                <c:pt idx="642">
                  <c:v>127.18859999999999</c:v>
                </c:pt>
                <c:pt idx="643">
                  <c:v>127.59444999999999</c:v>
                </c:pt>
                <c:pt idx="644">
                  <c:v>128.37782000000001</c:v>
                </c:pt>
                <c:pt idx="645">
                  <c:v>129.04794000000001</c:v>
                </c:pt>
                <c:pt idx="646">
                  <c:v>129.73692</c:v>
                </c:pt>
                <c:pt idx="647">
                  <c:v>131.33194</c:v>
                </c:pt>
                <c:pt idx="648">
                  <c:v>129.22695999999999</c:v>
                </c:pt>
                <c:pt idx="649">
                  <c:v>130.54793000000001</c:v>
                </c:pt>
                <c:pt idx="650">
                  <c:v>129.62610000000001</c:v>
                </c:pt>
                <c:pt idx="651">
                  <c:v>129.11293000000001</c:v>
                </c:pt>
                <c:pt idx="652">
                  <c:v>129.58806999999999</c:v>
                </c:pt>
                <c:pt idx="653">
                  <c:v>130.47190000000001</c:v>
                </c:pt>
                <c:pt idx="654">
                  <c:v>129.66410999999999</c:v>
                </c:pt>
                <c:pt idx="655">
                  <c:v>128.1816</c:v>
                </c:pt>
                <c:pt idx="656">
                  <c:v>128.96089000000001</c:v>
                </c:pt>
                <c:pt idx="657">
                  <c:v>128.77082999999999</c:v>
                </c:pt>
                <c:pt idx="658">
                  <c:v>128.75179</c:v>
                </c:pt>
                <c:pt idx="659">
                  <c:v>128.02001999999999</c:v>
                </c:pt>
                <c:pt idx="660">
                  <c:v>128.71378000000001</c:v>
                </c:pt>
                <c:pt idx="661">
                  <c:v>128.63775999999999</c:v>
                </c:pt>
                <c:pt idx="662">
                  <c:v>128.38114999999999</c:v>
                </c:pt>
                <c:pt idx="663">
                  <c:v>128.97987000000001</c:v>
                </c:pt>
                <c:pt idx="664">
                  <c:v>128.86583999999999</c:v>
                </c:pt>
                <c:pt idx="665">
                  <c:v>130.29134999999999</c:v>
                </c:pt>
                <c:pt idx="666">
                  <c:v>130.54793000000001</c:v>
                </c:pt>
                <c:pt idx="667">
                  <c:v>127.288284</c:v>
                </c:pt>
                <c:pt idx="668">
                  <c:v>131.08011999999999</c:v>
                </c:pt>
                <c:pt idx="669">
                  <c:v>133.31342000000001</c:v>
                </c:pt>
                <c:pt idx="670">
                  <c:v>131.46976000000001</c:v>
                </c:pt>
                <c:pt idx="671">
                  <c:v>130.42438000000001</c:v>
                </c:pt>
                <c:pt idx="672">
                  <c:v>131.00409999999999</c:v>
                </c:pt>
                <c:pt idx="673">
                  <c:v>131.04212999999999</c:v>
                </c:pt>
                <c:pt idx="674">
                  <c:v>130.80449999999999</c:v>
                </c:pt>
                <c:pt idx="675">
                  <c:v>130.62395000000001</c:v>
                </c:pt>
                <c:pt idx="676">
                  <c:v>129.55957000000001</c:v>
                </c:pt>
                <c:pt idx="677">
                  <c:v>129.64510000000001</c:v>
                </c:pt>
                <c:pt idx="678">
                  <c:v>130.15827999999999</c:v>
                </c:pt>
                <c:pt idx="679">
                  <c:v>129.48355000000001</c:v>
                </c:pt>
                <c:pt idx="680">
                  <c:v>129.35999000000001</c:v>
                </c:pt>
                <c:pt idx="681">
                  <c:v>129.87317999999999</c:v>
                </c:pt>
                <c:pt idx="682">
                  <c:v>130.62395000000001</c:v>
                </c:pt>
                <c:pt idx="683">
                  <c:v>131.04212999999999</c:v>
                </c:pt>
                <c:pt idx="684">
                  <c:v>129.85418999999999</c:v>
                </c:pt>
                <c:pt idx="685">
                  <c:v>129.78764000000001</c:v>
                </c:pt>
                <c:pt idx="686">
                  <c:v>129.32198</c:v>
                </c:pt>
                <c:pt idx="687">
                  <c:v>130.10126</c:v>
                </c:pt>
                <c:pt idx="688">
                  <c:v>130.35785999999999</c:v>
                </c:pt>
                <c:pt idx="689">
                  <c:v>130.12978000000001</c:v>
                </c:pt>
                <c:pt idx="690">
                  <c:v>128.4477</c:v>
                </c:pt>
                <c:pt idx="691">
                  <c:v>127.3548</c:v>
                </c:pt>
                <c:pt idx="692">
                  <c:v>127.76342</c:v>
                </c:pt>
                <c:pt idx="693">
                  <c:v>126.699066</c:v>
                </c:pt>
                <c:pt idx="694">
                  <c:v>126.51849</c:v>
                </c:pt>
                <c:pt idx="695">
                  <c:v>125.81524</c:v>
                </c:pt>
                <c:pt idx="696">
                  <c:v>125.42562</c:v>
                </c:pt>
                <c:pt idx="697">
                  <c:v>126.67054</c:v>
                </c:pt>
                <c:pt idx="698">
                  <c:v>126.70859</c:v>
                </c:pt>
                <c:pt idx="699">
                  <c:v>127.16471</c:v>
                </c:pt>
                <c:pt idx="700">
                  <c:v>127.40228999999999</c:v>
                </c:pt>
                <c:pt idx="701">
                  <c:v>127.88699</c:v>
                </c:pt>
                <c:pt idx="702">
                  <c:v>127.098206</c:v>
                </c:pt>
                <c:pt idx="703">
                  <c:v>127.259766</c:v>
                </c:pt>
                <c:pt idx="704">
                  <c:v>127.41182999999999</c:v>
                </c:pt>
                <c:pt idx="705">
                  <c:v>127.18374</c:v>
                </c:pt>
                <c:pt idx="706">
                  <c:v>128.96089000000001</c:v>
                </c:pt>
                <c:pt idx="707">
                  <c:v>129.16046</c:v>
                </c:pt>
                <c:pt idx="708">
                  <c:v>129.08439999999999</c:v>
                </c:pt>
                <c:pt idx="709">
                  <c:v>129.13195999999999</c:v>
                </c:pt>
                <c:pt idx="710">
                  <c:v>128.73278999999999</c:v>
                </c:pt>
                <c:pt idx="711">
                  <c:v>130.48140000000001</c:v>
                </c:pt>
                <c:pt idx="712">
                  <c:v>130.47662</c:v>
                </c:pt>
                <c:pt idx="713">
                  <c:v>131.45276000000001</c:v>
                </c:pt>
                <c:pt idx="714">
                  <c:v>131.26138</c:v>
                </c:pt>
                <c:pt idx="715">
                  <c:v>130.40961999999999</c:v>
                </c:pt>
                <c:pt idx="716">
                  <c:v>131.20394999999999</c:v>
                </c:pt>
                <c:pt idx="717">
                  <c:v>131.28049999999999</c:v>
                </c:pt>
                <c:pt idx="718">
                  <c:v>132.00783000000001</c:v>
                </c:pt>
                <c:pt idx="719">
                  <c:v>131.16565</c:v>
                </c:pt>
                <c:pt idx="720">
                  <c:v>130.31393</c:v>
                </c:pt>
                <c:pt idx="721">
                  <c:v>130.12253000000001</c:v>
                </c:pt>
                <c:pt idx="722">
                  <c:v>130.60104000000001</c:v>
                </c:pt>
                <c:pt idx="723">
                  <c:v>131.98867999999999</c:v>
                </c:pt>
                <c:pt idx="724">
                  <c:v>131.1465</c:v>
                </c:pt>
                <c:pt idx="725">
                  <c:v>131.00296</c:v>
                </c:pt>
                <c:pt idx="726">
                  <c:v>130.81156999999999</c:v>
                </c:pt>
                <c:pt idx="727">
                  <c:v>131.62503000000001</c:v>
                </c:pt>
                <c:pt idx="728">
                  <c:v>130.92642000000001</c:v>
                </c:pt>
                <c:pt idx="729">
                  <c:v>130.92642000000001</c:v>
                </c:pt>
                <c:pt idx="730">
                  <c:v>130.79243</c:v>
                </c:pt>
                <c:pt idx="731">
                  <c:v>130.79243</c:v>
                </c:pt>
                <c:pt idx="732">
                  <c:v>129.97899000000001</c:v>
                </c:pt>
                <c:pt idx="733">
                  <c:v>129.97899000000001</c:v>
                </c:pt>
                <c:pt idx="734">
                  <c:v>129.79714999999999</c:v>
                </c:pt>
                <c:pt idx="735">
                  <c:v>130.29478</c:v>
                </c:pt>
                <c:pt idx="736">
                  <c:v>128.24682999999999</c:v>
                </c:pt>
                <c:pt idx="737">
                  <c:v>128.90715</c:v>
                </c:pt>
                <c:pt idx="738">
                  <c:v>128.99327</c:v>
                </c:pt>
                <c:pt idx="739">
                  <c:v>128.74446</c:v>
                </c:pt>
                <c:pt idx="740">
                  <c:v>130.65844999999999</c:v>
                </c:pt>
                <c:pt idx="741">
                  <c:v>130.96467999999999</c:v>
                </c:pt>
                <c:pt idx="742">
                  <c:v>133.21364</c:v>
                </c:pt>
                <c:pt idx="743">
                  <c:v>133.60598999999999</c:v>
                </c:pt>
                <c:pt idx="744">
                  <c:v>135.18503999999999</c:v>
                </c:pt>
                <c:pt idx="745">
                  <c:v>135.75923</c:v>
                </c:pt>
                <c:pt idx="746">
                  <c:v>137.21385000000001</c:v>
                </c:pt>
                <c:pt idx="747">
                  <c:v>137.47226000000001</c:v>
                </c:pt>
                <c:pt idx="748">
                  <c:v>136.77365</c:v>
                </c:pt>
                <c:pt idx="749">
                  <c:v>136.02719999999999</c:v>
                </c:pt>
                <c:pt idx="750">
                  <c:v>136.31432000000001</c:v>
                </c:pt>
                <c:pt idx="751">
                  <c:v>135.63480999999999</c:v>
                </c:pt>
                <c:pt idx="752">
                  <c:v>137.64449999999999</c:v>
                </c:pt>
                <c:pt idx="753">
                  <c:v>135.91237000000001</c:v>
                </c:pt>
                <c:pt idx="754">
                  <c:v>136.38127</c:v>
                </c:pt>
                <c:pt idx="755">
                  <c:v>137.06073000000001</c:v>
                </c:pt>
                <c:pt idx="756">
                  <c:v>138.0943</c:v>
                </c:pt>
                <c:pt idx="757">
                  <c:v>138.12302</c:v>
                </c:pt>
                <c:pt idx="758">
                  <c:v>139.11829</c:v>
                </c:pt>
                <c:pt idx="759">
                  <c:v>139.39581000000001</c:v>
                </c:pt>
                <c:pt idx="760">
                  <c:v>139.79774</c:v>
                </c:pt>
                <c:pt idx="761">
                  <c:v>139.79774</c:v>
                </c:pt>
                <c:pt idx="762">
                  <c:v>140.17097000000001</c:v>
                </c:pt>
                <c:pt idx="763">
                  <c:v>140.66861</c:v>
                </c:pt>
                <c:pt idx="764">
                  <c:v>139.33840000000001</c:v>
                </c:pt>
                <c:pt idx="765">
                  <c:v>139.2714</c:v>
                </c:pt>
                <c:pt idx="766">
                  <c:v>138.91730999999999</c:v>
                </c:pt>
                <c:pt idx="767">
                  <c:v>139.57764</c:v>
                </c:pt>
                <c:pt idx="768">
                  <c:v>136.50568999999999</c:v>
                </c:pt>
                <c:pt idx="769">
                  <c:v>135.03190000000001</c:v>
                </c:pt>
                <c:pt idx="770">
                  <c:v>135.87406999999999</c:v>
                </c:pt>
                <c:pt idx="771">
                  <c:v>130.50532999999999</c:v>
                </c:pt>
                <c:pt idx="772">
                  <c:v>126.35198</c:v>
                </c:pt>
                <c:pt idx="773">
                  <c:v>131.66329999999999</c:v>
                </c:pt>
                <c:pt idx="774">
                  <c:v>129.74932999999999</c:v>
                </c:pt>
                <c:pt idx="775">
                  <c:v>136.26644999999999</c:v>
                </c:pt>
                <c:pt idx="776">
                  <c:v>133.05331000000001</c:v>
                </c:pt>
                <c:pt idx="777">
                  <c:v>132.244</c:v>
                </c:pt>
                <c:pt idx="778">
                  <c:v>125.40348</c:v>
                </c:pt>
                <c:pt idx="779">
                  <c:v>129.23802000000001</c:v>
                </c:pt>
                <c:pt idx="780">
                  <c:v>125.00846</c:v>
                </c:pt>
                <c:pt idx="781">
                  <c:v>111.125046</c:v>
                </c:pt>
                <c:pt idx="782">
                  <c:v>122.7925</c:v>
                </c:pt>
                <c:pt idx="783">
                  <c:v>108.95726999999999</c:v>
                </c:pt>
                <c:pt idx="784">
                  <c:v>123.05264</c:v>
                </c:pt>
                <c:pt idx="785">
                  <c:v>116.50112</c:v>
                </c:pt>
                <c:pt idx="786">
                  <c:v>113.051956</c:v>
                </c:pt>
                <c:pt idx="787">
                  <c:v>100.13200000000001</c:v>
                </c:pt>
                <c:pt idx="788">
                  <c:v>101.33633</c:v>
                </c:pt>
                <c:pt idx="789">
                  <c:v>109.67986000000001</c:v>
                </c:pt>
                <c:pt idx="790">
                  <c:v>108.38884</c:v>
                </c:pt>
                <c:pt idx="791">
                  <c:v>115.86526000000001</c:v>
                </c:pt>
                <c:pt idx="792">
                  <c:v>116.05794</c:v>
                </c:pt>
                <c:pt idx="793">
                  <c:v>120.89449999999999</c:v>
                </c:pt>
                <c:pt idx="794">
                  <c:v>115.7111</c:v>
                </c:pt>
                <c:pt idx="795">
                  <c:v>113.80345</c:v>
                </c:pt>
                <c:pt idx="796">
                  <c:v>119.33369999999999</c:v>
                </c:pt>
                <c:pt idx="797">
                  <c:v>120.03702</c:v>
                </c:pt>
                <c:pt idx="798">
                  <c:v>126.36693</c:v>
                </c:pt>
                <c:pt idx="799">
                  <c:v>125.71178</c:v>
                </c:pt>
                <c:pt idx="800">
                  <c:v>127.76394999999999</c:v>
                </c:pt>
                <c:pt idx="801">
                  <c:v>128.74665999999999</c:v>
                </c:pt>
                <c:pt idx="802">
                  <c:v>126.10678</c:v>
                </c:pt>
                <c:pt idx="803">
                  <c:v>133.34233</c:v>
                </c:pt>
                <c:pt idx="804">
                  <c:v>130.09547000000001</c:v>
                </c:pt>
                <c:pt idx="805">
                  <c:v>130.68321</c:v>
                </c:pt>
                <c:pt idx="806">
                  <c:v>132.52341999999999</c:v>
                </c:pt>
                <c:pt idx="807">
                  <c:v>129.63302999999999</c:v>
                </c:pt>
                <c:pt idx="808">
                  <c:v>126.15496</c:v>
                </c:pt>
                <c:pt idx="809">
                  <c:v>127.77357000000001</c:v>
                </c:pt>
                <c:pt idx="810">
                  <c:v>125.49979399999999</c:v>
                </c:pt>
                <c:pt idx="811">
                  <c:v>129.44998000000001</c:v>
                </c:pt>
                <c:pt idx="812">
                  <c:v>129.54633999999999</c:v>
                </c:pt>
                <c:pt idx="813">
                  <c:v>131.33838</c:v>
                </c:pt>
                <c:pt idx="814">
                  <c:v>128.48652999999999</c:v>
                </c:pt>
                <c:pt idx="815">
                  <c:v>127.45563</c:v>
                </c:pt>
                <c:pt idx="816">
                  <c:v>125.38419</c:v>
                </c:pt>
                <c:pt idx="817">
                  <c:v>126.1357</c:v>
                </c:pt>
                <c:pt idx="818">
                  <c:v>126.85829</c:v>
                </c:pt>
                <c:pt idx="819">
                  <c:v>126.00082</c:v>
                </c:pt>
                <c:pt idx="820">
                  <c:v>126.74267999999999</c:v>
                </c:pt>
                <c:pt idx="821">
                  <c:v>129.32472000000001</c:v>
                </c:pt>
                <c:pt idx="822">
                  <c:v>129.46924999999999</c:v>
                </c:pt>
                <c:pt idx="823">
                  <c:v>128.08186000000001</c:v>
                </c:pt>
                <c:pt idx="824">
                  <c:v>128.10114999999999</c:v>
                </c:pt>
                <c:pt idx="825">
                  <c:v>128.21677</c:v>
                </c:pt>
                <c:pt idx="826">
                  <c:v>130.98186999999999</c:v>
                </c:pt>
                <c:pt idx="827">
                  <c:v>130.5676</c:v>
                </c:pt>
                <c:pt idx="828">
                  <c:v>126.916084</c:v>
                </c:pt>
                <c:pt idx="829">
                  <c:v>126.46326999999999</c:v>
                </c:pt>
                <c:pt idx="830">
                  <c:v>125.451645</c:v>
                </c:pt>
                <c:pt idx="831">
                  <c:v>125.71178</c:v>
                </c:pt>
                <c:pt idx="832">
                  <c:v>125.00846</c:v>
                </c:pt>
                <c:pt idx="833">
                  <c:v>126.02972</c:v>
                </c:pt>
                <c:pt idx="834">
                  <c:v>127.45563</c:v>
                </c:pt>
                <c:pt idx="835">
                  <c:v>126.74267999999999</c:v>
                </c:pt>
                <c:pt idx="836">
                  <c:v>128.13005000000001</c:v>
                </c:pt>
                <c:pt idx="837">
                  <c:v>127.78321</c:v>
                </c:pt>
                <c:pt idx="838">
                  <c:v>127.966255</c:v>
                </c:pt>
                <c:pt idx="839">
                  <c:v>126.774925</c:v>
                </c:pt>
                <c:pt idx="840">
                  <c:v>128.59058999999999</c:v>
                </c:pt>
                <c:pt idx="841">
                  <c:v>128.36725999999999</c:v>
                </c:pt>
                <c:pt idx="842">
                  <c:v>129.10517999999999</c:v>
                </c:pt>
                <c:pt idx="843">
                  <c:v>130.23146</c:v>
                </c:pt>
                <c:pt idx="844">
                  <c:v>124.12427</c:v>
                </c:pt>
                <c:pt idx="845">
                  <c:v>125.25055999999999</c:v>
                </c:pt>
                <c:pt idx="846">
                  <c:v>126.68754</c:v>
                </c:pt>
                <c:pt idx="847">
                  <c:v>127.84295</c:v>
                </c:pt>
                <c:pt idx="848">
                  <c:v>127.93031999999999</c:v>
                </c:pt>
                <c:pt idx="849">
                  <c:v>128.92068</c:v>
                </c:pt>
                <c:pt idx="850">
                  <c:v>127.46429000000001</c:v>
                </c:pt>
                <c:pt idx="851">
                  <c:v>127.24097999999999</c:v>
                </c:pt>
                <c:pt idx="852">
                  <c:v>127.54195</c:v>
                </c:pt>
                <c:pt idx="853">
                  <c:v>125.79429</c:v>
                </c:pt>
                <c:pt idx="854">
                  <c:v>127.59050999999999</c:v>
                </c:pt>
                <c:pt idx="855">
                  <c:v>125.18259</c:v>
                </c:pt>
                <c:pt idx="856">
                  <c:v>127.27012000000001</c:v>
                </c:pt>
                <c:pt idx="857">
                  <c:v>128.41579999999999</c:v>
                </c:pt>
                <c:pt idx="858">
                  <c:v>128.5129</c:v>
                </c:pt>
                <c:pt idx="859">
                  <c:v>128.98866000000001</c:v>
                </c:pt>
                <c:pt idx="860">
                  <c:v>129.4256</c:v>
                </c:pt>
                <c:pt idx="861">
                  <c:v>129.68773999999999</c:v>
                </c:pt>
                <c:pt idx="862">
                  <c:v>130.31882999999999</c:v>
                </c:pt>
                <c:pt idx="863">
                  <c:v>128.85274000000001</c:v>
                </c:pt>
                <c:pt idx="864">
                  <c:v>130.55188000000001</c:v>
                </c:pt>
                <c:pt idx="865">
                  <c:v>130.98877999999999</c:v>
                </c:pt>
                <c:pt idx="866">
                  <c:v>131.58105</c:v>
                </c:pt>
                <c:pt idx="867">
                  <c:v>129.80426</c:v>
                </c:pt>
                <c:pt idx="868">
                  <c:v>129.98874000000001</c:v>
                </c:pt>
                <c:pt idx="869">
                  <c:v>130.74605</c:v>
                </c:pt>
                <c:pt idx="870">
                  <c:v>129.24109999999999</c:v>
                </c:pt>
                <c:pt idx="871">
                  <c:v>130.52271999999999</c:v>
                </c:pt>
                <c:pt idx="872">
                  <c:v>132.05680000000001</c:v>
                </c:pt>
                <c:pt idx="873">
                  <c:v>133.09572</c:v>
                </c:pt>
                <c:pt idx="874">
                  <c:v>132.10535999999999</c:v>
                </c:pt>
                <c:pt idx="875">
                  <c:v>133.66856000000001</c:v>
                </c:pt>
                <c:pt idx="876">
                  <c:v>133.387</c:v>
                </c:pt>
                <c:pt idx="877">
                  <c:v>133.92098999999999</c:v>
                </c:pt>
                <c:pt idx="878">
                  <c:v>133.68799000000001</c:v>
                </c:pt>
                <c:pt idx="879">
                  <c:v>133.65886</c:v>
                </c:pt>
                <c:pt idx="880">
                  <c:v>132.72675000000001</c:v>
                </c:pt>
                <c:pt idx="881">
                  <c:v>133.47438</c:v>
                </c:pt>
                <c:pt idx="882">
                  <c:v>132.28984</c:v>
                </c:pt>
                <c:pt idx="883">
                  <c:v>131.91118</c:v>
                </c:pt>
                <c:pt idx="884">
                  <c:v>132.76560000000001</c:v>
                </c:pt>
                <c:pt idx="885">
                  <c:v>132.02766</c:v>
                </c:pt>
                <c:pt idx="886">
                  <c:v>131.19266999999999</c:v>
                </c:pt>
                <c:pt idx="887">
                  <c:v>133.79477</c:v>
                </c:pt>
                <c:pt idx="888">
                  <c:v>134.08606</c:v>
                </c:pt>
                <c:pt idx="889">
                  <c:v>133.56173999999999</c:v>
                </c:pt>
                <c:pt idx="890">
                  <c:v>133.91130000000001</c:v>
                </c:pt>
                <c:pt idx="891">
                  <c:v>134.09577999999999</c:v>
                </c:pt>
                <c:pt idx="892">
                  <c:v>132.48401000000001</c:v>
                </c:pt>
                <c:pt idx="893">
                  <c:v>132.74617000000001</c:v>
                </c:pt>
                <c:pt idx="894">
                  <c:v>132.49373</c:v>
                </c:pt>
                <c:pt idx="895">
                  <c:v>133.63943</c:v>
                </c:pt>
                <c:pt idx="896">
                  <c:v>133.30932999999999</c:v>
                </c:pt>
                <c:pt idx="897">
                  <c:v>134.44531000000001</c:v>
                </c:pt>
                <c:pt idx="898">
                  <c:v>134.37733</c:v>
                </c:pt>
                <c:pt idx="899">
                  <c:v>135.87259</c:v>
                </c:pt>
                <c:pt idx="900">
                  <c:v>135.98909</c:v>
                </c:pt>
                <c:pt idx="901">
                  <c:v>135.14438000000001</c:v>
                </c:pt>
                <c:pt idx="902">
                  <c:v>139.12521000000001</c:v>
                </c:pt>
                <c:pt idx="903">
                  <c:v>136.29219000000001</c:v>
                </c:pt>
                <c:pt idx="904">
                  <c:v>135.69566</c:v>
                </c:pt>
                <c:pt idx="905">
                  <c:v>132.55654999999999</c:v>
                </c:pt>
                <c:pt idx="906">
                  <c:v>134.08208999999999</c:v>
                </c:pt>
                <c:pt idx="907">
                  <c:v>131.78399999999999</c:v>
                </c:pt>
                <c:pt idx="908">
                  <c:v>132.81082000000001</c:v>
                </c:pt>
                <c:pt idx="909">
                  <c:v>133.65181999999999</c:v>
                </c:pt>
                <c:pt idx="910">
                  <c:v>132.62502000000001</c:v>
                </c:pt>
                <c:pt idx="911">
                  <c:v>131.99914999999999</c:v>
                </c:pt>
                <c:pt idx="912">
                  <c:v>130.25845000000001</c:v>
                </c:pt>
                <c:pt idx="913">
                  <c:v>128.56665000000001</c:v>
                </c:pt>
                <c:pt idx="914">
                  <c:v>128.34173999999999</c:v>
                </c:pt>
                <c:pt idx="915">
                  <c:v>129.23163</c:v>
                </c:pt>
                <c:pt idx="916">
                  <c:v>128.10704000000001</c:v>
                </c:pt>
                <c:pt idx="917">
                  <c:v>128.67421999999999</c:v>
                </c:pt>
                <c:pt idx="918">
                  <c:v>130.60072</c:v>
                </c:pt>
                <c:pt idx="919">
                  <c:v>134.92311000000001</c:v>
                </c:pt>
                <c:pt idx="920">
                  <c:v>134.13101</c:v>
                </c:pt>
                <c:pt idx="921">
                  <c:v>135.53922</c:v>
                </c:pt>
                <c:pt idx="922">
                  <c:v>137.69060999999999</c:v>
                </c:pt>
                <c:pt idx="923">
                  <c:v>135.01112000000001</c:v>
                </c:pt>
                <c:pt idx="924">
                  <c:v>134.88399999999999</c:v>
                </c:pt>
                <c:pt idx="925">
                  <c:v>132.70325</c:v>
                </c:pt>
                <c:pt idx="926">
                  <c:v>133.98429999999999</c:v>
                </c:pt>
                <c:pt idx="927">
                  <c:v>134.80577</c:v>
                </c:pt>
                <c:pt idx="928">
                  <c:v>135.38274000000001</c:v>
                </c:pt>
                <c:pt idx="929">
                  <c:v>138.99124</c:v>
                </c:pt>
                <c:pt idx="930">
                  <c:v>140.37010000000001</c:v>
                </c:pt>
                <c:pt idx="931">
                  <c:v>139.37262999999999</c:v>
                </c:pt>
                <c:pt idx="932">
                  <c:v>138.30669</c:v>
                </c:pt>
                <c:pt idx="933">
                  <c:v>138.60006999999999</c:v>
                </c:pt>
                <c:pt idx="934">
                  <c:v>136.59535</c:v>
                </c:pt>
                <c:pt idx="935">
                  <c:v>136.62470999999999</c:v>
                </c:pt>
                <c:pt idx="936">
                  <c:v>136.51712000000001</c:v>
                </c:pt>
                <c:pt idx="937">
                  <c:v>136.52690000000001</c:v>
                </c:pt>
                <c:pt idx="938">
                  <c:v>136.47801000000001</c:v>
                </c:pt>
                <c:pt idx="939">
                  <c:v>135.01112000000001</c:v>
                </c:pt>
                <c:pt idx="940">
                  <c:v>136.04771</c:v>
                </c:pt>
                <c:pt idx="941">
                  <c:v>131.20703</c:v>
                </c:pt>
                <c:pt idx="942">
                  <c:v>131.03100000000001</c:v>
                </c:pt>
                <c:pt idx="943">
                  <c:v>130.34645</c:v>
                </c:pt>
                <c:pt idx="944">
                  <c:v>132.16537</c:v>
                </c:pt>
                <c:pt idx="945">
                  <c:v>134.01364000000001</c:v>
                </c:pt>
                <c:pt idx="946">
                  <c:v>134.81554</c:v>
                </c:pt>
                <c:pt idx="947">
                  <c:v>135.00136000000001</c:v>
                </c:pt>
                <c:pt idx="948">
                  <c:v>135.32408000000001</c:v>
                </c:pt>
                <c:pt idx="949">
                  <c:v>135.39250000000001</c:v>
                </c:pt>
                <c:pt idx="950">
                  <c:v>138.59030000000001</c:v>
                </c:pt>
                <c:pt idx="951">
                  <c:v>140.72214</c:v>
                </c:pt>
                <c:pt idx="952">
                  <c:v>140.66346999999999</c:v>
                </c:pt>
                <c:pt idx="953">
                  <c:v>141.51428000000001</c:v>
                </c:pt>
                <c:pt idx="954">
                  <c:v>142.54107999999999</c:v>
                </c:pt>
                <c:pt idx="955">
                  <c:v>142.03258</c:v>
                </c:pt>
                <c:pt idx="956">
                  <c:v>140.21367000000001</c:v>
                </c:pt>
                <c:pt idx="957">
                  <c:v>140.15496999999999</c:v>
                </c:pt>
                <c:pt idx="958">
                  <c:v>140.25274999999999</c:v>
                </c:pt>
                <c:pt idx="959">
                  <c:v>139.86159000000001</c:v>
                </c:pt>
                <c:pt idx="960">
                  <c:v>140.84929</c:v>
                </c:pt>
                <c:pt idx="961">
                  <c:v>140.97640999999999</c:v>
                </c:pt>
                <c:pt idx="962">
                  <c:v>141.4067</c:v>
                </c:pt>
                <c:pt idx="963">
                  <c:v>141.04488000000001</c:v>
                </c:pt>
                <c:pt idx="964">
                  <c:v>142.84424999999999</c:v>
                </c:pt>
                <c:pt idx="965">
                  <c:v>141.42625000000001</c:v>
                </c:pt>
                <c:pt idx="966">
                  <c:v>142.26635999999999</c:v>
                </c:pt>
                <c:pt idx="967">
                  <c:v>143.64519999999999</c:v>
                </c:pt>
                <c:pt idx="968">
                  <c:v>143.17243999999999</c:v>
                </c:pt>
                <c:pt idx="969">
                  <c:v>143.3202</c:v>
                </c:pt>
                <c:pt idx="970">
                  <c:v>143.48760999999999</c:v>
                </c:pt>
                <c:pt idx="971">
                  <c:v>142.48303000000001</c:v>
                </c:pt>
                <c:pt idx="972">
                  <c:v>142.77849000000001</c:v>
                </c:pt>
                <c:pt idx="973">
                  <c:v>142.04968</c:v>
                </c:pt>
                <c:pt idx="974">
                  <c:v>142.58151000000001</c:v>
                </c:pt>
                <c:pt idx="975">
                  <c:v>142.69970000000001</c:v>
                </c:pt>
                <c:pt idx="976">
                  <c:v>143.50734</c:v>
                </c:pt>
                <c:pt idx="977">
                  <c:v>144.70885999999999</c:v>
                </c:pt>
                <c:pt idx="978">
                  <c:v>143.202</c:v>
                </c:pt>
                <c:pt idx="979">
                  <c:v>141.84286</c:v>
                </c:pt>
                <c:pt idx="980">
                  <c:v>142.22696999999999</c:v>
                </c:pt>
                <c:pt idx="981">
                  <c:v>142.86714000000001</c:v>
                </c:pt>
                <c:pt idx="982">
                  <c:v>144.68915999999999</c:v>
                </c:pt>
                <c:pt idx="983">
                  <c:v>145.19147000000001</c:v>
                </c:pt>
                <c:pt idx="984">
                  <c:v>145.19147000000001</c:v>
                </c:pt>
                <c:pt idx="985">
                  <c:v>145.08313000000001</c:v>
                </c:pt>
                <c:pt idx="986">
                  <c:v>145.08313000000001</c:v>
                </c:pt>
                <c:pt idx="987">
                  <c:v>146.05816999999999</c:v>
                </c:pt>
                <c:pt idx="988">
                  <c:v>146.05816999999999</c:v>
                </c:pt>
                <c:pt idx="989">
                  <c:v>142.08908</c:v>
                </c:pt>
                <c:pt idx="990">
                  <c:v>142.51257000000001</c:v>
                </c:pt>
                <c:pt idx="991">
                  <c:v>140.76933</c:v>
                </c:pt>
                <c:pt idx="992">
                  <c:v>140.31630000000001</c:v>
                </c:pt>
                <c:pt idx="993">
                  <c:v>142.00042999999999</c:v>
                </c:pt>
                <c:pt idx="994">
                  <c:v>139.94202999999999</c:v>
                </c:pt>
                <c:pt idx="995">
                  <c:v>139.292</c:v>
                </c:pt>
                <c:pt idx="996">
                  <c:v>140.43450000000001</c:v>
                </c:pt>
                <c:pt idx="997">
                  <c:v>139.61702</c:v>
                </c:pt>
                <c:pt idx="998">
                  <c:v>139.25261</c:v>
                </c:pt>
                <c:pt idx="999">
                  <c:v>139.91248999999999</c:v>
                </c:pt>
                <c:pt idx="1000">
                  <c:v>139.19353000000001</c:v>
                </c:pt>
                <c:pt idx="1001">
                  <c:v>137.49952999999999</c:v>
                </c:pt>
                <c:pt idx="1002">
                  <c:v>136.49494999999999</c:v>
                </c:pt>
                <c:pt idx="1003">
                  <c:v>138.0609</c:v>
                </c:pt>
                <c:pt idx="1004">
                  <c:v>139.65642</c:v>
                </c:pt>
                <c:pt idx="1005">
                  <c:v>135.95325</c:v>
                </c:pt>
                <c:pt idx="1006">
                  <c:v>137.08588</c:v>
                </c:pt>
                <c:pt idx="1007">
                  <c:v>134.50550000000001</c:v>
                </c:pt>
                <c:pt idx="1008">
                  <c:v>134.90926999999999</c:v>
                </c:pt>
                <c:pt idx="1009">
                  <c:v>136.28813</c:v>
                </c:pt>
                <c:pt idx="1010">
                  <c:v>135.93356</c:v>
                </c:pt>
                <c:pt idx="1011">
                  <c:v>137.56846999999999</c:v>
                </c:pt>
                <c:pt idx="1012">
                  <c:v>138.82911999999999</c:v>
                </c:pt>
                <c:pt idx="1013">
                  <c:v>138.27759</c:v>
                </c:pt>
                <c:pt idx="1014">
                  <c:v>137.48969</c:v>
                </c:pt>
                <c:pt idx="1015">
                  <c:v>135.61840000000001</c:v>
                </c:pt>
                <c:pt idx="1016">
                  <c:v>132.92966999999999</c:v>
                </c:pt>
                <c:pt idx="1017">
                  <c:v>131.84628000000001</c:v>
                </c:pt>
                <c:pt idx="1018">
                  <c:v>132.34859</c:v>
                </c:pt>
                <c:pt idx="1019">
                  <c:v>132.42740000000001</c:v>
                </c:pt>
                <c:pt idx="1020">
                  <c:v>133.32361</c:v>
                </c:pt>
                <c:pt idx="1021">
                  <c:v>130.50684999999999</c:v>
                </c:pt>
                <c:pt idx="1022">
                  <c:v>129.99472</c:v>
                </c:pt>
                <c:pt idx="1023">
                  <c:v>130.77277000000001</c:v>
                </c:pt>
                <c:pt idx="1024">
                  <c:v>130.0932</c:v>
                </c:pt>
                <c:pt idx="1025">
                  <c:v>128.03479999999999</c:v>
                </c:pt>
                <c:pt idx="1026">
                  <c:v>127.23704499999999</c:v>
                </c:pt>
                <c:pt idx="1027">
                  <c:v>128.64542</c:v>
                </c:pt>
                <c:pt idx="1028">
                  <c:v>129.08861999999999</c:v>
                </c:pt>
                <c:pt idx="1029">
                  <c:v>127.187805</c:v>
                </c:pt>
                <c:pt idx="1030">
                  <c:v>127.89564</c:v>
                </c:pt>
                <c:pt idx="1031">
                  <c:v>132.06516999999999</c:v>
                </c:pt>
                <c:pt idx="1032">
                  <c:v>131.17169000000001</c:v>
                </c:pt>
                <c:pt idx="1033">
                  <c:v>131.29082</c:v>
                </c:pt>
                <c:pt idx="1034">
                  <c:v>132.61117999999999</c:v>
                </c:pt>
                <c:pt idx="1035">
                  <c:v>132.25378000000001</c:v>
                </c:pt>
                <c:pt idx="1036">
                  <c:v>132.07509999999999</c:v>
                </c:pt>
                <c:pt idx="1037">
                  <c:v>132.06516999999999</c:v>
                </c:pt>
                <c:pt idx="1038">
                  <c:v>133.03806</c:v>
                </c:pt>
                <c:pt idx="1039">
                  <c:v>132.65088</c:v>
                </c:pt>
                <c:pt idx="1040">
                  <c:v>131.56879000000001</c:v>
                </c:pt>
                <c:pt idx="1041">
                  <c:v>133.52449999999999</c:v>
                </c:pt>
                <c:pt idx="1042">
                  <c:v>136.80056999999999</c:v>
                </c:pt>
                <c:pt idx="1043">
                  <c:v>138.44853000000001</c:v>
                </c:pt>
                <c:pt idx="1044">
                  <c:v>137.80323999999999</c:v>
                </c:pt>
                <c:pt idx="1045">
                  <c:v>138.61731</c:v>
                </c:pt>
                <c:pt idx="1046">
                  <c:v>141.66502</c:v>
                </c:pt>
                <c:pt idx="1047">
                  <c:v>143.75971999999999</c:v>
                </c:pt>
                <c:pt idx="1048">
                  <c:v>141.50618</c:v>
                </c:pt>
                <c:pt idx="1049">
                  <c:v>140.42409000000001</c:v>
                </c:pt>
                <c:pt idx="1050">
                  <c:v>140.25532999999999</c:v>
                </c:pt>
                <c:pt idx="1051">
                  <c:v>142.1217</c:v>
                </c:pt>
                <c:pt idx="1052">
                  <c:v>142.62799000000001</c:v>
                </c:pt>
                <c:pt idx="1053">
                  <c:v>142.3699</c:v>
                </c:pt>
                <c:pt idx="1054">
                  <c:v>141.50618</c:v>
                </c:pt>
                <c:pt idx="1055">
                  <c:v>141.53598</c:v>
                </c:pt>
                <c:pt idx="1056">
                  <c:v>141.98271</c:v>
                </c:pt>
                <c:pt idx="1057">
                  <c:v>142.01249999999999</c:v>
                </c:pt>
                <c:pt idx="1058">
                  <c:v>141.07932</c:v>
                </c:pt>
                <c:pt idx="1059">
                  <c:v>141.27788000000001</c:v>
                </c:pt>
                <c:pt idx="1060">
                  <c:v>143.11444</c:v>
                </c:pt>
                <c:pt idx="1061">
                  <c:v>143.70016000000001</c:v>
                </c:pt>
                <c:pt idx="1062">
                  <c:v>144.65321</c:v>
                </c:pt>
                <c:pt idx="1063">
                  <c:v>145.91399000000001</c:v>
                </c:pt>
                <c:pt idx="1064">
                  <c:v>145.01061999999999</c:v>
                </c:pt>
                <c:pt idx="1065">
                  <c:v>144.77234000000001</c:v>
                </c:pt>
                <c:pt idx="1066">
                  <c:v>142.32024999999999</c:v>
                </c:pt>
                <c:pt idx="1067">
                  <c:v>141.85364999999999</c:v>
                </c:pt>
                <c:pt idx="1068">
                  <c:v>140.80135000000001</c:v>
                </c:pt>
                <c:pt idx="1069">
                  <c:v>142.89604</c:v>
                </c:pt>
                <c:pt idx="1070">
                  <c:v>143.11444</c:v>
                </c:pt>
                <c:pt idx="1071">
                  <c:v>144.73262</c:v>
                </c:pt>
                <c:pt idx="1072">
                  <c:v>142.91591</c:v>
                </c:pt>
                <c:pt idx="1073">
                  <c:v>142.84639999999999</c:v>
                </c:pt>
                <c:pt idx="1074">
                  <c:v>144.50429</c:v>
                </c:pt>
                <c:pt idx="1075">
                  <c:v>144.50429</c:v>
                </c:pt>
                <c:pt idx="1076">
                  <c:v>145.65588</c:v>
                </c:pt>
                <c:pt idx="1077">
                  <c:v>144.59362999999999</c:v>
                </c:pt>
                <c:pt idx="1078">
                  <c:v>143.18393</c:v>
                </c:pt>
                <c:pt idx="1079">
                  <c:v>145.30841000000001</c:v>
                </c:pt>
                <c:pt idx="1080">
                  <c:v>145.52681000000001</c:v>
                </c:pt>
                <c:pt idx="1081">
                  <c:v>145.10986</c:v>
                </c:pt>
                <c:pt idx="1082">
                  <c:v>144.45464999999999</c:v>
                </c:pt>
                <c:pt idx="1083">
                  <c:v>144.37523999999999</c:v>
                </c:pt>
                <c:pt idx="1084">
                  <c:v>146.16217</c:v>
                </c:pt>
                <c:pt idx="1085">
                  <c:v>146.03313</c:v>
                </c:pt>
                <c:pt idx="1086">
                  <c:v>146.77768</c:v>
                </c:pt>
                <c:pt idx="1087">
                  <c:v>147.22443000000001</c:v>
                </c:pt>
                <c:pt idx="1088">
                  <c:v>147.22443000000001</c:v>
                </c:pt>
                <c:pt idx="1089">
                  <c:v>145.44739000000001</c:v>
                </c:pt>
                <c:pt idx="1090">
                  <c:v>146.86703</c:v>
                </c:pt>
                <c:pt idx="1091">
                  <c:v>146.55928</c:v>
                </c:pt>
                <c:pt idx="1092">
                  <c:v>147.14500000000001</c:v>
                </c:pt>
                <c:pt idx="1093">
                  <c:v>147.67000999999999</c:v>
                </c:pt>
                <c:pt idx="1094">
                  <c:v>147.84</c:v>
                </c:pt>
                <c:pt idx="1095">
                  <c:v>147.75</c:v>
                </c:pt>
                <c:pt idx="1096">
                  <c:v>146.37</c:v>
                </c:pt>
                <c:pt idx="1097">
                  <c:v>146.1</c:v>
                </c:pt>
                <c:pt idx="1098">
                  <c:v>147.6</c:v>
                </c:pt>
                <c:pt idx="1099">
                  <c:v>147.69</c:v>
                </c:pt>
                <c:pt idx="1100">
                  <c:v>148.57</c:v>
                </c:pt>
                <c:pt idx="1101">
                  <c:v>148.58000000000001</c:v>
                </c:pt>
                <c:pt idx="1102">
                  <c:v>147.1</c:v>
                </c:pt>
                <c:pt idx="1103">
                  <c:v>148.51999000000001</c:v>
                </c:pt>
                <c:pt idx="1104">
                  <c:v>145.42000999999999</c:v>
                </c:pt>
                <c:pt idx="1105">
                  <c:v>146.56001000000001</c:v>
                </c:pt>
                <c:pt idx="1106">
                  <c:v>146.78</c:v>
                </c:pt>
                <c:pt idx="1107">
                  <c:v>144.85</c:v>
                </c:pt>
                <c:pt idx="1108">
                  <c:v>145.66999999999999</c:v>
                </c:pt>
                <c:pt idx="1109">
                  <c:v>146.41</c:v>
                </c:pt>
                <c:pt idx="1110">
                  <c:v>147.04001</c:v>
                </c:pt>
                <c:pt idx="1111">
                  <c:v>146.94</c:v>
                </c:pt>
                <c:pt idx="1112">
                  <c:v>148.16999999999999</c:v>
                </c:pt>
                <c:pt idx="1113">
                  <c:v>148.19999999999999</c:v>
                </c:pt>
              </c:numCache>
            </c:numRef>
          </c:val>
          <c:smooth val="0"/>
          <c:extLst>
            <c:ext xmlns:c16="http://schemas.microsoft.com/office/drawing/2014/chart" uri="{C3380CC4-5D6E-409C-BE32-E72D297353CC}">
              <c16:uniqueId val="{00000000-E693-BF4A-8335-954C101C9717}"/>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C$2:$C$2111</c:f>
              <c:numCache>
                <c:formatCode>General</c:formatCode>
                <c:ptCount val="2110"/>
                <c:pt idx="0">
                  <c:v>97.167984000000004</c:v>
                </c:pt>
                <c:pt idx="1">
                  <c:v>97.958083999999999</c:v>
                </c:pt>
                <c:pt idx="2">
                  <c:v>98.545944000000006</c:v>
                </c:pt>
                <c:pt idx="3">
                  <c:v>98.630973999999995</c:v>
                </c:pt>
                <c:pt idx="4">
                  <c:v>96.938419999999994</c:v>
                </c:pt>
                <c:pt idx="5">
                  <c:v>95.567329999999998</c:v>
                </c:pt>
                <c:pt idx="6">
                  <c:v>95.034485000000004</c:v>
                </c:pt>
                <c:pt idx="7">
                  <c:v>95.148769999999999</c:v>
                </c:pt>
                <c:pt idx="8">
                  <c:v>95.991299999999995</c:v>
                </c:pt>
                <c:pt idx="9">
                  <c:v>97.246089999999995</c:v>
                </c:pt>
                <c:pt idx="10">
                  <c:v>96.6785</c:v>
                </c:pt>
                <c:pt idx="11">
                  <c:v>99.167320000000004</c:v>
                </c:pt>
                <c:pt idx="12">
                  <c:v>99.360114999999993</c:v>
                </c:pt>
                <c:pt idx="13">
                  <c:v>98.542749999999998</c:v>
                </c:pt>
                <c:pt idx="14">
                  <c:v>97.806510000000003</c:v>
                </c:pt>
                <c:pt idx="15">
                  <c:v>97.236694</c:v>
                </c:pt>
                <c:pt idx="16">
                  <c:v>97.049459999999996</c:v>
                </c:pt>
                <c:pt idx="17">
                  <c:v>97.032073999999994</c:v>
                </c:pt>
                <c:pt idx="18">
                  <c:v>98.122339999999994</c:v>
                </c:pt>
                <c:pt idx="19">
                  <c:v>97.429959999999994</c:v>
                </c:pt>
                <c:pt idx="20">
                  <c:v>97.8215</c:v>
                </c:pt>
                <c:pt idx="21">
                  <c:v>98.221879999999999</c:v>
                </c:pt>
                <c:pt idx="22">
                  <c:v>98.626204999999999</c:v>
                </c:pt>
                <c:pt idx="23">
                  <c:v>98.552580000000006</c:v>
                </c:pt>
                <c:pt idx="24">
                  <c:v>98.088310000000007</c:v>
                </c:pt>
                <c:pt idx="25">
                  <c:v>97.138570000000001</c:v>
                </c:pt>
                <c:pt idx="26">
                  <c:v>95.261129999999994</c:v>
                </c:pt>
                <c:pt idx="27">
                  <c:v>95.700900000000004</c:v>
                </c:pt>
                <c:pt idx="28">
                  <c:v>95.676895000000002</c:v>
                </c:pt>
                <c:pt idx="29">
                  <c:v>95.673739999999995</c:v>
                </c:pt>
                <c:pt idx="30">
                  <c:v>96.424599999999998</c:v>
                </c:pt>
                <c:pt idx="31">
                  <c:v>97.051029999999997</c:v>
                </c:pt>
                <c:pt idx="32">
                  <c:v>97.256584000000004</c:v>
                </c:pt>
                <c:pt idx="33">
                  <c:v>97.356809999999996</c:v>
                </c:pt>
                <c:pt idx="34">
                  <c:v>97.713800000000006</c:v>
                </c:pt>
                <c:pt idx="35">
                  <c:v>97.71414</c:v>
                </c:pt>
                <c:pt idx="36">
                  <c:v>97.465289999999996</c:v>
                </c:pt>
                <c:pt idx="37">
                  <c:v>97.517359999999996</c:v>
                </c:pt>
                <c:pt idx="38">
                  <c:v>97.879419999999996</c:v>
                </c:pt>
                <c:pt idx="39">
                  <c:v>98.397125000000003</c:v>
                </c:pt>
                <c:pt idx="40">
                  <c:v>99.080680000000001</c:v>
                </c:pt>
                <c:pt idx="41">
                  <c:v>99.546949999999995</c:v>
                </c:pt>
                <c:pt idx="42">
                  <c:v>99.543369999999996</c:v>
                </c:pt>
                <c:pt idx="43">
                  <c:v>98.675939999999997</c:v>
                </c:pt>
                <c:pt idx="44">
                  <c:v>101.55009</c:v>
                </c:pt>
                <c:pt idx="45">
                  <c:v>98.405174000000002</c:v>
                </c:pt>
                <c:pt idx="46">
                  <c:v>100.64179</c:v>
                </c:pt>
                <c:pt idx="47">
                  <c:v>100.83311500000001</c:v>
                </c:pt>
                <c:pt idx="48">
                  <c:v>99.642780000000002</c:v>
                </c:pt>
                <c:pt idx="49">
                  <c:v>100.82442500000001</c:v>
                </c:pt>
                <c:pt idx="50">
                  <c:v>100.653786</c:v>
                </c:pt>
                <c:pt idx="51">
                  <c:v>100.86528</c:v>
                </c:pt>
                <c:pt idx="52">
                  <c:v>100.3348</c:v>
                </c:pt>
                <c:pt idx="53">
                  <c:v>99.646900000000002</c:v>
                </c:pt>
                <c:pt idx="54">
                  <c:v>98.916269999999997</c:v>
                </c:pt>
                <c:pt idx="55">
                  <c:v>98.952209999999994</c:v>
                </c:pt>
                <c:pt idx="56">
                  <c:v>99.227239999999995</c:v>
                </c:pt>
                <c:pt idx="57">
                  <c:v>99.913184999999999</c:v>
                </c:pt>
                <c:pt idx="58">
                  <c:v>100.72006</c:v>
                </c:pt>
                <c:pt idx="59">
                  <c:v>101.08759999999999</c:v>
                </c:pt>
                <c:pt idx="60">
                  <c:v>101.10408</c:v>
                </c:pt>
                <c:pt idx="61">
                  <c:v>101.078354</c:v>
                </c:pt>
                <c:pt idx="62">
                  <c:v>101.46244</c:v>
                </c:pt>
                <c:pt idx="63">
                  <c:v>102.173546</c:v>
                </c:pt>
                <c:pt idx="64">
                  <c:v>102.82622499999999</c:v>
                </c:pt>
                <c:pt idx="65">
                  <c:v>103.10968</c:v>
                </c:pt>
                <c:pt idx="66">
                  <c:v>102.87824000000001</c:v>
                </c:pt>
                <c:pt idx="67">
                  <c:v>102.6037</c:v>
                </c:pt>
                <c:pt idx="68">
                  <c:v>102.462234</c:v>
                </c:pt>
                <c:pt idx="69">
                  <c:v>102.089806</c:v>
                </c:pt>
                <c:pt idx="70">
                  <c:v>101.87821</c:v>
                </c:pt>
                <c:pt idx="71">
                  <c:v>102.34387</c:v>
                </c:pt>
                <c:pt idx="72">
                  <c:v>102.94077</c:v>
                </c:pt>
                <c:pt idx="73">
                  <c:v>103.70992</c:v>
                </c:pt>
                <c:pt idx="74">
                  <c:v>104.024666</c:v>
                </c:pt>
                <c:pt idx="75">
                  <c:v>103.597206</c:v>
                </c:pt>
                <c:pt idx="76">
                  <c:v>102.65228999999999</c:v>
                </c:pt>
                <c:pt idx="77">
                  <c:v>101.57433</c:v>
                </c:pt>
                <c:pt idx="78">
                  <c:v>101.92422999999999</c:v>
                </c:pt>
                <c:pt idx="79">
                  <c:v>101.35169999999999</c:v>
                </c:pt>
                <c:pt idx="80">
                  <c:v>102.30902</c:v>
                </c:pt>
                <c:pt idx="81">
                  <c:v>102.96519499999999</c:v>
                </c:pt>
                <c:pt idx="82">
                  <c:v>103.04488000000001</c:v>
                </c:pt>
                <c:pt idx="83">
                  <c:v>102.59269999999999</c:v>
                </c:pt>
                <c:pt idx="84">
                  <c:v>102.20928000000001</c:v>
                </c:pt>
                <c:pt idx="85">
                  <c:v>102.10119</c:v>
                </c:pt>
                <c:pt idx="86">
                  <c:v>102.02685</c:v>
                </c:pt>
                <c:pt idx="87">
                  <c:v>102.14084</c:v>
                </c:pt>
                <c:pt idx="88">
                  <c:v>102.19553999999999</c:v>
                </c:pt>
                <c:pt idx="89">
                  <c:v>102.193245</c:v>
                </c:pt>
                <c:pt idx="90">
                  <c:v>102.358116</c:v>
                </c:pt>
                <c:pt idx="91">
                  <c:v>103.21838</c:v>
                </c:pt>
                <c:pt idx="92">
                  <c:v>102.96835</c:v>
                </c:pt>
                <c:pt idx="93">
                  <c:v>103.119095</c:v>
                </c:pt>
                <c:pt idx="94">
                  <c:v>102.96854</c:v>
                </c:pt>
                <c:pt idx="95">
                  <c:v>103.39406</c:v>
                </c:pt>
                <c:pt idx="96">
                  <c:v>103.47984</c:v>
                </c:pt>
                <c:pt idx="97">
                  <c:v>103.254295</c:v>
                </c:pt>
                <c:pt idx="98">
                  <c:v>102.48621</c:v>
                </c:pt>
                <c:pt idx="99">
                  <c:v>102.27736</c:v>
                </c:pt>
                <c:pt idx="100">
                  <c:v>101.65973</c:v>
                </c:pt>
                <c:pt idx="101">
                  <c:v>101.86802</c:v>
                </c:pt>
                <c:pt idx="102">
                  <c:v>99.981089999999995</c:v>
                </c:pt>
                <c:pt idx="103">
                  <c:v>99.723770000000002</c:v>
                </c:pt>
                <c:pt idx="104">
                  <c:v>98.786280000000005</c:v>
                </c:pt>
                <c:pt idx="105">
                  <c:v>98.093620000000001</c:v>
                </c:pt>
                <c:pt idx="106">
                  <c:v>98.511700000000005</c:v>
                </c:pt>
                <c:pt idx="107">
                  <c:v>99.864913999999999</c:v>
                </c:pt>
                <c:pt idx="108">
                  <c:v>101.57313000000001</c:v>
                </c:pt>
                <c:pt idx="109">
                  <c:v>103.18841999999999</c:v>
                </c:pt>
                <c:pt idx="110">
                  <c:v>103.834335</c:v>
                </c:pt>
                <c:pt idx="111">
                  <c:v>103.24948999999999</c:v>
                </c:pt>
                <c:pt idx="112">
                  <c:v>101.93637</c:v>
                </c:pt>
                <c:pt idx="113">
                  <c:v>100.81402</c:v>
                </c:pt>
                <c:pt idx="114">
                  <c:v>101.19181</c:v>
                </c:pt>
                <c:pt idx="115">
                  <c:v>101.06026</c:v>
                </c:pt>
                <c:pt idx="116">
                  <c:v>102.22642500000001</c:v>
                </c:pt>
                <c:pt idx="117">
                  <c:v>103.21145</c:v>
                </c:pt>
                <c:pt idx="118">
                  <c:v>104.30334000000001</c:v>
                </c:pt>
                <c:pt idx="119">
                  <c:v>105.41378</c:v>
                </c:pt>
                <c:pt idx="120">
                  <c:v>105.1374</c:v>
                </c:pt>
                <c:pt idx="121">
                  <c:v>105.08255</c:v>
                </c:pt>
                <c:pt idx="122">
                  <c:v>105.08096</c:v>
                </c:pt>
                <c:pt idx="123">
                  <c:v>105.483154</c:v>
                </c:pt>
                <c:pt idx="124">
                  <c:v>105.96514999999999</c:v>
                </c:pt>
                <c:pt idx="125">
                  <c:v>105.96504</c:v>
                </c:pt>
                <c:pt idx="126">
                  <c:v>105.96267</c:v>
                </c:pt>
                <c:pt idx="127">
                  <c:v>105.91012600000001</c:v>
                </c:pt>
                <c:pt idx="128">
                  <c:v>108.94729</c:v>
                </c:pt>
                <c:pt idx="129">
                  <c:v>105.75463000000001</c:v>
                </c:pt>
                <c:pt idx="130">
                  <c:v>105.45379</c:v>
                </c:pt>
                <c:pt idx="131">
                  <c:v>105.20334</c:v>
                </c:pt>
                <c:pt idx="132">
                  <c:v>104.60617000000001</c:v>
                </c:pt>
                <c:pt idx="133">
                  <c:v>104.301605</c:v>
                </c:pt>
                <c:pt idx="134">
                  <c:v>104.45573</c:v>
                </c:pt>
                <c:pt idx="135">
                  <c:v>104.56643</c:v>
                </c:pt>
                <c:pt idx="136">
                  <c:v>103.89989</c:v>
                </c:pt>
                <c:pt idx="137">
                  <c:v>102.86742</c:v>
                </c:pt>
                <c:pt idx="138">
                  <c:v>102.2398</c:v>
                </c:pt>
                <c:pt idx="139">
                  <c:v>102.41949</c:v>
                </c:pt>
                <c:pt idx="140">
                  <c:v>103.09339</c:v>
                </c:pt>
                <c:pt idx="141">
                  <c:v>103.36462</c:v>
                </c:pt>
                <c:pt idx="142">
                  <c:v>103.23448</c:v>
                </c:pt>
                <c:pt idx="143">
                  <c:v>103.511894</c:v>
                </c:pt>
                <c:pt idx="144">
                  <c:v>103.644066</c:v>
                </c:pt>
                <c:pt idx="145">
                  <c:v>103.18344999999999</c:v>
                </c:pt>
                <c:pt idx="146">
                  <c:v>102.77906</c:v>
                </c:pt>
                <c:pt idx="147">
                  <c:v>102.50112</c:v>
                </c:pt>
                <c:pt idx="148">
                  <c:v>102.80665999999999</c:v>
                </c:pt>
                <c:pt idx="149">
                  <c:v>102.7585</c:v>
                </c:pt>
                <c:pt idx="150">
                  <c:v>102.73504</c:v>
                </c:pt>
                <c:pt idx="151">
                  <c:v>102.36715</c:v>
                </c:pt>
                <c:pt idx="152">
                  <c:v>102.34733</c:v>
                </c:pt>
                <c:pt idx="153">
                  <c:v>103.124275</c:v>
                </c:pt>
                <c:pt idx="154">
                  <c:v>103.67735</c:v>
                </c:pt>
                <c:pt idx="155">
                  <c:v>104.08548999999999</c:v>
                </c:pt>
                <c:pt idx="156">
                  <c:v>104.23835</c:v>
                </c:pt>
                <c:pt idx="157">
                  <c:v>104.06644</c:v>
                </c:pt>
                <c:pt idx="158">
                  <c:v>103.92538500000001</c:v>
                </c:pt>
                <c:pt idx="159">
                  <c:v>104.009445</c:v>
                </c:pt>
                <c:pt idx="160">
                  <c:v>101.33759000000001</c:v>
                </c:pt>
                <c:pt idx="161">
                  <c:v>99.972130000000007</c:v>
                </c:pt>
                <c:pt idx="162">
                  <c:v>98.644499999999994</c:v>
                </c:pt>
                <c:pt idx="163">
                  <c:v>97.978890000000007</c:v>
                </c:pt>
                <c:pt idx="164">
                  <c:v>96.899733999999995</c:v>
                </c:pt>
                <c:pt idx="165">
                  <c:v>95.494643999999994</c:v>
                </c:pt>
                <c:pt idx="166">
                  <c:v>95.976159999999993</c:v>
                </c:pt>
                <c:pt idx="167">
                  <c:v>97.827579999999998</c:v>
                </c:pt>
                <c:pt idx="168">
                  <c:v>100.22229</c:v>
                </c:pt>
                <c:pt idx="169">
                  <c:v>101.40764</c:v>
                </c:pt>
                <c:pt idx="170">
                  <c:v>100.0354</c:v>
                </c:pt>
                <c:pt idx="171">
                  <c:v>98.633309999999994</c:v>
                </c:pt>
                <c:pt idx="172">
                  <c:v>97.626914999999997</c:v>
                </c:pt>
                <c:pt idx="173">
                  <c:v>97.348830000000007</c:v>
                </c:pt>
                <c:pt idx="174">
                  <c:v>98.123360000000005</c:v>
                </c:pt>
                <c:pt idx="175">
                  <c:v>99.497320000000002</c:v>
                </c:pt>
                <c:pt idx="176">
                  <c:v>101.078964</c:v>
                </c:pt>
                <c:pt idx="177">
                  <c:v>100.65697</c:v>
                </c:pt>
                <c:pt idx="178">
                  <c:v>102.69227600000001</c:v>
                </c:pt>
                <c:pt idx="179">
                  <c:v>103.84115</c:v>
                </c:pt>
                <c:pt idx="180">
                  <c:v>103.76259</c:v>
                </c:pt>
                <c:pt idx="181">
                  <c:v>103.87659499999999</c:v>
                </c:pt>
                <c:pt idx="182">
                  <c:v>103.86041</c:v>
                </c:pt>
                <c:pt idx="183">
                  <c:v>102.44227600000001</c:v>
                </c:pt>
                <c:pt idx="184">
                  <c:v>101.17644</c:v>
                </c:pt>
                <c:pt idx="185">
                  <c:v>101.35133</c:v>
                </c:pt>
                <c:pt idx="186">
                  <c:v>102.20954999999999</c:v>
                </c:pt>
                <c:pt idx="187">
                  <c:v>103.57926</c:v>
                </c:pt>
                <c:pt idx="188">
                  <c:v>104.90576</c:v>
                </c:pt>
                <c:pt idx="189">
                  <c:v>104.84921</c:v>
                </c:pt>
                <c:pt idx="190">
                  <c:v>105.44121</c:v>
                </c:pt>
                <c:pt idx="191">
                  <c:v>105.31912</c:v>
                </c:pt>
                <c:pt idx="192">
                  <c:v>105.37321</c:v>
                </c:pt>
                <c:pt idx="193">
                  <c:v>102.61554</c:v>
                </c:pt>
                <c:pt idx="194">
                  <c:v>103.78912</c:v>
                </c:pt>
                <c:pt idx="195">
                  <c:v>103.4449</c:v>
                </c:pt>
                <c:pt idx="196">
                  <c:v>103.743645</c:v>
                </c:pt>
                <c:pt idx="197">
                  <c:v>104.05837</c:v>
                </c:pt>
                <c:pt idx="198">
                  <c:v>103.86763000000001</c:v>
                </c:pt>
                <c:pt idx="199">
                  <c:v>103.44902</c:v>
                </c:pt>
                <c:pt idx="200">
                  <c:v>103.53215</c:v>
                </c:pt>
                <c:pt idx="201">
                  <c:v>104.359505</c:v>
                </c:pt>
                <c:pt idx="202">
                  <c:v>104.15103999999999</c:v>
                </c:pt>
                <c:pt idx="203">
                  <c:v>105.110725</c:v>
                </c:pt>
                <c:pt idx="204">
                  <c:v>105.75803000000001</c:v>
                </c:pt>
                <c:pt idx="205">
                  <c:v>105.50393</c:v>
                </c:pt>
                <c:pt idx="206">
                  <c:v>105.34407</c:v>
                </c:pt>
                <c:pt idx="207">
                  <c:v>105.50700999999999</c:v>
                </c:pt>
                <c:pt idx="208">
                  <c:v>105.690445</c:v>
                </c:pt>
                <c:pt idx="209">
                  <c:v>105.40008</c:v>
                </c:pt>
                <c:pt idx="210">
                  <c:v>104.42390399999999</c:v>
                </c:pt>
                <c:pt idx="211">
                  <c:v>104.66818000000001</c:v>
                </c:pt>
                <c:pt idx="212">
                  <c:v>104.33835000000001</c:v>
                </c:pt>
                <c:pt idx="213">
                  <c:v>104.59614999999999</c:v>
                </c:pt>
                <c:pt idx="214">
                  <c:v>106.1373</c:v>
                </c:pt>
                <c:pt idx="215">
                  <c:v>106.97206</c:v>
                </c:pt>
                <c:pt idx="216">
                  <c:v>107.098</c:v>
                </c:pt>
                <c:pt idx="217">
                  <c:v>107.40464</c:v>
                </c:pt>
                <c:pt idx="218">
                  <c:v>107.69428000000001</c:v>
                </c:pt>
                <c:pt idx="219">
                  <c:v>108.29116999999999</c:v>
                </c:pt>
                <c:pt idx="220">
                  <c:v>108.55577</c:v>
                </c:pt>
                <c:pt idx="221">
                  <c:v>109.34584</c:v>
                </c:pt>
                <c:pt idx="222">
                  <c:v>109.65698999999999</c:v>
                </c:pt>
                <c:pt idx="223">
                  <c:v>109.67395999999999</c:v>
                </c:pt>
                <c:pt idx="224">
                  <c:v>106.11969999999999</c:v>
                </c:pt>
                <c:pt idx="225">
                  <c:v>106.3245</c:v>
                </c:pt>
                <c:pt idx="226">
                  <c:v>106.29182400000001</c:v>
                </c:pt>
                <c:pt idx="227">
                  <c:v>106.55218000000001</c:v>
                </c:pt>
                <c:pt idx="228">
                  <c:v>106.34048</c:v>
                </c:pt>
                <c:pt idx="229">
                  <c:v>106.88142000000001</c:v>
                </c:pt>
                <c:pt idx="230">
                  <c:v>107.4195</c:v>
                </c:pt>
                <c:pt idx="231">
                  <c:v>106.91221</c:v>
                </c:pt>
                <c:pt idx="232">
                  <c:v>106.75320000000001</c:v>
                </c:pt>
                <c:pt idx="233">
                  <c:v>106.5724</c:v>
                </c:pt>
                <c:pt idx="234">
                  <c:v>106.74351</c:v>
                </c:pt>
                <c:pt idx="235">
                  <c:v>105.70037000000001</c:v>
                </c:pt>
                <c:pt idx="236">
                  <c:v>105.210846</c:v>
                </c:pt>
                <c:pt idx="237">
                  <c:v>106.32726</c:v>
                </c:pt>
                <c:pt idx="238">
                  <c:v>107.465324</c:v>
                </c:pt>
                <c:pt idx="239">
                  <c:v>108.97496</c:v>
                </c:pt>
                <c:pt idx="240">
                  <c:v>110.30359</c:v>
                </c:pt>
                <c:pt idx="241">
                  <c:v>111.34462000000001</c:v>
                </c:pt>
                <c:pt idx="242">
                  <c:v>111.66533</c:v>
                </c:pt>
                <c:pt idx="243">
                  <c:v>112.78512600000001</c:v>
                </c:pt>
                <c:pt idx="244">
                  <c:v>111.60066</c:v>
                </c:pt>
                <c:pt idx="245">
                  <c:v>111.40442</c:v>
                </c:pt>
                <c:pt idx="246">
                  <c:v>112.79082</c:v>
                </c:pt>
                <c:pt idx="247">
                  <c:v>112.92735999999999</c:v>
                </c:pt>
                <c:pt idx="248">
                  <c:v>108.185486</c:v>
                </c:pt>
                <c:pt idx="249">
                  <c:v>106.70412399999999</c:v>
                </c:pt>
                <c:pt idx="250">
                  <c:v>105.03955999999999</c:v>
                </c:pt>
                <c:pt idx="251">
                  <c:v>101.29671</c:v>
                </c:pt>
                <c:pt idx="252">
                  <c:v>96.014179999999996</c:v>
                </c:pt>
                <c:pt idx="253">
                  <c:v>92.969070000000002</c:v>
                </c:pt>
                <c:pt idx="254">
                  <c:v>94.661995000000005</c:v>
                </c:pt>
                <c:pt idx="255">
                  <c:v>95.648859999999999</c:v>
                </c:pt>
                <c:pt idx="256">
                  <c:v>97.669075000000007</c:v>
                </c:pt>
                <c:pt idx="257">
                  <c:v>97.862750000000005</c:v>
                </c:pt>
                <c:pt idx="258">
                  <c:v>97.356964000000005</c:v>
                </c:pt>
                <c:pt idx="259">
                  <c:v>95.352999999999994</c:v>
                </c:pt>
                <c:pt idx="260">
                  <c:v>95.559073999999995</c:v>
                </c:pt>
                <c:pt idx="261">
                  <c:v>97.53913</c:v>
                </c:pt>
                <c:pt idx="262">
                  <c:v>100.18959</c:v>
                </c:pt>
                <c:pt idx="263">
                  <c:v>102.93942</c:v>
                </c:pt>
                <c:pt idx="264">
                  <c:v>104.66213999999999</c:v>
                </c:pt>
                <c:pt idx="265">
                  <c:v>105.45313</c:v>
                </c:pt>
                <c:pt idx="266">
                  <c:v>104.56321</c:v>
                </c:pt>
                <c:pt idx="267">
                  <c:v>104.53293600000001</c:v>
                </c:pt>
                <c:pt idx="268">
                  <c:v>104.75664999999999</c:v>
                </c:pt>
                <c:pt idx="269">
                  <c:v>105.34538000000001</c:v>
                </c:pt>
                <c:pt idx="270">
                  <c:v>105.96362000000001</c:v>
                </c:pt>
                <c:pt idx="271">
                  <c:v>106.321945</c:v>
                </c:pt>
                <c:pt idx="272">
                  <c:v>106.11859</c:v>
                </c:pt>
                <c:pt idx="273">
                  <c:v>105.22989</c:v>
                </c:pt>
                <c:pt idx="274">
                  <c:v>103.070694</c:v>
                </c:pt>
                <c:pt idx="275">
                  <c:v>99.790819999999997</c:v>
                </c:pt>
                <c:pt idx="276">
                  <c:v>97.004940000000005</c:v>
                </c:pt>
                <c:pt idx="277">
                  <c:v>97.386489999999995</c:v>
                </c:pt>
                <c:pt idx="278">
                  <c:v>97.876270000000005</c:v>
                </c:pt>
                <c:pt idx="279">
                  <c:v>97.49633</c:v>
                </c:pt>
                <c:pt idx="280">
                  <c:v>97.533730000000006</c:v>
                </c:pt>
                <c:pt idx="281">
                  <c:v>95.935820000000007</c:v>
                </c:pt>
                <c:pt idx="282">
                  <c:v>93.313649999999996</c:v>
                </c:pt>
                <c:pt idx="283">
                  <c:v>94.795270000000002</c:v>
                </c:pt>
                <c:pt idx="284">
                  <c:v>96.960229999999996</c:v>
                </c:pt>
                <c:pt idx="285">
                  <c:v>97.634230000000002</c:v>
                </c:pt>
                <c:pt idx="286">
                  <c:v>98.193910000000002</c:v>
                </c:pt>
                <c:pt idx="287">
                  <c:v>96.746340000000004</c:v>
                </c:pt>
                <c:pt idx="288">
                  <c:v>97.361205999999996</c:v>
                </c:pt>
                <c:pt idx="289">
                  <c:v>98.224680000000006</c:v>
                </c:pt>
                <c:pt idx="290">
                  <c:v>99.114684999999994</c:v>
                </c:pt>
                <c:pt idx="291">
                  <c:v>98.746184999999997</c:v>
                </c:pt>
                <c:pt idx="292">
                  <c:v>97.597970000000004</c:v>
                </c:pt>
                <c:pt idx="293">
                  <c:v>96.753749999999997</c:v>
                </c:pt>
                <c:pt idx="294">
                  <c:v>96.930954</c:v>
                </c:pt>
                <c:pt idx="295">
                  <c:v>97.132760000000005</c:v>
                </c:pt>
                <c:pt idx="296">
                  <c:v>98.283299999999997</c:v>
                </c:pt>
                <c:pt idx="297">
                  <c:v>99.419439999999994</c:v>
                </c:pt>
                <c:pt idx="298">
                  <c:v>100.56442</c:v>
                </c:pt>
                <c:pt idx="299">
                  <c:v>100.90053</c:v>
                </c:pt>
                <c:pt idx="300">
                  <c:v>100.44703</c:v>
                </c:pt>
                <c:pt idx="301">
                  <c:v>99.330780000000004</c:v>
                </c:pt>
                <c:pt idx="302">
                  <c:v>97.228539999999995</c:v>
                </c:pt>
                <c:pt idx="303">
                  <c:v>91.275986000000003</c:v>
                </c:pt>
                <c:pt idx="304">
                  <c:v>93.328360000000004</c:v>
                </c:pt>
                <c:pt idx="305">
                  <c:v>92.960105999999996</c:v>
                </c:pt>
                <c:pt idx="306">
                  <c:v>92.690309999999997</c:v>
                </c:pt>
                <c:pt idx="307">
                  <c:v>92.854195000000004</c:v>
                </c:pt>
                <c:pt idx="308">
                  <c:v>92.973460000000003</c:v>
                </c:pt>
                <c:pt idx="309">
                  <c:v>92.485855000000001</c:v>
                </c:pt>
                <c:pt idx="310">
                  <c:v>91.945719999999994</c:v>
                </c:pt>
                <c:pt idx="311">
                  <c:v>92.279174999999995</c:v>
                </c:pt>
                <c:pt idx="312">
                  <c:v>92.138670000000005</c:v>
                </c:pt>
                <c:pt idx="313">
                  <c:v>92.21199</c:v>
                </c:pt>
                <c:pt idx="314">
                  <c:v>92.625100000000003</c:v>
                </c:pt>
                <c:pt idx="315">
                  <c:v>92.771060000000006</c:v>
                </c:pt>
                <c:pt idx="316">
                  <c:v>93.196749999999994</c:v>
                </c:pt>
                <c:pt idx="317">
                  <c:v>93.973830000000007</c:v>
                </c:pt>
                <c:pt idx="318">
                  <c:v>94.547439999999995</c:v>
                </c:pt>
                <c:pt idx="319">
                  <c:v>94.888660000000002</c:v>
                </c:pt>
                <c:pt idx="320">
                  <c:v>92.167404000000005</c:v>
                </c:pt>
                <c:pt idx="321">
                  <c:v>94.710059999999999</c:v>
                </c:pt>
                <c:pt idx="322">
                  <c:v>94.854759999999999</c:v>
                </c:pt>
                <c:pt idx="323">
                  <c:v>93.826139999999995</c:v>
                </c:pt>
                <c:pt idx="324">
                  <c:v>94.597229999999996</c:v>
                </c:pt>
                <c:pt idx="325">
                  <c:v>94.610830000000007</c:v>
                </c:pt>
                <c:pt idx="326">
                  <c:v>95.084220000000002</c:v>
                </c:pt>
                <c:pt idx="327">
                  <c:v>94.861534000000006</c:v>
                </c:pt>
                <c:pt idx="328">
                  <c:v>94.110119999999995</c:v>
                </c:pt>
                <c:pt idx="329">
                  <c:v>93.477005000000005</c:v>
                </c:pt>
                <c:pt idx="330">
                  <c:v>93.272199999999998</c:v>
                </c:pt>
                <c:pt idx="331">
                  <c:v>93.646190000000004</c:v>
                </c:pt>
                <c:pt idx="332">
                  <c:v>94.496570000000006</c:v>
                </c:pt>
                <c:pt idx="333">
                  <c:v>95.580740000000006</c:v>
                </c:pt>
                <c:pt idx="334">
                  <c:v>95.667820000000006</c:v>
                </c:pt>
                <c:pt idx="335">
                  <c:v>95.869810000000001</c:v>
                </c:pt>
                <c:pt idx="336">
                  <c:v>96.123199999999997</c:v>
                </c:pt>
                <c:pt idx="337">
                  <c:v>97.002679999999998</c:v>
                </c:pt>
                <c:pt idx="338">
                  <c:v>98.230980000000002</c:v>
                </c:pt>
                <c:pt idx="339">
                  <c:v>98.851166000000006</c:v>
                </c:pt>
                <c:pt idx="340">
                  <c:v>100.17784</c:v>
                </c:pt>
                <c:pt idx="341">
                  <c:v>101.57581</c:v>
                </c:pt>
                <c:pt idx="342">
                  <c:v>101.82492000000001</c:v>
                </c:pt>
                <c:pt idx="343">
                  <c:v>101.886826</c:v>
                </c:pt>
                <c:pt idx="344">
                  <c:v>101.88263000000001</c:v>
                </c:pt>
                <c:pt idx="345">
                  <c:v>101.4288</c:v>
                </c:pt>
                <c:pt idx="346">
                  <c:v>100.15582000000001</c:v>
                </c:pt>
                <c:pt idx="347">
                  <c:v>99.419889999999995</c:v>
                </c:pt>
                <c:pt idx="348">
                  <c:v>99.391270000000006</c:v>
                </c:pt>
                <c:pt idx="349">
                  <c:v>99.260170000000002</c:v>
                </c:pt>
                <c:pt idx="350">
                  <c:v>99.198425</c:v>
                </c:pt>
                <c:pt idx="351">
                  <c:v>99.408420000000007</c:v>
                </c:pt>
                <c:pt idx="352">
                  <c:v>98.806640000000002</c:v>
                </c:pt>
                <c:pt idx="353">
                  <c:v>98.66319</c:v>
                </c:pt>
                <c:pt idx="354">
                  <c:v>95.253685000000004</c:v>
                </c:pt>
                <c:pt idx="355">
                  <c:v>101.18249</c:v>
                </c:pt>
                <c:pt idx="356">
                  <c:v>99.651690000000002</c:v>
                </c:pt>
                <c:pt idx="357">
                  <c:v>101.99812</c:v>
                </c:pt>
                <c:pt idx="358">
                  <c:v>103.22168000000001</c:v>
                </c:pt>
                <c:pt idx="359">
                  <c:v>105.84424</c:v>
                </c:pt>
                <c:pt idx="360">
                  <c:v>106.63092</c:v>
                </c:pt>
                <c:pt idx="361">
                  <c:v>107.3017</c:v>
                </c:pt>
                <c:pt idx="362">
                  <c:v>108.00588</c:v>
                </c:pt>
                <c:pt idx="363">
                  <c:v>107.93352</c:v>
                </c:pt>
                <c:pt idx="364">
                  <c:v>108.68754</c:v>
                </c:pt>
                <c:pt idx="365">
                  <c:v>110.80128000000001</c:v>
                </c:pt>
                <c:pt idx="366">
                  <c:v>110.60343</c:v>
                </c:pt>
                <c:pt idx="367">
                  <c:v>110.45355000000001</c:v>
                </c:pt>
                <c:pt idx="368">
                  <c:v>110.16333</c:v>
                </c:pt>
                <c:pt idx="369">
                  <c:v>108.76616</c:v>
                </c:pt>
                <c:pt idx="370">
                  <c:v>108.04754</c:v>
                </c:pt>
                <c:pt idx="371">
                  <c:v>107.74890000000001</c:v>
                </c:pt>
                <c:pt idx="372">
                  <c:v>107.618996</c:v>
                </c:pt>
                <c:pt idx="373">
                  <c:v>107.096146</c:v>
                </c:pt>
                <c:pt idx="374">
                  <c:v>107.18965</c:v>
                </c:pt>
                <c:pt idx="375">
                  <c:v>107.08732999999999</c:v>
                </c:pt>
                <c:pt idx="376">
                  <c:v>106.56599</c:v>
                </c:pt>
                <c:pt idx="377">
                  <c:v>104.65398</c:v>
                </c:pt>
                <c:pt idx="378">
                  <c:v>103.58683000000001</c:v>
                </c:pt>
                <c:pt idx="379">
                  <c:v>102.55091</c:v>
                </c:pt>
                <c:pt idx="380">
                  <c:v>102.77088000000001</c:v>
                </c:pt>
                <c:pt idx="381">
                  <c:v>101.91309</c:v>
                </c:pt>
                <c:pt idx="382">
                  <c:v>103.50452</c:v>
                </c:pt>
                <c:pt idx="383">
                  <c:v>102.04613500000001</c:v>
                </c:pt>
                <c:pt idx="384">
                  <c:v>98.773489999999995</c:v>
                </c:pt>
                <c:pt idx="385">
                  <c:v>100.29765999999999</c:v>
                </c:pt>
                <c:pt idx="386">
                  <c:v>100.763954</c:v>
                </c:pt>
                <c:pt idx="387">
                  <c:v>101.40688</c:v>
                </c:pt>
                <c:pt idx="388">
                  <c:v>102.20726999999999</c:v>
                </c:pt>
                <c:pt idx="389">
                  <c:v>103.33322</c:v>
                </c:pt>
                <c:pt idx="390">
                  <c:v>104.57165500000001</c:v>
                </c:pt>
                <c:pt idx="391">
                  <c:v>106.08553999999999</c:v>
                </c:pt>
                <c:pt idx="392">
                  <c:v>107.59508</c:v>
                </c:pt>
                <c:pt idx="393">
                  <c:v>107.96077</c:v>
                </c:pt>
                <c:pt idx="394">
                  <c:v>109.08452</c:v>
                </c:pt>
                <c:pt idx="395">
                  <c:v>109.68395</c:v>
                </c:pt>
                <c:pt idx="396">
                  <c:v>110.094284</c:v>
                </c:pt>
                <c:pt idx="397">
                  <c:v>110.443634</c:v>
                </c:pt>
                <c:pt idx="398">
                  <c:v>109.45193</c:v>
                </c:pt>
                <c:pt idx="399">
                  <c:v>107.51730000000001</c:v>
                </c:pt>
                <c:pt idx="400">
                  <c:v>105.92762</c:v>
                </c:pt>
                <c:pt idx="401">
                  <c:v>104.66291</c:v>
                </c:pt>
                <c:pt idx="402">
                  <c:v>103.77647399999999</c:v>
                </c:pt>
                <c:pt idx="403">
                  <c:v>102.40525</c:v>
                </c:pt>
                <c:pt idx="404">
                  <c:v>102.00854</c:v>
                </c:pt>
                <c:pt idx="405">
                  <c:v>104.81574999999999</c:v>
                </c:pt>
                <c:pt idx="406">
                  <c:v>107.96683</c:v>
                </c:pt>
                <c:pt idx="407">
                  <c:v>110.95283499999999</c:v>
                </c:pt>
                <c:pt idx="408">
                  <c:v>113.11219</c:v>
                </c:pt>
                <c:pt idx="409">
                  <c:v>111.93546000000001</c:v>
                </c:pt>
                <c:pt idx="410">
                  <c:v>110.96319</c:v>
                </c:pt>
                <c:pt idx="411">
                  <c:v>110.89467</c:v>
                </c:pt>
                <c:pt idx="412">
                  <c:v>107.166954</c:v>
                </c:pt>
                <c:pt idx="413">
                  <c:v>105.65497000000001</c:v>
                </c:pt>
                <c:pt idx="414">
                  <c:v>104.900764</c:v>
                </c:pt>
                <c:pt idx="415">
                  <c:v>106.98442</c:v>
                </c:pt>
                <c:pt idx="416">
                  <c:v>107.87975</c:v>
                </c:pt>
                <c:pt idx="417">
                  <c:v>108.886475</c:v>
                </c:pt>
                <c:pt idx="418">
                  <c:v>108.97230999999999</c:v>
                </c:pt>
                <c:pt idx="419">
                  <c:v>108.96290999999999</c:v>
                </c:pt>
                <c:pt idx="420">
                  <c:v>109.88756600000001</c:v>
                </c:pt>
                <c:pt idx="421">
                  <c:v>108.66852</c:v>
                </c:pt>
                <c:pt idx="422">
                  <c:v>107.402275</c:v>
                </c:pt>
                <c:pt idx="423">
                  <c:v>106.69817</c:v>
                </c:pt>
                <c:pt idx="424">
                  <c:v>103.79439499999999</c:v>
                </c:pt>
                <c:pt idx="425">
                  <c:v>109.112144</c:v>
                </c:pt>
                <c:pt idx="426">
                  <c:v>113.31959500000001</c:v>
                </c:pt>
                <c:pt idx="427">
                  <c:v>114.53688</c:v>
                </c:pt>
                <c:pt idx="428">
                  <c:v>114.40492999999999</c:v>
                </c:pt>
                <c:pt idx="429">
                  <c:v>113.62214</c:v>
                </c:pt>
                <c:pt idx="430">
                  <c:v>112.6245</c:v>
                </c:pt>
                <c:pt idx="431">
                  <c:v>109.70976</c:v>
                </c:pt>
                <c:pt idx="432">
                  <c:v>109.40635</c:v>
                </c:pt>
                <c:pt idx="433">
                  <c:v>107.7538</c:v>
                </c:pt>
                <c:pt idx="434">
                  <c:v>106.85771</c:v>
                </c:pt>
                <c:pt idx="435">
                  <c:v>106.48703</c:v>
                </c:pt>
                <c:pt idx="436">
                  <c:v>108.60204</c:v>
                </c:pt>
                <c:pt idx="437">
                  <c:v>110.256485</c:v>
                </c:pt>
                <c:pt idx="438">
                  <c:v>110.81261000000001</c:v>
                </c:pt>
                <c:pt idx="439">
                  <c:v>111.32552</c:v>
                </c:pt>
                <c:pt idx="440">
                  <c:v>111.474655</c:v>
                </c:pt>
                <c:pt idx="441">
                  <c:v>112.77658</c:v>
                </c:pt>
                <c:pt idx="442">
                  <c:v>112.39406</c:v>
                </c:pt>
                <c:pt idx="443">
                  <c:v>113.42139400000001</c:v>
                </c:pt>
                <c:pt idx="444">
                  <c:v>112.10856</c:v>
                </c:pt>
                <c:pt idx="445">
                  <c:v>110.73271</c:v>
                </c:pt>
                <c:pt idx="446">
                  <c:v>109.00176</c:v>
                </c:pt>
                <c:pt idx="447">
                  <c:v>108.127495</c:v>
                </c:pt>
                <c:pt idx="448">
                  <c:v>107.506996</c:v>
                </c:pt>
                <c:pt idx="449">
                  <c:v>105.786674</c:v>
                </c:pt>
                <c:pt idx="450">
                  <c:v>103.76739000000001</c:v>
                </c:pt>
                <c:pt idx="451">
                  <c:v>104.45298</c:v>
                </c:pt>
                <c:pt idx="452">
                  <c:v>105.72405000000001</c:v>
                </c:pt>
                <c:pt idx="453">
                  <c:v>107.40211499999999</c:v>
                </c:pt>
                <c:pt idx="454">
                  <c:v>108.54497000000001</c:v>
                </c:pt>
                <c:pt idx="455">
                  <c:v>107.44653</c:v>
                </c:pt>
                <c:pt idx="456">
                  <c:v>105.80544</c:v>
                </c:pt>
                <c:pt idx="457">
                  <c:v>103.86434</c:v>
                </c:pt>
                <c:pt idx="458">
                  <c:v>103.85814000000001</c:v>
                </c:pt>
                <c:pt idx="459">
                  <c:v>106.568405</c:v>
                </c:pt>
                <c:pt idx="460">
                  <c:v>108.09652</c:v>
                </c:pt>
                <c:pt idx="461">
                  <c:v>108.17374</c:v>
                </c:pt>
                <c:pt idx="462">
                  <c:v>108.48257</c:v>
                </c:pt>
                <c:pt idx="463">
                  <c:v>103.61394</c:v>
                </c:pt>
                <c:pt idx="464">
                  <c:v>101.27316</c:v>
                </c:pt>
                <c:pt idx="465">
                  <c:v>102.79705</c:v>
                </c:pt>
                <c:pt idx="466">
                  <c:v>103.54698999999999</c:v>
                </c:pt>
                <c:pt idx="467">
                  <c:v>103.11154000000001</c:v>
                </c:pt>
                <c:pt idx="468">
                  <c:v>102.96442</c:v>
                </c:pt>
                <c:pt idx="469">
                  <c:v>102.36149</c:v>
                </c:pt>
                <c:pt idx="470">
                  <c:v>101.012596</c:v>
                </c:pt>
                <c:pt idx="471">
                  <c:v>98.457570000000004</c:v>
                </c:pt>
                <c:pt idx="472">
                  <c:v>97.175610000000006</c:v>
                </c:pt>
                <c:pt idx="473">
                  <c:v>98.068939999999998</c:v>
                </c:pt>
                <c:pt idx="474">
                  <c:v>100.15044</c:v>
                </c:pt>
                <c:pt idx="475">
                  <c:v>103.01946</c:v>
                </c:pt>
                <c:pt idx="476">
                  <c:v>103.12343</c:v>
                </c:pt>
                <c:pt idx="477">
                  <c:v>102.05234</c:v>
                </c:pt>
                <c:pt idx="478">
                  <c:v>101.07329</c:v>
                </c:pt>
                <c:pt idx="479">
                  <c:v>100.68377</c:v>
                </c:pt>
                <c:pt idx="480">
                  <c:v>100.363365</c:v>
                </c:pt>
                <c:pt idx="481">
                  <c:v>101.80056</c:v>
                </c:pt>
                <c:pt idx="482">
                  <c:v>102.83215</c:v>
                </c:pt>
                <c:pt idx="483">
                  <c:v>103.74382</c:v>
                </c:pt>
                <c:pt idx="484">
                  <c:v>103.177734</c:v>
                </c:pt>
                <c:pt idx="485">
                  <c:v>100.74336</c:v>
                </c:pt>
                <c:pt idx="486">
                  <c:v>98.379779999999997</c:v>
                </c:pt>
                <c:pt idx="487">
                  <c:v>97.389039999999994</c:v>
                </c:pt>
                <c:pt idx="488">
                  <c:v>97.445170000000005</c:v>
                </c:pt>
                <c:pt idx="489">
                  <c:v>96.681039999999996</c:v>
                </c:pt>
                <c:pt idx="490">
                  <c:v>97.538510000000002</c:v>
                </c:pt>
                <c:pt idx="491">
                  <c:v>96.624279999999999</c:v>
                </c:pt>
                <c:pt idx="492">
                  <c:v>95.561499999999995</c:v>
                </c:pt>
                <c:pt idx="493">
                  <c:v>99.235434999999995</c:v>
                </c:pt>
                <c:pt idx="494">
                  <c:v>99.610504000000006</c:v>
                </c:pt>
                <c:pt idx="495">
                  <c:v>100.17306000000001</c:v>
                </c:pt>
                <c:pt idx="496">
                  <c:v>103.12090000000001</c:v>
                </c:pt>
                <c:pt idx="497">
                  <c:v>106.072525</c:v>
                </c:pt>
                <c:pt idx="498">
                  <c:v>107.71234</c:v>
                </c:pt>
                <c:pt idx="499">
                  <c:v>108.29232</c:v>
                </c:pt>
                <c:pt idx="500">
                  <c:v>107.87433</c:v>
                </c:pt>
                <c:pt idx="501">
                  <c:v>106.37081000000001</c:v>
                </c:pt>
                <c:pt idx="502">
                  <c:v>107.5534</c:v>
                </c:pt>
                <c:pt idx="503">
                  <c:v>105.70968999999999</c:v>
                </c:pt>
                <c:pt idx="504">
                  <c:v>106.911804</c:v>
                </c:pt>
                <c:pt idx="505">
                  <c:v>109.85073</c:v>
                </c:pt>
                <c:pt idx="506">
                  <c:v>107.94772</c:v>
                </c:pt>
                <c:pt idx="507">
                  <c:v>109.29303</c:v>
                </c:pt>
                <c:pt idx="508">
                  <c:v>105.81998</c:v>
                </c:pt>
                <c:pt idx="509">
                  <c:v>107.55413</c:v>
                </c:pt>
                <c:pt idx="510">
                  <c:v>109.23665</c:v>
                </c:pt>
                <c:pt idx="511">
                  <c:v>109.97033</c:v>
                </c:pt>
                <c:pt idx="512">
                  <c:v>110.44797</c:v>
                </c:pt>
                <c:pt idx="513">
                  <c:v>110.23807499999999</c:v>
                </c:pt>
                <c:pt idx="514">
                  <c:v>109.57075</c:v>
                </c:pt>
                <c:pt idx="515">
                  <c:v>108.585014</c:v>
                </c:pt>
                <c:pt idx="516">
                  <c:v>108.036804</c:v>
                </c:pt>
                <c:pt idx="517">
                  <c:v>106.78032</c:v>
                </c:pt>
                <c:pt idx="518">
                  <c:v>107.21169999999999</c:v>
                </c:pt>
                <c:pt idx="519">
                  <c:v>106.01832</c:v>
                </c:pt>
                <c:pt idx="520">
                  <c:v>106.46399</c:v>
                </c:pt>
                <c:pt idx="521">
                  <c:v>107.12644</c:v>
                </c:pt>
                <c:pt idx="522">
                  <c:v>106.85663</c:v>
                </c:pt>
                <c:pt idx="523">
                  <c:v>106.51479</c:v>
                </c:pt>
                <c:pt idx="524">
                  <c:v>106.33316000000001</c:v>
                </c:pt>
                <c:pt idx="525">
                  <c:v>104.8259</c:v>
                </c:pt>
                <c:pt idx="526">
                  <c:v>102.28668</c:v>
                </c:pt>
                <c:pt idx="527">
                  <c:v>103.24981</c:v>
                </c:pt>
                <c:pt idx="528">
                  <c:v>104.69847</c:v>
                </c:pt>
                <c:pt idx="529">
                  <c:v>108.26026</c:v>
                </c:pt>
                <c:pt idx="530">
                  <c:v>108.28203600000001</c:v>
                </c:pt>
                <c:pt idx="531">
                  <c:v>111.25152</c:v>
                </c:pt>
                <c:pt idx="532">
                  <c:v>115.353516</c:v>
                </c:pt>
                <c:pt idx="533">
                  <c:v>119.32462</c:v>
                </c:pt>
                <c:pt idx="534">
                  <c:v>117.70865999999999</c:v>
                </c:pt>
                <c:pt idx="535">
                  <c:v>116.479935</c:v>
                </c:pt>
                <c:pt idx="536">
                  <c:v>112.19568</c:v>
                </c:pt>
                <c:pt idx="537">
                  <c:v>108.020195</c:v>
                </c:pt>
                <c:pt idx="538">
                  <c:v>106.63648000000001</c:v>
                </c:pt>
                <c:pt idx="539">
                  <c:v>106.94821</c:v>
                </c:pt>
                <c:pt idx="540">
                  <c:v>109.27022599999999</c:v>
                </c:pt>
                <c:pt idx="541">
                  <c:v>110.603775</c:v>
                </c:pt>
                <c:pt idx="542">
                  <c:v>112.601105</c:v>
                </c:pt>
                <c:pt idx="543">
                  <c:v>114.06652</c:v>
                </c:pt>
                <c:pt idx="544">
                  <c:v>114.97834</c:v>
                </c:pt>
                <c:pt idx="545">
                  <c:v>115.09345999999999</c:v>
                </c:pt>
                <c:pt idx="546">
                  <c:v>113.63166</c:v>
                </c:pt>
                <c:pt idx="547">
                  <c:v>111.026825</c:v>
                </c:pt>
                <c:pt idx="548">
                  <c:v>107.74211</c:v>
                </c:pt>
                <c:pt idx="549">
                  <c:v>108.57374</c:v>
                </c:pt>
                <c:pt idx="550">
                  <c:v>112.82039</c:v>
                </c:pt>
                <c:pt idx="551">
                  <c:v>115.69468999999999</c:v>
                </c:pt>
                <c:pt idx="552">
                  <c:v>116.62094</c:v>
                </c:pt>
                <c:pt idx="553">
                  <c:v>116.28100000000001</c:v>
                </c:pt>
                <c:pt idx="554">
                  <c:v>115.86888</c:v>
                </c:pt>
                <c:pt idx="555">
                  <c:v>116.88954</c:v>
                </c:pt>
                <c:pt idx="556">
                  <c:v>117.95305</c:v>
                </c:pt>
                <c:pt idx="557">
                  <c:v>119.08407</c:v>
                </c:pt>
                <c:pt idx="558">
                  <c:v>119.51667</c:v>
                </c:pt>
                <c:pt idx="559">
                  <c:v>118.99114</c:v>
                </c:pt>
                <c:pt idx="560">
                  <c:v>119.846535</c:v>
                </c:pt>
                <c:pt idx="561">
                  <c:v>120.09582</c:v>
                </c:pt>
                <c:pt idx="562">
                  <c:v>120.00575000000001</c:v>
                </c:pt>
                <c:pt idx="563">
                  <c:v>120.65730000000001</c:v>
                </c:pt>
                <c:pt idx="564">
                  <c:v>119.81386999999999</c:v>
                </c:pt>
                <c:pt idx="565">
                  <c:v>118.82211</c:v>
                </c:pt>
                <c:pt idx="566">
                  <c:v>119.26523</c:v>
                </c:pt>
                <c:pt idx="567">
                  <c:v>121.04542499999999</c:v>
                </c:pt>
                <c:pt idx="568">
                  <c:v>125.85294</c:v>
                </c:pt>
                <c:pt idx="569">
                  <c:v>126.61538</c:v>
                </c:pt>
                <c:pt idx="570">
                  <c:v>126.844505</c:v>
                </c:pt>
                <c:pt idx="571">
                  <c:v>128.09907999999999</c:v>
                </c:pt>
                <c:pt idx="572">
                  <c:v>127.87757000000001</c:v>
                </c:pt>
                <c:pt idx="573">
                  <c:v>124.00487</c:v>
                </c:pt>
                <c:pt idx="574">
                  <c:v>122.5963</c:v>
                </c:pt>
                <c:pt idx="575">
                  <c:v>122.60257</c:v>
                </c:pt>
                <c:pt idx="576">
                  <c:v>122.33577</c:v>
                </c:pt>
                <c:pt idx="577">
                  <c:v>120.98061</c:v>
                </c:pt>
                <c:pt idx="578">
                  <c:v>120.10669</c:v>
                </c:pt>
                <c:pt idx="579">
                  <c:v>118.253586</c:v>
                </c:pt>
                <c:pt idx="580">
                  <c:v>117.012085</c:v>
                </c:pt>
                <c:pt idx="581">
                  <c:v>115.51893</c:v>
                </c:pt>
                <c:pt idx="582">
                  <c:v>113.56767000000001</c:v>
                </c:pt>
                <c:pt idx="583">
                  <c:v>112.56376</c:v>
                </c:pt>
                <c:pt idx="584">
                  <c:v>112.850296</c:v>
                </c:pt>
                <c:pt idx="585">
                  <c:v>116.49745</c:v>
                </c:pt>
                <c:pt idx="586">
                  <c:v>115.16804500000001</c:v>
                </c:pt>
                <c:pt idx="587">
                  <c:v>116.962395</c:v>
                </c:pt>
                <c:pt idx="588">
                  <c:v>118.23942</c:v>
                </c:pt>
                <c:pt idx="589">
                  <c:v>118.61256400000001</c:v>
                </c:pt>
                <c:pt idx="590">
                  <c:v>118.95994</c:v>
                </c:pt>
                <c:pt idx="591">
                  <c:v>119.31112</c:v>
                </c:pt>
                <c:pt idx="592">
                  <c:v>119.263245</c:v>
                </c:pt>
                <c:pt idx="593">
                  <c:v>119.03042600000001</c:v>
                </c:pt>
                <c:pt idx="594">
                  <c:v>120.02137999999999</c:v>
                </c:pt>
                <c:pt idx="595">
                  <c:v>120.55858600000001</c:v>
                </c:pt>
                <c:pt idx="596">
                  <c:v>122.22602000000001</c:v>
                </c:pt>
                <c:pt idx="597">
                  <c:v>123.825874</c:v>
                </c:pt>
                <c:pt idx="598">
                  <c:v>125.07358600000001</c:v>
                </c:pt>
                <c:pt idx="599">
                  <c:v>124.698395</c:v>
                </c:pt>
                <c:pt idx="600">
                  <c:v>123.87971</c:v>
                </c:pt>
                <c:pt idx="601">
                  <c:v>122.67847</c:v>
                </c:pt>
                <c:pt idx="602">
                  <c:v>122.02434</c:v>
                </c:pt>
                <c:pt idx="603">
                  <c:v>122.47776</c:v>
                </c:pt>
                <c:pt idx="604">
                  <c:v>123.37488</c:v>
                </c:pt>
                <c:pt idx="605">
                  <c:v>124.35339</c:v>
                </c:pt>
                <c:pt idx="606">
                  <c:v>124.68116999999999</c:v>
                </c:pt>
                <c:pt idx="607">
                  <c:v>125.07118</c:v>
                </c:pt>
                <c:pt idx="608">
                  <c:v>127.14529</c:v>
                </c:pt>
                <c:pt idx="609">
                  <c:v>127.73567</c:v>
                </c:pt>
                <c:pt idx="610">
                  <c:v>127.41479</c:v>
                </c:pt>
                <c:pt idx="611">
                  <c:v>127.92704000000001</c:v>
                </c:pt>
                <c:pt idx="612">
                  <c:v>127.29921</c:v>
                </c:pt>
                <c:pt idx="613">
                  <c:v>126.71187999999999</c:v>
                </c:pt>
                <c:pt idx="614">
                  <c:v>126.01939400000001</c:v>
                </c:pt>
                <c:pt idx="615">
                  <c:v>125.98215500000001</c:v>
                </c:pt>
                <c:pt idx="616">
                  <c:v>125.8283</c:v>
                </c:pt>
                <c:pt idx="617">
                  <c:v>126.024345</c:v>
                </c:pt>
                <c:pt idx="618">
                  <c:v>126.62398</c:v>
                </c:pt>
                <c:pt idx="619">
                  <c:v>127.184105</c:v>
                </c:pt>
                <c:pt idx="620">
                  <c:v>126.36227</c:v>
                </c:pt>
                <c:pt idx="621">
                  <c:v>126.85113</c:v>
                </c:pt>
                <c:pt idx="622">
                  <c:v>126.51821</c:v>
                </c:pt>
                <c:pt idx="623">
                  <c:v>123.94409</c:v>
                </c:pt>
                <c:pt idx="624">
                  <c:v>125.458984</c:v>
                </c:pt>
                <c:pt idx="625">
                  <c:v>124.6619</c:v>
                </c:pt>
                <c:pt idx="626">
                  <c:v>123.92982499999999</c:v>
                </c:pt>
                <c:pt idx="627">
                  <c:v>121.89601</c:v>
                </c:pt>
                <c:pt idx="628">
                  <c:v>121.86075599999999</c:v>
                </c:pt>
                <c:pt idx="629">
                  <c:v>121.68487</c:v>
                </c:pt>
                <c:pt idx="630">
                  <c:v>122.37757999999999</c:v>
                </c:pt>
                <c:pt idx="631">
                  <c:v>122.14654</c:v>
                </c:pt>
                <c:pt idx="632">
                  <c:v>121.52164999999999</c:v>
                </c:pt>
                <c:pt idx="633">
                  <c:v>122.49536000000001</c:v>
                </c:pt>
                <c:pt idx="634">
                  <c:v>122.12759</c:v>
                </c:pt>
                <c:pt idx="635">
                  <c:v>123.19112</c:v>
                </c:pt>
                <c:pt idx="636">
                  <c:v>125.511894</c:v>
                </c:pt>
                <c:pt idx="637">
                  <c:v>128.11369999999999</c:v>
                </c:pt>
                <c:pt idx="638">
                  <c:v>129.5025</c:v>
                </c:pt>
                <c:pt idx="639">
                  <c:v>130.93439000000001</c:v>
                </c:pt>
                <c:pt idx="640">
                  <c:v>131.31566000000001</c:v>
                </c:pt>
                <c:pt idx="641">
                  <c:v>130.04909000000001</c:v>
                </c:pt>
                <c:pt idx="642">
                  <c:v>130.14672999999999</c:v>
                </c:pt>
                <c:pt idx="643">
                  <c:v>130.08098000000001</c:v>
                </c:pt>
                <c:pt idx="644">
                  <c:v>130.52966000000001</c:v>
                </c:pt>
                <c:pt idx="645">
                  <c:v>133.24399</c:v>
                </c:pt>
                <c:pt idx="646">
                  <c:v>131.73326</c:v>
                </c:pt>
                <c:pt idx="647">
                  <c:v>131.38005000000001</c:v>
                </c:pt>
                <c:pt idx="648">
                  <c:v>130.75116</c:v>
                </c:pt>
                <c:pt idx="649">
                  <c:v>131.25785999999999</c:v>
                </c:pt>
                <c:pt idx="650">
                  <c:v>130.83366000000001</c:v>
                </c:pt>
                <c:pt idx="651">
                  <c:v>129.23581999999999</c:v>
                </c:pt>
                <c:pt idx="652">
                  <c:v>125.21323</c:v>
                </c:pt>
                <c:pt idx="653">
                  <c:v>118.549385</c:v>
                </c:pt>
                <c:pt idx="654">
                  <c:v>115.755135</c:v>
                </c:pt>
                <c:pt idx="655">
                  <c:v>118.60326999999999</c:v>
                </c:pt>
                <c:pt idx="656">
                  <c:v>121.55556</c:v>
                </c:pt>
                <c:pt idx="657">
                  <c:v>123.37315</c:v>
                </c:pt>
                <c:pt idx="658">
                  <c:v>124.15944</c:v>
                </c:pt>
                <c:pt idx="659">
                  <c:v>124.58207</c:v>
                </c:pt>
                <c:pt idx="660">
                  <c:v>124.901405</c:v>
                </c:pt>
                <c:pt idx="661">
                  <c:v>124.96057</c:v>
                </c:pt>
                <c:pt idx="662">
                  <c:v>124.804405</c:v>
                </c:pt>
                <c:pt idx="663">
                  <c:v>125.17935</c:v>
                </c:pt>
                <c:pt idx="664">
                  <c:v>125.49729000000001</c:v>
                </c:pt>
                <c:pt idx="665">
                  <c:v>125.64202</c:v>
                </c:pt>
                <c:pt idx="666">
                  <c:v>126.23820000000001</c:v>
                </c:pt>
                <c:pt idx="667">
                  <c:v>125.95825000000001</c:v>
                </c:pt>
                <c:pt idx="668">
                  <c:v>125.383</c:v>
                </c:pt>
                <c:pt idx="669">
                  <c:v>126.08396</c:v>
                </c:pt>
                <c:pt idx="670">
                  <c:v>126.75435</c:v>
                </c:pt>
                <c:pt idx="671">
                  <c:v>126.07677</c:v>
                </c:pt>
                <c:pt idx="672">
                  <c:v>125.01362</c:v>
                </c:pt>
                <c:pt idx="673">
                  <c:v>124.58588399999999</c:v>
                </c:pt>
                <c:pt idx="674">
                  <c:v>124.62752500000001</c:v>
                </c:pt>
                <c:pt idx="675">
                  <c:v>125.48215</c:v>
                </c:pt>
                <c:pt idx="676">
                  <c:v>125.76423</c:v>
                </c:pt>
                <c:pt idx="677">
                  <c:v>126.79782</c:v>
                </c:pt>
                <c:pt idx="678">
                  <c:v>127.46872</c:v>
                </c:pt>
                <c:pt idx="679">
                  <c:v>126.83616000000001</c:v>
                </c:pt>
                <c:pt idx="680">
                  <c:v>128.48714000000001</c:v>
                </c:pt>
                <c:pt idx="681">
                  <c:v>129.05287000000001</c:v>
                </c:pt>
                <c:pt idx="682">
                  <c:v>129.10375999999999</c:v>
                </c:pt>
                <c:pt idx="683">
                  <c:v>129.09165999999999</c:v>
                </c:pt>
                <c:pt idx="684">
                  <c:v>128.95508000000001</c:v>
                </c:pt>
                <c:pt idx="685">
                  <c:v>128.82837000000001</c:v>
                </c:pt>
                <c:pt idx="686">
                  <c:v>128.80327</c:v>
                </c:pt>
                <c:pt idx="687">
                  <c:v>128.34900999999999</c:v>
                </c:pt>
                <c:pt idx="688">
                  <c:v>128.12047000000001</c:v>
                </c:pt>
                <c:pt idx="689">
                  <c:v>128.09952000000001</c:v>
                </c:pt>
                <c:pt idx="690">
                  <c:v>127.952995</c:v>
                </c:pt>
                <c:pt idx="691">
                  <c:v>128.07544999999999</c:v>
                </c:pt>
                <c:pt idx="692">
                  <c:v>128.05155999999999</c:v>
                </c:pt>
                <c:pt idx="693">
                  <c:v>128.01392000000001</c:v>
                </c:pt>
                <c:pt idx="694">
                  <c:v>127.17231</c:v>
                </c:pt>
                <c:pt idx="695">
                  <c:v>128.2971</c:v>
                </c:pt>
                <c:pt idx="696">
                  <c:v>127.36107</c:v>
                </c:pt>
                <c:pt idx="697">
                  <c:v>128.44372999999999</c:v>
                </c:pt>
                <c:pt idx="698">
                  <c:v>128.53645</c:v>
                </c:pt>
                <c:pt idx="699">
                  <c:v>128.59290999999999</c:v>
                </c:pt>
                <c:pt idx="700">
                  <c:v>129.17078000000001</c:v>
                </c:pt>
                <c:pt idx="701">
                  <c:v>129.38934</c:v>
                </c:pt>
                <c:pt idx="702">
                  <c:v>129.46426</c:v>
                </c:pt>
                <c:pt idx="703">
                  <c:v>129.34871000000001</c:v>
                </c:pt>
                <c:pt idx="704">
                  <c:v>129.2628</c:v>
                </c:pt>
                <c:pt idx="705">
                  <c:v>129.33913000000001</c:v>
                </c:pt>
                <c:pt idx="706">
                  <c:v>129.80238</c:v>
                </c:pt>
                <c:pt idx="707">
                  <c:v>130.12799000000001</c:v>
                </c:pt>
                <c:pt idx="708">
                  <c:v>130.35982000000001</c:v>
                </c:pt>
                <c:pt idx="709">
                  <c:v>130.38998000000001</c:v>
                </c:pt>
                <c:pt idx="710">
                  <c:v>129.99503000000001</c:v>
                </c:pt>
                <c:pt idx="711">
                  <c:v>129.51940999999999</c:v>
                </c:pt>
                <c:pt idx="712">
                  <c:v>129.60434000000001</c:v>
                </c:pt>
                <c:pt idx="713">
                  <c:v>129.6902</c:v>
                </c:pt>
                <c:pt idx="714">
                  <c:v>130.23061999999999</c:v>
                </c:pt>
                <c:pt idx="715">
                  <c:v>130.29526999999999</c:v>
                </c:pt>
                <c:pt idx="716">
                  <c:v>130.23186999999999</c:v>
                </c:pt>
                <c:pt idx="717">
                  <c:v>129.06268</c:v>
                </c:pt>
                <c:pt idx="718">
                  <c:v>130.92416</c:v>
                </c:pt>
                <c:pt idx="719">
                  <c:v>131.13570999999999</c:v>
                </c:pt>
                <c:pt idx="720">
                  <c:v>131.63075000000001</c:v>
                </c:pt>
                <c:pt idx="721">
                  <c:v>131.82042999999999</c:v>
                </c:pt>
                <c:pt idx="722">
                  <c:v>131.86497</c:v>
                </c:pt>
                <c:pt idx="723">
                  <c:v>132.08320000000001</c:v>
                </c:pt>
                <c:pt idx="724">
                  <c:v>132.60776000000001</c:v>
                </c:pt>
                <c:pt idx="725">
                  <c:v>132.45282</c:v>
                </c:pt>
                <c:pt idx="726">
                  <c:v>132.66136</c:v>
                </c:pt>
                <c:pt idx="727">
                  <c:v>133.1249</c:v>
                </c:pt>
                <c:pt idx="728">
                  <c:v>132.35293999999999</c:v>
                </c:pt>
                <c:pt idx="729">
                  <c:v>132.18385000000001</c:v>
                </c:pt>
                <c:pt idx="730">
                  <c:v>132.12102999999999</c:v>
                </c:pt>
                <c:pt idx="731">
                  <c:v>132.24115</c:v>
                </c:pt>
                <c:pt idx="732">
                  <c:v>132.28811999999999</c:v>
                </c:pt>
                <c:pt idx="733">
                  <c:v>132.7056</c:v>
                </c:pt>
                <c:pt idx="734">
                  <c:v>132.83992000000001</c:v>
                </c:pt>
                <c:pt idx="735">
                  <c:v>132.60175000000001</c:v>
                </c:pt>
                <c:pt idx="736">
                  <c:v>132.67824999999999</c:v>
                </c:pt>
                <c:pt idx="737">
                  <c:v>132.60532000000001</c:v>
                </c:pt>
                <c:pt idx="738">
                  <c:v>132.69479999999999</c:v>
                </c:pt>
                <c:pt idx="739">
                  <c:v>133.12075999999999</c:v>
                </c:pt>
                <c:pt idx="740">
                  <c:v>133.13315</c:v>
                </c:pt>
                <c:pt idx="741">
                  <c:v>133.55082999999999</c:v>
                </c:pt>
                <c:pt idx="742">
                  <c:v>133.5335</c:v>
                </c:pt>
                <c:pt idx="743">
                  <c:v>133.68729999999999</c:v>
                </c:pt>
                <c:pt idx="744">
                  <c:v>134.07088999999999</c:v>
                </c:pt>
                <c:pt idx="745">
                  <c:v>134.42985999999999</c:v>
                </c:pt>
                <c:pt idx="746">
                  <c:v>134.33472</c:v>
                </c:pt>
                <c:pt idx="747">
                  <c:v>134.45214999999999</c:v>
                </c:pt>
                <c:pt idx="748">
                  <c:v>134.48456999999999</c:v>
                </c:pt>
                <c:pt idx="749">
                  <c:v>134.17604</c:v>
                </c:pt>
                <c:pt idx="750">
                  <c:v>133.46010999999999</c:v>
                </c:pt>
                <c:pt idx="751">
                  <c:v>133.5693</c:v>
                </c:pt>
                <c:pt idx="752">
                  <c:v>133.60390000000001</c:v>
                </c:pt>
                <c:pt idx="753">
                  <c:v>133.75927999999999</c:v>
                </c:pt>
                <c:pt idx="754">
                  <c:v>133.00504000000001</c:v>
                </c:pt>
                <c:pt idx="755">
                  <c:v>133.0119</c:v>
                </c:pt>
                <c:pt idx="756">
                  <c:v>133.67058</c:v>
                </c:pt>
                <c:pt idx="757">
                  <c:v>134.39937</c:v>
                </c:pt>
                <c:pt idx="758">
                  <c:v>134.82173</c:v>
                </c:pt>
                <c:pt idx="759">
                  <c:v>134.78136000000001</c:v>
                </c:pt>
                <c:pt idx="760">
                  <c:v>135.12079</c:v>
                </c:pt>
                <c:pt idx="761">
                  <c:v>135.30070000000001</c:v>
                </c:pt>
                <c:pt idx="762">
                  <c:v>135.64294000000001</c:v>
                </c:pt>
                <c:pt idx="763">
                  <c:v>135.71922000000001</c:v>
                </c:pt>
                <c:pt idx="764">
                  <c:v>135.78853000000001</c:v>
                </c:pt>
                <c:pt idx="765">
                  <c:v>135.79346000000001</c:v>
                </c:pt>
                <c:pt idx="766">
                  <c:v>135.89096000000001</c:v>
                </c:pt>
                <c:pt idx="767">
                  <c:v>135.86516</c:v>
                </c:pt>
                <c:pt idx="768">
                  <c:v>136.28505000000001</c:v>
                </c:pt>
                <c:pt idx="769">
                  <c:v>133.86519000000001</c:v>
                </c:pt>
                <c:pt idx="770">
                  <c:v>131.76543000000001</c:v>
                </c:pt>
                <c:pt idx="771">
                  <c:v>130.60222999999999</c:v>
                </c:pt>
                <c:pt idx="772">
                  <c:v>127.784676</c:v>
                </c:pt>
                <c:pt idx="773">
                  <c:v>126.12224000000001</c:v>
                </c:pt>
                <c:pt idx="774">
                  <c:v>127.81292000000001</c:v>
                </c:pt>
                <c:pt idx="775">
                  <c:v>126.87994399999999</c:v>
                </c:pt>
                <c:pt idx="776">
                  <c:v>128.82332</c:v>
                </c:pt>
                <c:pt idx="777">
                  <c:v>127.51338</c:v>
                </c:pt>
                <c:pt idx="778">
                  <c:v>126.219666</c:v>
                </c:pt>
                <c:pt idx="779">
                  <c:v>121.164986</c:v>
                </c:pt>
                <c:pt idx="780">
                  <c:v>125.81352</c:v>
                </c:pt>
                <c:pt idx="781">
                  <c:v>119.08920999999999</c:v>
                </c:pt>
                <c:pt idx="782">
                  <c:v>113.100075</c:v>
                </c:pt>
                <c:pt idx="783">
                  <c:v>114.9957</c:v>
                </c:pt>
                <c:pt idx="784">
                  <c:v>109.41634000000001</c:v>
                </c:pt>
                <c:pt idx="785">
                  <c:v>109.56506</c:v>
                </c:pt>
                <c:pt idx="786">
                  <c:v>107.34981500000001</c:v>
                </c:pt>
                <c:pt idx="787">
                  <c:v>106.24439</c:v>
                </c:pt>
                <c:pt idx="788">
                  <c:v>104.66768999999999</c:v>
                </c:pt>
                <c:pt idx="789">
                  <c:v>103.86326</c:v>
                </c:pt>
                <c:pt idx="790">
                  <c:v>107.86957</c:v>
                </c:pt>
                <c:pt idx="791">
                  <c:v>111.82334</c:v>
                </c:pt>
                <c:pt idx="792">
                  <c:v>116.78559</c:v>
                </c:pt>
                <c:pt idx="793">
                  <c:v>118.90594</c:v>
                </c:pt>
                <c:pt idx="794">
                  <c:v>120.71926999999999</c:v>
                </c:pt>
                <c:pt idx="795">
                  <c:v>121.3613</c:v>
                </c:pt>
                <c:pt idx="796">
                  <c:v>124.69454</c:v>
                </c:pt>
                <c:pt idx="797">
                  <c:v>121.9289</c:v>
                </c:pt>
                <c:pt idx="798">
                  <c:v>122.506</c:v>
                </c:pt>
                <c:pt idx="799">
                  <c:v>124.819626</c:v>
                </c:pt>
                <c:pt idx="800">
                  <c:v>126.22949</c:v>
                </c:pt>
                <c:pt idx="801">
                  <c:v>127.91564</c:v>
                </c:pt>
                <c:pt idx="802">
                  <c:v>129.60787999999999</c:v>
                </c:pt>
                <c:pt idx="803">
                  <c:v>129.85907</c:v>
                </c:pt>
                <c:pt idx="804">
                  <c:v>131.67492999999999</c:v>
                </c:pt>
                <c:pt idx="805">
                  <c:v>131.54791</c:v>
                </c:pt>
                <c:pt idx="806">
                  <c:v>131.18977000000001</c:v>
                </c:pt>
                <c:pt idx="807">
                  <c:v>131.18636000000001</c:v>
                </c:pt>
                <c:pt idx="808">
                  <c:v>127.48350499999999</c:v>
                </c:pt>
                <c:pt idx="809">
                  <c:v>125.15288</c:v>
                </c:pt>
                <c:pt idx="810">
                  <c:v>124.89088</c:v>
                </c:pt>
                <c:pt idx="811">
                  <c:v>124.62706</c:v>
                </c:pt>
                <c:pt idx="812">
                  <c:v>125.785</c:v>
                </c:pt>
                <c:pt idx="813">
                  <c:v>129.08354</c:v>
                </c:pt>
                <c:pt idx="814">
                  <c:v>127.34414</c:v>
                </c:pt>
                <c:pt idx="815">
                  <c:v>133.04283000000001</c:v>
                </c:pt>
                <c:pt idx="816">
                  <c:v>133.23979</c:v>
                </c:pt>
                <c:pt idx="817">
                  <c:v>127.54748499999999</c:v>
                </c:pt>
                <c:pt idx="818">
                  <c:v>128.10826</c:v>
                </c:pt>
                <c:pt idx="819">
                  <c:v>127.59853</c:v>
                </c:pt>
                <c:pt idx="820">
                  <c:v>127.23944</c:v>
                </c:pt>
                <c:pt idx="821">
                  <c:v>127.90163</c:v>
                </c:pt>
                <c:pt idx="822">
                  <c:v>128.48387</c:v>
                </c:pt>
                <c:pt idx="823">
                  <c:v>127.223495</c:v>
                </c:pt>
                <c:pt idx="824">
                  <c:v>125.57178</c:v>
                </c:pt>
                <c:pt idx="825">
                  <c:v>124.57792999999999</c:v>
                </c:pt>
                <c:pt idx="826">
                  <c:v>127.01336000000001</c:v>
                </c:pt>
                <c:pt idx="827">
                  <c:v>129.42734999999999</c:v>
                </c:pt>
                <c:pt idx="828">
                  <c:v>127.02433000000001</c:v>
                </c:pt>
                <c:pt idx="829">
                  <c:v>117.85328</c:v>
                </c:pt>
                <c:pt idx="830">
                  <c:v>115.764404</c:v>
                </c:pt>
                <c:pt idx="831">
                  <c:v>117.25063</c:v>
                </c:pt>
                <c:pt idx="832">
                  <c:v>119.15948</c:v>
                </c:pt>
                <c:pt idx="833">
                  <c:v>121.661934</c:v>
                </c:pt>
                <c:pt idx="834">
                  <c:v>124.197784</c:v>
                </c:pt>
                <c:pt idx="835">
                  <c:v>125.654106</c:v>
                </c:pt>
                <c:pt idx="836">
                  <c:v>127.03882</c:v>
                </c:pt>
                <c:pt idx="837">
                  <c:v>126.144516</c:v>
                </c:pt>
                <c:pt idx="838">
                  <c:v>126.19636</c:v>
                </c:pt>
                <c:pt idx="839">
                  <c:v>127.427864</c:v>
                </c:pt>
                <c:pt idx="840">
                  <c:v>127.8886</c:v>
                </c:pt>
                <c:pt idx="841">
                  <c:v>129.63475</c:v>
                </c:pt>
                <c:pt idx="842">
                  <c:v>130.84012999999999</c:v>
                </c:pt>
                <c:pt idx="843">
                  <c:v>131.09048000000001</c:v>
                </c:pt>
                <c:pt idx="844">
                  <c:v>131.00081</c:v>
                </c:pt>
                <c:pt idx="845">
                  <c:v>127.81034</c:v>
                </c:pt>
                <c:pt idx="846">
                  <c:v>127.17793</c:v>
                </c:pt>
                <c:pt idx="847">
                  <c:v>127.402016</c:v>
                </c:pt>
                <c:pt idx="848">
                  <c:v>125.73961</c:v>
                </c:pt>
                <c:pt idx="849">
                  <c:v>128.59674000000001</c:v>
                </c:pt>
                <c:pt idx="850">
                  <c:v>128.76874000000001</c:v>
                </c:pt>
                <c:pt idx="851">
                  <c:v>128.95626999999999</c:v>
                </c:pt>
                <c:pt idx="852">
                  <c:v>130.31206</c:v>
                </c:pt>
                <c:pt idx="853">
                  <c:v>129.10988</c:v>
                </c:pt>
                <c:pt idx="854">
                  <c:v>127.89677</c:v>
                </c:pt>
                <c:pt idx="855">
                  <c:v>128.02419</c:v>
                </c:pt>
                <c:pt idx="856">
                  <c:v>126.75098</c:v>
                </c:pt>
                <c:pt idx="857">
                  <c:v>126.92685</c:v>
                </c:pt>
                <c:pt idx="858">
                  <c:v>127.8516</c:v>
                </c:pt>
                <c:pt idx="859">
                  <c:v>128.37531999999999</c:v>
                </c:pt>
                <c:pt idx="860">
                  <c:v>128.85132999999999</c:v>
                </c:pt>
                <c:pt idx="861">
                  <c:v>126.36126</c:v>
                </c:pt>
                <c:pt idx="862">
                  <c:v>129.80109999999999</c:v>
                </c:pt>
                <c:pt idx="863">
                  <c:v>128.14818</c:v>
                </c:pt>
                <c:pt idx="864">
                  <c:v>130.09491</c:v>
                </c:pt>
                <c:pt idx="865">
                  <c:v>131.73660000000001</c:v>
                </c:pt>
                <c:pt idx="866">
                  <c:v>130.39718999999999</c:v>
                </c:pt>
                <c:pt idx="867">
                  <c:v>130.85425000000001</c:v>
                </c:pt>
                <c:pt idx="868">
                  <c:v>131.5316</c:v>
                </c:pt>
                <c:pt idx="869">
                  <c:v>131.63701</c:v>
                </c:pt>
                <c:pt idx="870">
                  <c:v>131.92385999999999</c:v>
                </c:pt>
                <c:pt idx="871">
                  <c:v>132.47829999999999</c:v>
                </c:pt>
                <c:pt idx="872">
                  <c:v>132.81498999999999</c:v>
                </c:pt>
                <c:pt idx="873">
                  <c:v>133.10759999999999</c:v>
                </c:pt>
                <c:pt idx="874">
                  <c:v>132.79490000000001</c:v>
                </c:pt>
                <c:pt idx="875">
                  <c:v>132.32335</c:v>
                </c:pt>
                <c:pt idx="876">
                  <c:v>134.33624</c:v>
                </c:pt>
                <c:pt idx="877">
                  <c:v>132.36015</c:v>
                </c:pt>
                <c:pt idx="878">
                  <c:v>132.84166999999999</c:v>
                </c:pt>
                <c:pt idx="879">
                  <c:v>132.11600000000001</c:v>
                </c:pt>
                <c:pt idx="880">
                  <c:v>133.29490000000001</c:v>
                </c:pt>
                <c:pt idx="881">
                  <c:v>133.67035999999999</c:v>
                </c:pt>
                <c:pt idx="882">
                  <c:v>134.03650999999999</c:v>
                </c:pt>
                <c:pt idx="883">
                  <c:v>134.49010999999999</c:v>
                </c:pt>
                <c:pt idx="884">
                  <c:v>134.92617999999999</c:v>
                </c:pt>
                <c:pt idx="885">
                  <c:v>135.18672000000001</c:v>
                </c:pt>
                <c:pt idx="886">
                  <c:v>135.35651999999999</c:v>
                </c:pt>
                <c:pt idx="887">
                  <c:v>135.14966000000001</c:v>
                </c:pt>
                <c:pt idx="888">
                  <c:v>135.65780000000001</c:v>
                </c:pt>
                <c:pt idx="889">
                  <c:v>135.67457999999999</c:v>
                </c:pt>
                <c:pt idx="890">
                  <c:v>135.79283000000001</c:v>
                </c:pt>
                <c:pt idx="891">
                  <c:v>136.92764</c:v>
                </c:pt>
                <c:pt idx="892">
                  <c:v>136.10855000000001</c:v>
                </c:pt>
                <c:pt idx="893">
                  <c:v>136.04024999999999</c:v>
                </c:pt>
                <c:pt idx="894">
                  <c:v>136.06601000000001</c:v>
                </c:pt>
                <c:pt idx="895">
                  <c:v>136.32686000000001</c:v>
                </c:pt>
                <c:pt idx="896">
                  <c:v>136.69179</c:v>
                </c:pt>
                <c:pt idx="897">
                  <c:v>136.99841000000001</c:v>
                </c:pt>
                <c:pt idx="898">
                  <c:v>137.57628</c:v>
                </c:pt>
                <c:pt idx="899">
                  <c:v>137.71218999999999</c:v>
                </c:pt>
                <c:pt idx="900">
                  <c:v>138.06738000000001</c:v>
                </c:pt>
                <c:pt idx="901">
                  <c:v>138.18839</c:v>
                </c:pt>
                <c:pt idx="902">
                  <c:v>138.47888</c:v>
                </c:pt>
                <c:pt idx="903">
                  <c:v>139.11938000000001</c:v>
                </c:pt>
                <c:pt idx="904">
                  <c:v>138.22922</c:v>
                </c:pt>
                <c:pt idx="905">
                  <c:v>137.4983</c:v>
                </c:pt>
                <c:pt idx="906">
                  <c:v>136.17891</c:v>
                </c:pt>
                <c:pt idx="907">
                  <c:v>136.39453</c:v>
                </c:pt>
                <c:pt idx="908">
                  <c:v>135.79957999999999</c:v>
                </c:pt>
                <c:pt idx="909">
                  <c:v>135.47627</c:v>
                </c:pt>
                <c:pt idx="910">
                  <c:v>135.93051</c:v>
                </c:pt>
                <c:pt idx="911">
                  <c:v>136.34829999999999</c:v>
                </c:pt>
                <c:pt idx="912">
                  <c:v>136.27519000000001</c:v>
                </c:pt>
                <c:pt idx="913">
                  <c:v>134.18355</c:v>
                </c:pt>
                <c:pt idx="914">
                  <c:v>134.05887999999999</c:v>
                </c:pt>
                <c:pt idx="915">
                  <c:v>134.46735000000001</c:v>
                </c:pt>
                <c:pt idx="916">
                  <c:v>134.71870000000001</c:v>
                </c:pt>
                <c:pt idx="917">
                  <c:v>133.78949</c:v>
                </c:pt>
                <c:pt idx="918">
                  <c:v>133.47569999999999</c:v>
                </c:pt>
                <c:pt idx="919">
                  <c:v>134.11995999999999</c:v>
                </c:pt>
                <c:pt idx="920">
                  <c:v>135.02762999999999</c:v>
                </c:pt>
                <c:pt idx="921">
                  <c:v>134.99352999999999</c:v>
                </c:pt>
                <c:pt idx="922">
                  <c:v>135.09137999999999</c:v>
                </c:pt>
                <c:pt idx="923">
                  <c:v>135.79729</c:v>
                </c:pt>
                <c:pt idx="924">
                  <c:v>135.55054000000001</c:v>
                </c:pt>
                <c:pt idx="925">
                  <c:v>136.22093000000001</c:v>
                </c:pt>
                <c:pt idx="926">
                  <c:v>135.96286000000001</c:v>
                </c:pt>
                <c:pt idx="927">
                  <c:v>136.53052</c:v>
                </c:pt>
                <c:pt idx="928">
                  <c:v>137.03980999999999</c:v>
                </c:pt>
                <c:pt idx="929">
                  <c:v>137.6388</c:v>
                </c:pt>
                <c:pt idx="930">
                  <c:v>138.47970000000001</c:v>
                </c:pt>
                <c:pt idx="931">
                  <c:v>138.49520000000001</c:v>
                </c:pt>
                <c:pt idx="932">
                  <c:v>138.36070000000001</c:v>
                </c:pt>
                <c:pt idx="933">
                  <c:v>138.29192</c:v>
                </c:pt>
                <c:pt idx="934">
                  <c:v>138.33614</c:v>
                </c:pt>
                <c:pt idx="935">
                  <c:v>137.67841999999999</c:v>
                </c:pt>
                <c:pt idx="936">
                  <c:v>137.64644000000001</c:v>
                </c:pt>
                <c:pt idx="937">
                  <c:v>137.56325000000001</c:v>
                </c:pt>
                <c:pt idx="938">
                  <c:v>137.73465999999999</c:v>
                </c:pt>
                <c:pt idx="939">
                  <c:v>137.91640000000001</c:v>
                </c:pt>
                <c:pt idx="940">
                  <c:v>137.34408999999999</c:v>
                </c:pt>
                <c:pt idx="941">
                  <c:v>136.97790000000001</c:v>
                </c:pt>
                <c:pt idx="942">
                  <c:v>135.42187999999999</c:v>
                </c:pt>
                <c:pt idx="943">
                  <c:v>135.18617</c:v>
                </c:pt>
                <c:pt idx="944">
                  <c:v>134.60005000000001</c:v>
                </c:pt>
                <c:pt idx="945">
                  <c:v>134.84096</c:v>
                </c:pt>
                <c:pt idx="946">
                  <c:v>135.6806</c:v>
                </c:pt>
                <c:pt idx="947">
                  <c:v>136.83815000000001</c:v>
                </c:pt>
                <c:pt idx="948">
                  <c:v>137.89534</c:v>
                </c:pt>
                <c:pt idx="949">
                  <c:v>138.34520000000001</c:v>
                </c:pt>
                <c:pt idx="950">
                  <c:v>139.01918000000001</c:v>
                </c:pt>
                <c:pt idx="951">
                  <c:v>139.15012999999999</c:v>
                </c:pt>
                <c:pt idx="952">
                  <c:v>139.47253000000001</c:v>
                </c:pt>
                <c:pt idx="953">
                  <c:v>139.31100000000001</c:v>
                </c:pt>
                <c:pt idx="954">
                  <c:v>138.63784999999999</c:v>
                </c:pt>
                <c:pt idx="955">
                  <c:v>140.30063999999999</c:v>
                </c:pt>
                <c:pt idx="956">
                  <c:v>141.28211999999999</c:v>
                </c:pt>
                <c:pt idx="957">
                  <c:v>140.13679999999999</c:v>
                </c:pt>
                <c:pt idx="958">
                  <c:v>140.10550000000001</c:v>
                </c:pt>
                <c:pt idx="959">
                  <c:v>139.88264000000001</c:v>
                </c:pt>
                <c:pt idx="960">
                  <c:v>139.97695999999999</c:v>
                </c:pt>
                <c:pt idx="961">
                  <c:v>140.49132</c:v>
                </c:pt>
                <c:pt idx="962">
                  <c:v>140.61102</c:v>
                </c:pt>
                <c:pt idx="963">
                  <c:v>140.80485999999999</c:v>
                </c:pt>
                <c:pt idx="964">
                  <c:v>140.85641000000001</c:v>
                </c:pt>
                <c:pt idx="965">
                  <c:v>141.07730000000001</c:v>
                </c:pt>
                <c:pt idx="966">
                  <c:v>141.24405999999999</c:v>
                </c:pt>
                <c:pt idx="967">
                  <c:v>141.30186</c:v>
                </c:pt>
                <c:pt idx="968">
                  <c:v>141.54526999999999</c:v>
                </c:pt>
                <c:pt idx="969">
                  <c:v>141.64922000000001</c:v>
                </c:pt>
                <c:pt idx="970">
                  <c:v>141.75331</c:v>
                </c:pt>
                <c:pt idx="971">
                  <c:v>141.62418</c:v>
                </c:pt>
                <c:pt idx="972">
                  <c:v>141.53603000000001</c:v>
                </c:pt>
                <c:pt idx="973">
                  <c:v>141.45608999999999</c:v>
                </c:pt>
                <c:pt idx="974">
                  <c:v>141.34457</c:v>
                </c:pt>
                <c:pt idx="975">
                  <c:v>141.59173999999999</c:v>
                </c:pt>
                <c:pt idx="976">
                  <c:v>141.78358</c:v>
                </c:pt>
                <c:pt idx="977">
                  <c:v>141.95804999999999</c:v>
                </c:pt>
                <c:pt idx="978">
                  <c:v>142.04683</c:v>
                </c:pt>
                <c:pt idx="979">
                  <c:v>141.82047</c:v>
                </c:pt>
                <c:pt idx="980">
                  <c:v>141.75174000000001</c:v>
                </c:pt>
                <c:pt idx="981">
                  <c:v>141.79302999999999</c:v>
                </c:pt>
                <c:pt idx="982">
                  <c:v>140.83347000000001</c:v>
                </c:pt>
                <c:pt idx="983">
                  <c:v>141.16864000000001</c:v>
                </c:pt>
                <c:pt idx="984">
                  <c:v>141.24394000000001</c:v>
                </c:pt>
                <c:pt idx="985">
                  <c:v>141.26636999999999</c:v>
                </c:pt>
                <c:pt idx="986">
                  <c:v>141.29262</c:v>
                </c:pt>
                <c:pt idx="987">
                  <c:v>141.33609999999999</c:v>
                </c:pt>
                <c:pt idx="988">
                  <c:v>141.50752</c:v>
                </c:pt>
                <c:pt idx="989">
                  <c:v>141.61714000000001</c:v>
                </c:pt>
                <c:pt idx="990">
                  <c:v>141.37352000000001</c:v>
                </c:pt>
                <c:pt idx="991">
                  <c:v>141.26813999999999</c:v>
                </c:pt>
                <c:pt idx="992">
                  <c:v>141.40810999999999</c:v>
                </c:pt>
                <c:pt idx="993">
                  <c:v>141.79613000000001</c:v>
                </c:pt>
                <c:pt idx="994">
                  <c:v>142.11496</c:v>
                </c:pt>
                <c:pt idx="995">
                  <c:v>142.1343</c:v>
                </c:pt>
                <c:pt idx="996">
                  <c:v>142.17876999999999</c:v>
                </c:pt>
                <c:pt idx="997">
                  <c:v>142.22818000000001</c:v>
                </c:pt>
                <c:pt idx="998">
                  <c:v>140.82333</c:v>
                </c:pt>
                <c:pt idx="999">
                  <c:v>142.02610999999999</c:v>
                </c:pt>
                <c:pt idx="1000">
                  <c:v>142.12961999999999</c:v>
                </c:pt>
                <c:pt idx="1001">
                  <c:v>142.45274000000001</c:v>
                </c:pt>
                <c:pt idx="1002">
                  <c:v>142.61774</c:v>
                </c:pt>
                <c:pt idx="1003">
                  <c:v>142.64255</c:v>
                </c:pt>
                <c:pt idx="1004">
                  <c:v>144.5421</c:v>
                </c:pt>
                <c:pt idx="1005">
                  <c:v>141.20643999999999</c:v>
                </c:pt>
                <c:pt idx="1006">
                  <c:v>142.28598</c:v>
                </c:pt>
                <c:pt idx="1007">
                  <c:v>142.18942000000001</c:v>
                </c:pt>
                <c:pt idx="1008">
                  <c:v>141.72757999999999</c:v>
                </c:pt>
                <c:pt idx="1009">
                  <c:v>141.81831</c:v>
                </c:pt>
                <c:pt idx="1010">
                  <c:v>142.19987</c:v>
                </c:pt>
                <c:pt idx="1011">
                  <c:v>142.42681999999999</c:v>
                </c:pt>
                <c:pt idx="1012">
                  <c:v>142.42367999999999</c:v>
                </c:pt>
                <c:pt idx="1013">
                  <c:v>143.02590000000001</c:v>
                </c:pt>
                <c:pt idx="1014">
                  <c:v>143.42612</c:v>
                </c:pt>
                <c:pt idx="1015">
                  <c:v>143.40071</c:v>
                </c:pt>
                <c:pt idx="1016">
                  <c:v>143.46892</c:v>
                </c:pt>
                <c:pt idx="1017">
                  <c:v>143.49870000000001</c:v>
                </c:pt>
                <c:pt idx="1018">
                  <c:v>143.6019</c:v>
                </c:pt>
                <c:pt idx="1019">
                  <c:v>143.65298000000001</c:v>
                </c:pt>
                <c:pt idx="1020">
                  <c:v>143.69327999999999</c:v>
                </c:pt>
                <c:pt idx="1021">
                  <c:v>143.66165000000001</c:v>
                </c:pt>
                <c:pt idx="1022">
                  <c:v>143.62929</c:v>
                </c:pt>
                <c:pt idx="1023">
                  <c:v>143.4485</c:v>
                </c:pt>
                <c:pt idx="1024">
                  <c:v>143.36765</c:v>
                </c:pt>
                <c:pt idx="1025">
                  <c:v>144.68253999999999</c:v>
                </c:pt>
                <c:pt idx="1026">
                  <c:v>143.15737999999999</c:v>
                </c:pt>
                <c:pt idx="1027">
                  <c:v>142.88324</c:v>
                </c:pt>
                <c:pt idx="1028">
                  <c:v>143.15816000000001</c:v>
                </c:pt>
                <c:pt idx="1029">
                  <c:v>143.16204999999999</c:v>
                </c:pt>
                <c:pt idx="1030">
                  <c:v>142.92139</c:v>
                </c:pt>
                <c:pt idx="1031">
                  <c:v>142.4933</c:v>
                </c:pt>
                <c:pt idx="1032">
                  <c:v>142.65376000000001</c:v>
                </c:pt>
                <c:pt idx="1033">
                  <c:v>142.58838</c:v>
                </c:pt>
                <c:pt idx="1034">
                  <c:v>142.85561999999999</c:v>
                </c:pt>
                <c:pt idx="1035">
                  <c:v>143.10753</c:v>
                </c:pt>
                <c:pt idx="1036">
                  <c:v>143.44943000000001</c:v>
                </c:pt>
                <c:pt idx="1037">
                  <c:v>143.69612000000001</c:v>
                </c:pt>
                <c:pt idx="1038">
                  <c:v>143.94381999999999</c:v>
                </c:pt>
                <c:pt idx="1039">
                  <c:v>144.04687999999999</c:v>
                </c:pt>
                <c:pt idx="1040">
                  <c:v>144.15025</c:v>
                </c:pt>
                <c:pt idx="1041">
                  <c:v>143.95085</c:v>
                </c:pt>
                <c:pt idx="1042">
                  <c:v>143.32164</c:v>
                </c:pt>
                <c:pt idx="1043">
                  <c:v>143.34603999999999</c:v>
                </c:pt>
                <c:pt idx="1044">
                  <c:v>143.22798</c:v>
                </c:pt>
                <c:pt idx="1045">
                  <c:v>145.82047</c:v>
                </c:pt>
                <c:pt idx="1046">
                  <c:v>143.17510999999999</c:v>
                </c:pt>
                <c:pt idx="1047">
                  <c:v>143.5087</c:v>
                </c:pt>
                <c:pt idx="1048">
                  <c:v>143.65406999999999</c:v>
                </c:pt>
                <c:pt idx="1049">
                  <c:v>143.69057000000001</c:v>
                </c:pt>
                <c:pt idx="1050">
                  <c:v>143.38657000000001</c:v>
                </c:pt>
                <c:pt idx="1051">
                  <c:v>144.04756</c:v>
                </c:pt>
                <c:pt idx="1052">
                  <c:v>144.38315</c:v>
                </c:pt>
                <c:pt idx="1053">
                  <c:v>144.56557000000001</c:v>
                </c:pt>
                <c:pt idx="1054">
                  <c:v>144.68371999999999</c:v>
                </c:pt>
                <c:pt idx="1055">
                  <c:v>144.79130000000001</c:v>
                </c:pt>
                <c:pt idx="1056">
                  <c:v>144.99663000000001</c:v>
                </c:pt>
                <c:pt idx="1057">
                  <c:v>145.09593000000001</c:v>
                </c:pt>
                <c:pt idx="1058">
                  <c:v>145.19028</c:v>
                </c:pt>
                <c:pt idx="1059">
                  <c:v>145.20738</c:v>
                </c:pt>
                <c:pt idx="1060">
                  <c:v>146.13882000000001</c:v>
                </c:pt>
                <c:pt idx="1061">
                  <c:v>145.46072000000001</c:v>
                </c:pt>
                <c:pt idx="1062">
                  <c:v>145.46037000000001</c:v>
                </c:pt>
                <c:pt idx="1063">
                  <c:v>145.40096</c:v>
                </c:pt>
                <c:pt idx="1064">
                  <c:v>145.45079999999999</c:v>
                </c:pt>
                <c:pt idx="1065">
                  <c:v>143.86144999999999</c:v>
                </c:pt>
                <c:pt idx="1066">
                  <c:v>145.52814000000001</c:v>
                </c:pt>
                <c:pt idx="1067">
                  <c:v>145.58652000000001</c:v>
                </c:pt>
                <c:pt idx="1068">
                  <c:v>145.65446</c:v>
                </c:pt>
                <c:pt idx="1069">
                  <c:v>145.66371000000001</c:v>
                </c:pt>
                <c:pt idx="1070">
                  <c:v>145.7654</c:v>
                </c:pt>
                <c:pt idx="1071">
                  <c:v>145.73819</c:v>
                </c:pt>
                <c:pt idx="1072">
                  <c:v>145.73543000000001</c:v>
                </c:pt>
                <c:pt idx="1073">
                  <c:v>145.65414000000001</c:v>
                </c:pt>
                <c:pt idx="1074">
                  <c:v>145.6439</c:v>
                </c:pt>
                <c:pt idx="1075">
                  <c:v>145.74193</c:v>
                </c:pt>
                <c:pt idx="1076">
                  <c:v>145.90049999999999</c:v>
                </c:pt>
                <c:pt idx="1077">
                  <c:v>145.84030000000001</c:v>
                </c:pt>
                <c:pt idx="1078">
                  <c:v>145.71883</c:v>
                </c:pt>
                <c:pt idx="1079">
                  <c:v>145.36410000000001</c:v>
                </c:pt>
                <c:pt idx="1080">
                  <c:v>145.33838</c:v>
                </c:pt>
                <c:pt idx="1081">
                  <c:v>145.53133</c:v>
                </c:pt>
                <c:pt idx="1082">
                  <c:v>145.60744</c:v>
                </c:pt>
                <c:pt idx="1083">
                  <c:v>145.53202999999999</c:v>
                </c:pt>
                <c:pt idx="1084">
                  <c:v>145.46358000000001</c:v>
                </c:pt>
                <c:pt idx="1085">
                  <c:v>146.56702999999999</c:v>
                </c:pt>
                <c:pt idx="1086">
                  <c:v>145.60187999999999</c:v>
                </c:pt>
                <c:pt idx="1087">
                  <c:v>145.77829</c:v>
                </c:pt>
                <c:pt idx="1088">
                  <c:v>145.81367</c:v>
                </c:pt>
                <c:pt idx="1089">
                  <c:v>145.87844999999999</c:v>
                </c:pt>
                <c:pt idx="1090">
                  <c:v>145.81654</c:v>
                </c:pt>
                <c:pt idx="1091">
                  <c:v>145.95264</c:v>
                </c:pt>
                <c:pt idx="1092">
                  <c:v>145.93668</c:v>
                </c:pt>
                <c:pt idx="1093">
                  <c:v>145.99681000000001</c:v>
                </c:pt>
                <c:pt idx="1094">
                  <c:v>145.97447</c:v>
                </c:pt>
                <c:pt idx="1095">
                  <c:v>146.08960999999999</c:v>
                </c:pt>
                <c:pt idx="1096">
                  <c:v>146.14744999999999</c:v>
                </c:pt>
                <c:pt idx="1097">
                  <c:v>146.14337</c:v>
                </c:pt>
                <c:pt idx="1098">
                  <c:v>146.18062</c:v>
                </c:pt>
                <c:pt idx="1099">
                  <c:v>146.21213</c:v>
                </c:pt>
                <c:pt idx="1100">
                  <c:v>146.25502</c:v>
                </c:pt>
                <c:pt idx="1101">
                  <c:v>146.33056999999999</c:v>
                </c:pt>
                <c:pt idx="1102">
                  <c:v>146.32277999999999</c:v>
                </c:pt>
                <c:pt idx="1103">
                  <c:v>146.44899000000001</c:v>
                </c:pt>
                <c:pt idx="1104">
                  <c:v>146.21729999999999</c:v>
                </c:pt>
                <c:pt idx="1105">
                  <c:v>145.9325</c:v>
                </c:pt>
                <c:pt idx="1106">
                  <c:v>146.11882</c:v>
                </c:pt>
                <c:pt idx="1107">
                  <c:v>146.22101000000001</c:v>
                </c:pt>
                <c:pt idx="1108">
                  <c:v>146.27734000000001</c:v>
                </c:pt>
                <c:pt idx="1109">
                  <c:v>146.38579999999999</c:v>
                </c:pt>
                <c:pt idx="1110">
                  <c:v>146.42455000000001</c:v>
                </c:pt>
                <c:pt idx="1111">
                  <c:v>146.55733000000001</c:v>
                </c:pt>
                <c:pt idx="1112">
                  <c:v>146.62350000000001</c:v>
                </c:pt>
                <c:pt idx="1113">
                  <c:v>146.62706</c:v>
                </c:pt>
              </c:numCache>
            </c:numRef>
          </c:val>
          <c:smooth val="0"/>
          <c:extLst>
            <c:ext xmlns:c16="http://schemas.microsoft.com/office/drawing/2014/chart" uri="{C3380CC4-5D6E-409C-BE32-E72D297353CC}">
              <c16:uniqueId val="{00000001-E693-BF4A-8335-954C101C9717}"/>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65"/>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59248616432522E-2"/>
          <c:y val="3.4909703755316636E-2"/>
          <c:w val="0.92264075138356749"/>
          <c:h val="0.82591383719232414"/>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56.440886999999996</c:v>
                </c:pt>
                <c:pt idx="1">
                  <c:v>57.534115</c:v>
                </c:pt>
                <c:pt idx="2">
                  <c:v>58.955257000000003</c:v>
                </c:pt>
                <c:pt idx="3">
                  <c:v>58.89282</c:v>
                </c:pt>
                <c:pt idx="4">
                  <c:v>58.845936000000002</c:v>
                </c:pt>
                <c:pt idx="5">
                  <c:v>59.009950000000003</c:v>
                </c:pt>
                <c:pt idx="6">
                  <c:v>58.713222999999999</c:v>
                </c:pt>
                <c:pt idx="7">
                  <c:v>59.048985000000002</c:v>
                </c:pt>
                <c:pt idx="8">
                  <c:v>59.361199999999997</c:v>
                </c:pt>
                <c:pt idx="9">
                  <c:v>59.589269999999999</c:v>
                </c:pt>
                <c:pt idx="10">
                  <c:v>59.715107000000003</c:v>
                </c:pt>
                <c:pt idx="11">
                  <c:v>60.241999999999997</c:v>
                </c:pt>
                <c:pt idx="12">
                  <c:v>60.477961999999998</c:v>
                </c:pt>
                <c:pt idx="13">
                  <c:v>60.399303000000003</c:v>
                </c:pt>
                <c:pt idx="14">
                  <c:v>60.666699999999999</c:v>
                </c:pt>
                <c:pt idx="15">
                  <c:v>60.713898</c:v>
                </c:pt>
                <c:pt idx="16">
                  <c:v>60.438617999999998</c:v>
                </c:pt>
                <c:pt idx="17">
                  <c:v>60.470084999999997</c:v>
                </c:pt>
                <c:pt idx="18">
                  <c:v>60.517277</c:v>
                </c:pt>
                <c:pt idx="19">
                  <c:v>60.706023999999999</c:v>
                </c:pt>
                <c:pt idx="20">
                  <c:v>60.588062000000001</c:v>
                </c:pt>
                <c:pt idx="21">
                  <c:v>60.304929999999999</c:v>
                </c:pt>
                <c:pt idx="22">
                  <c:v>60.297072999999997</c:v>
                </c:pt>
                <c:pt idx="23">
                  <c:v>60.021819999999998</c:v>
                </c:pt>
                <c:pt idx="24">
                  <c:v>59.888137999999998</c:v>
                </c:pt>
                <c:pt idx="25">
                  <c:v>61.84637</c:v>
                </c:pt>
                <c:pt idx="26">
                  <c:v>61.209350000000001</c:v>
                </c:pt>
                <c:pt idx="27">
                  <c:v>62.066574000000003</c:v>
                </c:pt>
                <c:pt idx="28">
                  <c:v>61.571129999999997</c:v>
                </c:pt>
                <c:pt idx="29">
                  <c:v>62.216009999999997</c:v>
                </c:pt>
                <c:pt idx="30">
                  <c:v>62.208150000000003</c:v>
                </c:pt>
                <c:pt idx="31">
                  <c:v>62.711468000000004</c:v>
                </c:pt>
                <c:pt idx="32">
                  <c:v>62.098053</c:v>
                </c:pt>
                <c:pt idx="33">
                  <c:v>62.546332999999997</c:v>
                </c:pt>
                <c:pt idx="34">
                  <c:v>61.807049999999997</c:v>
                </c:pt>
                <c:pt idx="35">
                  <c:v>62.522730000000003</c:v>
                </c:pt>
                <c:pt idx="36">
                  <c:v>62.294649999999997</c:v>
                </c:pt>
                <c:pt idx="37">
                  <c:v>62.963127</c:v>
                </c:pt>
                <c:pt idx="38">
                  <c:v>62.884506000000002</c:v>
                </c:pt>
                <c:pt idx="39">
                  <c:v>62.908096</c:v>
                </c:pt>
                <c:pt idx="40">
                  <c:v>62.066574000000003</c:v>
                </c:pt>
                <c:pt idx="41">
                  <c:v>62.915976999999998</c:v>
                </c:pt>
                <c:pt idx="42">
                  <c:v>62.011543000000003</c:v>
                </c:pt>
                <c:pt idx="43">
                  <c:v>63.899014000000001</c:v>
                </c:pt>
                <c:pt idx="44">
                  <c:v>65.094406000000006</c:v>
                </c:pt>
                <c:pt idx="45">
                  <c:v>65.574160000000006</c:v>
                </c:pt>
                <c:pt idx="46">
                  <c:v>66.140379999999993</c:v>
                </c:pt>
                <c:pt idx="47">
                  <c:v>64.756230000000002</c:v>
                </c:pt>
                <c:pt idx="48">
                  <c:v>65.133765999999994</c:v>
                </c:pt>
                <c:pt idx="49">
                  <c:v>64.889930000000007</c:v>
                </c:pt>
                <c:pt idx="50">
                  <c:v>65.000050000000002</c:v>
                </c:pt>
                <c:pt idx="51">
                  <c:v>64.85848</c:v>
                </c:pt>
                <c:pt idx="52">
                  <c:v>64.653999999999996</c:v>
                </c:pt>
                <c:pt idx="53">
                  <c:v>64.929249999999996</c:v>
                </c:pt>
                <c:pt idx="54">
                  <c:v>65.14161</c:v>
                </c:pt>
                <c:pt idx="55">
                  <c:v>64.882059999999996</c:v>
                </c:pt>
                <c:pt idx="56">
                  <c:v>65.54271</c:v>
                </c:pt>
                <c:pt idx="57">
                  <c:v>65.471924000000001</c:v>
                </c:pt>
                <c:pt idx="58">
                  <c:v>65.157300000000006</c:v>
                </c:pt>
                <c:pt idx="59">
                  <c:v>65.275300000000001</c:v>
                </c:pt>
                <c:pt idx="60">
                  <c:v>65.298900000000003</c:v>
                </c:pt>
                <c:pt idx="61">
                  <c:v>65.668520000000001</c:v>
                </c:pt>
                <c:pt idx="62">
                  <c:v>66.258359999999996</c:v>
                </c:pt>
                <c:pt idx="63">
                  <c:v>65.85727</c:v>
                </c:pt>
                <c:pt idx="64">
                  <c:v>65.904470000000003</c:v>
                </c:pt>
                <c:pt idx="65">
                  <c:v>64.952834999999993</c:v>
                </c:pt>
                <c:pt idx="66">
                  <c:v>64.984313999999998</c:v>
                </c:pt>
                <c:pt idx="67">
                  <c:v>65.251720000000006</c:v>
                </c:pt>
                <c:pt idx="68">
                  <c:v>64.58323</c:v>
                </c:pt>
                <c:pt idx="69">
                  <c:v>64.944990000000004</c:v>
                </c:pt>
                <c:pt idx="70">
                  <c:v>64.827020000000005</c:v>
                </c:pt>
                <c:pt idx="71">
                  <c:v>63.796787000000002</c:v>
                </c:pt>
                <c:pt idx="72">
                  <c:v>63.875399999999999</c:v>
                </c:pt>
                <c:pt idx="73">
                  <c:v>63.521495999999999</c:v>
                </c:pt>
                <c:pt idx="74">
                  <c:v>64.016970000000001</c:v>
                </c:pt>
                <c:pt idx="75">
                  <c:v>64.197845000000001</c:v>
                </c:pt>
                <c:pt idx="76">
                  <c:v>64.307159999999996</c:v>
                </c:pt>
                <c:pt idx="77">
                  <c:v>64.671449999999993</c:v>
                </c:pt>
                <c:pt idx="78">
                  <c:v>65.344629999999995</c:v>
                </c:pt>
                <c:pt idx="79">
                  <c:v>65.613860000000003</c:v>
                </c:pt>
                <c:pt idx="80">
                  <c:v>65.360466000000002</c:v>
                </c:pt>
                <c:pt idx="81">
                  <c:v>65.027855000000002</c:v>
                </c:pt>
                <c:pt idx="82">
                  <c:v>64.924909999999997</c:v>
                </c:pt>
                <c:pt idx="83">
                  <c:v>65.043670000000006</c:v>
                </c:pt>
                <c:pt idx="84">
                  <c:v>65.376305000000002</c:v>
                </c:pt>
                <c:pt idx="85">
                  <c:v>65.392135999999994</c:v>
                </c:pt>
                <c:pt idx="86">
                  <c:v>64.061629999999994</c:v>
                </c:pt>
                <c:pt idx="87">
                  <c:v>62.493560000000002</c:v>
                </c:pt>
                <c:pt idx="88">
                  <c:v>63.459760000000003</c:v>
                </c:pt>
                <c:pt idx="89">
                  <c:v>63.459760000000003</c:v>
                </c:pt>
                <c:pt idx="90">
                  <c:v>63.388492999999997</c:v>
                </c:pt>
                <c:pt idx="91">
                  <c:v>64.386340000000004</c:v>
                </c:pt>
                <c:pt idx="92">
                  <c:v>64.734809999999996</c:v>
                </c:pt>
                <c:pt idx="93">
                  <c:v>64.774389999999997</c:v>
                </c:pt>
                <c:pt idx="94">
                  <c:v>64.972390000000004</c:v>
                </c:pt>
                <c:pt idx="95">
                  <c:v>64.687293999999994</c:v>
                </c:pt>
                <c:pt idx="96">
                  <c:v>63.934919999999998</c:v>
                </c:pt>
                <c:pt idx="97">
                  <c:v>63.990364</c:v>
                </c:pt>
                <c:pt idx="98">
                  <c:v>64.766495000000006</c:v>
                </c:pt>
                <c:pt idx="99">
                  <c:v>65.550529999999995</c:v>
                </c:pt>
                <c:pt idx="100">
                  <c:v>65.724760000000003</c:v>
                </c:pt>
                <c:pt idx="101">
                  <c:v>66.960205000000002</c:v>
                </c:pt>
                <c:pt idx="102">
                  <c:v>66.778059999999996</c:v>
                </c:pt>
                <c:pt idx="103">
                  <c:v>67.094864000000001</c:v>
                </c:pt>
                <c:pt idx="104">
                  <c:v>66.540474000000003</c:v>
                </c:pt>
                <c:pt idx="105">
                  <c:v>67.506675999999999</c:v>
                </c:pt>
                <c:pt idx="106">
                  <c:v>68.742130000000003</c:v>
                </c:pt>
                <c:pt idx="107">
                  <c:v>68.433266000000003</c:v>
                </c:pt>
                <c:pt idx="108">
                  <c:v>68.425353999999999</c:v>
                </c:pt>
                <c:pt idx="109">
                  <c:v>68.266945000000007</c:v>
                </c:pt>
                <c:pt idx="110">
                  <c:v>67.823440000000005</c:v>
                </c:pt>
                <c:pt idx="111">
                  <c:v>67.752173999999997</c:v>
                </c:pt>
                <c:pt idx="112">
                  <c:v>67.562119999999993</c:v>
                </c:pt>
                <c:pt idx="113">
                  <c:v>67.514589999999998</c:v>
                </c:pt>
                <c:pt idx="114">
                  <c:v>67.403720000000007</c:v>
                </c:pt>
                <c:pt idx="115">
                  <c:v>66.160324000000003</c:v>
                </c:pt>
                <c:pt idx="116">
                  <c:v>66.683043999999995</c:v>
                </c:pt>
                <c:pt idx="117">
                  <c:v>66.754329999999996</c:v>
                </c:pt>
                <c:pt idx="118">
                  <c:v>66.904780000000002</c:v>
                </c:pt>
                <c:pt idx="119">
                  <c:v>67.356189999999998</c:v>
                </c:pt>
                <c:pt idx="120">
                  <c:v>67.126540000000006</c:v>
                </c:pt>
                <c:pt idx="121">
                  <c:v>67.06317</c:v>
                </c:pt>
                <c:pt idx="122">
                  <c:v>66.793914999999998</c:v>
                </c:pt>
                <c:pt idx="123">
                  <c:v>66.374170000000007</c:v>
                </c:pt>
                <c:pt idx="124">
                  <c:v>66.041533999999999</c:v>
                </c:pt>
                <c:pt idx="125">
                  <c:v>65.534689999999998</c:v>
                </c:pt>
                <c:pt idx="126">
                  <c:v>64.077489999999997</c:v>
                </c:pt>
                <c:pt idx="127">
                  <c:v>63.499374000000003</c:v>
                </c:pt>
                <c:pt idx="128">
                  <c:v>64.053700000000006</c:v>
                </c:pt>
                <c:pt idx="129">
                  <c:v>63.586468000000004</c:v>
                </c:pt>
                <c:pt idx="130">
                  <c:v>62.628189999999996</c:v>
                </c:pt>
                <c:pt idx="131">
                  <c:v>62.762824999999999</c:v>
                </c:pt>
                <c:pt idx="132">
                  <c:v>63.238</c:v>
                </c:pt>
                <c:pt idx="133">
                  <c:v>63.111282000000003</c:v>
                </c:pt>
                <c:pt idx="134">
                  <c:v>62.612354000000003</c:v>
                </c:pt>
                <c:pt idx="135">
                  <c:v>62.857849999999999</c:v>
                </c:pt>
                <c:pt idx="136">
                  <c:v>62.826189999999997</c:v>
                </c:pt>
                <c:pt idx="137">
                  <c:v>63.142975</c:v>
                </c:pt>
                <c:pt idx="138">
                  <c:v>63.515189999999997</c:v>
                </c:pt>
                <c:pt idx="139">
                  <c:v>63.433852999999999</c:v>
                </c:pt>
                <c:pt idx="140">
                  <c:v>63.066932999999999</c:v>
                </c:pt>
                <c:pt idx="141">
                  <c:v>63.218502000000001</c:v>
                </c:pt>
                <c:pt idx="142">
                  <c:v>63.314190000000004</c:v>
                </c:pt>
                <c:pt idx="143">
                  <c:v>63.354075999999999</c:v>
                </c:pt>
                <c:pt idx="144">
                  <c:v>63.689059999999998</c:v>
                </c:pt>
                <c:pt idx="145">
                  <c:v>63.704998000000003</c:v>
                </c:pt>
                <c:pt idx="146">
                  <c:v>64.063950000000006</c:v>
                </c:pt>
                <c:pt idx="147">
                  <c:v>64.622283999999993</c:v>
                </c:pt>
                <c:pt idx="148">
                  <c:v>65.132750000000001</c:v>
                </c:pt>
                <c:pt idx="149">
                  <c:v>66.105819999999994</c:v>
                </c:pt>
                <c:pt idx="150">
                  <c:v>65.260350000000003</c:v>
                </c:pt>
                <c:pt idx="151">
                  <c:v>65.196560000000005</c:v>
                </c:pt>
                <c:pt idx="152">
                  <c:v>64.622283999999993</c:v>
                </c:pt>
                <c:pt idx="153">
                  <c:v>64.239410000000007</c:v>
                </c:pt>
                <c:pt idx="154">
                  <c:v>63.976210000000002</c:v>
                </c:pt>
                <c:pt idx="155">
                  <c:v>64.239410000000007</c:v>
                </c:pt>
                <c:pt idx="156">
                  <c:v>63.968246000000001</c:v>
                </c:pt>
                <c:pt idx="157">
                  <c:v>63.4099</c:v>
                </c:pt>
                <c:pt idx="158">
                  <c:v>63.665140000000001</c:v>
                </c:pt>
                <c:pt idx="159">
                  <c:v>63.457766999999997</c:v>
                </c:pt>
                <c:pt idx="160">
                  <c:v>63.36204</c:v>
                </c:pt>
                <c:pt idx="161">
                  <c:v>63.505623</c:v>
                </c:pt>
                <c:pt idx="162">
                  <c:v>63.058951999999998</c:v>
                </c:pt>
                <c:pt idx="163">
                  <c:v>62.955269999999999</c:v>
                </c:pt>
                <c:pt idx="164">
                  <c:v>63.4099</c:v>
                </c:pt>
                <c:pt idx="165">
                  <c:v>64.359054999999998</c:v>
                </c:pt>
                <c:pt idx="166">
                  <c:v>64.470730000000003</c:v>
                </c:pt>
                <c:pt idx="167">
                  <c:v>64.678100000000001</c:v>
                </c:pt>
                <c:pt idx="168">
                  <c:v>64.287260000000003</c:v>
                </c:pt>
                <c:pt idx="169">
                  <c:v>65.619280000000003</c:v>
                </c:pt>
                <c:pt idx="170">
                  <c:v>65.866550000000004</c:v>
                </c:pt>
                <c:pt idx="171">
                  <c:v>66.209530000000001</c:v>
                </c:pt>
                <c:pt idx="172">
                  <c:v>65.69905</c:v>
                </c:pt>
                <c:pt idx="173">
                  <c:v>66.552475000000001</c:v>
                </c:pt>
                <c:pt idx="174">
                  <c:v>66.464759999999998</c:v>
                </c:pt>
                <c:pt idx="175">
                  <c:v>65.834620000000001</c:v>
                </c:pt>
                <c:pt idx="176">
                  <c:v>66.480705</c:v>
                </c:pt>
                <c:pt idx="177">
                  <c:v>67.485699999999994</c:v>
                </c:pt>
                <c:pt idx="178">
                  <c:v>68.187600000000003</c:v>
                </c:pt>
                <c:pt idx="179">
                  <c:v>67.573425</c:v>
                </c:pt>
                <c:pt idx="180">
                  <c:v>67.070946000000006</c:v>
                </c:pt>
                <c:pt idx="181">
                  <c:v>67.445815999999994</c:v>
                </c:pt>
                <c:pt idx="182">
                  <c:v>67.294265999999993</c:v>
                </c:pt>
                <c:pt idx="183">
                  <c:v>67.493669999999995</c:v>
                </c:pt>
                <c:pt idx="184">
                  <c:v>69.136750000000006</c:v>
                </c:pt>
                <c:pt idx="185">
                  <c:v>68.036026000000007</c:v>
                </c:pt>
                <c:pt idx="186">
                  <c:v>68.474723999999995</c:v>
                </c:pt>
                <c:pt idx="187">
                  <c:v>68.155690000000007</c:v>
                </c:pt>
                <c:pt idx="188">
                  <c:v>68.307236000000003</c:v>
                </c:pt>
                <c:pt idx="189">
                  <c:v>68.554490000000001</c:v>
                </c:pt>
                <c:pt idx="190">
                  <c:v>68.905429999999996</c:v>
                </c:pt>
                <c:pt idx="191">
                  <c:v>68.618290000000002</c:v>
                </c:pt>
                <c:pt idx="192">
                  <c:v>68.482699999999994</c:v>
                </c:pt>
                <c:pt idx="193">
                  <c:v>68.028049999999993</c:v>
                </c:pt>
                <c:pt idx="194">
                  <c:v>67.900440000000003</c:v>
                </c:pt>
                <c:pt idx="195">
                  <c:v>68.29128</c:v>
                </c:pt>
                <c:pt idx="196">
                  <c:v>68.386985999999993</c:v>
                </c:pt>
                <c:pt idx="197">
                  <c:v>68.091865999999996</c:v>
                </c:pt>
                <c:pt idx="198">
                  <c:v>67.310249999999996</c:v>
                </c:pt>
                <c:pt idx="199">
                  <c:v>67.334140000000005</c:v>
                </c:pt>
                <c:pt idx="200">
                  <c:v>67.366050000000001</c:v>
                </c:pt>
                <c:pt idx="201">
                  <c:v>66.759860000000003</c:v>
                </c:pt>
                <c:pt idx="202">
                  <c:v>66.839619999999996</c:v>
                </c:pt>
                <c:pt idx="203">
                  <c:v>66.372249999999994</c:v>
                </c:pt>
                <c:pt idx="204">
                  <c:v>65.769970000000001</c:v>
                </c:pt>
                <c:pt idx="205">
                  <c:v>66.773796000000004</c:v>
                </c:pt>
                <c:pt idx="206">
                  <c:v>66.404380000000003</c:v>
                </c:pt>
                <c:pt idx="207">
                  <c:v>66.171499999999995</c:v>
                </c:pt>
                <c:pt idx="208">
                  <c:v>66.388310000000004</c:v>
                </c:pt>
                <c:pt idx="209">
                  <c:v>65.272059999999996</c:v>
                </c:pt>
                <c:pt idx="210">
                  <c:v>64.991005000000001</c:v>
                </c:pt>
                <c:pt idx="211">
                  <c:v>65.047225999999995</c:v>
                </c:pt>
                <c:pt idx="212">
                  <c:v>64.613556000000003</c:v>
                </c:pt>
                <c:pt idx="213">
                  <c:v>65.384500000000003</c:v>
                </c:pt>
                <c:pt idx="214">
                  <c:v>65.577240000000003</c:v>
                </c:pt>
                <c:pt idx="215">
                  <c:v>65.697710000000001</c:v>
                </c:pt>
                <c:pt idx="216">
                  <c:v>65.737830000000002</c:v>
                </c:pt>
                <c:pt idx="217">
                  <c:v>65.882384999999999</c:v>
                </c:pt>
                <c:pt idx="218">
                  <c:v>66.211659999999995</c:v>
                </c:pt>
                <c:pt idx="219">
                  <c:v>66.420439999999999</c:v>
                </c:pt>
                <c:pt idx="220">
                  <c:v>66.581055000000006</c:v>
                </c:pt>
                <c:pt idx="221">
                  <c:v>66.605140000000006</c:v>
                </c:pt>
                <c:pt idx="222">
                  <c:v>65.930565000000001</c:v>
                </c:pt>
                <c:pt idx="223">
                  <c:v>66.042990000000003</c:v>
                </c:pt>
                <c:pt idx="224">
                  <c:v>66.075109999999995</c:v>
                </c:pt>
                <c:pt idx="225">
                  <c:v>67.038780000000003</c:v>
                </c:pt>
                <c:pt idx="226">
                  <c:v>66.846059999999994</c:v>
                </c:pt>
                <c:pt idx="227">
                  <c:v>66.532830000000004</c:v>
                </c:pt>
                <c:pt idx="228">
                  <c:v>67.054839999999999</c:v>
                </c:pt>
                <c:pt idx="229">
                  <c:v>66.147400000000005</c:v>
                </c:pt>
                <c:pt idx="230">
                  <c:v>66.147400000000005</c:v>
                </c:pt>
                <c:pt idx="231">
                  <c:v>66.564994999999996</c:v>
                </c:pt>
                <c:pt idx="232">
                  <c:v>66.540909999999997</c:v>
                </c:pt>
                <c:pt idx="233">
                  <c:v>66.010863999999998</c:v>
                </c:pt>
                <c:pt idx="234">
                  <c:v>66.589060000000003</c:v>
                </c:pt>
                <c:pt idx="235">
                  <c:v>66.532830000000004</c:v>
                </c:pt>
                <c:pt idx="236">
                  <c:v>66.195570000000004</c:v>
                </c:pt>
                <c:pt idx="237">
                  <c:v>65.392539999999997</c:v>
                </c:pt>
                <c:pt idx="238">
                  <c:v>65.89846</c:v>
                </c:pt>
                <c:pt idx="239">
                  <c:v>66.107230000000001</c:v>
                </c:pt>
                <c:pt idx="240">
                  <c:v>64.420820000000006</c:v>
                </c:pt>
                <c:pt idx="241">
                  <c:v>65.111450000000005</c:v>
                </c:pt>
                <c:pt idx="242">
                  <c:v>64.533264000000003</c:v>
                </c:pt>
                <c:pt idx="243">
                  <c:v>63.095779999999998</c:v>
                </c:pt>
                <c:pt idx="244">
                  <c:v>63.296562000000002</c:v>
                </c:pt>
                <c:pt idx="245">
                  <c:v>63.778393000000001</c:v>
                </c:pt>
                <c:pt idx="246">
                  <c:v>63.754300000000001</c:v>
                </c:pt>
                <c:pt idx="247">
                  <c:v>64.420820000000006</c:v>
                </c:pt>
                <c:pt idx="248">
                  <c:v>64.725975000000005</c:v>
                </c:pt>
                <c:pt idx="249">
                  <c:v>65.247979999999998</c:v>
                </c:pt>
                <c:pt idx="250">
                  <c:v>65.440700000000007</c:v>
                </c:pt>
                <c:pt idx="251">
                  <c:v>63.995215999999999</c:v>
                </c:pt>
                <c:pt idx="252">
                  <c:v>62.710341999999997</c:v>
                </c:pt>
                <c:pt idx="253">
                  <c:v>62.782600000000002</c:v>
                </c:pt>
                <c:pt idx="254">
                  <c:v>61.915317999999999</c:v>
                </c:pt>
                <c:pt idx="255">
                  <c:v>62.646090000000001</c:v>
                </c:pt>
                <c:pt idx="256">
                  <c:v>62.814743</c:v>
                </c:pt>
                <c:pt idx="257">
                  <c:v>63.344749999999998</c:v>
                </c:pt>
                <c:pt idx="258">
                  <c:v>63.625813000000001</c:v>
                </c:pt>
                <c:pt idx="259">
                  <c:v>63.160052999999998</c:v>
                </c:pt>
                <c:pt idx="260">
                  <c:v>63.497326000000001</c:v>
                </c:pt>
                <c:pt idx="261">
                  <c:v>64.300389999999993</c:v>
                </c:pt>
                <c:pt idx="262">
                  <c:v>63.858690000000003</c:v>
                </c:pt>
                <c:pt idx="263">
                  <c:v>64.926760000000002</c:v>
                </c:pt>
                <c:pt idx="264">
                  <c:v>65.596374999999995</c:v>
                </c:pt>
                <c:pt idx="265">
                  <c:v>65.77431</c:v>
                </c:pt>
                <c:pt idx="266">
                  <c:v>65.960303999999994</c:v>
                </c:pt>
                <c:pt idx="267">
                  <c:v>66.097819999999999</c:v>
                </c:pt>
                <c:pt idx="268">
                  <c:v>66.971244999999996</c:v>
                </c:pt>
                <c:pt idx="269">
                  <c:v>66.437484999999995</c:v>
                </c:pt>
                <c:pt idx="270">
                  <c:v>66.154420000000002</c:v>
                </c:pt>
                <c:pt idx="271">
                  <c:v>65.507419999999996</c:v>
                </c:pt>
                <c:pt idx="272">
                  <c:v>66.3566</c:v>
                </c:pt>
                <c:pt idx="273">
                  <c:v>66.275729999999996</c:v>
                </c:pt>
                <c:pt idx="274">
                  <c:v>65.806650000000005</c:v>
                </c:pt>
                <c:pt idx="275">
                  <c:v>66.202939999999998</c:v>
                </c:pt>
                <c:pt idx="276">
                  <c:v>66.429389999999998</c:v>
                </c:pt>
                <c:pt idx="277">
                  <c:v>66.227220000000003</c:v>
                </c:pt>
                <c:pt idx="278">
                  <c:v>66.639656000000002</c:v>
                </c:pt>
                <c:pt idx="279">
                  <c:v>67.019739999999999</c:v>
                </c:pt>
                <c:pt idx="280">
                  <c:v>66.752859999999998</c:v>
                </c:pt>
                <c:pt idx="281">
                  <c:v>67.084450000000004</c:v>
                </c:pt>
                <c:pt idx="282">
                  <c:v>67.529250000000005</c:v>
                </c:pt>
                <c:pt idx="283">
                  <c:v>67.027850000000001</c:v>
                </c:pt>
                <c:pt idx="284">
                  <c:v>66.906540000000007</c:v>
                </c:pt>
                <c:pt idx="285">
                  <c:v>67.052109999999999</c:v>
                </c:pt>
                <c:pt idx="286">
                  <c:v>66.793319999999994</c:v>
                </c:pt>
                <c:pt idx="287">
                  <c:v>67.860860000000002</c:v>
                </c:pt>
                <c:pt idx="288">
                  <c:v>67.504999999999995</c:v>
                </c:pt>
                <c:pt idx="289">
                  <c:v>67.860860000000002</c:v>
                </c:pt>
                <c:pt idx="290">
                  <c:v>67.626310000000004</c:v>
                </c:pt>
                <c:pt idx="291">
                  <c:v>67.246210000000005</c:v>
                </c:pt>
                <c:pt idx="292">
                  <c:v>67.569689999999994</c:v>
                </c:pt>
                <c:pt idx="293">
                  <c:v>67.901269999999997</c:v>
                </c:pt>
                <c:pt idx="294">
                  <c:v>68.556335000000004</c:v>
                </c:pt>
                <c:pt idx="295">
                  <c:v>69.187169999999995</c:v>
                </c:pt>
                <c:pt idx="296">
                  <c:v>69.478324999999998</c:v>
                </c:pt>
                <c:pt idx="297">
                  <c:v>68.855590000000007</c:v>
                </c:pt>
                <c:pt idx="298">
                  <c:v>69.073943999999997</c:v>
                </c:pt>
                <c:pt idx="299">
                  <c:v>69.162895000000006</c:v>
                </c:pt>
                <c:pt idx="300">
                  <c:v>68.944564999999997</c:v>
                </c:pt>
                <c:pt idx="301">
                  <c:v>70.214259999999996</c:v>
                </c:pt>
                <c:pt idx="302">
                  <c:v>69.357010000000002</c:v>
                </c:pt>
                <c:pt idx="303">
                  <c:v>69.462119999999999</c:v>
                </c:pt>
                <c:pt idx="304">
                  <c:v>69.203339999999997</c:v>
                </c:pt>
                <c:pt idx="305">
                  <c:v>69.162895000000006</c:v>
                </c:pt>
                <c:pt idx="306">
                  <c:v>69.478324999999998</c:v>
                </c:pt>
                <c:pt idx="307">
                  <c:v>69.041589999999999</c:v>
                </c:pt>
                <c:pt idx="308">
                  <c:v>70.198070000000001</c:v>
                </c:pt>
                <c:pt idx="309">
                  <c:v>70.084869999999995</c:v>
                </c:pt>
                <c:pt idx="310">
                  <c:v>70.497314000000003</c:v>
                </c:pt>
                <c:pt idx="311">
                  <c:v>70.303219999999996</c:v>
                </c:pt>
                <c:pt idx="312">
                  <c:v>70.545829999999995</c:v>
                </c:pt>
                <c:pt idx="313">
                  <c:v>70.230429999999998</c:v>
                </c:pt>
                <c:pt idx="314">
                  <c:v>69.340835999999996</c:v>
                </c:pt>
                <c:pt idx="315">
                  <c:v>69.987809999999996</c:v>
                </c:pt>
                <c:pt idx="316">
                  <c:v>69.631966000000006</c:v>
                </c:pt>
                <c:pt idx="317">
                  <c:v>69.268050000000002</c:v>
                </c:pt>
                <c:pt idx="318">
                  <c:v>69.631966000000006</c:v>
                </c:pt>
                <c:pt idx="319">
                  <c:v>69.211429999999993</c:v>
                </c:pt>
                <c:pt idx="320">
                  <c:v>69.413610000000006</c:v>
                </c:pt>
                <c:pt idx="321">
                  <c:v>69.979730000000004</c:v>
                </c:pt>
                <c:pt idx="322">
                  <c:v>70.416430000000005</c:v>
                </c:pt>
                <c:pt idx="323">
                  <c:v>70.950209999999998</c:v>
                </c:pt>
                <c:pt idx="324">
                  <c:v>71.435455000000005</c:v>
                </c:pt>
                <c:pt idx="325">
                  <c:v>71.063419999999994</c:v>
                </c:pt>
                <c:pt idx="326">
                  <c:v>71.346490000000003</c:v>
                </c:pt>
                <c:pt idx="327">
                  <c:v>71.236490000000003</c:v>
                </c:pt>
                <c:pt idx="328">
                  <c:v>71.505350000000007</c:v>
                </c:pt>
                <c:pt idx="329">
                  <c:v>71.627570000000006</c:v>
                </c:pt>
                <c:pt idx="330">
                  <c:v>71.700919999999996</c:v>
                </c:pt>
                <c:pt idx="331">
                  <c:v>72.043130000000005</c:v>
                </c:pt>
                <c:pt idx="332">
                  <c:v>71.521659999999997</c:v>
                </c:pt>
                <c:pt idx="333">
                  <c:v>71.065383999999995</c:v>
                </c:pt>
                <c:pt idx="334">
                  <c:v>71.040940000000006</c:v>
                </c:pt>
                <c:pt idx="335">
                  <c:v>71.334273999999994</c:v>
                </c:pt>
                <c:pt idx="336">
                  <c:v>71.114279999999994</c:v>
                </c:pt>
                <c:pt idx="337">
                  <c:v>72.434209999999993</c:v>
                </c:pt>
                <c:pt idx="338">
                  <c:v>73.411959999999993</c:v>
                </c:pt>
                <c:pt idx="339">
                  <c:v>72.597170000000006</c:v>
                </c:pt>
                <c:pt idx="340">
                  <c:v>72.018683999999993</c:v>
                </c:pt>
                <c:pt idx="341">
                  <c:v>71.741650000000007</c:v>
                </c:pt>
                <c:pt idx="342">
                  <c:v>72.173500000000004</c:v>
                </c:pt>
                <c:pt idx="343">
                  <c:v>72.197913999999997</c:v>
                </c:pt>
                <c:pt idx="344">
                  <c:v>72.320139999999995</c:v>
                </c:pt>
                <c:pt idx="345">
                  <c:v>72.79271</c:v>
                </c:pt>
                <c:pt idx="346">
                  <c:v>72.621634999999998</c:v>
                </c:pt>
                <c:pt idx="347">
                  <c:v>73.061610000000002</c:v>
                </c:pt>
                <c:pt idx="348">
                  <c:v>73.346770000000006</c:v>
                </c:pt>
                <c:pt idx="349">
                  <c:v>73.216419999999999</c:v>
                </c:pt>
                <c:pt idx="350">
                  <c:v>73.110500000000002</c:v>
                </c:pt>
                <c:pt idx="351">
                  <c:v>73.143060000000006</c:v>
                </c:pt>
                <c:pt idx="352">
                  <c:v>73.411959999999993</c:v>
                </c:pt>
                <c:pt idx="353">
                  <c:v>73.208250000000007</c:v>
                </c:pt>
                <c:pt idx="354">
                  <c:v>74.210459999999998</c:v>
                </c:pt>
                <c:pt idx="355">
                  <c:v>73.607489999999999</c:v>
                </c:pt>
                <c:pt idx="356">
                  <c:v>73.737859999999998</c:v>
                </c:pt>
                <c:pt idx="357">
                  <c:v>73.322339999999997</c:v>
                </c:pt>
                <c:pt idx="358">
                  <c:v>73.403824</c:v>
                </c:pt>
                <c:pt idx="359">
                  <c:v>73.257130000000004</c:v>
                </c:pt>
                <c:pt idx="360">
                  <c:v>72.654210000000006</c:v>
                </c:pt>
                <c:pt idx="361">
                  <c:v>73.998589999999993</c:v>
                </c:pt>
                <c:pt idx="362">
                  <c:v>74.886719999999997</c:v>
                </c:pt>
                <c:pt idx="363">
                  <c:v>74.593379999999996</c:v>
                </c:pt>
                <c:pt idx="364">
                  <c:v>74.120819999999995</c:v>
                </c:pt>
                <c:pt idx="365">
                  <c:v>73.444550000000007</c:v>
                </c:pt>
                <c:pt idx="366">
                  <c:v>72.442350000000005</c:v>
                </c:pt>
                <c:pt idx="367">
                  <c:v>71.782390000000007</c:v>
                </c:pt>
                <c:pt idx="368">
                  <c:v>71.790549999999996</c:v>
                </c:pt>
                <c:pt idx="369">
                  <c:v>73.0779</c:v>
                </c:pt>
                <c:pt idx="370">
                  <c:v>72.678650000000005</c:v>
                </c:pt>
                <c:pt idx="371">
                  <c:v>73.746030000000005</c:v>
                </c:pt>
                <c:pt idx="372">
                  <c:v>73.249020000000002</c:v>
                </c:pt>
                <c:pt idx="373">
                  <c:v>73.566760000000002</c:v>
                </c:pt>
                <c:pt idx="374">
                  <c:v>74.788929999999993</c:v>
                </c:pt>
                <c:pt idx="375">
                  <c:v>74.316376000000005</c:v>
                </c:pt>
                <c:pt idx="376">
                  <c:v>74.748189999999994</c:v>
                </c:pt>
                <c:pt idx="377">
                  <c:v>74.788929999999993</c:v>
                </c:pt>
                <c:pt idx="378">
                  <c:v>74.83784</c:v>
                </c:pt>
                <c:pt idx="379">
                  <c:v>75.082274999999996</c:v>
                </c:pt>
                <c:pt idx="380">
                  <c:v>74.84599</c:v>
                </c:pt>
                <c:pt idx="381">
                  <c:v>75.147469999999998</c:v>
                </c:pt>
                <c:pt idx="382">
                  <c:v>75.000786000000005</c:v>
                </c:pt>
                <c:pt idx="383">
                  <c:v>74.634129999999999</c:v>
                </c:pt>
                <c:pt idx="384">
                  <c:v>75.929640000000006</c:v>
                </c:pt>
                <c:pt idx="385">
                  <c:v>75.448920000000001</c:v>
                </c:pt>
                <c:pt idx="386">
                  <c:v>75.147469999999998</c:v>
                </c:pt>
                <c:pt idx="387">
                  <c:v>75.43262</c:v>
                </c:pt>
                <c:pt idx="388">
                  <c:v>75.359279999999998</c:v>
                </c:pt>
                <c:pt idx="389">
                  <c:v>75.351150000000004</c:v>
                </c:pt>
                <c:pt idx="390">
                  <c:v>76.110209999999995</c:v>
                </c:pt>
                <c:pt idx="391">
                  <c:v>75.371660000000006</c:v>
                </c:pt>
                <c:pt idx="392">
                  <c:v>75.289580000000001</c:v>
                </c:pt>
                <c:pt idx="393">
                  <c:v>75.379890000000003</c:v>
                </c:pt>
                <c:pt idx="394">
                  <c:v>75.018810000000002</c:v>
                </c:pt>
                <c:pt idx="395">
                  <c:v>75.322410000000005</c:v>
                </c:pt>
                <c:pt idx="396">
                  <c:v>75.207534999999993</c:v>
                </c:pt>
                <c:pt idx="397">
                  <c:v>74.567474000000004</c:v>
                </c:pt>
                <c:pt idx="398">
                  <c:v>74.838279999999997</c:v>
                </c:pt>
                <c:pt idx="399">
                  <c:v>75.962494000000007</c:v>
                </c:pt>
                <c:pt idx="400">
                  <c:v>76.192269999999994</c:v>
                </c:pt>
                <c:pt idx="401">
                  <c:v>76.618960000000001</c:v>
                </c:pt>
                <c:pt idx="402">
                  <c:v>76.9636</c:v>
                </c:pt>
                <c:pt idx="403">
                  <c:v>76.791300000000007</c:v>
                </c:pt>
                <c:pt idx="404">
                  <c:v>76.257903999999996</c:v>
                </c:pt>
                <c:pt idx="405">
                  <c:v>76.725655000000003</c:v>
                </c:pt>
                <c:pt idx="406">
                  <c:v>76.044560000000004</c:v>
                </c:pt>
                <c:pt idx="407">
                  <c:v>76.422004999999999</c:v>
                </c:pt>
                <c:pt idx="408">
                  <c:v>76.43844</c:v>
                </c:pt>
                <c:pt idx="409">
                  <c:v>76.389210000000006</c:v>
                </c:pt>
                <c:pt idx="410">
                  <c:v>76.02816</c:v>
                </c:pt>
                <c:pt idx="411">
                  <c:v>75.970695000000006</c:v>
                </c:pt>
                <c:pt idx="412">
                  <c:v>76.725655000000003</c:v>
                </c:pt>
                <c:pt idx="413">
                  <c:v>76.618960000000001</c:v>
                </c:pt>
                <c:pt idx="414">
                  <c:v>76.397390000000001</c:v>
                </c:pt>
                <c:pt idx="415">
                  <c:v>77.086709999999997</c:v>
                </c:pt>
                <c:pt idx="416">
                  <c:v>76.783090000000001</c:v>
                </c:pt>
                <c:pt idx="417">
                  <c:v>77.669330000000002</c:v>
                </c:pt>
                <c:pt idx="418">
                  <c:v>77.086709999999997</c:v>
                </c:pt>
                <c:pt idx="419">
                  <c:v>76.323560000000001</c:v>
                </c:pt>
                <c:pt idx="420">
                  <c:v>75.305999999999997</c:v>
                </c:pt>
                <c:pt idx="421">
                  <c:v>74.501816000000005</c:v>
                </c:pt>
                <c:pt idx="422">
                  <c:v>75.092650000000006</c:v>
                </c:pt>
                <c:pt idx="423">
                  <c:v>76.766660000000002</c:v>
                </c:pt>
                <c:pt idx="424">
                  <c:v>76.914370000000005</c:v>
                </c:pt>
                <c:pt idx="425">
                  <c:v>77.513400000000004</c:v>
                </c:pt>
                <c:pt idx="426">
                  <c:v>76.939009999999996</c:v>
                </c:pt>
                <c:pt idx="427">
                  <c:v>77.628296000000006</c:v>
                </c:pt>
                <c:pt idx="428">
                  <c:v>77.644713999999993</c:v>
                </c:pt>
                <c:pt idx="429">
                  <c:v>78.169889999999995</c:v>
                </c:pt>
                <c:pt idx="430">
                  <c:v>77.702160000000006</c:v>
                </c:pt>
                <c:pt idx="431">
                  <c:v>78.489913999999999</c:v>
                </c:pt>
                <c:pt idx="432">
                  <c:v>78.916640000000001</c:v>
                </c:pt>
                <c:pt idx="433">
                  <c:v>78.637649999999994</c:v>
                </c:pt>
                <c:pt idx="434">
                  <c:v>79.376159999999999</c:v>
                </c:pt>
                <c:pt idx="435">
                  <c:v>79.507469999999998</c:v>
                </c:pt>
                <c:pt idx="436">
                  <c:v>79.441800000000001</c:v>
                </c:pt>
                <c:pt idx="437">
                  <c:v>79.433610000000002</c:v>
                </c:pt>
                <c:pt idx="438">
                  <c:v>79.573099999999997</c:v>
                </c:pt>
                <c:pt idx="439">
                  <c:v>79.35154</c:v>
                </c:pt>
                <c:pt idx="440">
                  <c:v>79.729033999999999</c:v>
                </c:pt>
                <c:pt idx="441">
                  <c:v>80.861450000000005</c:v>
                </c:pt>
                <c:pt idx="442">
                  <c:v>80.188559999999995</c:v>
                </c:pt>
                <c:pt idx="443">
                  <c:v>80.762969999999996</c:v>
                </c:pt>
                <c:pt idx="444">
                  <c:v>80.369079999999997</c:v>
                </c:pt>
                <c:pt idx="445">
                  <c:v>80.754769999999994</c:v>
                </c:pt>
                <c:pt idx="446">
                  <c:v>80.467545000000001</c:v>
                </c:pt>
                <c:pt idx="447">
                  <c:v>81.14864</c:v>
                </c:pt>
                <c:pt idx="448">
                  <c:v>80.976326</c:v>
                </c:pt>
                <c:pt idx="449">
                  <c:v>81.181479999999993</c:v>
                </c:pt>
                <c:pt idx="450">
                  <c:v>81.526110000000003</c:v>
                </c:pt>
                <c:pt idx="451">
                  <c:v>82.141559999999998</c:v>
                </c:pt>
                <c:pt idx="452">
                  <c:v>81.788709999999995</c:v>
                </c:pt>
                <c:pt idx="453">
                  <c:v>82.379549999999995</c:v>
                </c:pt>
                <c:pt idx="454">
                  <c:v>81.210759999999993</c:v>
                </c:pt>
                <c:pt idx="455">
                  <c:v>80.739980000000003</c:v>
                </c:pt>
                <c:pt idx="456">
                  <c:v>80.748230000000007</c:v>
                </c:pt>
                <c:pt idx="457">
                  <c:v>80.764750000000006</c:v>
                </c:pt>
                <c:pt idx="458">
                  <c:v>80.227829999999997</c:v>
                </c:pt>
                <c:pt idx="459">
                  <c:v>79.443160000000006</c:v>
                </c:pt>
                <c:pt idx="460">
                  <c:v>79.534035000000003</c:v>
                </c:pt>
                <c:pt idx="461">
                  <c:v>78.253749999999997</c:v>
                </c:pt>
                <c:pt idx="462">
                  <c:v>77.758160000000004</c:v>
                </c:pt>
                <c:pt idx="463">
                  <c:v>76.477890000000002</c:v>
                </c:pt>
                <c:pt idx="464">
                  <c:v>77.411259999999999</c:v>
                </c:pt>
                <c:pt idx="465">
                  <c:v>78.765860000000004</c:v>
                </c:pt>
                <c:pt idx="466">
                  <c:v>78.831954999999994</c:v>
                </c:pt>
                <c:pt idx="467">
                  <c:v>79.806610000000006</c:v>
                </c:pt>
                <c:pt idx="468">
                  <c:v>80.417839999999998</c:v>
                </c:pt>
                <c:pt idx="469">
                  <c:v>80.194820000000007</c:v>
                </c:pt>
                <c:pt idx="470">
                  <c:v>80.161779999999993</c:v>
                </c:pt>
                <c:pt idx="471">
                  <c:v>79.897469999999998</c:v>
                </c:pt>
                <c:pt idx="472">
                  <c:v>79.261443999999997</c:v>
                </c:pt>
                <c:pt idx="473">
                  <c:v>78.105080000000001</c:v>
                </c:pt>
                <c:pt idx="474">
                  <c:v>78.005936000000005</c:v>
                </c:pt>
                <c:pt idx="475">
                  <c:v>77.419524999999993</c:v>
                </c:pt>
                <c:pt idx="476">
                  <c:v>76.833079999999995</c:v>
                </c:pt>
                <c:pt idx="477">
                  <c:v>79.079729999999998</c:v>
                </c:pt>
                <c:pt idx="478">
                  <c:v>80.516949999999994</c:v>
                </c:pt>
                <c:pt idx="479">
                  <c:v>79.971824999999995</c:v>
                </c:pt>
                <c:pt idx="480">
                  <c:v>79.641409999999993</c:v>
                </c:pt>
                <c:pt idx="481">
                  <c:v>79.583590000000001</c:v>
                </c:pt>
                <c:pt idx="482">
                  <c:v>79.847899999999996</c:v>
                </c:pt>
                <c:pt idx="483">
                  <c:v>79.847899999999996</c:v>
                </c:pt>
                <c:pt idx="484">
                  <c:v>80.360020000000006</c:v>
                </c:pt>
                <c:pt idx="485">
                  <c:v>80.541730000000001</c:v>
                </c:pt>
                <c:pt idx="486">
                  <c:v>80.450873999999999</c:v>
                </c:pt>
                <c:pt idx="487">
                  <c:v>81.689859999999996</c:v>
                </c:pt>
                <c:pt idx="488">
                  <c:v>81.384230000000002</c:v>
                </c:pt>
                <c:pt idx="489">
                  <c:v>81.516400000000004</c:v>
                </c:pt>
                <c:pt idx="490">
                  <c:v>79.889210000000006</c:v>
                </c:pt>
                <c:pt idx="491">
                  <c:v>79.063220000000001</c:v>
                </c:pt>
                <c:pt idx="492">
                  <c:v>79.319243999999998</c:v>
                </c:pt>
                <c:pt idx="493">
                  <c:v>77.460790000000003</c:v>
                </c:pt>
                <c:pt idx="494">
                  <c:v>78.741079999999997</c:v>
                </c:pt>
                <c:pt idx="495">
                  <c:v>79.459670000000003</c:v>
                </c:pt>
                <c:pt idx="496">
                  <c:v>79.79007</c:v>
                </c:pt>
                <c:pt idx="497">
                  <c:v>79.798349999999999</c:v>
                </c:pt>
                <c:pt idx="498">
                  <c:v>79.880949999999999</c:v>
                </c:pt>
                <c:pt idx="499">
                  <c:v>79.269710000000003</c:v>
                </c:pt>
                <c:pt idx="500">
                  <c:v>80.938199999999995</c:v>
                </c:pt>
                <c:pt idx="501">
                  <c:v>82.928825000000003</c:v>
                </c:pt>
                <c:pt idx="502">
                  <c:v>82.821470000000005</c:v>
                </c:pt>
                <c:pt idx="503">
                  <c:v>81.879840000000002</c:v>
                </c:pt>
                <c:pt idx="504">
                  <c:v>81.243799999999993</c:v>
                </c:pt>
                <c:pt idx="505">
                  <c:v>82.04504</c:v>
                </c:pt>
                <c:pt idx="506">
                  <c:v>81.541160000000005</c:v>
                </c:pt>
                <c:pt idx="507">
                  <c:v>81.822000000000003</c:v>
                </c:pt>
                <c:pt idx="508">
                  <c:v>82.144130000000004</c:v>
                </c:pt>
                <c:pt idx="509">
                  <c:v>82.251525999999998</c:v>
                </c:pt>
                <c:pt idx="510">
                  <c:v>82.185450000000003</c:v>
                </c:pt>
                <c:pt idx="511">
                  <c:v>81.830269999999999</c:v>
                </c:pt>
                <c:pt idx="512">
                  <c:v>81.755936000000005</c:v>
                </c:pt>
                <c:pt idx="513">
                  <c:v>81.772450000000006</c:v>
                </c:pt>
                <c:pt idx="514">
                  <c:v>81.276859999999999</c:v>
                </c:pt>
                <c:pt idx="515">
                  <c:v>80.956720000000004</c:v>
                </c:pt>
                <c:pt idx="516">
                  <c:v>80.848619999999997</c:v>
                </c:pt>
                <c:pt idx="517">
                  <c:v>79.967209999999994</c:v>
                </c:pt>
                <c:pt idx="518">
                  <c:v>79.859116</c:v>
                </c:pt>
                <c:pt idx="519">
                  <c:v>78.520359999999997</c:v>
                </c:pt>
                <c:pt idx="520">
                  <c:v>77.855159999999998</c:v>
                </c:pt>
                <c:pt idx="521">
                  <c:v>79.584710000000001</c:v>
                </c:pt>
                <c:pt idx="522">
                  <c:v>78.428925000000007</c:v>
                </c:pt>
                <c:pt idx="523">
                  <c:v>79.368510000000001</c:v>
                </c:pt>
                <c:pt idx="524">
                  <c:v>78.270920000000004</c:v>
                </c:pt>
                <c:pt idx="525">
                  <c:v>78.694999999999993</c:v>
                </c:pt>
                <c:pt idx="526">
                  <c:v>78.24597</c:v>
                </c:pt>
                <c:pt idx="527">
                  <c:v>79.277054000000007</c:v>
                </c:pt>
                <c:pt idx="528">
                  <c:v>79.701130000000006</c:v>
                </c:pt>
                <c:pt idx="529">
                  <c:v>79.709450000000004</c:v>
                </c:pt>
                <c:pt idx="530">
                  <c:v>79.210530000000006</c:v>
                </c:pt>
                <c:pt idx="531">
                  <c:v>79.518196000000003</c:v>
                </c:pt>
                <c:pt idx="532">
                  <c:v>79.784279999999995</c:v>
                </c:pt>
                <c:pt idx="533">
                  <c:v>80.258255000000005</c:v>
                </c:pt>
                <c:pt idx="534">
                  <c:v>79.509870000000006</c:v>
                </c:pt>
                <c:pt idx="535">
                  <c:v>79.069159999999997</c:v>
                </c:pt>
                <c:pt idx="536">
                  <c:v>79.568089999999998</c:v>
                </c:pt>
                <c:pt idx="537">
                  <c:v>80.224980000000002</c:v>
                </c:pt>
                <c:pt idx="538">
                  <c:v>80.000470000000007</c:v>
                </c:pt>
                <c:pt idx="539">
                  <c:v>79.85078</c:v>
                </c:pt>
                <c:pt idx="540">
                  <c:v>80.116900000000001</c:v>
                </c:pt>
                <c:pt idx="541">
                  <c:v>79.992140000000006</c:v>
                </c:pt>
                <c:pt idx="542">
                  <c:v>79.435040000000001</c:v>
                </c:pt>
                <c:pt idx="543">
                  <c:v>80.233283999999998</c:v>
                </c:pt>
                <c:pt idx="544">
                  <c:v>80.349699999999999</c:v>
                </c:pt>
                <c:pt idx="545">
                  <c:v>80.200035</c:v>
                </c:pt>
                <c:pt idx="546">
                  <c:v>79.667860000000005</c:v>
                </c:pt>
                <c:pt idx="547">
                  <c:v>80.241609999999994</c:v>
                </c:pt>
                <c:pt idx="548">
                  <c:v>80.474434000000002</c:v>
                </c:pt>
                <c:pt idx="549">
                  <c:v>80.890204999999995</c:v>
                </c:pt>
                <c:pt idx="550">
                  <c:v>79.601339999999993</c:v>
                </c:pt>
                <c:pt idx="551">
                  <c:v>79.135679999999994</c:v>
                </c:pt>
                <c:pt idx="552">
                  <c:v>78.570279999999997</c:v>
                </c:pt>
                <c:pt idx="553">
                  <c:v>78.512050000000002</c:v>
                </c:pt>
                <c:pt idx="554">
                  <c:v>78.478800000000007</c:v>
                </c:pt>
                <c:pt idx="555">
                  <c:v>79.094130000000007</c:v>
                </c:pt>
                <c:pt idx="556">
                  <c:v>79.459990000000005</c:v>
                </c:pt>
                <c:pt idx="557">
                  <c:v>79.784279999999995</c:v>
                </c:pt>
                <c:pt idx="558">
                  <c:v>79.343580000000003</c:v>
                </c:pt>
                <c:pt idx="559">
                  <c:v>79.393460000000005</c:v>
                </c:pt>
                <c:pt idx="560">
                  <c:v>79.119069999999994</c:v>
                </c:pt>
                <c:pt idx="561">
                  <c:v>80.283209999999997</c:v>
                </c:pt>
                <c:pt idx="562">
                  <c:v>80.116900000000001</c:v>
                </c:pt>
                <c:pt idx="563">
                  <c:v>79.992140000000006</c:v>
                </c:pt>
                <c:pt idx="564">
                  <c:v>80.166780000000003</c:v>
                </c:pt>
                <c:pt idx="565">
                  <c:v>81.488879999999995</c:v>
                </c:pt>
                <c:pt idx="566">
                  <c:v>81.671840000000003</c:v>
                </c:pt>
                <c:pt idx="567">
                  <c:v>81.530469999999994</c:v>
                </c:pt>
                <c:pt idx="568">
                  <c:v>81.447310000000002</c:v>
                </c:pt>
                <c:pt idx="569">
                  <c:v>81.231125000000006</c:v>
                </c:pt>
                <c:pt idx="570">
                  <c:v>80.823684999999998</c:v>
                </c:pt>
                <c:pt idx="571">
                  <c:v>80.042045999999999</c:v>
                </c:pt>
                <c:pt idx="572">
                  <c:v>79.651250000000005</c:v>
                </c:pt>
                <c:pt idx="573">
                  <c:v>80.141840000000002</c:v>
                </c:pt>
                <c:pt idx="574">
                  <c:v>80.707269999999994</c:v>
                </c:pt>
                <c:pt idx="575">
                  <c:v>80.183400000000006</c:v>
                </c:pt>
                <c:pt idx="576">
                  <c:v>79.800895999999995</c:v>
                </c:pt>
                <c:pt idx="577">
                  <c:v>79.867440000000002</c:v>
                </c:pt>
                <c:pt idx="578">
                  <c:v>79.828059999999994</c:v>
                </c:pt>
                <c:pt idx="579">
                  <c:v>78.856384000000006</c:v>
                </c:pt>
                <c:pt idx="580">
                  <c:v>77.943370000000002</c:v>
                </c:pt>
                <c:pt idx="581">
                  <c:v>77.767449999999997</c:v>
                </c:pt>
                <c:pt idx="582">
                  <c:v>77.960099999999997</c:v>
                </c:pt>
                <c:pt idx="583">
                  <c:v>78.479454000000004</c:v>
                </c:pt>
                <c:pt idx="584">
                  <c:v>78.814509999999999</c:v>
                </c:pt>
                <c:pt idx="585">
                  <c:v>78.521339999999995</c:v>
                </c:pt>
                <c:pt idx="586">
                  <c:v>77.599940000000004</c:v>
                </c:pt>
                <c:pt idx="587">
                  <c:v>78.362174999999993</c:v>
                </c:pt>
                <c:pt idx="588">
                  <c:v>78.78098</c:v>
                </c:pt>
                <c:pt idx="589">
                  <c:v>79.769450000000006</c:v>
                </c:pt>
                <c:pt idx="590">
                  <c:v>79.459496000000001</c:v>
                </c:pt>
                <c:pt idx="591">
                  <c:v>80.079346000000001</c:v>
                </c:pt>
                <c:pt idx="592">
                  <c:v>80.079346000000001</c:v>
                </c:pt>
                <c:pt idx="593">
                  <c:v>79.819694999999996</c:v>
                </c:pt>
                <c:pt idx="594">
                  <c:v>79.434364000000002</c:v>
                </c:pt>
                <c:pt idx="595">
                  <c:v>79.501360000000005</c:v>
                </c:pt>
                <c:pt idx="596">
                  <c:v>78.479454000000004</c:v>
                </c:pt>
                <c:pt idx="597">
                  <c:v>78.18629</c:v>
                </c:pt>
                <c:pt idx="598">
                  <c:v>79.174700000000001</c:v>
                </c:pt>
                <c:pt idx="599">
                  <c:v>79.291970000000006</c:v>
                </c:pt>
                <c:pt idx="600">
                  <c:v>79.074179999999998</c:v>
                </c:pt>
                <c:pt idx="601">
                  <c:v>80.749470000000002</c:v>
                </c:pt>
                <c:pt idx="602">
                  <c:v>80.087715000000003</c:v>
                </c:pt>
                <c:pt idx="603">
                  <c:v>79.233329999999995</c:v>
                </c:pt>
                <c:pt idx="604">
                  <c:v>80.037475999999998</c:v>
                </c:pt>
                <c:pt idx="605">
                  <c:v>81.436350000000004</c:v>
                </c:pt>
                <c:pt idx="606">
                  <c:v>81.360939999999999</c:v>
                </c:pt>
                <c:pt idx="607">
                  <c:v>80.707595999999995</c:v>
                </c:pt>
                <c:pt idx="608">
                  <c:v>81.168319999999994</c:v>
                </c:pt>
                <c:pt idx="609">
                  <c:v>81.067769999999996</c:v>
                </c:pt>
                <c:pt idx="610">
                  <c:v>81.511750000000006</c:v>
                </c:pt>
                <c:pt idx="611">
                  <c:v>81.193430000000006</c:v>
                </c:pt>
                <c:pt idx="612">
                  <c:v>81.394459999999995</c:v>
                </c:pt>
                <c:pt idx="613">
                  <c:v>81.143180000000001</c:v>
                </c:pt>
                <c:pt idx="614">
                  <c:v>80.565190000000001</c:v>
                </c:pt>
                <c:pt idx="615">
                  <c:v>80.12961</c:v>
                </c:pt>
                <c:pt idx="616">
                  <c:v>80.506550000000004</c:v>
                </c:pt>
                <c:pt idx="617">
                  <c:v>80.858376000000007</c:v>
                </c:pt>
                <c:pt idx="618">
                  <c:v>80.942120000000003</c:v>
                </c:pt>
                <c:pt idx="619">
                  <c:v>80.707595999999995</c:v>
                </c:pt>
                <c:pt idx="620">
                  <c:v>81.629000000000005</c:v>
                </c:pt>
                <c:pt idx="621">
                  <c:v>81.930570000000003</c:v>
                </c:pt>
                <c:pt idx="622">
                  <c:v>83.086510000000004</c:v>
                </c:pt>
                <c:pt idx="623">
                  <c:v>83.05301</c:v>
                </c:pt>
                <c:pt idx="624">
                  <c:v>83.011139999999997</c:v>
                </c:pt>
                <c:pt idx="625">
                  <c:v>83.002740000000003</c:v>
                </c:pt>
                <c:pt idx="626">
                  <c:v>82.609054999999998</c:v>
                </c:pt>
                <c:pt idx="627">
                  <c:v>82.408029999999997</c:v>
                </c:pt>
                <c:pt idx="628">
                  <c:v>82.751459999999994</c:v>
                </c:pt>
                <c:pt idx="629">
                  <c:v>83.120025999999996</c:v>
                </c:pt>
                <c:pt idx="630">
                  <c:v>83.647739999999999</c:v>
                </c:pt>
                <c:pt idx="631">
                  <c:v>83.57235</c:v>
                </c:pt>
                <c:pt idx="632">
                  <c:v>82.918976000000001</c:v>
                </c:pt>
                <c:pt idx="633">
                  <c:v>82.072980000000001</c:v>
                </c:pt>
                <c:pt idx="634">
                  <c:v>80.623850000000004</c:v>
                </c:pt>
                <c:pt idx="635">
                  <c:v>76.921430000000001</c:v>
                </c:pt>
                <c:pt idx="636">
                  <c:v>75.086945</c:v>
                </c:pt>
                <c:pt idx="637">
                  <c:v>77.474260000000001</c:v>
                </c:pt>
                <c:pt idx="638">
                  <c:v>78.404060000000001</c:v>
                </c:pt>
                <c:pt idx="639">
                  <c:v>78.345429999999993</c:v>
                </c:pt>
                <c:pt idx="640">
                  <c:v>77.842839999999995</c:v>
                </c:pt>
                <c:pt idx="641">
                  <c:v>76.502594000000002</c:v>
                </c:pt>
                <c:pt idx="642">
                  <c:v>77.357709999999997</c:v>
                </c:pt>
                <c:pt idx="643">
                  <c:v>77.771324000000007</c:v>
                </c:pt>
                <c:pt idx="644">
                  <c:v>76.749930000000006</c:v>
                </c:pt>
                <c:pt idx="645">
                  <c:v>77.973960000000005</c:v>
                </c:pt>
                <c:pt idx="646">
                  <c:v>76.673959999999994</c:v>
                </c:pt>
                <c:pt idx="647">
                  <c:v>76.868110000000001</c:v>
                </c:pt>
                <c:pt idx="648">
                  <c:v>77.34084</c:v>
                </c:pt>
                <c:pt idx="649">
                  <c:v>76.986289999999997</c:v>
                </c:pt>
                <c:pt idx="650">
                  <c:v>77.712249999999997</c:v>
                </c:pt>
                <c:pt idx="651">
                  <c:v>78.564840000000004</c:v>
                </c:pt>
                <c:pt idx="652">
                  <c:v>78.818084999999996</c:v>
                </c:pt>
                <c:pt idx="653">
                  <c:v>78.547966000000002</c:v>
                </c:pt>
                <c:pt idx="654">
                  <c:v>79.105099999999993</c:v>
                </c:pt>
                <c:pt idx="655">
                  <c:v>77.973960000000005</c:v>
                </c:pt>
                <c:pt idx="656">
                  <c:v>77.999274999999997</c:v>
                </c:pt>
                <c:pt idx="657">
                  <c:v>78.058350000000004</c:v>
                </c:pt>
                <c:pt idx="658">
                  <c:v>78.902510000000007</c:v>
                </c:pt>
                <c:pt idx="659">
                  <c:v>78.058350000000004</c:v>
                </c:pt>
                <c:pt idx="660">
                  <c:v>78.539505000000005</c:v>
                </c:pt>
                <c:pt idx="661">
                  <c:v>79.603139999999996</c:v>
                </c:pt>
                <c:pt idx="662">
                  <c:v>79.223269999999999</c:v>
                </c:pt>
                <c:pt idx="663">
                  <c:v>79.484979999999993</c:v>
                </c:pt>
                <c:pt idx="664">
                  <c:v>80.877799999999993</c:v>
                </c:pt>
                <c:pt idx="665">
                  <c:v>81.941450000000003</c:v>
                </c:pt>
                <c:pt idx="666">
                  <c:v>83.165450000000007</c:v>
                </c:pt>
                <c:pt idx="667">
                  <c:v>83.545310000000001</c:v>
                </c:pt>
                <c:pt idx="668">
                  <c:v>83.967370000000003</c:v>
                </c:pt>
                <c:pt idx="669">
                  <c:v>83.688820000000007</c:v>
                </c:pt>
                <c:pt idx="670">
                  <c:v>82.658959999999993</c:v>
                </c:pt>
                <c:pt idx="671">
                  <c:v>82.29598</c:v>
                </c:pt>
                <c:pt idx="672">
                  <c:v>82.962845000000002</c:v>
                </c:pt>
                <c:pt idx="673">
                  <c:v>84.161529999999999</c:v>
                </c:pt>
                <c:pt idx="674">
                  <c:v>84.566720000000004</c:v>
                </c:pt>
                <c:pt idx="675">
                  <c:v>84.642709999999994</c:v>
                </c:pt>
                <c:pt idx="676">
                  <c:v>84.625829999999993</c:v>
                </c:pt>
                <c:pt idx="677">
                  <c:v>87.014759999999995</c:v>
                </c:pt>
                <c:pt idx="678">
                  <c:v>86.466080000000005</c:v>
                </c:pt>
                <c:pt idx="679">
                  <c:v>86.558930000000004</c:v>
                </c:pt>
                <c:pt idx="680">
                  <c:v>86.896575999999996</c:v>
                </c:pt>
                <c:pt idx="681">
                  <c:v>86.72775</c:v>
                </c:pt>
                <c:pt idx="682">
                  <c:v>86.778400000000005</c:v>
                </c:pt>
                <c:pt idx="683">
                  <c:v>86.263490000000004</c:v>
                </c:pt>
                <c:pt idx="684">
                  <c:v>85.596596000000005</c:v>
                </c:pt>
                <c:pt idx="685">
                  <c:v>85.191413999999995</c:v>
                </c:pt>
                <c:pt idx="686">
                  <c:v>84.938159999999996</c:v>
                </c:pt>
                <c:pt idx="687">
                  <c:v>84.929726000000002</c:v>
                </c:pt>
                <c:pt idx="688">
                  <c:v>84.178439999999995</c:v>
                </c:pt>
                <c:pt idx="689">
                  <c:v>83.469340000000003</c:v>
                </c:pt>
                <c:pt idx="690">
                  <c:v>83.427139999999994</c:v>
                </c:pt>
                <c:pt idx="691">
                  <c:v>83.933620000000005</c:v>
                </c:pt>
                <c:pt idx="692">
                  <c:v>83.038830000000004</c:v>
                </c:pt>
                <c:pt idx="693">
                  <c:v>82.760283999999999</c:v>
                </c:pt>
                <c:pt idx="694">
                  <c:v>84.043369999999996</c:v>
                </c:pt>
                <c:pt idx="695">
                  <c:v>83.427139999999994</c:v>
                </c:pt>
                <c:pt idx="696">
                  <c:v>84.642709999999994</c:v>
                </c:pt>
                <c:pt idx="697">
                  <c:v>85.199849999999998</c:v>
                </c:pt>
                <c:pt idx="698">
                  <c:v>84.499176000000006</c:v>
                </c:pt>
                <c:pt idx="699">
                  <c:v>85.132300000000001</c:v>
                </c:pt>
                <c:pt idx="700">
                  <c:v>84.946619999999996</c:v>
                </c:pt>
                <c:pt idx="701">
                  <c:v>84.836860000000001</c:v>
                </c:pt>
                <c:pt idx="702">
                  <c:v>85.039469999999994</c:v>
                </c:pt>
                <c:pt idx="703">
                  <c:v>84.549840000000003</c:v>
                </c:pt>
                <c:pt idx="704">
                  <c:v>85.309585999999996</c:v>
                </c:pt>
                <c:pt idx="705">
                  <c:v>84.564099999999996</c:v>
                </c:pt>
                <c:pt idx="706">
                  <c:v>84.232544000000004</c:v>
                </c:pt>
                <c:pt idx="707">
                  <c:v>85.907179999999997</c:v>
                </c:pt>
                <c:pt idx="708">
                  <c:v>85.575659999999999</c:v>
                </c:pt>
                <c:pt idx="709">
                  <c:v>85.150630000000007</c:v>
                </c:pt>
                <c:pt idx="710">
                  <c:v>84.266589999999994</c:v>
                </c:pt>
                <c:pt idx="711">
                  <c:v>84.071039999999996</c:v>
                </c:pt>
                <c:pt idx="712">
                  <c:v>83.118970000000004</c:v>
                </c:pt>
                <c:pt idx="713">
                  <c:v>83.263469999999998</c:v>
                </c:pt>
                <c:pt idx="714">
                  <c:v>84.487570000000005</c:v>
                </c:pt>
                <c:pt idx="715">
                  <c:v>85.924180000000007</c:v>
                </c:pt>
                <c:pt idx="716">
                  <c:v>85.176119999999997</c:v>
                </c:pt>
                <c:pt idx="717">
                  <c:v>83.220979999999997</c:v>
                </c:pt>
                <c:pt idx="718">
                  <c:v>83.833029999999994</c:v>
                </c:pt>
                <c:pt idx="719">
                  <c:v>84.836105000000003</c:v>
                </c:pt>
                <c:pt idx="720">
                  <c:v>85.550139999999999</c:v>
                </c:pt>
                <c:pt idx="721">
                  <c:v>85.465164000000001</c:v>
                </c:pt>
                <c:pt idx="722">
                  <c:v>85.584149999999994</c:v>
                </c:pt>
                <c:pt idx="723">
                  <c:v>86.238690000000005</c:v>
                </c:pt>
                <c:pt idx="724">
                  <c:v>85.983699999999999</c:v>
                </c:pt>
                <c:pt idx="725">
                  <c:v>84.938109999999995</c:v>
                </c:pt>
                <c:pt idx="726">
                  <c:v>83.960530000000006</c:v>
                </c:pt>
                <c:pt idx="727">
                  <c:v>84.538573999999997</c:v>
                </c:pt>
                <c:pt idx="728">
                  <c:v>84.564099999999996</c:v>
                </c:pt>
                <c:pt idx="729">
                  <c:v>82.940470000000005</c:v>
                </c:pt>
                <c:pt idx="730">
                  <c:v>82.634429999999995</c:v>
                </c:pt>
                <c:pt idx="731">
                  <c:v>82.82996</c:v>
                </c:pt>
                <c:pt idx="732">
                  <c:v>82.982979999999998</c:v>
                </c:pt>
                <c:pt idx="733">
                  <c:v>82.030900000000003</c:v>
                </c:pt>
                <c:pt idx="734">
                  <c:v>81.44435</c:v>
                </c:pt>
                <c:pt idx="735">
                  <c:v>79.846260000000001</c:v>
                </c:pt>
                <c:pt idx="736">
                  <c:v>81.41037</c:v>
                </c:pt>
                <c:pt idx="737">
                  <c:v>79.710210000000004</c:v>
                </c:pt>
                <c:pt idx="738">
                  <c:v>80.305279999999996</c:v>
                </c:pt>
                <c:pt idx="739">
                  <c:v>81.478354999999993</c:v>
                </c:pt>
                <c:pt idx="740">
                  <c:v>81.554869999999994</c:v>
                </c:pt>
                <c:pt idx="741">
                  <c:v>81.877883999999995</c:v>
                </c:pt>
                <c:pt idx="742">
                  <c:v>81.554869999999994</c:v>
                </c:pt>
                <c:pt idx="743">
                  <c:v>82.838440000000006</c:v>
                </c:pt>
                <c:pt idx="744">
                  <c:v>84.411069999999995</c:v>
                </c:pt>
                <c:pt idx="745">
                  <c:v>84.181550000000001</c:v>
                </c:pt>
                <c:pt idx="746">
                  <c:v>83.484489999999994</c:v>
                </c:pt>
                <c:pt idx="747">
                  <c:v>83.918019999999999</c:v>
                </c:pt>
                <c:pt idx="748">
                  <c:v>82.787450000000007</c:v>
                </c:pt>
                <c:pt idx="749">
                  <c:v>82.727940000000004</c:v>
                </c:pt>
                <c:pt idx="750">
                  <c:v>82.897964000000002</c:v>
                </c:pt>
                <c:pt idx="751">
                  <c:v>83.543999999999997</c:v>
                </c:pt>
                <c:pt idx="752">
                  <c:v>82.982979999999998</c:v>
                </c:pt>
                <c:pt idx="753">
                  <c:v>82.370925999999997</c:v>
                </c:pt>
                <c:pt idx="754">
                  <c:v>83.722530000000006</c:v>
                </c:pt>
                <c:pt idx="755">
                  <c:v>83.816029999999998</c:v>
                </c:pt>
                <c:pt idx="756">
                  <c:v>84.623580000000004</c:v>
                </c:pt>
                <c:pt idx="757">
                  <c:v>84.683099999999996</c:v>
                </c:pt>
                <c:pt idx="758">
                  <c:v>84.649100000000004</c:v>
                </c:pt>
                <c:pt idx="759">
                  <c:v>84.895600000000002</c:v>
                </c:pt>
                <c:pt idx="760">
                  <c:v>84.615089999999995</c:v>
                </c:pt>
                <c:pt idx="761">
                  <c:v>84.734099999999998</c:v>
                </c:pt>
                <c:pt idx="762">
                  <c:v>85.575659999999999</c:v>
                </c:pt>
                <c:pt idx="763">
                  <c:v>83.612009999999998</c:v>
                </c:pt>
                <c:pt idx="764">
                  <c:v>83.152969999999996</c:v>
                </c:pt>
                <c:pt idx="765">
                  <c:v>84.232544000000004</c:v>
                </c:pt>
                <c:pt idx="766">
                  <c:v>84.183753999999993</c:v>
                </c:pt>
                <c:pt idx="767">
                  <c:v>84.894350000000003</c:v>
                </c:pt>
                <c:pt idx="768">
                  <c:v>85.613510000000005</c:v>
                </c:pt>
                <c:pt idx="769">
                  <c:v>84.971405000000004</c:v>
                </c:pt>
                <c:pt idx="770">
                  <c:v>85.390884</c:v>
                </c:pt>
                <c:pt idx="771">
                  <c:v>85.784739999999999</c:v>
                </c:pt>
                <c:pt idx="772">
                  <c:v>86.281289999999998</c:v>
                </c:pt>
                <c:pt idx="773">
                  <c:v>86.735029999999995</c:v>
                </c:pt>
                <c:pt idx="774">
                  <c:v>86.169989999999999</c:v>
                </c:pt>
                <c:pt idx="775">
                  <c:v>86.598076000000006</c:v>
                </c:pt>
                <c:pt idx="776">
                  <c:v>86.324089999999998</c:v>
                </c:pt>
                <c:pt idx="777">
                  <c:v>87.214479999999995</c:v>
                </c:pt>
                <c:pt idx="778">
                  <c:v>86.717926000000006</c:v>
                </c:pt>
                <c:pt idx="779">
                  <c:v>86.931945999999996</c:v>
                </c:pt>
                <c:pt idx="780">
                  <c:v>86.272710000000004</c:v>
                </c:pt>
                <c:pt idx="781">
                  <c:v>86.306970000000007</c:v>
                </c:pt>
                <c:pt idx="782">
                  <c:v>86.195670000000007</c:v>
                </c:pt>
                <c:pt idx="783">
                  <c:v>86.452510000000004</c:v>
                </c:pt>
                <c:pt idx="784">
                  <c:v>86.786420000000007</c:v>
                </c:pt>
                <c:pt idx="785">
                  <c:v>87.916520000000006</c:v>
                </c:pt>
                <c:pt idx="786">
                  <c:v>87.736725000000007</c:v>
                </c:pt>
                <c:pt idx="787">
                  <c:v>88.849720000000005</c:v>
                </c:pt>
                <c:pt idx="788">
                  <c:v>88.883949999999999</c:v>
                </c:pt>
                <c:pt idx="789">
                  <c:v>88.267520000000005</c:v>
                </c:pt>
                <c:pt idx="790">
                  <c:v>88.969570000000004</c:v>
                </c:pt>
                <c:pt idx="791">
                  <c:v>88.695594999999997</c:v>
                </c:pt>
                <c:pt idx="792">
                  <c:v>89.962680000000006</c:v>
                </c:pt>
                <c:pt idx="793">
                  <c:v>89.294899999999998</c:v>
                </c:pt>
                <c:pt idx="794">
                  <c:v>89.817120000000003</c:v>
                </c:pt>
                <c:pt idx="795">
                  <c:v>89.140789999999996</c:v>
                </c:pt>
                <c:pt idx="796">
                  <c:v>88.318910000000002</c:v>
                </c:pt>
                <c:pt idx="797">
                  <c:v>88.841149999999999</c:v>
                </c:pt>
                <c:pt idx="798">
                  <c:v>88.798330000000007</c:v>
                </c:pt>
                <c:pt idx="799">
                  <c:v>89.312004000000002</c:v>
                </c:pt>
                <c:pt idx="800">
                  <c:v>87.702479999999994</c:v>
                </c:pt>
                <c:pt idx="801">
                  <c:v>86.461070000000007</c:v>
                </c:pt>
                <c:pt idx="802">
                  <c:v>87.308655000000002</c:v>
                </c:pt>
                <c:pt idx="803">
                  <c:v>88.010679999999994</c:v>
                </c:pt>
                <c:pt idx="804">
                  <c:v>87.839455000000001</c:v>
                </c:pt>
                <c:pt idx="805">
                  <c:v>87.865160000000003</c:v>
                </c:pt>
                <c:pt idx="806">
                  <c:v>88.156234999999995</c:v>
                </c:pt>
                <c:pt idx="807">
                  <c:v>88.147675000000007</c:v>
                </c:pt>
                <c:pt idx="808">
                  <c:v>88.550060000000002</c:v>
                </c:pt>
                <c:pt idx="809">
                  <c:v>88.661339999999996</c:v>
                </c:pt>
                <c:pt idx="810">
                  <c:v>89.055170000000004</c:v>
                </c:pt>
                <c:pt idx="811">
                  <c:v>89.217833999999996</c:v>
                </c:pt>
                <c:pt idx="812">
                  <c:v>89.859924000000007</c:v>
                </c:pt>
                <c:pt idx="813">
                  <c:v>90.133889999999994</c:v>
                </c:pt>
                <c:pt idx="814">
                  <c:v>91.238303999999999</c:v>
                </c:pt>
                <c:pt idx="815">
                  <c:v>90.510589999999993</c:v>
                </c:pt>
                <c:pt idx="816">
                  <c:v>90.835920000000002</c:v>
                </c:pt>
                <c:pt idx="817">
                  <c:v>89.192160000000001</c:v>
                </c:pt>
                <c:pt idx="818">
                  <c:v>89.149360000000001</c:v>
                </c:pt>
                <c:pt idx="819">
                  <c:v>87.642525000000006</c:v>
                </c:pt>
                <c:pt idx="820">
                  <c:v>86.392610000000005</c:v>
                </c:pt>
                <c:pt idx="821">
                  <c:v>86.752170000000007</c:v>
                </c:pt>
                <c:pt idx="822">
                  <c:v>85.699100000000001</c:v>
                </c:pt>
                <c:pt idx="823">
                  <c:v>85.973076000000006</c:v>
                </c:pt>
                <c:pt idx="824">
                  <c:v>86.546683999999999</c:v>
                </c:pt>
                <c:pt idx="825">
                  <c:v>86.546683999999999</c:v>
                </c:pt>
                <c:pt idx="826">
                  <c:v>87.240166000000002</c:v>
                </c:pt>
                <c:pt idx="827">
                  <c:v>87.291520000000006</c:v>
                </c:pt>
                <c:pt idx="828">
                  <c:v>86.615200000000002</c:v>
                </c:pt>
                <c:pt idx="829">
                  <c:v>87.609700000000004</c:v>
                </c:pt>
                <c:pt idx="830">
                  <c:v>87.980620000000002</c:v>
                </c:pt>
                <c:pt idx="831">
                  <c:v>88.437775000000002</c:v>
                </c:pt>
                <c:pt idx="832">
                  <c:v>88.584400000000002</c:v>
                </c:pt>
                <c:pt idx="833">
                  <c:v>88.403239999999997</c:v>
                </c:pt>
                <c:pt idx="834">
                  <c:v>88.998419999999996</c:v>
                </c:pt>
                <c:pt idx="835">
                  <c:v>89.412440000000004</c:v>
                </c:pt>
                <c:pt idx="836">
                  <c:v>89.11054</c:v>
                </c:pt>
                <c:pt idx="837">
                  <c:v>88.894930000000002</c:v>
                </c:pt>
                <c:pt idx="838">
                  <c:v>89.041533999999999</c:v>
                </c:pt>
                <c:pt idx="839">
                  <c:v>88.722399999999993</c:v>
                </c:pt>
                <c:pt idx="840">
                  <c:v>89.576329999999999</c:v>
                </c:pt>
                <c:pt idx="841">
                  <c:v>89.196809999999999</c:v>
                </c:pt>
                <c:pt idx="842">
                  <c:v>89.162300000000002</c:v>
                </c:pt>
                <c:pt idx="843">
                  <c:v>89.774730000000005</c:v>
                </c:pt>
                <c:pt idx="844">
                  <c:v>89.481444999999994</c:v>
                </c:pt>
                <c:pt idx="845">
                  <c:v>90.085235999999995</c:v>
                </c:pt>
                <c:pt idx="846">
                  <c:v>87.963356000000005</c:v>
                </c:pt>
                <c:pt idx="847">
                  <c:v>88.092740000000006</c:v>
                </c:pt>
                <c:pt idx="848">
                  <c:v>88.101380000000006</c:v>
                </c:pt>
                <c:pt idx="849">
                  <c:v>88.946655000000007</c:v>
                </c:pt>
                <c:pt idx="850">
                  <c:v>91.379069999999999</c:v>
                </c:pt>
                <c:pt idx="851">
                  <c:v>91.111670000000004</c:v>
                </c:pt>
                <c:pt idx="852">
                  <c:v>91.793075999999999</c:v>
                </c:pt>
                <c:pt idx="853">
                  <c:v>91.361823999999999</c:v>
                </c:pt>
                <c:pt idx="854">
                  <c:v>92.71602</c:v>
                </c:pt>
                <c:pt idx="855">
                  <c:v>93.388810000000007</c:v>
                </c:pt>
                <c:pt idx="856">
                  <c:v>93.940865000000002</c:v>
                </c:pt>
                <c:pt idx="857">
                  <c:v>93.837363999999994</c:v>
                </c:pt>
                <c:pt idx="858">
                  <c:v>94.803430000000006</c:v>
                </c:pt>
                <c:pt idx="859">
                  <c:v>94.846535000000003</c:v>
                </c:pt>
                <c:pt idx="860">
                  <c:v>94.587789999999998</c:v>
                </c:pt>
                <c:pt idx="861">
                  <c:v>94.199614999999994</c:v>
                </c:pt>
                <c:pt idx="862">
                  <c:v>94.475639999999999</c:v>
                </c:pt>
                <c:pt idx="863">
                  <c:v>93.949479999999994</c:v>
                </c:pt>
                <c:pt idx="864">
                  <c:v>93.656229999999994</c:v>
                </c:pt>
                <c:pt idx="865">
                  <c:v>94.182370000000006</c:v>
                </c:pt>
                <c:pt idx="866">
                  <c:v>94.035736</c:v>
                </c:pt>
                <c:pt idx="867">
                  <c:v>93.328429999999997</c:v>
                </c:pt>
                <c:pt idx="868">
                  <c:v>92.707409999999996</c:v>
                </c:pt>
                <c:pt idx="869">
                  <c:v>93.268050000000002</c:v>
                </c:pt>
                <c:pt idx="870">
                  <c:v>93.949479999999994</c:v>
                </c:pt>
                <c:pt idx="871">
                  <c:v>93.958110000000005</c:v>
                </c:pt>
                <c:pt idx="872">
                  <c:v>93.776970000000006</c:v>
                </c:pt>
                <c:pt idx="873">
                  <c:v>93.190444999999997</c:v>
                </c:pt>
                <c:pt idx="874">
                  <c:v>93.518196000000003</c:v>
                </c:pt>
                <c:pt idx="875">
                  <c:v>93.725229999999996</c:v>
                </c:pt>
                <c:pt idx="876">
                  <c:v>93.276690000000002</c:v>
                </c:pt>
                <c:pt idx="877">
                  <c:v>93.397446000000002</c:v>
                </c:pt>
                <c:pt idx="878">
                  <c:v>93.863235000000003</c:v>
                </c:pt>
                <c:pt idx="879">
                  <c:v>93.569969999999998</c:v>
                </c:pt>
                <c:pt idx="880">
                  <c:v>93.664829999999995</c:v>
                </c:pt>
                <c:pt idx="881">
                  <c:v>93.776970000000006</c:v>
                </c:pt>
                <c:pt idx="882">
                  <c:v>93.155945000000003</c:v>
                </c:pt>
                <c:pt idx="883">
                  <c:v>93.561340000000001</c:v>
                </c:pt>
                <c:pt idx="884">
                  <c:v>93.397446000000002</c:v>
                </c:pt>
                <c:pt idx="885">
                  <c:v>93.302574000000007</c:v>
                </c:pt>
                <c:pt idx="886">
                  <c:v>93.121440000000007</c:v>
                </c:pt>
                <c:pt idx="887">
                  <c:v>93.052419999999998</c:v>
                </c:pt>
                <c:pt idx="888">
                  <c:v>93.250820000000004</c:v>
                </c:pt>
                <c:pt idx="889">
                  <c:v>93.052419999999998</c:v>
                </c:pt>
                <c:pt idx="890">
                  <c:v>92.681526000000005</c:v>
                </c:pt>
                <c:pt idx="891">
                  <c:v>93.147316000000004</c:v>
                </c:pt>
                <c:pt idx="892">
                  <c:v>92.474500000000006</c:v>
                </c:pt>
                <c:pt idx="893">
                  <c:v>92.729029999999995</c:v>
                </c:pt>
                <c:pt idx="894">
                  <c:v>93.198104999999998</c:v>
                </c:pt>
                <c:pt idx="895">
                  <c:v>93.701930000000004</c:v>
                </c:pt>
                <c:pt idx="896">
                  <c:v>93.745350000000002</c:v>
                </c:pt>
                <c:pt idx="897">
                  <c:v>93.128609999999995</c:v>
                </c:pt>
                <c:pt idx="898">
                  <c:v>92.84196</c:v>
                </c:pt>
                <c:pt idx="899">
                  <c:v>90.383660000000006</c:v>
                </c:pt>
                <c:pt idx="900">
                  <c:v>92.094899999999996</c:v>
                </c:pt>
                <c:pt idx="901">
                  <c:v>90.852720000000005</c:v>
                </c:pt>
                <c:pt idx="902">
                  <c:v>91.252330000000001</c:v>
                </c:pt>
                <c:pt idx="903">
                  <c:v>91.625839999999997</c:v>
                </c:pt>
                <c:pt idx="904">
                  <c:v>91.452100000000002</c:v>
                </c:pt>
                <c:pt idx="905">
                  <c:v>91.790886</c:v>
                </c:pt>
                <c:pt idx="906">
                  <c:v>92.338130000000007</c:v>
                </c:pt>
                <c:pt idx="907">
                  <c:v>93.059100000000001</c:v>
                </c:pt>
                <c:pt idx="908">
                  <c:v>93.658479999999997</c:v>
                </c:pt>
                <c:pt idx="909">
                  <c:v>93.241529999999997</c:v>
                </c:pt>
                <c:pt idx="910">
                  <c:v>92.972244000000003</c:v>
                </c:pt>
                <c:pt idx="911">
                  <c:v>93.371840000000006</c:v>
                </c:pt>
                <c:pt idx="912">
                  <c:v>93.27628</c:v>
                </c:pt>
                <c:pt idx="913">
                  <c:v>93.606380000000001</c:v>
                </c:pt>
                <c:pt idx="914">
                  <c:v>94.483710000000002</c:v>
                </c:pt>
                <c:pt idx="915">
                  <c:v>94.032030000000006</c:v>
                </c:pt>
                <c:pt idx="916">
                  <c:v>93.033066000000005</c:v>
                </c:pt>
                <c:pt idx="917">
                  <c:v>92.086219999999997</c:v>
                </c:pt>
                <c:pt idx="918">
                  <c:v>92.424999999999997</c:v>
                </c:pt>
                <c:pt idx="919">
                  <c:v>92.068839999999994</c:v>
                </c:pt>
                <c:pt idx="920">
                  <c:v>92.268630000000002</c:v>
                </c:pt>
                <c:pt idx="921">
                  <c:v>91.704009999999997</c:v>
                </c:pt>
                <c:pt idx="922">
                  <c:v>92.147030000000001</c:v>
                </c:pt>
                <c:pt idx="923">
                  <c:v>92.008049999999997</c:v>
                </c:pt>
                <c:pt idx="924">
                  <c:v>92.79853</c:v>
                </c:pt>
                <c:pt idx="925">
                  <c:v>92.815880000000007</c:v>
                </c:pt>
                <c:pt idx="926">
                  <c:v>92.902760000000001</c:v>
                </c:pt>
                <c:pt idx="927">
                  <c:v>92.303389999999993</c:v>
                </c:pt>
                <c:pt idx="928">
                  <c:v>91.964614999999995</c:v>
                </c:pt>
                <c:pt idx="929">
                  <c:v>91.747450000000001</c:v>
                </c:pt>
                <c:pt idx="930">
                  <c:v>93.215479999999999</c:v>
                </c:pt>
                <c:pt idx="931">
                  <c:v>93.145989999999998</c:v>
                </c:pt>
                <c:pt idx="932">
                  <c:v>93.007000000000005</c:v>
                </c:pt>
                <c:pt idx="933">
                  <c:v>92.624793999999994</c:v>
                </c:pt>
                <c:pt idx="934">
                  <c:v>93.007000000000005</c:v>
                </c:pt>
                <c:pt idx="935">
                  <c:v>93.119929999999997</c:v>
                </c:pt>
                <c:pt idx="936">
                  <c:v>92.694280000000006</c:v>
                </c:pt>
                <c:pt idx="937">
                  <c:v>92.694280000000006</c:v>
                </c:pt>
                <c:pt idx="938">
                  <c:v>92.624793999999994</c:v>
                </c:pt>
                <c:pt idx="939">
                  <c:v>91.912499999999994</c:v>
                </c:pt>
                <c:pt idx="940">
                  <c:v>92.911445999999998</c:v>
                </c:pt>
                <c:pt idx="941">
                  <c:v>94.440280000000001</c:v>
                </c:pt>
                <c:pt idx="942">
                  <c:v>93.16337</c:v>
                </c:pt>
                <c:pt idx="943">
                  <c:v>89.688720000000004</c:v>
                </c:pt>
                <c:pt idx="944">
                  <c:v>89.636604000000005</c:v>
                </c:pt>
                <c:pt idx="945">
                  <c:v>88.073030000000003</c:v>
                </c:pt>
                <c:pt idx="946">
                  <c:v>88.472610000000003</c:v>
                </c:pt>
                <c:pt idx="947">
                  <c:v>88.350999999999999</c:v>
                </c:pt>
                <c:pt idx="948">
                  <c:v>88.272819999999996</c:v>
                </c:pt>
                <c:pt idx="949">
                  <c:v>88.003540000000001</c:v>
                </c:pt>
                <c:pt idx="950">
                  <c:v>88.828789999999998</c:v>
                </c:pt>
                <c:pt idx="951">
                  <c:v>89.376014999999995</c:v>
                </c:pt>
                <c:pt idx="952">
                  <c:v>88.194630000000004</c:v>
                </c:pt>
                <c:pt idx="953">
                  <c:v>88.750579999999999</c:v>
                </c:pt>
                <c:pt idx="954">
                  <c:v>89.289150000000006</c:v>
                </c:pt>
                <c:pt idx="955">
                  <c:v>89.071979999999996</c:v>
                </c:pt>
                <c:pt idx="956">
                  <c:v>87.595725999999999</c:v>
                </c:pt>
                <c:pt idx="957">
                  <c:v>86.659409999999994</c:v>
                </c:pt>
                <c:pt idx="958">
                  <c:v>88.033264000000003</c:v>
                </c:pt>
                <c:pt idx="959">
                  <c:v>88.129519999999999</c:v>
                </c:pt>
                <c:pt idx="960">
                  <c:v>88.864586000000003</c:v>
                </c:pt>
                <c:pt idx="961">
                  <c:v>89.967190000000002</c:v>
                </c:pt>
                <c:pt idx="962">
                  <c:v>89.389660000000006</c:v>
                </c:pt>
                <c:pt idx="963">
                  <c:v>90.632249999999999</c:v>
                </c:pt>
                <c:pt idx="964">
                  <c:v>91.638596000000007</c:v>
                </c:pt>
                <c:pt idx="965">
                  <c:v>92.434905999999998</c:v>
                </c:pt>
                <c:pt idx="966">
                  <c:v>91.419849999999997</c:v>
                </c:pt>
                <c:pt idx="967">
                  <c:v>92.146150000000006</c:v>
                </c:pt>
                <c:pt idx="968">
                  <c:v>92.644959999999998</c:v>
                </c:pt>
                <c:pt idx="969">
                  <c:v>92.242410000000007</c:v>
                </c:pt>
                <c:pt idx="970">
                  <c:v>91.796120000000002</c:v>
                </c:pt>
                <c:pt idx="971">
                  <c:v>91.621099999999998</c:v>
                </c:pt>
                <c:pt idx="972">
                  <c:v>92.189920000000001</c:v>
                </c:pt>
                <c:pt idx="973">
                  <c:v>91.962379999999996</c:v>
                </c:pt>
                <c:pt idx="974">
                  <c:v>91.997389999999996</c:v>
                </c:pt>
                <c:pt idx="975">
                  <c:v>91.551094000000006</c:v>
                </c:pt>
                <c:pt idx="976">
                  <c:v>91.874886000000004</c:v>
                </c:pt>
                <c:pt idx="977">
                  <c:v>91.559849999999997</c:v>
                </c:pt>
                <c:pt idx="978">
                  <c:v>91.577354</c:v>
                </c:pt>
                <c:pt idx="979">
                  <c:v>91.752364999999998</c:v>
                </c:pt>
                <c:pt idx="980">
                  <c:v>91.629859999999994</c:v>
                </c:pt>
                <c:pt idx="981">
                  <c:v>91.498580000000004</c:v>
                </c:pt>
                <c:pt idx="982">
                  <c:v>90.536000000000001</c:v>
                </c:pt>
                <c:pt idx="983">
                  <c:v>89.232129999999998</c:v>
                </c:pt>
                <c:pt idx="984">
                  <c:v>89.092110000000005</c:v>
                </c:pt>
                <c:pt idx="985">
                  <c:v>89.118369999999999</c:v>
                </c:pt>
                <c:pt idx="986">
                  <c:v>88.864586000000003</c:v>
                </c:pt>
                <c:pt idx="987">
                  <c:v>89.42465</c:v>
                </c:pt>
                <c:pt idx="988">
                  <c:v>89.905945000000003</c:v>
                </c:pt>
                <c:pt idx="989">
                  <c:v>89.573400000000007</c:v>
                </c:pt>
                <c:pt idx="990">
                  <c:v>90.343500000000006</c:v>
                </c:pt>
                <c:pt idx="991">
                  <c:v>91.017290000000003</c:v>
                </c:pt>
                <c:pt idx="992">
                  <c:v>91.629859999999994</c:v>
                </c:pt>
                <c:pt idx="993">
                  <c:v>91.542336000000006</c:v>
                </c:pt>
                <c:pt idx="994">
                  <c:v>91.131065000000007</c:v>
                </c:pt>
                <c:pt idx="995">
                  <c:v>90.553520000000006</c:v>
                </c:pt>
                <c:pt idx="996">
                  <c:v>90.737269999999995</c:v>
                </c:pt>
                <c:pt idx="997">
                  <c:v>90.816029999999998</c:v>
                </c:pt>
                <c:pt idx="998">
                  <c:v>90.142219999999995</c:v>
                </c:pt>
                <c:pt idx="999">
                  <c:v>91.034800000000004</c:v>
                </c:pt>
                <c:pt idx="1000">
                  <c:v>91.979900000000001</c:v>
                </c:pt>
                <c:pt idx="1001">
                  <c:v>91.507350000000002</c:v>
                </c:pt>
                <c:pt idx="1002">
                  <c:v>92.417434999999998</c:v>
                </c:pt>
                <c:pt idx="1003">
                  <c:v>92.487440000000007</c:v>
                </c:pt>
                <c:pt idx="1004">
                  <c:v>92.732460000000003</c:v>
                </c:pt>
                <c:pt idx="1005">
                  <c:v>92.846209999999999</c:v>
                </c:pt>
                <c:pt idx="1006">
                  <c:v>93.213745000000003</c:v>
                </c:pt>
                <c:pt idx="1007">
                  <c:v>93.563773999999995</c:v>
                </c:pt>
                <c:pt idx="1008">
                  <c:v>93.397514000000001</c:v>
                </c:pt>
                <c:pt idx="1009">
                  <c:v>94.613879999999995</c:v>
                </c:pt>
                <c:pt idx="1010">
                  <c:v>94.640144000000006</c:v>
                </c:pt>
                <c:pt idx="1011">
                  <c:v>95.698989999999995</c:v>
                </c:pt>
                <c:pt idx="1012">
                  <c:v>95.742739999999998</c:v>
                </c:pt>
                <c:pt idx="1013">
                  <c:v>95.856514000000004</c:v>
                </c:pt>
                <c:pt idx="1014">
                  <c:v>96.110275000000001</c:v>
                </c:pt>
                <c:pt idx="1015">
                  <c:v>95.620239999999995</c:v>
                </c:pt>
                <c:pt idx="1016">
                  <c:v>96.591570000000004</c:v>
                </c:pt>
                <c:pt idx="1017">
                  <c:v>96.682334999999995</c:v>
                </c:pt>
                <c:pt idx="1018">
                  <c:v>97.017120000000006</c:v>
                </c:pt>
                <c:pt idx="1019">
                  <c:v>97.413629999999998</c:v>
                </c:pt>
                <c:pt idx="1020">
                  <c:v>96.594210000000004</c:v>
                </c:pt>
                <c:pt idx="1021">
                  <c:v>96.321060000000003</c:v>
                </c:pt>
                <c:pt idx="1022">
                  <c:v>96.303439999999995</c:v>
                </c:pt>
                <c:pt idx="1023">
                  <c:v>96.056749999999994</c:v>
                </c:pt>
                <c:pt idx="1024">
                  <c:v>96.558975000000004</c:v>
                </c:pt>
                <c:pt idx="1025">
                  <c:v>96.400369999999995</c:v>
                </c:pt>
                <c:pt idx="1026">
                  <c:v>96.33869</c:v>
                </c:pt>
                <c:pt idx="1027">
                  <c:v>97.898223999999999</c:v>
                </c:pt>
                <c:pt idx="1028">
                  <c:v>97.924674999999993</c:v>
                </c:pt>
                <c:pt idx="1029">
                  <c:v>98.144930000000002</c:v>
                </c:pt>
                <c:pt idx="1030">
                  <c:v>97.93347</c:v>
                </c:pt>
                <c:pt idx="1031">
                  <c:v>98.47972</c:v>
                </c:pt>
                <c:pt idx="1032">
                  <c:v>98.700040000000001</c:v>
                </c:pt>
                <c:pt idx="1033">
                  <c:v>98.488550000000004</c:v>
                </c:pt>
                <c:pt idx="1034">
                  <c:v>98.788123999999996</c:v>
                </c:pt>
                <c:pt idx="1035">
                  <c:v>98.532629999999997</c:v>
                </c:pt>
                <c:pt idx="1036">
                  <c:v>99.078896</c:v>
                </c:pt>
                <c:pt idx="1037">
                  <c:v>99.061263999999994</c:v>
                </c:pt>
                <c:pt idx="1038">
                  <c:v>98.840990000000005</c:v>
                </c:pt>
                <c:pt idx="1039">
                  <c:v>98.559049999999999</c:v>
                </c:pt>
                <c:pt idx="1040">
                  <c:v>98.559049999999999</c:v>
                </c:pt>
                <c:pt idx="1041">
                  <c:v>98.752883999999995</c:v>
                </c:pt>
                <c:pt idx="1042">
                  <c:v>98.629530000000003</c:v>
                </c:pt>
                <c:pt idx="1043">
                  <c:v>98.312349999999995</c:v>
                </c:pt>
                <c:pt idx="1044">
                  <c:v>98.338775999999996</c:v>
                </c:pt>
                <c:pt idx="1045">
                  <c:v>98.700040000000001</c:v>
                </c:pt>
                <c:pt idx="1046">
                  <c:v>98.444500000000005</c:v>
                </c:pt>
                <c:pt idx="1047">
                  <c:v>100.10095</c:v>
                </c:pt>
                <c:pt idx="1048">
                  <c:v>99.281559999999999</c:v>
                </c:pt>
                <c:pt idx="1049">
                  <c:v>99.845439999999996</c:v>
                </c:pt>
                <c:pt idx="1050">
                  <c:v>100.6913</c:v>
                </c:pt>
                <c:pt idx="1051">
                  <c:v>100.10978</c:v>
                </c:pt>
                <c:pt idx="1052">
                  <c:v>100.08335</c:v>
                </c:pt>
                <c:pt idx="1053">
                  <c:v>99.942374999999998</c:v>
                </c:pt>
                <c:pt idx="1054">
                  <c:v>100.726524</c:v>
                </c:pt>
                <c:pt idx="1055">
                  <c:v>100.585556</c:v>
                </c:pt>
                <c:pt idx="1056">
                  <c:v>99.85427</c:v>
                </c:pt>
                <c:pt idx="1057">
                  <c:v>99.246300000000005</c:v>
                </c:pt>
                <c:pt idx="1058">
                  <c:v>99.810190000000006</c:v>
                </c:pt>
                <c:pt idx="1059">
                  <c:v>98.929109999999994</c:v>
                </c:pt>
                <c:pt idx="1060">
                  <c:v>98.937910000000002</c:v>
                </c:pt>
                <c:pt idx="1061">
                  <c:v>98.497375000000005</c:v>
                </c:pt>
                <c:pt idx="1062">
                  <c:v>99.528260000000003</c:v>
                </c:pt>
                <c:pt idx="1063">
                  <c:v>99.757323999999997</c:v>
                </c:pt>
                <c:pt idx="1064">
                  <c:v>99.757323999999997</c:v>
                </c:pt>
                <c:pt idx="1065">
                  <c:v>99.316779999999994</c:v>
                </c:pt>
                <c:pt idx="1066">
                  <c:v>99.422516000000002</c:v>
                </c:pt>
                <c:pt idx="1067">
                  <c:v>99.598724000000004</c:v>
                </c:pt>
                <c:pt idx="1068">
                  <c:v>99.484189999999998</c:v>
                </c:pt>
                <c:pt idx="1069">
                  <c:v>100.39172000000001</c:v>
                </c:pt>
                <c:pt idx="1070">
                  <c:v>100.25955999999999</c:v>
                </c:pt>
                <c:pt idx="1071">
                  <c:v>100.21549</c:v>
                </c:pt>
                <c:pt idx="1072">
                  <c:v>100.47101000000001</c:v>
                </c:pt>
                <c:pt idx="1073">
                  <c:v>100.17144</c:v>
                </c:pt>
                <c:pt idx="1074">
                  <c:v>101.061356</c:v>
                </c:pt>
                <c:pt idx="1075">
                  <c:v>101.36972</c:v>
                </c:pt>
                <c:pt idx="1076">
                  <c:v>102.25964</c:v>
                </c:pt>
                <c:pt idx="1077">
                  <c:v>103.55485</c:v>
                </c:pt>
                <c:pt idx="1078">
                  <c:v>103.889656</c:v>
                </c:pt>
                <c:pt idx="1079">
                  <c:v>103.97777600000001</c:v>
                </c:pt>
                <c:pt idx="1080">
                  <c:v>103.68057</c:v>
                </c:pt>
                <c:pt idx="1081">
                  <c:v>103.99994</c:v>
                </c:pt>
                <c:pt idx="1082">
                  <c:v>104.3903</c:v>
                </c:pt>
                <c:pt idx="1083">
                  <c:v>104.57657</c:v>
                </c:pt>
                <c:pt idx="1084">
                  <c:v>104.4169</c:v>
                </c:pt>
                <c:pt idx="1085">
                  <c:v>103.84025</c:v>
                </c:pt>
                <c:pt idx="1086">
                  <c:v>102.81119</c:v>
                </c:pt>
                <c:pt idx="1087">
                  <c:v>102.85554999999999</c:v>
                </c:pt>
                <c:pt idx="1088">
                  <c:v>103.11282</c:v>
                </c:pt>
                <c:pt idx="1089">
                  <c:v>103.19264</c:v>
                </c:pt>
                <c:pt idx="1090">
                  <c:v>104.124146</c:v>
                </c:pt>
                <c:pt idx="1091">
                  <c:v>103.982185</c:v>
                </c:pt>
                <c:pt idx="1092">
                  <c:v>103.6717</c:v>
                </c:pt>
                <c:pt idx="1093">
                  <c:v>104.05316999999999</c:v>
                </c:pt>
                <c:pt idx="1094">
                  <c:v>104.63869</c:v>
                </c:pt>
                <c:pt idx="1095">
                  <c:v>104.16849499999999</c:v>
                </c:pt>
                <c:pt idx="1096">
                  <c:v>103.04183999999999</c:v>
                </c:pt>
                <c:pt idx="1097">
                  <c:v>103.76040999999999</c:v>
                </c:pt>
                <c:pt idx="1098">
                  <c:v>103.90235</c:v>
                </c:pt>
                <c:pt idx="1099">
                  <c:v>102.85554999999999</c:v>
                </c:pt>
                <c:pt idx="1100">
                  <c:v>103.24585</c:v>
                </c:pt>
                <c:pt idx="1101">
                  <c:v>102.18129999999999</c:v>
                </c:pt>
                <c:pt idx="1102">
                  <c:v>102.45631</c:v>
                </c:pt>
                <c:pt idx="1103">
                  <c:v>102.41194</c:v>
                </c:pt>
                <c:pt idx="1104">
                  <c:v>102.28776000000001</c:v>
                </c:pt>
                <c:pt idx="1105">
                  <c:v>102.13694</c:v>
                </c:pt>
                <c:pt idx="1106">
                  <c:v>102.474075</c:v>
                </c:pt>
                <c:pt idx="1107">
                  <c:v>101.373985</c:v>
                </c:pt>
                <c:pt idx="1108">
                  <c:v>100.9038</c:v>
                </c:pt>
                <c:pt idx="1109">
                  <c:v>101.81756</c:v>
                </c:pt>
                <c:pt idx="1110">
                  <c:v>101.15221</c:v>
                </c:pt>
                <c:pt idx="1111">
                  <c:v>101.95950000000001</c:v>
                </c:pt>
                <c:pt idx="1112">
                  <c:v>101.95950000000001</c:v>
                </c:pt>
                <c:pt idx="1113">
                  <c:v>102.03049</c:v>
                </c:pt>
                <c:pt idx="1114">
                  <c:v>102.323235</c:v>
                </c:pt>
                <c:pt idx="1115">
                  <c:v>102.474075</c:v>
                </c:pt>
                <c:pt idx="1116">
                  <c:v>103.46765000000001</c:v>
                </c:pt>
                <c:pt idx="1117">
                  <c:v>103.02409</c:v>
                </c:pt>
                <c:pt idx="1118">
                  <c:v>103.30795999999999</c:v>
                </c:pt>
                <c:pt idx="1119">
                  <c:v>103.96446</c:v>
                </c:pt>
                <c:pt idx="1120">
                  <c:v>104.09753000000001</c:v>
                </c:pt>
                <c:pt idx="1121">
                  <c:v>103.44992000000001</c:v>
                </c:pt>
                <c:pt idx="1122">
                  <c:v>103.44992000000001</c:v>
                </c:pt>
                <c:pt idx="1123">
                  <c:v>102.83777600000001</c:v>
                </c:pt>
                <c:pt idx="1124">
                  <c:v>102.56278</c:v>
                </c:pt>
                <c:pt idx="1125">
                  <c:v>103.17491</c:v>
                </c:pt>
                <c:pt idx="1126">
                  <c:v>103.237015</c:v>
                </c:pt>
                <c:pt idx="1127">
                  <c:v>103.76040999999999</c:v>
                </c:pt>
                <c:pt idx="1128">
                  <c:v>103.538635</c:v>
                </c:pt>
                <c:pt idx="1129">
                  <c:v>103.46765000000001</c:v>
                </c:pt>
                <c:pt idx="1130">
                  <c:v>103.24585</c:v>
                </c:pt>
                <c:pt idx="1131">
                  <c:v>103.36121</c:v>
                </c:pt>
                <c:pt idx="1132">
                  <c:v>104.5411</c:v>
                </c:pt>
                <c:pt idx="1133">
                  <c:v>105.54358999999999</c:v>
                </c:pt>
                <c:pt idx="1134">
                  <c:v>105.65891999999999</c:v>
                </c:pt>
                <c:pt idx="1135">
                  <c:v>105.02903000000001</c:v>
                </c:pt>
                <c:pt idx="1136">
                  <c:v>104.32818</c:v>
                </c:pt>
                <c:pt idx="1137">
                  <c:v>104.91370000000001</c:v>
                </c:pt>
                <c:pt idx="1138">
                  <c:v>104.61208000000001</c:v>
                </c:pt>
                <c:pt idx="1139">
                  <c:v>104.05316999999999</c:v>
                </c:pt>
                <c:pt idx="1140">
                  <c:v>103.10393500000001</c:v>
                </c:pt>
                <c:pt idx="1141">
                  <c:v>102.775696</c:v>
                </c:pt>
                <c:pt idx="1142">
                  <c:v>102.50069000000001</c:v>
                </c:pt>
                <c:pt idx="1143">
                  <c:v>102.76681499999999</c:v>
                </c:pt>
                <c:pt idx="1144">
                  <c:v>102.869545</c:v>
                </c:pt>
                <c:pt idx="1145">
                  <c:v>103.38769499999999</c:v>
                </c:pt>
                <c:pt idx="1146">
                  <c:v>103.48596999999999</c:v>
                </c:pt>
                <c:pt idx="1147">
                  <c:v>103.51273999999999</c:v>
                </c:pt>
                <c:pt idx="1148">
                  <c:v>103.94157</c:v>
                </c:pt>
                <c:pt idx="1149">
                  <c:v>104.51331</c:v>
                </c:pt>
                <c:pt idx="1150">
                  <c:v>102.77128999999999</c:v>
                </c:pt>
                <c:pt idx="1151">
                  <c:v>103.35196000000001</c:v>
                </c:pt>
                <c:pt idx="1152">
                  <c:v>102.73555</c:v>
                </c:pt>
                <c:pt idx="1153">
                  <c:v>102.24419</c:v>
                </c:pt>
                <c:pt idx="1154">
                  <c:v>102.01194</c:v>
                </c:pt>
                <c:pt idx="1155">
                  <c:v>102.60156000000001</c:v>
                </c:pt>
                <c:pt idx="1156">
                  <c:v>102.72662</c:v>
                </c:pt>
                <c:pt idx="1157">
                  <c:v>102.279945</c:v>
                </c:pt>
                <c:pt idx="1158">
                  <c:v>101.46698000000001</c:v>
                </c:pt>
                <c:pt idx="1159">
                  <c:v>100.77016999999999</c:v>
                </c:pt>
                <c:pt idx="1160">
                  <c:v>99.921480000000003</c:v>
                </c:pt>
                <c:pt idx="1161">
                  <c:v>100.001884</c:v>
                </c:pt>
                <c:pt idx="1162">
                  <c:v>99.885739999999998</c:v>
                </c:pt>
                <c:pt idx="1163">
                  <c:v>99.251464999999996</c:v>
                </c:pt>
                <c:pt idx="1164">
                  <c:v>99.733894000000006</c:v>
                </c:pt>
                <c:pt idx="1165">
                  <c:v>99.546270000000007</c:v>
                </c:pt>
                <c:pt idx="1166">
                  <c:v>97.482619999999997</c:v>
                </c:pt>
                <c:pt idx="1167">
                  <c:v>97.491560000000007</c:v>
                </c:pt>
                <c:pt idx="1168">
                  <c:v>97.679169999999999</c:v>
                </c:pt>
                <c:pt idx="1169">
                  <c:v>98.670779999999993</c:v>
                </c:pt>
                <c:pt idx="1170">
                  <c:v>98.626130000000003</c:v>
                </c:pt>
                <c:pt idx="1171">
                  <c:v>98.277709999999999</c:v>
                </c:pt>
                <c:pt idx="1172">
                  <c:v>98.965590000000006</c:v>
                </c:pt>
                <c:pt idx="1173">
                  <c:v>99.617750000000001</c:v>
                </c:pt>
                <c:pt idx="1174">
                  <c:v>100.457504</c:v>
                </c:pt>
                <c:pt idx="1175">
                  <c:v>100.60936</c:v>
                </c:pt>
                <c:pt idx="1176">
                  <c:v>101.45805</c:v>
                </c:pt>
                <c:pt idx="1177">
                  <c:v>100.22524</c:v>
                </c:pt>
                <c:pt idx="1178">
                  <c:v>100.01082</c:v>
                </c:pt>
                <c:pt idx="1179">
                  <c:v>100.654045</c:v>
                </c:pt>
                <c:pt idx="1180">
                  <c:v>99.707085000000006</c:v>
                </c:pt>
                <c:pt idx="1181">
                  <c:v>99.778559999999999</c:v>
                </c:pt>
                <c:pt idx="1182">
                  <c:v>98.938820000000007</c:v>
                </c:pt>
                <c:pt idx="1183">
                  <c:v>98.331329999999994</c:v>
                </c:pt>
                <c:pt idx="1184">
                  <c:v>98.920929999999998</c:v>
                </c:pt>
                <c:pt idx="1185">
                  <c:v>98.804789999999997</c:v>
                </c:pt>
                <c:pt idx="1186">
                  <c:v>97.956115999999994</c:v>
                </c:pt>
                <c:pt idx="1187">
                  <c:v>98.474249999999998</c:v>
                </c:pt>
                <c:pt idx="1188">
                  <c:v>98.384919999999994</c:v>
                </c:pt>
                <c:pt idx="1189">
                  <c:v>98.313445999999999</c:v>
                </c:pt>
                <c:pt idx="1190">
                  <c:v>98.465310000000002</c:v>
                </c:pt>
                <c:pt idx="1191">
                  <c:v>97.607709999999997</c:v>
                </c:pt>
                <c:pt idx="1192">
                  <c:v>98.688670000000002</c:v>
                </c:pt>
                <c:pt idx="1193">
                  <c:v>100.055504</c:v>
                </c:pt>
                <c:pt idx="1194">
                  <c:v>99.590940000000003</c:v>
                </c:pt>
                <c:pt idx="1195">
                  <c:v>100.72551</c:v>
                </c:pt>
                <c:pt idx="1196">
                  <c:v>101.87793000000001</c:v>
                </c:pt>
                <c:pt idx="1197">
                  <c:v>103.41449</c:v>
                </c:pt>
                <c:pt idx="1198">
                  <c:v>102.82489</c:v>
                </c:pt>
                <c:pt idx="1199">
                  <c:v>102.941025</c:v>
                </c:pt>
                <c:pt idx="1200">
                  <c:v>102.44965000000001</c:v>
                </c:pt>
                <c:pt idx="1201">
                  <c:v>102.65515000000001</c:v>
                </c:pt>
                <c:pt idx="1202">
                  <c:v>103.67357</c:v>
                </c:pt>
                <c:pt idx="1203">
                  <c:v>102.80701000000001</c:v>
                </c:pt>
                <c:pt idx="1204">
                  <c:v>103.53955999999999</c:v>
                </c:pt>
                <c:pt idx="1205">
                  <c:v>103.49491</c:v>
                </c:pt>
                <c:pt idx="1206">
                  <c:v>104.316765</c:v>
                </c:pt>
                <c:pt idx="1207">
                  <c:v>104.3793</c:v>
                </c:pt>
                <c:pt idx="1208">
                  <c:v>104.81559</c:v>
                </c:pt>
                <c:pt idx="1209">
                  <c:v>105.04946</c:v>
                </c:pt>
                <c:pt idx="1210">
                  <c:v>105.66117</c:v>
                </c:pt>
                <c:pt idx="1211">
                  <c:v>105.778114</c:v>
                </c:pt>
                <c:pt idx="1212">
                  <c:v>106.95652</c:v>
                </c:pt>
                <c:pt idx="1213">
                  <c:v>105.00451</c:v>
                </c:pt>
                <c:pt idx="1214">
                  <c:v>104.86057</c:v>
                </c:pt>
                <c:pt idx="1215">
                  <c:v>105.59820999999999</c:v>
                </c:pt>
                <c:pt idx="1216">
                  <c:v>105.60719</c:v>
                </c:pt>
                <c:pt idx="1217">
                  <c:v>105.967</c:v>
                </c:pt>
                <c:pt idx="1218">
                  <c:v>106.16492</c:v>
                </c:pt>
                <c:pt idx="1219">
                  <c:v>107.2444</c:v>
                </c:pt>
                <c:pt idx="1220">
                  <c:v>106.191925</c:v>
                </c:pt>
                <c:pt idx="1221">
                  <c:v>106.69565</c:v>
                </c:pt>
                <c:pt idx="1222">
                  <c:v>107.06447</c:v>
                </c:pt>
                <c:pt idx="1223">
                  <c:v>106.38082</c:v>
                </c:pt>
                <c:pt idx="1224">
                  <c:v>106.68665</c:v>
                </c:pt>
                <c:pt idx="1225">
                  <c:v>106.947525</c:v>
                </c:pt>
                <c:pt idx="1226">
                  <c:v>107.31636</c:v>
                </c:pt>
                <c:pt idx="1227">
                  <c:v>107.36133</c:v>
                </c:pt>
                <c:pt idx="1228">
                  <c:v>107.874054</c:v>
                </c:pt>
                <c:pt idx="1229">
                  <c:v>106.20090999999999</c:v>
                </c:pt>
                <c:pt idx="1230">
                  <c:v>105.92203000000001</c:v>
                </c:pt>
                <c:pt idx="1231">
                  <c:v>106.44378</c:v>
                </c:pt>
                <c:pt idx="1232">
                  <c:v>106.74962600000001</c:v>
                </c:pt>
                <c:pt idx="1233">
                  <c:v>106.13793</c:v>
                </c:pt>
                <c:pt idx="1234">
                  <c:v>106.21889</c:v>
                </c:pt>
                <c:pt idx="1235">
                  <c:v>105.67916</c:v>
                </c:pt>
                <c:pt idx="1236">
                  <c:v>105.13942</c:v>
                </c:pt>
                <c:pt idx="1237">
                  <c:v>105.58922</c:v>
                </c:pt>
                <c:pt idx="1238">
                  <c:v>106.02099</c:v>
                </c:pt>
                <c:pt idx="1239">
                  <c:v>107.208405</c:v>
                </c:pt>
                <c:pt idx="1240">
                  <c:v>107.09146</c:v>
                </c:pt>
                <c:pt idx="1241">
                  <c:v>108.09896000000001</c:v>
                </c:pt>
                <c:pt idx="1242">
                  <c:v>109.304344</c:v>
                </c:pt>
                <c:pt idx="1243">
                  <c:v>109.11545</c:v>
                </c:pt>
                <c:pt idx="1244">
                  <c:v>108.97153</c:v>
                </c:pt>
                <c:pt idx="1245">
                  <c:v>108.75563</c:v>
                </c:pt>
                <c:pt idx="1246">
                  <c:v>109.52924</c:v>
                </c:pt>
                <c:pt idx="1247">
                  <c:v>107.649185</c:v>
                </c:pt>
                <c:pt idx="1248">
                  <c:v>107.847084</c:v>
                </c:pt>
                <c:pt idx="1249">
                  <c:v>108.21590399999999</c:v>
                </c:pt>
                <c:pt idx="1250">
                  <c:v>108.21590399999999</c:v>
                </c:pt>
                <c:pt idx="1251">
                  <c:v>106.74962600000001</c:v>
                </c:pt>
                <c:pt idx="1252">
                  <c:v>102.96253</c:v>
                </c:pt>
                <c:pt idx="1253">
                  <c:v>102.15291999999999</c:v>
                </c:pt>
                <c:pt idx="1254">
                  <c:v>102.09895</c:v>
                </c:pt>
                <c:pt idx="1255">
                  <c:v>99.085464000000002</c:v>
                </c:pt>
                <c:pt idx="1256">
                  <c:v>100.01201</c:v>
                </c:pt>
                <c:pt idx="1257">
                  <c:v>100.68667000000001</c:v>
                </c:pt>
                <c:pt idx="1258">
                  <c:v>100.87558</c:v>
                </c:pt>
                <c:pt idx="1259">
                  <c:v>98.149940000000001</c:v>
                </c:pt>
                <c:pt idx="1260">
                  <c:v>99.823104999999998</c:v>
                </c:pt>
                <c:pt idx="1261">
                  <c:v>99.904049999999998</c:v>
                </c:pt>
                <c:pt idx="1262">
                  <c:v>98.482765000000001</c:v>
                </c:pt>
                <c:pt idx="1263">
                  <c:v>97.151420000000002</c:v>
                </c:pt>
                <c:pt idx="1264">
                  <c:v>98.284874000000002</c:v>
                </c:pt>
                <c:pt idx="1265">
                  <c:v>98.662660000000002</c:v>
                </c:pt>
                <c:pt idx="1266">
                  <c:v>99.796104</c:v>
                </c:pt>
                <c:pt idx="1267">
                  <c:v>99.751140000000007</c:v>
                </c:pt>
                <c:pt idx="1268">
                  <c:v>98.707663999999994</c:v>
                </c:pt>
                <c:pt idx="1269">
                  <c:v>97.978160000000003</c:v>
                </c:pt>
                <c:pt idx="1270">
                  <c:v>98.811859999999996</c:v>
                </c:pt>
                <c:pt idx="1271">
                  <c:v>99.165300000000002</c:v>
                </c:pt>
                <c:pt idx="1272">
                  <c:v>99.301215999999997</c:v>
                </c:pt>
                <c:pt idx="1273">
                  <c:v>99.536829999999995</c:v>
                </c:pt>
                <c:pt idx="1274">
                  <c:v>101.56671</c:v>
                </c:pt>
                <c:pt idx="1275">
                  <c:v>101.98354999999999</c:v>
                </c:pt>
                <c:pt idx="1276">
                  <c:v>102.17384</c:v>
                </c:pt>
                <c:pt idx="1277">
                  <c:v>102.94412</c:v>
                </c:pt>
                <c:pt idx="1278">
                  <c:v>102.047</c:v>
                </c:pt>
                <c:pt idx="1279">
                  <c:v>101.485146</c:v>
                </c:pt>
                <c:pt idx="1280">
                  <c:v>101.16799</c:v>
                </c:pt>
                <c:pt idx="1281">
                  <c:v>100.00805</c:v>
                </c:pt>
                <c:pt idx="1282">
                  <c:v>99.591194000000002</c:v>
                </c:pt>
                <c:pt idx="1283">
                  <c:v>98.540015999999994</c:v>
                </c:pt>
                <c:pt idx="1284">
                  <c:v>97.815055999999998</c:v>
                </c:pt>
                <c:pt idx="1285">
                  <c:v>96.192954999999998</c:v>
                </c:pt>
                <c:pt idx="1286">
                  <c:v>96.791039999999995</c:v>
                </c:pt>
                <c:pt idx="1287">
                  <c:v>97.543189999999996</c:v>
                </c:pt>
                <c:pt idx="1288">
                  <c:v>98.938739999999996</c:v>
                </c:pt>
                <c:pt idx="1289">
                  <c:v>98.911545000000004</c:v>
                </c:pt>
                <c:pt idx="1290">
                  <c:v>97.008529999999993</c:v>
                </c:pt>
                <c:pt idx="1291">
                  <c:v>98.041600000000003</c:v>
                </c:pt>
                <c:pt idx="1292">
                  <c:v>99.844930000000005</c:v>
                </c:pt>
                <c:pt idx="1293">
                  <c:v>100.19835999999999</c:v>
                </c:pt>
                <c:pt idx="1294">
                  <c:v>99.047484999999995</c:v>
                </c:pt>
                <c:pt idx="1295">
                  <c:v>99.119969999999995</c:v>
                </c:pt>
                <c:pt idx="1296">
                  <c:v>99.138090000000005</c:v>
                </c:pt>
                <c:pt idx="1297">
                  <c:v>98.485634000000005</c:v>
                </c:pt>
                <c:pt idx="1298">
                  <c:v>98.150319999999994</c:v>
                </c:pt>
                <c:pt idx="1299">
                  <c:v>99.011240000000001</c:v>
                </c:pt>
                <c:pt idx="1300">
                  <c:v>99.60933</c:v>
                </c:pt>
                <c:pt idx="1301">
                  <c:v>98.657820000000001</c:v>
                </c:pt>
                <c:pt idx="1302">
                  <c:v>96.94511</c:v>
                </c:pt>
                <c:pt idx="1303">
                  <c:v>95.667366000000001</c:v>
                </c:pt>
                <c:pt idx="1304">
                  <c:v>92.86721</c:v>
                </c:pt>
                <c:pt idx="1305">
                  <c:v>92.957830000000001</c:v>
                </c:pt>
                <c:pt idx="1306">
                  <c:v>91.924760000000006</c:v>
                </c:pt>
                <c:pt idx="1307">
                  <c:v>91.661969999999997</c:v>
                </c:pt>
                <c:pt idx="1308">
                  <c:v>93.574036000000007</c:v>
                </c:pt>
                <c:pt idx="1309">
                  <c:v>92.169426000000001</c:v>
                </c:pt>
                <c:pt idx="1310">
                  <c:v>91.471664000000004</c:v>
                </c:pt>
                <c:pt idx="1311">
                  <c:v>89.831440000000001</c:v>
                </c:pt>
                <c:pt idx="1312">
                  <c:v>88.109669999999994</c:v>
                </c:pt>
                <c:pt idx="1313">
                  <c:v>88.444940000000003</c:v>
                </c:pt>
                <c:pt idx="1314">
                  <c:v>89.704570000000004</c:v>
                </c:pt>
                <c:pt idx="1315">
                  <c:v>89.015854000000004</c:v>
                </c:pt>
                <c:pt idx="1316">
                  <c:v>87.710939999999994</c:v>
                </c:pt>
                <c:pt idx="1317">
                  <c:v>87.140029999999996</c:v>
                </c:pt>
                <c:pt idx="1318">
                  <c:v>88.145899999999997</c:v>
                </c:pt>
                <c:pt idx="1319">
                  <c:v>88.29092</c:v>
                </c:pt>
                <c:pt idx="1320">
                  <c:v>88.037170000000003</c:v>
                </c:pt>
                <c:pt idx="1321">
                  <c:v>87.719989999999996</c:v>
                </c:pt>
                <c:pt idx="1322">
                  <c:v>88.073419999999999</c:v>
                </c:pt>
                <c:pt idx="1323">
                  <c:v>88.734949999999998</c:v>
                </c:pt>
                <c:pt idx="1324">
                  <c:v>88.363399999999999</c:v>
                </c:pt>
                <c:pt idx="1325">
                  <c:v>90.175803999999999</c:v>
                </c:pt>
                <c:pt idx="1326">
                  <c:v>90.556404000000001</c:v>
                </c:pt>
                <c:pt idx="1327">
                  <c:v>91.027619999999999</c:v>
                </c:pt>
                <c:pt idx="1328">
                  <c:v>90.782960000000003</c:v>
                </c:pt>
                <c:pt idx="1329">
                  <c:v>90.900760000000005</c:v>
                </c:pt>
                <c:pt idx="1330">
                  <c:v>91.616646000000003</c:v>
                </c:pt>
                <c:pt idx="1331">
                  <c:v>92.278175000000005</c:v>
                </c:pt>
                <c:pt idx="1332">
                  <c:v>91.681889999999996</c:v>
                </c:pt>
                <c:pt idx="1333">
                  <c:v>91.681889999999996</c:v>
                </c:pt>
                <c:pt idx="1334">
                  <c:v>91.563000000000002</c:v>
                </c:pt>
                <c:pt idx="1335">
                  <c:v>91.645340000000004</c:v>
                </c:pt>
                <c:pt idx="1336">
                  <c:v>92.212339999999998</c:v>
                </c:pt>
                <c:pt idx="1337">
                  <c:v>92.514139999999998</c:v>
                </c:pt>
                <c:pt idx="1338">
                  <c:v>93.730450000000005</c:v>
                </c:pt>
                <c:pt idx="1339">
                  <c:v>94.388915999999995</c:v>
                </c:pt>
                <c:pt idx="1340">
                  <c:v>95.550380000000004</c:v>
                </c:pt>
                <c:pt idx="1341">
                  <c:v>96.272859999999994</c:v>
                </c:pt>
                <c:pt idx="1342">
                  <c:v>96.144819999999996</c:v>
                </c:pt>
                <c:pt idx="1343">
                  <c:v>98.412859999999995</c:v>
                </c:pt>
                <c:pt idx="1344">
                  <c:v>96.373450000000005</c:v>
                </c:pt>
                <c:pt idx="1345">
                  <c:v>96.903880000000001</c:v>
                </c:pt>
                <c:pt idx="1346">
                  <c:v>96.766689999999997</c:v>
                </c:pt>
                <c:pt idx="1347">
                  <c:v>98.074485999999993</c:v>
                </c:pt>
                <c:pt idx="1348">
                  <c:v>99.107910000000004</c:v>
                </c:pt>
                <c:pt idx="1349">
                  <c:v>99.674933999999993</c:v>
                </c:pt>
                <c:pt idx="1350">
                  <c:v>98.815250000000006</c:v>
                </c:pt>
                <c:pt idx="1351">
                  <c:v>99.016450000000006</c:v>
                </c:pt>
                <c:pt idx="1352">
                  <c:v>99.391419999999997</c:v>
                </c:pt>
                <c:pt idx="1353">
                  <c:v>99.565169999999995</c:v>
                </c:pt>
                <c:pt idx="1354">
                  <c:v>100.16876000000001</c:v>
                </c:pt>
                <c:pt idx="1355">
                  <c:v>99.501159999999999</c:v>
                </c:pt>
                <c:pt idx="1356">
                  <c:v>100.18707999999999</c:v>
                </c:pt>
                <c:pt idx="1357">
                  <c:v>100.19619</c:v>
                </c:pt>
                <c:pt idx="1358">
                  <c:v>98.550060000000002</c:v>
                </c:pt>
                <c:pt idx="1359">
                  <c:v>103.24159</c:v>
                </c:pt>
                <c:pt idx="1360">
                  <c:v>102.92151</c:v>
                </c:pt>
                <c:pt idx="1361">
                  <c:v>101.99784</c:v>
                </c:pt>
                <c:pt idx="1362">
                  <c:v>103.05868</c:v>
                </c:pt>
                <c:pt idx="1363">
                  <c:v>103.30562</c:v>
                </c:pt>
                <c:pt idx="1364">
                  <c:v>105.0615</c:v>
                </c:pt>
                <c:pt idx="1365">
                  <c:v>105.01578000000001</c:v>
                </c:pt>
                <c:pt idx="1366">
                  <c:v>105.87542999999999</c:v>
                </c:pt>
                <c:pt idx="1367">
                  <c:v>106.09491</c:v>
                </c:pt>
                <c:pt idx="1368">
                  <c:v>104.61339</c:v>
                </c:pt>
                <c:pt idx="1369">
                  <c:v>104.93348</c:v>
                </c:pt>
                <c:pt idx="1370">
                  <c:v>105.363304</c:v>
                </c:pt>
                <c:pt idx="1371">
                  <c:v>105.17127000000001</c:v>
                </c:pt>
                <c:pt idx="1372">
                  <c:v>104.512794</c:v>
                </c:pt>
                <c:pt idx="1373">
                  <c:v>104.42135</c:v>
                </c:pt>
                <c:pt idx="1374">
                  <c:v>105.17127000000001</c:v>
                </c:pt>
                <c:pt idx="1375">
                  <c:v>103.90005499999999</c:v>
                </c:pt>
                <c:pt idx="1376">
                  <c:v>104.88775</c:v>
                </c:pt>
                <c:pt idx="1377">
                  <c:v>106.36015999999999</c:v>
                </c:pt>
                <c:pt idx="1378">
                  <c:v>107.34784000000001</c:v>
                </c:pt>
                <c:pt idx="1379">
                  <c:v>104.45791</c:v>
                </c:pt>
                <c:pt idx="1380">
                  <c:v>103.790306</c:v>
                </c:pt>
                <c:pt idx="1381">
                  <c:v>103.98237</c:v>
                </c:pt>
                <c:pt idx="1382">
                  <c:v>103.22329999999999</c:v>
                </c:pt>
                <c:pt idx="1383">
                  <c:v>103.36048</c:v>
                </c:pt>
                <c:pt idx="1384">
                  <c:v>103.433655</c:v>
                </c:pt>
                <c:pt idx="1385">
                  <c:v>103.75373999999999</c:v>
                </c:pt>
                <c:pt idx="1386">
                  <c:v>104.48536</c:v>
                </c:pt>
                <c:pt idx="1387">
                  <c:v>105.13467</c:v>
                </c:pt>
                <c:pt idx="1388">
                  <c:v>105.02493</c:v>
                </c:pt>
                <c:pt idx="1389">
                  <c:v>104.00064999999999</c:v>
                </c:pt>
                <c:pt idx="1390">
                  <c:v>102.64713999999999</c:v>
                </c:pt>
                <c:pt idx="1391">
                  <c:v>102.36364</c:v>
                </c:pt>
                <c:pt idx="1392">
                  <c:v>102.56483</c:v>
                </c:pt>
                <c:pt idx="1393">
                  <c:v>102.80262</c:v>
                </c:pt>
                <c:pt idx="1394">
                  <c:v>101.6686</c:v>
                </c:pt>
                <c:pt idx="1395">
                  <c:v>102.47338999999999</c:v>
                </c:pt>
                <c:pt idx="1396">
                  <c:v>102.391075</c:v>
                </c:pt>
                <c:pt idx="1397">
                  <c:v>102.436806</c:v>
                </c:pt>
                <c:pt idx="1398">
                  <c:v>101.51313</c:v>
                </c:pt>
                <c:pt idx="1399">
                  <c:v>103.45193500000001</c:v>
                </c:pt>
                <c:pt idx="1400">
                  <c:v>104.65805</c:v>
                </c:pt>
                <c:pt idx="1401">
                  <c:v>103.95725</c:v>
                </c:pt>
                <c:pt idx="1402">
                  <c:v>104.72259</c:v>
                </c:pt>
                <c:pt idx="1403">
                  <c:v>104.50129</c:v>
                </c:pt>
                <c:pt idx="1404">
                  <c:v>104.980774</c:v>
                </c:pt>
                <c:pt idx="1405">
                  <c:v>106.03197</c:v>
                </c:pt>
                <c:pt idx="1406">
                  <c:v>105.64467</c:v>
                </c:pt>
                <c:pt idx="1407">
                  <c:v>106.41003000000001</c:v>
                </c:pt>
                <c:pt idx="1408">
                  <c:v>105.10063</c:v>
                </c:pt>
                <c:pt idx="1409">
                  <c:v>104.907</c:v>
                </c:pt>
                <c:pt idx="1410">
                  <c:v>106.24404</c:v>
                </c:pt>
                <c:pt idx="1411">
                  <c:v>105.95820000000001</c:v>
                </c:pt>
                <c:pt idx="1412">
                  <c:v>103.52386</c:v>
                </c:pt>
                <c:pt idx="1413">
                  <c:v>103.247246</c:v>
                </c:pt>
                <c:pt idx="1414">
                  <c:v>102.81384</c:v>
                </c:pt>
                <c:pt idx="1415">
                  <c:v>102.3989</c:v>
                </c:pt>
                <c:pt idx="1416">
                  <c:v>103.09047</c:v>
                </c:pt>
                <c:pt idx="1417">
                  <c:v>102.08539</c:v>
                </c:pt>
                <c:pt idx="1418">
                  <c:v>100.25042000000001</c:v>
                </c:pt>
                <c:pt idx="1419">
                  <c:v>99.143889999999999</c:v>
                </c:pt>
                <c:pt idx="1420">
                  <c:v>98.3048</c:v>
                </c:pt>
                <c:pt idx="1421">
                  <c:v>98.194145000000006</c:v>
                </c:pt>
                <c:pt idx="1422">
                  <c:v>99.761700000000005</c:v>
                </c:pt>
                <c:pt idx="1423">
                  <c:v>99.697159999999997</c:v>
                </c:pt>
                <c:pt idx="1424">
                  <c:v>98.977936</c:v>
                </c:pt>
                <c:pt idx="1425">
                  <c:v>96.875540000000001</c:v>
                </c:pt>
                <c:pt idx="1426">
                  <c:v>97.078400000000002</c:v>
                </c:pt>
                <c:pt idx="1427">
                  <c:v>97.401129999999995</c:v>
                </c:pt>
                <c:pt idx="1428">
                  <c:v>99.024024999999995</c:v>
                </c:pt>
                <c:pt idx="1429">
                  <c:v>99.872370000000004</c:v>
                </c:pt>
                <c:pt idx="1430">
                  <c:v>99.521950000000004</c:v>
                </c:pt>
                <c:pt idx="1431">
                  <c:v>101.69813000000001</c:v>
                </c:pt>
                <c:pt idx="1432">
                  <c:v>100.87746</c:v>
                </c:pt>
                <c:pt idx="1433">
                  <c:v>101.55057499999999</c:v>
                </c:pt>
                <c:pt idx="1434">
                  <c:v>104.1601</c:v>
                </c:pt>
                <c:pt idx="1435">
                  <c:v>104.05868</c:v>
                </c:pt>
                <c:pt idx="1436">
                  <c:v>101.845634</c:v>
                </c:pt>
                <c:pt idx="1437">
                  <c:v>104.09556000000001</c:v>
                </c:pt>
                <c:pt idx="1438">
                  <c:v>104.907</c:v>
                </c:pt>
                <c:pt idx="1439">
                  <c:v>103.62528</c:v>
                </c:pt>
                <c:pt idx="1440">
                  <c:v>102.82307400000001</c:v>
                </c:pt>
                <c:pt idx="1441">
                  <c:v>102.50955999999999</c:v>
                </c:pt>
                <c:pt idx="1442">
                  <c:v>105.47873</c:v>
                </c:pt>
                <c:pt idx="1443">
                  <c:v>106.23483</c:v>
                </c:pt>
                <c:pt idx="1444">
                  <c:v>106.60366999999999</c:v>
                </c:pt>
                <c:pt idx="1445">
                  <c:v>107.01861</c:v>
                </c:pt>
                <c:pt idx="1446">
                  <c:v>108.32799</c:v>
                </c:pt>
                <c:pt idx="1447">
                  <c:v>107.85773</c:v>
                </c:pt>
                <c:pt idx="1448">
                  <c:v>108.014465</c:v>
                </c:pt>
                <c:pt idx="1449">
                  <c:v>107.562645</c:v>
                </c:pt>
                <c:pt idx="1450">
                  <c:v>107.70096599999999</c:v>
                </c:pt>
                <c:pt idx="1451">
                  <c:v>109.13023</c:v>
                </c:pt>
                <c:pt idx="1452">
                  <c:v>109.7388</c:v>
                </c:pt>
                <c:pt idx="1453">
                  <c:v>106.96328</c:v>
                </c:pt>
                <c:pt idx="1454">
                  <c:v>106.29935999999999</c:v>
                </c:pt>
                <c:pt idx="1455">
                  <c:v>106.41924</c:v>
                </c:pt>
                <c:pt idx="1456">
                  <c:v>106.83419000000001</c:v>
                </c:pt>
                <c:pt idx="1457">
                  <c:v>107.36902000000001</c:v>
                </c:pt>
                <c:pt idx="1458">
                  <c:v>109.26853</c:v>
                </c:pt>
                <c:pt idx="1459">
                  <c:v>109.05645</c:v>
                </c:pt>
                <c:pt idx="1460">
                  <c:v>112.440544</c:v>
                </c:pt>
                <c:pt idx="1461">
                  <c:v>109.711136</c:v>
                </c:pt>
                <c:pt idx="1462">
                  <c:v>108.62308</c:v>
                </c:pt>
                <c:pt idx="1463">
                  <c:v>108.59331</c:v>
                </c:pt>
                <c:pt idx="1464">
                  <c:v>107.64530000000001</c:v>
                </c:pt>
                <c:pt idx="1465">
                  <c:v>107.98918999999999</c:v>
                </c:pt>
                <c:pt idx="1466">
                  <c:v>109.01156</c:v>
                </c:pt>
                <c:pt idx="1467">
                  <c:v>108.742035</c:v>
                </c:pt>
                <c:pt idx="1468">
                  <c:v>109.99673</c:v>
                </c:pt>
                <c:pt idx="1469">
                  <c:v>105.90730000000001</c:v>
                </c:pt>
                <c:pt idx="1470">
                  <c:v>104.90353399999999</c:v>
                </c:pt>
                <c:pt idx="1471">
                  <c:v>103.94623</c:v>
                </c:pt>
                <c:pt idx="1472">
                  <c:v>102.27328</c:v>
                </c:pt>
                <c:pt idx="1473">
                  <c:v>102.43127</c:v>
                </c:pt>
                <c:pt idx="1474">
                  <c:v>101.69703</c:v>
                </c:pt>
                <c:pt idx="1475">
                  <c:v>98.546300000000002</c:v>
                </c:pt>
                <c:pt idx="1476">
                  <c:v>100.68397</c:v>
                </c:pt>
                <c:pt idx="1477">
                  <c:v>101.69703</c:v>
                </c:pt>
                <c:pt idx="1478">
                  <c:v>102.57068</c:v>
                </c:pt>
                <c:pt idx="1479">
                  <c:v>102.68222</c:v>
                </c:pt>
                <c:pt idx="1480">
                  <c:v>101.5669</c:v>
                </c:pt>
                <c:pt idx="1481">
                  <c:v>100.61892</c:v>
                </c:pt>
                <c:pt idx="1482">
                  <c:v>102.68222</c:v>
                </c:pt>
                <c:pt idx="1483">
                  <c:v>101.799255</c:v>
                </c:pt>
                <c:pt idx="1484">
                  <c:v>102.77515</c:v>
                </c:pt>
                <c:pt idx="1485">
                  <c:v>99.903244000000001</c:v>
                </c:pt>
                <c:pt idx="1486">
                  <c:v>100.51667</c:v>
                </c:pt>
                <c:pt idx="1487">
                  <c:v>100.525955</c:v>
                </c:pt>
                <c:pt idx="1488">
                  <c:v>99.745260000000002</c:v>
                </c:pt>
                <c:pt idx="1489">
                  <c:v>101.297386</c:v>
                </c:pt>
                <c:pt idx="1490">
                  <c:v>100.69326</c:v>
                </c:pt>
                <c:pt idx="1491">
                  <c:v>101.51115</c:v>
                </c:pt>
                <c:pt idx="1492">
                  <c:v>102.30115499999999</c:v>
                </c:pt>
                <c:pt idx="1493">
                  <c:v>102.15243</c:v>
                </c:pt>
                <c:pt idx="1494">
                  <c:v>102.91457</c:v>
                </c:pt>
                <c:pt idx="1495">
                  <c:v>101.77137999999999</c:v>
                </c:pt>
                <c:pt idx="1496">
                  <c:v>101.63197</c:v>
                </c:pt>
                <c:pt idx="1497">
                  <c:v>101.13937</c:v>
                </c:pt>
                <c:pt idx="1498">
                  <c:v>101.30667</c:v>
                </c:pt>
                <c:pt idx="1499">
                  <c:v>102.99821</c:v>
                </c:pt>
                <c:pt idx="1500">
                  <c:v>104.71764</c:v>
                </c:pt>
                <c:pt idx="1501">
                  <c:v>104.27154</c:v>
                </c:pt>
                <c:pt idx="1502">
                  <c:v>105.10799400000001</c:v>
                </c:pt>
                <c:pt idx="1503">
                  <c:v>104.93142</c:v>
                </c:pt>
                <c:pt idx="1504">
                  <c:v>105.07082</c:v>
                </c:pt>
                <c:pt idx="1505">
                  <c:v>105.10799400000001</c:v>
                </c:pt>
                <c:pt idx="1506">
                  <c:v>105.04292</c:v>
                </c:pt>
                <c:pt idx="1507">
                  <c:v>104.99648000000001</c:v>
                </c:pt>
                <c:pt idx="1508">
                  <c:v>105.7586</c:v>
                </c:pt>
                <c:pt idx="1509">
                  <c:v>106.06528</c:v>
                </c:pt>
                <c:pt idx="1510">
                  <c:v>104.64328</c:v>
                </c:pt>
                <c:pt idx="1511">
                  <c:v>107.72895</c:v>
                </c:pt>
                <c:pt idx="1512">
                  <c:v>107.74755999999999</c:v>
                </c:pt>
                <c:pt idx="1513">
                  <c:v>107.654625</c:v>
                </c:pt>
                <c:pt idx="1514">
                  <c:v>107.90554</c:v>
                </c:pt>
                <c:pt idx="1515">
                  <c:v>108.51897</c:v>
                </c:pt>
                <c:pt idx="1516">
                  <c:v>107.86836</c:v>
                </c:pt>
                <c:pt idx="1517">
                  <c:v>107.78471</c:v>
                </c:pt>
                <c:pt idx="1518">
                  <c:v>107.22708</c:v>
                </c:pt>
                <c:pt idx="1519">
                  <c:v>108.34954999999999</c:v>
                </c:pt>
                <c:pt idx="1520">
                  <c:v>108.85551</c:v>
                </c:pt>
                <c:pt idx="1521">
                  <c:v>108.84614000000001</c:v>
                </c:pt>
                <c:pt idx="1522">
                  <c:v>108.71496</c:v>
                </c:pt>
                <c:pt idx="1523">
                  <c:v>109.30524</c:v>
                </c:pt>
                <c:pt idx="1524">
                  <c:v>108.78055000000001</c:v>
                </c:pt>
                <c:pt idx="1525">
                  <c:v>107.9654</c:v>
                </c:pt>
                <c:pt idx="1526">
                  <c:v>109.23965</c:v>
                </c:pt>
                <c:pt idx="1527">
                  <c:v>109.22091</c:v>
                </c:pt>
                <c:pt idx="1528">
                  <c:v>109.23028600000001</c:v>
                </c:pt>
                <c:pt idx="1529">
                  <c:v>108.21837600000001</c:v>
                </c:pt>
                <c:pt idx="1530">
                  <c:v>108.368286</c:v>
                </c:pt>
                <c:pt idx="1531">
                  <c:v>109.87678</c:v>
                </c:pt>
                <c:pt idx="1532">
                  <c:v>110.64509</c:v>
                </c:pt>
                <c:pt idx="1533">
                  <c:v>110.86059</c:v>
                </c:pt>
                <c:pt idx="1534">
                  <c:v>111.90998</c:v>
                </c:pt>
                <c:pt idx="1535">
                  <c:v>113.10928</c:v>
                </c:pt>
                <c:pt idx="1536">
                  <c:v>113.23108999999999</c:v>
                </c:pt>
                <c:pt idx="1537">
                  <c:v>114.327324</c:v>
                </c:pt>
                <c:pt idx="1538">
                  <c:v>114.20553</c:v>
                </c:pt>
                <c:pt idx="1539">
                  <c:v>114.15867</c:v>
                </c:pt>
                <c:pt idx="1540">
                  <c:v>114.82391</c:v>
                </c:pt>
                <c:pt idx="1541">
                  <c:v>114.30858600000001</c:v>
                </c:pt>
                <c:pt idx="1542">
                  <c:v>114.00875000000001</c:v>
                </c:pt>
                <c:pt idx="1543">
                  <c:v>113.89632400000001</c:v>
                </c:pt>
                <c:pt idx="1544">
                  <c:v>113.812004</c:v>
                </c:pt>
                <c:pt idx="1545">
                  <c:v>113.95255</c:v>
                </c:pt>
                <c:pt idx="1546">
                  <c:v>114.30858600000001</c:v>
                </c:pt>
                <c:pt idx="1547">
                  <c:v>114.467865</c:v>
                </c:pt>
                <c:pt idx="1548">
                  <c:v>114.346054</c:v>
                </c:pt>
                <c:pt idx="1549">
                  <c:v>113.99939999999999</c:v>
                </c:pt>
                <c:pt idx="1550">
                  <c:v>114.52408</c:v>
                </c:pt>
                <c:pt idx="1551">
                  <c:v>115.863945</c:v>
                </c:pt>
                <c:pt idx="1552">
                  <c:v>114.69275</c:v>
                </c:pt>
                <c:pt idx="1553">
                  <c:v>119.00274</c:v>
                </c:pt>
                <c:pt idx="1554">
                  <c:v>119.07769</c:v>
                </c:pt>
                <c:pt idx="1555">
                  <c:v>118.46867</c:v>
                </c:pt>
                <c:pt idx="1556">
                  <c:v>119.07769</c:v>
                </c:pt>
                <c:pt idx="1557">
                  <c:v>118.91840000000001</c:v>
                </c:pt>
                <c:pt idx="1558">
                  <c:v>118.17821499999999</c:v>
                </c:pt>
                <c:pt idx="1559">
                  <c:v>118.43118</c:v>
                </c:pt>
                <c:pt idx="1560">
                  <c:v>118.7029</c:v>
                </c:pt>
                <c:pt idx="1561">
                  <c:v>119.97716</c:v>
                </c:pt>
                <c:pt idx="1562">
                  <c:v>119.21823000000001</c:v>
                </c:pt>
                <c:pt idx="1563">
                  <c:v>118.83410000000001</c:v>
                </c:pt>
                <c:pt idx="1564">
                  <c:v>119.62112399999999</c:v>
                </c:pt>
                <c:pt idx="1565">
                  <c:v>119.24634</c:v>
                </c:pt>
                <c:pt idx="1566">
                  <c:v>118.03767000000001</c:v>
                </c:pt>
                <c:pt idx="1567">
                  <c:v>118.07513400000001</c:v>
                </c:pt>
                <c:pt idx="1568">
                  <c:v>118.10326000000001</c:v>
                </c:pt>
                <c:pt idx="1569">
                  <c:v>119.93968</c:v>
                </c:pt>
                <c:pt idx="1570">
                  <c:v>119.14327</c:v>
                </c:pt>
                <c:pt idx="1571">
                  <c:v>119.37751</c:v>
                </c:pt>
                <c:pt idx="1572">
                  <c:v>121.19521</c:v>
                </c:pt>
                <c:pt idx="1573">
                  <c:v>122.057236</c:v>
                </c:pt>
                <c:pt idx="1574">
                  <c:v>122.28206</c:v>
                </c:pt>
                <c:pt idx="1575">
                  <c:v>121.79487</c:v>
                </c:pt>
                <c:pt idx="1576">
                  <c:v>120.91413</c:v>
                </c:pt>
                <c:pt idx="1577">
                  <c:v>121.86982999999999</c:v>
                </c:pt>
                <c:pt idx="1578">
                  <c:v>121.77614</c:v>
                </c:pt>
                <c:pt idx="1579">
                  <c:v>121.33575</c:v>
                </c:pt>
                <c:pt idx="1580">
                  <c:v>119.58364</c:v>
                </c:pt>
                <c:pt idx="1581">
                  <c:v>120.0896</c:v>
                </c:pt>
                <c:pt idx="1582">
                  <c:v>120.50187</c:v>
                </c:pt>
                <c:pt idx="1583">
                  <c:v>119.93031000000001</c:v>
                </c:pt>
                <c:pt idx="1584">
                  <c:v>120.84852600000001</c:v>
                </c:pt>
                <c:pt idx="1585">
                  <c:v>120.93288</c:v>
                </c:pt>
                <c:pt idx="1586">
                  <c:v>123.1066</c:v>
                </c:pt>
                <c:pt idx="1587">
                  <c:v>124.564804</c:v>
                </c:pt>
                <c:pt idx="1588">
                  <c:v>125.97108</c:v>
                </c:pt>
                <c:pt idx="1589">
                  <c:v>126.08432999999999</c:v>
                </c:pt>
                <c:pt idx="1590">
                  <c:v>125.71626000000001</c:v>
                </c:pt>
                <c:pt idx="1591">
                  <c:v>125.659615</c:v>
                </c:pt>
                <c:pt idx="1592">
                  <c:v>125.47084</c:v>
                </c:pt>
                <c:pt idx="1593">
                  <c:v>125.272644</c:v>
                </c:pt>
                <c:pt idx="1594">
                  <c:v>125.07446</c:v>
                </c:pt>
                <c:pt idx="1595">
                  <c:v>124.6403</c:v>
                </c:pt>
                <c:pt idx="1596">
                  <c:v>125.38592</c:v>
                </c:pt>
                <c:pt idx="1597">
                  <c:v>126.62233000000001</c:v>
                </c:pt>
                <c:pt idx="1598">
                  <c:v>126.43356</c:v>
                </c:pt>
                <c:pt idx="1599">
                  <c:v>126.60343</c:v>
                </c:pt>
                <c:pt idx="1600">
                  <c:v>126.291954</c:v>
                </c:pt>
                <c:pt idx="1601">
                  <c:v>124.885704</c:v>
                </c:pt>
                <c:pt idx="1602">
                  <c:v>124.2911</c:v>
                </c:pt>
                <c:pt idx="1603">
                  <c:v>123.76256600000001</c:v>
                </c:pt>
                <c:pt idx="1604">
                  <c:v>124.46097</c:v>
                </c:pt>
                <c:pt idx="1605">
                  <c:v>124.98951</c:v>
                </c:pt>
                <c:pt idx="1606">
                  <c:v>126.46187</c:v>
                </c:pt>
                <c:pt idx="1607">
                  <c:v>125.54637</c:v>
                </c:pt>
                <c:pt idx="1608">
                  <c:v>125.112206</c:v>
                </c:pt>
                <c:pt idx="1609">
                  <c:v>124.33826999999999</c:v>
                </c:pt>
                <c:pt idx="1610">
                  <c:v>126.85826</c:v>
                </c:pt>
                <c:pt idx="1611">
                  <c:v>126.80162</c:v>
                </c:pt>
                <c:pt idx="1612">
                  <c:v>125.79174</c:v>
                </c:pt>
                <c:pt idx="1613">
                  <c:v>126.61286</c:v>
                </c:pt>
                <c:pt idx="1614">
                  <c:v>126.28254</c:v>
                </c:pt>
                <c:pt idx="1615">
                  <c:v>125.31984</c:v>
                </c:pt>
                <c:pt idx="1616">
                  <c:v>125.41421</c:v>
                </c:pt>
                <c:pt idx="1617">
                  <c:v>122.78098</c:v>
                </c:pt>
                <c:pt idx="1618">
                  <c:v>122.96031000000001</c:v>
                </c:pt>
                <c:pt idx="1619">
                  <c:v>123.39447</c:v>
                </c:pt>
                <c:pt idx="1620">
                  <c:v>121.950424</c:v>
                </c:pt>
                <c:pt idx="1621">
                  <c:v>121.7428</c:v>
                </c:pt>
                <c:pt idx="1622">
                  <c:v>123.84751</c:v>
                </c:pt>
                <c:pt idx="1623">
                  <c:v>124.14008</c:v>
                </c:pt>
                <c:pt idx="1624">
                  <c:v>123.149055</c:v>
                </c:pt>
                <c:pt idx="1625">
                  <c:v>120.62909000000001</c:v>
                </c:pt>
                <c:pt idx="1626">
                  <c:v>119.996735</c:v>
                </c:pt>
                <c:pt idx="1627">
                  <c:v>120.7329</c:v>
                </c:pt>
                <c:pt idx="1628">
                  <c:v>117.410675</c:v>
                </c:pt>
                <c:pt idx="1629">
                  <c:v>119.34549</c:v>
                </c:pt>
                <c:pt idx="1630">
                  <c:v>120.60075999999999</c:v>
                </c:pt>
                <c:pt idx="1631">
                  <c:v>122.19582</c:v>
                </c:pt>
                <c:pt idx="1632">
                  <c:v>121.3747</c:v>
                </c:pt>
                <c:pt idx="1633">
                  <c:v>121.13875</c:v>
                </c:pt>
                <c:pt idx="1634">
                  <c:v>122.62994999999999</c:v>
                </c:pt>
                <c:pt idx="1635">
                  <c:v>121.86548000000001</c:v>
                </c:pt>
                <c:pt idx="1636">
                  <c:v>123.37559</c:v>
                </c:pt>
                <c:pt idx="1637">
                  <c:v>124.35715</c:v>
                </c:pt>
                <c:pt idx="1638">
                  <c:v>125.121635</c:v>
                </c:pt>
                <c:pt idx="1639">
                  <c:v>124.6403</c:v>
                </c:pt>
                <c:pt idx="1640">
                  <c:v>124.90459</c:v>
                </c:pt>
                <c:pt idx="1641">
                  <c:v>125.206604</c:v>
                </c:pt>
                <c:pt idx="1642">
                  <c:v>122.95088</c:v>
                </c:pt>
                <c:pt idx="1643">
                  <c:v>126.225914</c:v>
                </c:pt>
                <c:pt idx="1644">
                  <c:v>127.18861</c:v>
                </c:pt>
                <c:pt idx="1645">
                  <c:v>127.59444999999999</c:v>
                </c:pt>
                <c:pt idx="1646">
                  <c:v>128.37782000000001</c:v>
                </c:pt>
                <c:pt idx="1647">
                  <c:v>129.04794000000001</c:v>
                </c:pt>
                <c:pt idx="1648">
                  <c:v>129.73692</c:v>
                </c:pt>
                <c:pt idx="1649">
                  <c:v>131.33194</c:v>
                </c:pt>
                <c:pt idx="1650">
                  <c:v>129.22695999999999</c:v>
                </c:pt>
                <c:pt idx="1651">
                  <c:v>130.54793000000001</c:v>
                </c:pt>
                <c:pt idx="1652">
                  <c:v>129.62610000000001</c:v>
                </c:pt>
                <c:pt idx="1653">
                  <c:v>129.11293000000001</c:v>
                </c:pt>
                <c:pt idx="1654">
                  <c:v>129.58806999999999</c:v>
                </c:pt>
                <c:pt idx="1655">
                  <c:v>130.47190000000001</c:v>
                </c:pt>
                <c:pt idx="1656">
                  <c:v>129.66410999999999</c:v>
                </c:pt>
                <c:pt idx="1657">
                  <c:v>128.1816</c:v>
                </c:pt>
                <c:pt idx="1658">
                  <c:v>128.96088</c:v>
                </c:pt>
                <c:pt idx="1659">
                  <c:v>128.77081000000001</c:v>
                </c:pt>
                <c:pt idx="1660">
                  <c:v>128.75176999999999</c:v>
                </c:pt>
                <c:pt idx="1661">
                  <c:v>128.02001999999999</c:v>
                </c:pt>
                <c:pt idx="1662">
                  <c:v>128.71378000000001</c:v>
                </c:pt>
                <c:pt idx="1663">
                  <c:v>128.63775999999999</c:v>
                </c:pt>
                <c:pt idx="1664">
                  <c:v>128.38114999999999</c:v>
                </c:pt>
                <c:pt idx="1665">
                  <c:v>128.97987000000001</c:v>
                </c:pt>
                <c:pt idx="1666">
                  <c:v>128.86583999999999</c:v>
                </c:pt>
                <c:pt idx="1667">
                  <c:v>130.29134999999999</c:v>
                </c:pt>
                <c:pt idx="1668">
                  <c:v>130.54793000000001</c:v>
                </c:pt>
                <c:pt idx="1669">
                  <c:v>127.28828</c:v>
                </c:pt>
                <c:pt idx="1670">
                  <c:v>131.08011999999999</c:v>
                </c:pt>
                <c:pt idx="1671">
                  <c:v>133.31342000000001</c:v>
                </c:pt>
                <c:pt idx="1672">
                  <c:v>131.46974</c:v>
                </c:pt>
                <c:pt idx="1673">
                  <c:v>130.42438000000001</c:v>
                </c:pt>
                <c:pt idx="1674">
                  <c:v>131.00409999999999</c:v>
                </c:pt>
                <c:pt idx="1675">
                  <c:v>131.04212999999999</c:v>
                </c:pt>
                <c:pt idx="1676">
                  <c:v>130.80449999999999</c:v>
                </c:pt>
                <c:pt idx="1677">
                  <c:v>130.62395000000001</c:v>
                </c:pt>
                <c:pt idx="1678">
                  <c:v>129.55957000000001</c:v>
                </c:pt>
                <c:pt idx="1679">
                  <c:v>129.64510000000001</c:v>
                </c:pt>
                <c:pt idx="1680">
                  <c:v>130.15827999999999</c:v>
                </c:pt>
                <c:pt idx="1681">
                  <c:v>129.48355000000001</c:v>
                </c:pt>
                <c:pt idx="1682">
                  <c:v>129.35999000000001</c:v>
                </c:pt>
                <c:pt idx="1683">
                  <c:v>129.87317999999999</c:v>
                </c:pt>
                <c:pt idx="1684">
                  <c:v>130.62395000000001</c:v>
                </c:pt>
                <c:pt idx="1685">
                  <c:v>131.04212999999999</c:v>
                </c:pt>
                <c:pt idx="1686">
                  <c:v>129.85418999999999</c:v>
                </c:pt>
                <c:pt idx="1687">
                  <c:v>129.78764000000001</c:v>
                </c:pt>
                <c:pt idx="1688">
                  <c:v>129.32198</c:v>
                </c:pt>
                <c:pt idx="1689">
                  <c:v>130.10126</c:v>
                </c:pt>
                <c:pt idx="1690">
                  <c:v>130.35785999999999</c:v>
                </c:pt>
                <c:pt idx="1691">
                  <c:v>130.12978000000001</c:v>
                </c:pt>
                <c:pt idx="1692">
                  <c:v>128.4477</c:v>
                </c:pt>
                <c:pt idx="1693">
                  <c:v>127.354805</c:v>
                </c:pt>
                <c:pt idx="1694">
                  <c:v>127.76342</c:v>
                </c:pt>
                <c:pt idx="1695">
                  <c:v>126.69906</c:v>
                </c:pt>
                <c:pt idx="1696">
                  <c:v>126.518486</c:v>
                </c:pt>
                <c:pt idx="1697">
                  <c:v>125.81524</c:v>
                </c:pt>
                <c:pt idx="1698">
                  <c:v>125.42561000000001</c:v>
                </c:pt>
                <c:pt idx="1699">
                  <c:v>126.67054</c:v>
                </c:pt>
                <c:pt idx="1700">
                  <c:v>126.70858</c:v>
                </c:pt>
                <c:pt idx="1701">
                  <c:v>127.16469600000001</c:v>
                </c:pt>
                <c:pt idx="1702">
                  <c:v>127.40228</c:v>
                </c:pt>
                <c:pt idx="1703">
                  <c:v>127.88699</c:v>
                </c:pt>
                <c:pt idx="1704">
                  <c:v>127.098206</c:v>
                </c:pt>
                <c:pt idx="1705">
                  <c:v>127.25975</c:v>
                </c:pt>
                <c:pt idx="1706">
                  <c:v>127.41182999999999</c:v>
                </c:pt>
                <c:pt idx="1707">
                  <c:v>127.18373</c:v>
                </c:pt>
                <c:pt idx="1708">
                  <c:v>128.96088</c:v>
                </c:pt>
                <c:pt idx="1709">
                  <c:v>129.16045</c:v>
                </c:pt>
                <c:pt idx="1710">
                  <c:v>129.08439999999999</c:v>
                </c:pt>
                <c:pt idx="1711">
                  <c:v>129.13195999999999</c:v>
                </c:pt>
                <c:pt idx="1712">
                  <c:v>128.73278999999999</c:v>
                </c:pt>
                <c:pt idx="1713">
                  <c:v>130.48140000000001</c:v>
                </c:pt>
                <c:pt idx="1714">
                  <c:v>130.47660999999999</c:v>
                </c:pt>
                <c:pt idx="1715">
                  <c:v>131.45276000000001</c:v>
                </c:pt>
                <c:pt idx="1716">
                  <c:v>131.26137</c:v>
                </c:pt>
                <c:pt idx="1717">
                  <c:v>130.40961999999999</c:v>
                </c:pt>
                <c:pt idx="1718">
                  <c:v>131.20394999999999</c:v>
                </c:pt>
                <c:pt idx="1719">
                  <c:v>131.28049999999999</c:v>
                </c:pt>
                <c:pt idx="1720">
                  <c:v>132.00783000000001</c:v>
                </c:pt>
                <c:pt idx="1721">
                  <c:v>131.16565</c:v>
                </c:pt>
                <c:pt idx="1722">
                  <c:v>130.31393</c:v>
                </c:pt>
                <c:pt idx="1723">
                  <c:v>130.12253000000001</c:v>
                </c:pt>
                <c:pt idx="1724">
                  <c:v>130.60104000000001</c:v>
                </c:pt>
                <c:pt idx="1725">
                  <c:v>131.98867999999999</c:v>
                </c:pt>
                <c:pt idx="1726">
                  <c:v>131.1465</c:v>
                </c:pt>
                <c:pt idx="1727">
                  <c:v>131.00296</c:v>
                </c:pt>
                <c:pt idx="1728">
                  <c:v>130.81156999999999</c:v>
                </c:pt>
                <c:pt idx="1729">
                  <c:v>131.62502000000001</c:v>
                </c:pt>
                <c:pt idx="1730">
                  <c:v>130.92642000000001</c:v>
                </c:pt>
                <c:pt idx="1731">
                  <c:v>130.79243</c:v>
                </c:pt>
                <c:pt idx="1732">
                  <c:v>129.97899000000001</c:v>
                </c:pt>
                <c:pt idx="1733">
                  <c:v>129.79714999999999</c:v>
                </c:pt>
                <c:pt idx="1734">
                  <c:v>130.29478</c:v>
                </c:pt>
                <c:pt idx="1735">
                  <c:v>128.24682999999999</c:v>
                </c:pt>
                <c:pt idx="1736">
                  <c:v>128.90715</c:v>
                </c:pt>
                <c:pt idx="1737">
                  <c:v>128.99327</c:v>
                </c:pt>
                <c:pt idx="1738">
                  <c:v>128.74446</c:v>
                </c:pt>
                <c:pt idx="1739">
                  <c:v>130.65844999999999</c:v>
                </c:pt>
                <c:pt idx="1740">
                  <c:v>130.96467999999999</c:v>
                </c:pt>
                <c:pt idx="1741">
                  <c:v>133.21364</c:v>
                </c:pt>
                <c:pt idx="1742">
                  <c:v>133.60598999999999</c:v>
                </c:pt>
                <c:pt idx="1743">
                  <c:v>135.18503999999999</c:v>
                </c:pt>
                <c:pt idx="1744">
                  <c:v>135.75923</c:v>
                </c:pt>
                <c:pt idx="1745">
                  <c:v>137.21385000000001</c:v>
                </c:pt>
                <c:pt idx="1746">
                  <c:v>137.47226000000001</c:v>
                </c:pt>
                <c:pt idx="1747">
                  <c:v>136.77365</c:v>
                </c:pt>
                <c:pt idx="1748">
                  <c:v>136.02718999999999</c:v>
                </c:pt>
                <c:pt idx="1749">
                  <c:v>136.3143</c:v>
                </c:pt>
                <c:pt idx="1750">
                  <c:v>135.63480999999999</c:v>
                </c:pt>
                <c:pt idx="1751">
                  <c:v>137.64449999999999</c:v>
                </c:pt>
                <c:pt idx="1752">
                  <c:v>135.91237000000001</c:v>
                </c:pt>
                <c:pt idx="1753">
                  <c:v>136.38127</c:v>
                </c:pt>
                <c:pt idx="1754">
                  <c:v>137.06073000000001</c:v>
                </c:pt>
                <c:pt idx="1755">
                  <c:v>138.0943</c:v>
                </c:pt>
                <c:pt idx="1756">
                  <c:v>138.12302</c:v>
                </c:pt>
                <c:pt idx="1757">
                  <c:v>139.11829</c:v>
                </c:pt>
                <c:pt idx="1758">
                  <c:v>139.39581000000001</c:v>
                </c:pt>
                <c:pt idx="1759">
                  <c:v>139.79774</c:v>
                </c:pt>
                <c:pt idx="1760">
                  <c:v>139.79774</c:v>
                </c:pt>
                <c:pt idx="1761">
                  <c:v>140.17097000000001</c:v>
                </c:pt>
                <c:pt idx="1762">
                  <c:v>140.66861</c:v>
                </c:pt>
                <c:pt idx="1763">
                  <c:v>139.33840000000001</c:v>
                </c:pt>
                <c:pt idx="1764">
                  <c:v>139.2714</c:v>
                </c:pt>
                <c:pt idx="1765">
                  <c:v>138.91730000000001</c:v>
                </c:pt>
                <c:pt idx="1766">
                  <c:v>139.57764</c:v>
                </c:pt>
                <c:pt idx="1767">
                  <c:v>136.50568999999999</c:v>
                </c:pt>
                <c:pt idx="1768">
                  <c:v>135.03190000000001</c:v>
                </c:pt>
                <c:pt idx="1769">
                  <c:v>135.87406999999999</c:v>
                </c:pt>
                <c:pt idx="1770">
                  <c:v>130.50532999999999</c:v>
                </c:pt>
                <c:pt idx="1771">
                  <c:v>126.35198</c:v>
                </c:pt>
                <c:pt idx="1772">
                  <c:v>131.66329999999999</c:v>
                </c:pt>
                <c:pt idx="1773">
                  <c:v>129.74931000000001</c:v>
                </c:pt>
                <c:pt idx="1774">
                  <c:v>136.26644999999999</c:v>
                </c:pt>
                <c:pt idx="1775">
                  <c:v>133.05331000000001</c:v>
                </c:pt>
                <c:pt idx="1776">
                  <c:v>132.244</c:v>
                </c:pt>
                <c:pt idx="1777">
                  <c:v>125.40348</c:v>
                </c:pt>
                <c:pt idx="1778">
                  <c:v>129.23802000000001</c:v>
                </c:pt>
                <c:pt idx="1779">
                  <c:v>125.00845</c:v>
                </c:pt>
                <c:pt idx="1780">
                  <c:v>111.12504</c:v>
                </c:pt>
                <c:pt idx="1781">
                  <c:v>122.7925</c:v>
                </c:pt>
                <c:pt idx="1782">
                  <c:v>108.95726999999999</c:v>
                </c:pt>
                <c:pt idx="1783">
                  <c:v>123.05264</c:v>
                </c:pt>
                <c:pt idx="1784">
                  <c:v>116.501114</c:v>
                </c:pt>
                <c:pt idx="1785">
                  <c:v>113.051956</c:v>
                </c:pt>
                <c:pt idx="1786">
                  <c:v>100.13200000000001</c:v>
                </c:pt>
                <c:pt idx="1787">
                  <c:v>101.33633</c:v>
                </c:pt>
                <c:pt idx="1788">
                  <c:v>109.67986000000001</c:v>
                </c:pt>
                <c:pt idx="1789">
                  <c:v>108.38884</c:v>
                </c:pt>
                <c:pt idx="1790">
                  <c:v>115.86526000000001</c:v>
                </c:pt>
                <c:pt idx="1791">
                  <c:v>116.05794</c:v>
                </c:pt>
                <c:pt idx="1792">
                  <c:v>120.89449999999999</c:v>
                </c:pt>
                <c:pt idx="1793">
                  <c:v>115.7111</c:v>
                </c:pt>
                <c:pt idx="1794">
                  <c:v>113.803444</c:v>
                </c:pt>
                <c:pt idx="1795">
                  <c:v>119.33369999999999</c:v>
                </c:pt>
                <c:pt idx="1796">
                  <c:v>120.03702</c:v>
                </c:pt>
                <c:pt idx="1797">
                  <c:v>126.36691999999999</c:v>
                </c:pt>
                <c:pt idx="1798">
                  <c:v>125.71177</c:v>
                </c:pt>
                <c:pt idx="1799">
                  <c:v>127.76394000000001</c:v>
                </c:pt>
                <c:pt idx="1800">
                  <c:v>128.74665999999999</c:v>
                </c:pt>
                <c:pt idx="1801">
                  <c:v>126.10677</c:v>
                </c:pt>
                <c:pt idx="1802">
                  <c:v>133.34233</c:v>
                </c:pt>
                <c:pt idx="1803">
                  <c:v>130.09547000000001</c:v>
                </c:pt>
                <c:pt idx="1804">
                  <c:v>130.68321</c:v>
                </c:pt>
                <c:pt idx="1805">
                  <c:v>132.52341999999999</c:v>
                </c:pt>
                <c:pt idx="1806">
                  <c:v>129.63302999999999</c:v>
                </c:pt>
                <c:pt idx="1807">
                  <c:v>126.15496</c:v>
                </c:pt>
                <c:pt idx="1808">
                  <c:v>127.77357000000001</c:v>
                </c:pt>
                <c:pt idx="1809">
                  <c:v>125.49979399999999</c:v>
                </c:pt>
                <c:pt idx="1810">
                  <c:v>129.44998000000001</c:v>
                </c:pt>
                <c:pt idx="1811">
                  <c:v>129.54633999999999</c:v>
                </c:pt>
                <c:pt idx="1812">
                  <c:v>131.33838</c:v>
                </c:pt>
                <c:pt idx="1813">
                  <c:v>128.48652999999999</c:v>
                </c:pt>
                <c:pt idx="1814">
                  <c:v>127.45563</c:v>
                </c:pt>
                <c:pt idx="1815">
                  <c:v>125.38419</c:v>
                </c:pt>
                <c:pt idx="1816">
                  <c:v>126.1357</c:v>
                </c:pt>
                <c:pt idx="1817">
                  <c:v>126.858284</c:v>
                </c:pt>
                <c:pt idx="1818">
                  <c:v>126.00081</c:v>
                </c:pt>
                <c:pt idx="1819">
                  <c:v>126.74267999999999</c:v>
                </c:pt>
                <c:pt idx="1820">
                  <c:v>129.32472000000001</c:v>
                </c:pt>
                <c:pt idx="1821">
                  <c:v>129.46924999999999</c:v>
                </c:pt>
                <c:pt idx="1822">
                  <c:v>128.08186000000001</c:v>
                </c:pt>
                <c:pt idx="1823">
                  <c:v>128.10114999999999</c:v>
                </c:pt>
                <c:pt idx="1824">
                  <c:v>128.21677</c:v>
                </c:pt>
                <c:pt idx="1825">
                  <c:v>130.98186999999999</c:v>
                </c:pt>
                <c:pt idx="1826">
                  <c:v>130.5676</c:v>
                </c:pt>
                <c:pt idx="1827">
                  <c:v>126.916084</c:v>
                </c:pt>
                <c:pt idx="1828">
                  <c:v>126.46326999999999</c:v>
                </c:pt>
                <c:pt idx="1829">
                  <c:v>125.451645</c:v>
                </c:pt>
                <c:pt idx="1830">
                  <c:v>125.71177</c:v>
                </c:pt>
                <c:pt idx="1831">
                  <c:v>125.00845</c:v>
                </c:pt>
                <c:pt idx="1832">
                  <c:v>126.029724</c:v>
                </c:pt>
                <c:pt idx="1833">
                  <c:v>127.45563</c:v>
                </c:pt>
                <c:pt idx="1834">
                  <c:v>126.74267999999999</c:v>
                </c:pt>
                <c:pt idx="1835">
                  <c:v>128.13005000000001</c:v>
                </c:pt>
                <c:pt idx="1836">
                  <c:v>127.78321</c:v>
                </c:pt>
                <c:pt idx="1837">
                  <c:v>127.966255</c:v>
                </c:pt>
                <c:pt idx="1838">
                  <c:v>126.774925</c:v>
                </c:pt>
                <c:pt idx="1839">
                  <c:v>128.59058999999999</c:v>
                </c:pt>
                <c:pt idx="1840">
                  <c:v>128.36725999999999</c:v>
                </c:pt>
                <c:pt idx="1841">
                  <c:v>129.10516000000001</c:v>
                </c:pt>
                <c:pt idx="1842">
                  <c:v>130.23146</c:v>
                </c:pt>
                <c:pt idx="1843">
                  <c:v>124.12426000000001</c:v>
                </c:pt>
                <c:pt idx="1844">
                  <c:v>125.25055999999999</c:v>
                </c:pt>
                <c:pt idx="1845">
                  <c:v>126.68754</c:v>
                </c:pt>
                <c:pt idx="1846">
                  <c:v>127.84294</c:v>
                </c:pt>
                <c:pt idx="1847">
                  <c:v>127.93031000000001</c:v>
                </c:pt>
                <c:pt idx="1848">
                  <c:v>128.92068</c:v>
                </c:pt>
                <c:pt idx="1849">
                  <c:v>127.46427</c:v>
                </c:pt>
                <c:pt idx="1850">
                  <c:v>127.24097999999999</c:v>
                </c:pt>
                <c:pt idx="1851">
                  <c:v>127.541954</c:v>
                </c:pt>
                <c:pt idx="1852">
                  <c:v>125.79428</c:v>
                </c:pt>
                <c:pt idx="1853">
                  <c:v>127.590515</c:v>
                </c:pt>
                <c:pt idx="1854">
                  <c:v>125.18259399999999</c:v>
                </c:pt>
                <c:pt idx="1855">
                  <c:v>127.27011</c:v>
                </c:pt>
                <c:pt idx="1856">
                  <c:v>128.41579999999999</c:v>
                </c:pt>
                <c:pt idx="1857">
                  <c:v>128.5129</c:v>
                </c:pt>
                <c:pt idx="1858">
                  <c:v>128.98866000000001</c:v>
                </c:pt>
                <c:pt idx="1859">
                  <c:v>129.42558</c:v>
                </c:pt>
                <c:pt idx="1860">
                  <c:v>129.68773999999999</c:v>
                </c:pt>
                <c:pt idx="1861">
                  <c:v>130.31882999999999</c:v>
                </c:pt>
                <c:pt idx="1862">
                  <c:v>128.85274000000001</c:v>
                </c:pt>
                <c:pt idx="1863">
                  <c:v>130.55188000000001</c:v>
                </c:pt>
                <c:pt idx="1864">
                  <c:v>130.98877999999999</c:v>
                </c:pt>
                <c:pt idx="1865">
                  <c:v>131.58105</c:v>
                </c:pt>
                <c:pt idx="1866">
                  <c:v>129.80423999999999</c:v>
                </c:pt>
                <c:pt idx="1867">
                  <c:v>129.98874000000001</c:v>
                </c:pt>
                <c:pt idx="1868">
                  <c:v>130.74605</c:v>
                </c:pt>
                <c:pt idx="1869">
                  <c:v>129.24109999999999</c:v>
                </c:pt>
                <c:pt idx="1870">
                  <c:v>130.52271999999999</c:v>
                </c:pt>
                <c:pt idx="1871">
                  <c:v>132.05680000000001</c:v>
                </c:pt>
                <c:pt idx="1872">
                  <c:v>133.09569999999999</c:v>
                </c:pt>
                <c:pt idx="1873">
                  <c:v>132.10535999999999</c:v>
                </c:pt>
                <c:pt idx="1874">
                  <c:v>133.66856000000001</c:v>
                </c:pt>
                <c:pt idx="1875">
                  <c:v>133.387</c:v>
                </c:pt>
                <c:pt idx="1876">
                  <c:v>133.92098999999999</c:v>
                </c:pt>
                <c:pt idx="1877">
                  <c:v>133.68799000000001</c:v>
                </c:pt>
                <c:pt idx="1878">
                  <c:v>133.65886</c:v>
                </c:pt>
                <c:pt idx="1879">
                  <c:v>132.72675000000001</c:v>
                </c:pt>
                <c:pt idx="1880">
                  <c:v>133.47436999999999</c:v>
                </c:pt>
                <c:pt idx="1881">
                  <c:v>132.28984</c:v>
                </c:pt>
                <c:pt idx="1882">
                  <c:v>131.91118</c:v>
                </c:pt>
                <c:pt idx="1883">
                  <c:v>132.76560000000001</c:v>
                </c:pt>
                <c:pt idx="1884">
                  <c:v>132.02766</c:v>
                </c:pt>
                <c:pt idx="1885">
                  <c:v>131.19266999999999</c:v>
                </c:pt>
                <c:pt idx="1886">
                  <c:v>133.79477</c:v>
                </c:pt>
                <c:pt idx="1887">
                  <c:v>134.08606</c:v>
                </c:pt>
                <c:pt idx="1888">
                  <c:v>133.56173999999999</c:v>
                </c:pt>
                <c:pt idx="1889">
                  <c:v>133.91130000000001</c:v>
                </c:pt>
                <c:pt idx="1890">
                  <c:v>134.09577999999999</c:v>
                </c:pt>
                <c:pt idx="1891">
                  <c:v>132.48401000000001</c:v>
                </c:pt>
                <c:pt idx="1892">
                  <c:v>132.74617000000001</c:v>
                </c:pt>
                <c:pt idx="1893">
                  <c:v>132.49373</c:v>
                </c:pt>
                <c:pt idx="1894">
                  <c:v>133.63943</c:v>
                </c:pt>
                <c:pt idx="1895">
                  <c:v>133.30932999999999</c:v>
                </c:pt>
                <c:pt idx="1896">
                  <c:v>134.44531000000001</c:v>
                </c:pt>
                <c:pt idx="1897">
                  <c:v>134.37733</c:v>
                </c:pt>
                <c:pt idx="1898">
                  <c:v>135.87259</c:v>
                </c:pt>
                <c:pt idx="1899">
                  <c:v>135.98909</c:v>
                </c:pt>
                <c:pt idx="1900">
                  <c:v>135.14438000000001</c:v>
                </c:pt>
                <c:pt idx="1901">
                  <c:v>139.12521000000001</c:v>
                </c:pt>
                <c:pt idx="1902">
                  <c:v>136.29219000000001</c:v>
                </c:pt>
                <c:pt idx="1903">
                  <c:v>135.69566</c:v>
                </c:pt>
                <c:pt idx="1904">
                  <c:v>132.55654999999999</c:v>
                </c:pt>
                <c:pt idx="1905">
                  <c:v>134.08208999999999</c:v>
                </c:pt>
                <c:pt idx="1906">
                  <c:v>131.78399999999999</c:v>
                </c:pt>
                <c:pt idx="1907">
                  <c:v>132.8108</c:v>
                </c:pt>
                <c:pt idx="1908">
                  <c:v>133.65181999999999</c:v>
                </c:pt>
                <c:pt idx="1909">
                  <c:v>132.62502000000001</c:v>
                </c:pt>
                <c:pt idx="1910">
                  <c:v>131.99914999999999</c:v>
                </c:pt>
                <c:pt idx="1911">
                  <c:v>130.25845000000001</c:v>
                </c:pt>
                <c:pt idx="1912">
                  <c:v>128.56665000000001</c:v>
                </c:pt>
                <c:pt idx="1913">
                  <c:v>128.34173999999999</c:v>
                </c:pt>
                <c:pt idx="1914">
                  <c:v>129.23163</c:v>
                </c:pt>
                <c:pt idx="1915">
                  <c:v>128.10704000000001</c:v>
                </c:pt>
                <c:pt idx="1916">
                  <c:v>128.67421999999999</c:v>
                </c:pt>
                <c:pt idx="1917">
                  <c:v>130.60072</c:v>
                </c:pt>
                <c:pt idx="1918">
                  <c:v>134.92311000000001</c:v>
                </c:pt>
                <c:pt idx="1919">
                  <c:v>134.13101</c:v>
                </c:pt>
                <c:pt idx="1920">
                  <c:v>135.53922</c:v>
                </c:pt>
                <c:pt idx="1921">
                  <c:v>137.69060999999999</c:v>
                </c:pt>
                <c:pt idx="1922">
                  <c:v>135.01112000000001</c:v>
                </c:pt>
                <c:pt idx="1923">
                  <c:v>134.88399999999999</c:v>
                </c:pt>
                <c:pt idx="1924">
                  <c:v>132.70325</c:v>
                </c:pt>
                <c:pt idx="1925">
                  <c:v>133.98429999999999</c:v>
                </c:pt>
                <c:pt idx="1926">
                  <c:v>134.80577</c:v>
                </c:pt>
                <c:pt idx="1927">
                  <c:v>135.38274000000001</c:v>
                </c:pt>
                <c:pt idx="1928">
                  <c:v>138.99124</c:v>
                </c:pt>
                <c:pt idx="1929">
                  <c:v>140.37010000000001</c:v>
                </c:pt>
                <c:pt idx="1930">
                  <c:v>139.37262999999999</c:v>
                </c:pt>
                <c:pt idx="1931">
                  <c:v>138.30669</c:v>
                </c:pt>
                <c:pt idx="1932">
                  <c:v>138.60006999999999</c:v>
                </c:pt>
                <c:pt idx="1933">
                  <c:v>136.59535</c:v>
                </c:pt>
                <c:pt idx="1934">
                  <c:v>136.62470999999999</c:v>
                </c:pt>
                <c:pt idx="1935">
                  <c:v>136.51712000000001</c:v>
                </c:pt>
                <c:pt idx="1936">
                  <c:v>136.52690000000001</c:v>
                </c:pt>
                <c:pt idx="1937">
                  <c:v>136.47800000000001</c:v>
                </c:pt>
                <c:pt idx="1938">
                  <c:v>135.01112000000001</c:v>
                </c:pt>
                <c:pt idx="1939">
                  <c:v>136.04771</c:v>
                </c:pt>
                <c:pt idx="1940">
                  <c:v>131.20703</c:v>
                </c:pt>
                <c:pt idx="1941">
                  <c:v>131.03100000000001</c:v>
                </c:pt>
                <c:pt idx="1942">
                  <c:v>130.34645</c:v>
                </c:pt>
                <c:pt idx="1943">
                  <c:v>132.16537</c:v>
                </c:pt>
                <c:pt idx="1944">
                  <c:v>134.01364000000001</c:v>
                </c:pt>
                <c:pt idx="1945">
                  <c:v>134.81554</c:v>
                </c:pt>
                <c:pt idx="1946">
                  <c:v>135.00136000000001</c:v>
                </c:pt>
                <c:pt idx="1947">
                  <c:v>135.32407000000001</c:v>
                </c:pt>
                <c:pt idx="1948">
                  <c:v>135.39250000000001</c:v>
                </c:pt>
                <c:pt idx="1949">
                  <c:v>138.59030000000001</c:v>
                </c:pt>
                <c:pt idx="1950">
                  <c:v>140.72214</c:v>
                </c:pt>
                <c:pt idx="1951">
                  <c:v>140.66346999999999</c:v>
                </c:pt>
                <c:pt idx="1952">
                  <c:v>141.51428000000001</c:v>
                </c:pt>
                <c:pt idx="1953">
                  <c:v>142.54107999999999</c:v>
                </c:pt>
                <c:pt idx="1954">
                  <c:v>142.03258</c:v>
                </c:pt>
                <c:pt idx="1955">
                  <c:v>140.21365</c:v>
                </c:pt>
                <c:pt idx="1956">
                  <c:v>140.15496999999999</c:v>
                </c:pt>
                <c:pt idx="1957">
                  <c:v>140.25274999999999</c:v>
                </c:pt>
                <c:pt idx="1958">
                  <c:v>139.86159000000001</c:v>
                </c:pt>
                <c:pt idx="1959">
                  <c:v>140.84929</c:v>
                </c:pt>
                <c:pt idx="1960">
                  <c:v>140.97640999999999</c:v>
                </c:pt>
                <c:pt idx="1961">
                  <c:v>141.4067</c:v>
                </c:pt>
                <c:pt idx="1962">
                  <c:v>141.04488000000001</c:v>
                </c:pt>
                <c:pt idx="1963">
                  <c:v>142.84424999999999</c:v>
                </c:pt>
                <c:pt idx="1964">
                  <c:v>141.42625000000001</c:v>
                </c:pt>
                <c:pt idx="1965">
                  <c:v>142.26635999999999</c:v>
                </c:pt>
                <c:pt idx="1966">
                  <c:v>143.64519999999999</c:v>
                </c:pt>
                <c:pt idx="1967">
                  <c:v>143.17243999999999</c:v>
                </c:pt>
                <c:pt idx="1968">
                  <c:v>143.32019</c:v>
                </c:pt>
                <c:pt idx="1969">
                  <c:v>143.48760999999999</c:v>
                </c:pt>
                <c:pt idx="1970">
                  <c:v>142.48302000000001</c:v>
                </c:pt>
                <c:pt idx="1971">
                  <c:v>142.77849000000001</c:v>
                </c:pt>
                <c:pt idx="1972">
                  <c:v>142.04968</c:v>
                </c:pt>
                <c:pt idx="1973">
                  <c:v>142.58151000000001</c:v>
                </c:pt>
                <c:pt idx="1974">
                  <c:v>142.69970000000001</c:v>
                </c:pt>
                <c:pt idx="1975">
                  <c:v>143.50731999999999</c:v>
                </c:pt>
                <c:pt idx="1976">
                  <c:v>144.70885999999999</c:v>
                </c:pt>
                <c:pt idx="1977">
                  <c:v>143.202</c:v>
                </c:pt>
                <c:pt idx="1978">
                  <c:v>141.84286</c:v>
                </c:pt>
                <c:pt idx="1979">
                  <c:v>142.22696999999999</c:v>
                </c:pt>
                <c:pt idx="1980">
                  <c:v>142.86714000000001</c:v>
                </c:pt>
                <c:pt idx="1981">
                  <c:v>144.68915999999999</c:v>
                </c:pt>
                <c:pt idx="1982">
                  <c:v>145.19147000000001</c:v>
                </c:pt>
                <c:pt idx="1983">
                  <c:v>145.08311</c:v>
                </c:pt>
                <c:pt idx="1984">
                  <c:v>146.05816999999999</c:v>
                </c:pt>
                <c:pt idx="1985">
                  <c:v>142.08908</c:v>
                </c:pt>
                <c:pt idx="1986">
                  <c:v>142.51257000000001</c:v>
                </c:pt>
                <c:pt idx="1987">
                  <c:v>140.76933</c:v>
                </c:pt>
                <c:pt idx="1988">
                  <c:v>140.31630000000001</c:v>
                </c:pt>
                <c:pt idx="1989">
                  <c:v>142.00042999999999</c:v>
                </c:pt>
                <c:pt idx="1990">
                  <c:v>139.94202999999999</c:v>
                </c:pt>
                <c:pt idx="1991">
                  <c:v>139.292</c:v>
                </c:pt>
                <c:pt idx="1992">
                  <c:v>140.43448000000001</c:v>
                </c:pt>
                <c:pt idx="1993">
                  <c:v>139.61702</c:v>
                </c:pt>
                <c:pt idx="1994">
                  <c:v>139.25261</c:v>
                </c:pt>
                <c:pt idx="1995">
                  <c:v>139.91248999999999</c:v>
                </c:pt>
                <c:pt idx="1996">
                  <c:v>139.19353000000001</c:v>
                </c:pt>
                <c:pt idx="1997">
                  <c:v>137.49952999999999</c:v>
                </c:pt>
                <c:pt idx="1998">
                  <c:v>136.49494999999999</c:v>
                </c:pt>
                <c:pt idx="1999">
                  <c:v>138.0609</c:v>
                </c:pt>
                <c:pt idx="2000">
                  <c:v>139.65642</c:v>
                </c:pt>
                <c:pt idx="2001">
                  <c:v>135.95325</c:v>
                </c:pt>
                <c:pt idx="2002">
                  <c:v>137.08588</c:v>
                </c:pt>
                <c:pt idx="2003">
                  <c:v>134.50550000000001</c:v>
                </c:pt>
                <c:pt idx="2004">
                  <c:v>134.90926999999999</c:v>
                </c:pt>
                <c:pt idx="2005">
                  <c:v>136.28813</c:v>
                </c:pt>
                <c:pt idx="2006">
                  <c:v>135.93356</c:v>
                </c:pt>
                <c:pt idx="2007">
                  <c:v>137.56846999999999</c:v>
                </c:pt>
                <c:pt idx="2008">
                  <c:v>138.82911999999999</c:v>
                </c:pt>
                <c:pt idx="2009">
                  <c:v>138.27759</c:v>
                </c:pt>
                <c:pt idx="2010">
                  <c:v>137.48969</c:v>
                </c:pt>
                <c:pt idx="2011">
                  <c:v>135.61840000000001</c:v>
                </c:pt>
                <c:pt idx="2012">
                  <c:v>132.92966999999999</c:v>
                </c:pt>
                <c:pt idx="2013">
                  <c:v>131.84628000000001</c:v>
                </c:pt>
                <c:pt idx="2014">
                  <c:v>132.34859</c:v>
                </c:pt>
                <c:pt idx="2015">
                  <c:v>132.42738</c:v>
                </c:pt>
                <c:pt idx="2016">
                  <c:v>133.32361</c:v>
                </c:pt>
                <c:pt idx="2017">
                  <c:v>130.50684999999999</c:v>
                </c:pt>
                <c:pt idx="2018">
                  <c:v>129.99472</c:v>
                </c:pt>
                <c:pt idx="2019">
                  <c:v>130.77277000000001</c:v>
                </c:pt>
                <c:pt idx="2020">
                  <c:v>130.0932</c:v>
                </c:pt>
                <c:pt idx="2021">
                  <c:v>128.03479999999999</c:v>
                </c:pt>
                <c:pt idx="2022">
                  <c:v>127.23704499999999</c:v>
                </c:pt>
                <c:pt idx="2023">
                  <c:v>128.64542</c:v>
                </c:pt>
                <c:pt idx="2024">
                  <c:v>129.08861999999999</c:v>
                </c:pt>
                <c:pt idx="2025">
                  <c:v>127.1878</c:v>
                </c:pt>
                <c:pt idx="2026">
                  <c:v>127.89563</c:v>
                </c:pt>
                <c:pt idx="2027">
                  <c:v>132.06516999999999</c:v>
                </c:pt>
                <c:pt idx="2028">
                  <c:v>131.17169000000001</c:v>
                </c:pt>
                <c:pt idx="2029">
                  <c:v>131.29082</c:v>
                </c:pt>
                <c:pt idx="2030">
                  <c:v>132.61117999999999</c:v>
                </c:pt>
                <c:pt idx="2031">
                  <c:v>132.25378000000001</c:v>
                </c:pt>
                <c:pt idx="2032">
                  <c:v>132.07508999999999</c:v>
                </c:pt>
                <c:pt idx="2033">
                  <c:v>132.06516999999999</c:v>
                </c:pt>
                <c:pt idx="2034">
                  <c:v>133.03806</c:v>
                </c:pt>
                <c:pt idx="2035">
                  <c:v>132.65088</c:v>
                </c:pt>
                <c:pt idx="2036">
                  <c:v>131.56879000000001</c:v>
                </c:pt>
                <c:pt idx="2037">
                  <c:v>133.52449999999999</c:v>
                </c:pt>
                <c:pt idx="2038">
                  <c:v>136.80056999999999</c:v>
                </c:pt>
                <c:pt idx="2039">
                  <c:v>138.44853000000001</c:v>
                </c:pt>
                <c:pt idx="2040">
                  <c:v>137.80323999999999</c:v>
                </c:pt>
                <c:pt idx="2041">
                  <c:v>138.61731</c:v>
                </c:pt>
                <c:pt idx="2042">
                  <c:v>141.66502</c:v>
                </c:pt>
                <c:pt idx="2043">
                  <c:v>143.75971999999999</c:v>
                </c:pt>
                <c:pt idx="2044">
                  <c:v>141.50618</c:v>
                </c:pt>
                <c:pt idx="2045">
                  <c:v>140.42409000000001</c:v>
                </c:pt>
                <c:pt idx="2046">
                  <c:v>140.25532999999999</c:v>
                </c:pt>
                <c:pt idx="2047">
                  <c:v>142.1217</c:v>
                </c:pt>
                <c:pt idx="2048">
                  <c:v>142.62799000000001</c:v>
                </c:pt>
                <c:pt idx="2049">
                  <c:v>142.36989</c:v>
                </c:pt>
                <c:pt idx="2050">
                  <c:v>141.50618</c:v>
                </c:pt>
                <c:pt idx="2051">
                  <c:v>141.53598</c:v>
                </c:pt>
                <c:pt idx="2052">
                  <c:v>141.98271</c:v>
                </c:pt>
                <c:pt idx="2053">
                  <c:v>142.01249999999999</c:v>
                </c:pt>
                <c:pt idx="2054">
                  <c:v>141.07932</c:v>
                </c:pt>
                <c:pt idx="2055">
                  <c:v>141.27786</c:v>
                </c:pt>
                <c:pt idx="2056">
                  <c:v>143.11444</c:v>
                </c:pt>
                <c:pt idx="2057">
                  <c:v>143.70016000000001</c:v>
                </c:pt>
                <c:pt idx="2058">
                  <c:v>144.65321</c:v>
                </c:pt>
                <c:pt idx="2059">
                  <c:v>145.91399000000001</c:v>
                </c:pt>
                <c:pt idx="2060">
                  <c:v>145.01060000000001</c:v>
                </c:pt>
                <c:pt idx="2061">
                  <c:v>144.77234000000001</c:v>
                </c:pt>
                <c:pt idx="2062">
                  <c:v>142.32024999999999</c:v>
                </c:pt>
                <c:pt idx="2063">
                  <c:v>141.85364999999999</c:v>
                </c:pt>
                <c:pt idx="2064">
                  <c:v>140.80135000000001</c:v>
                </c:pt>
                <c:pt idx="2065">
                  <c:v>142.89604</c:v>
                </c:pt>
                <c:pt idx="2066">
                  <c:v>143.11444</c:v>
                </c:pt>
                <c:pt idx="2067">
                  <c:v>144.73262</c:v>
                </c:pt>
                <c:pt idx="2068">
                  <c:v>142.91589999999999</c:v>
                </c:pt>
                <c:pt idx="2069">
                  <c:v>142.84639999999999</c:v>
                </c:pt>
                <c:pt idx="2070">
                  <c:v>144.50429</c:v>
                </c:pt>
                <c:pt idx="2071">
                  <c:v>144.50429</c:v>
                </c:pt>
                <c:pt idx="2072">
                  <c:v>145.65588</c:v>
                </c:pt>
                <c:pt idx="2073">
                  <c:v>144.59362999999999</c:v>
                </c:pt>
                <c:pt idx="2074">
                  <c:v>143.18393</c:v>
                </c:pt>
                <c:pt idx="2075">
                  <c:v>145.30841000000001</c:v>
                </c:pt>
                <c:pt idx="2076">
                  <c:v>145.52681000000001</c:v>
                </c:pt>
                <c:pt idx="2077">
                  <c:v>145.10986</c:v>
                </c:pt>
                <c:pt idx="2078">
                  <c:v>144.45464999999999</c:v>
                </c:pt>
                <c:pt idx="2079">
                  <c:v>144.37522999999999</c:v>
                </c:pt>
                <c:pt idx="2080">
                  <c:v>146.16217</c:v>
                </c:pt>
                <c:pt idx="2081">
                  <c:v>146.03313</c:v>
                </c:pt>
                <c:pt idx="2082">
                  <c:v>146.77768</c:v>
                </c:pt>
                <c:pt idx="2083">
                  <c:v>147.22443000000001</c:v>
                </c:pt>
                <c:pt idx="2084">
                  <c:v>147.22443000000001</c:v>
                </c:pt>
                <c:pt idx="2085">
                  <c:v>145.44739000000001</c:v>
                </c:pt>
                <c:pt idx="2086">
                  <c:v>146.86703</c:v>
                </c:pt>
                <c:pt idx="2087">
                  <c:v>146.55928</c:v>
                </c:pt>
                <c:pt idx="2088">
                  <c:v>147.14500000000001</c:v>
                </c:pt>
                <c:pt idx="2089">
                  <c:v>147.66999999999999</c:v>
                </c:pt>
                <c:pt idx="2090">
                  <c:v>147.84</c:v>
                </c:pt>
                <c:pt idx="2091">
                  <c:v>147.75</c:v>
                </c:pt>
                <c:pt idx="2092">
                  <c:v>146.37</c:v>
                </c:pt>
                <c:pt idx="2093">
                  <c:v>146.1</c:v>
                </c:pt>
                <c:pt idx="2094">
                  <c:v>147.59998999999999</c:v>
                </c:pt>
                <c:pt idx="2095">
                  <c:v>147.69</c:v>
                </c:pt>
                <c:pt idx="2096">
                  <c:v>148.57</c:v>
                </c:pt>
                <c:pt idx="2097">
                  <c:v>148.58000000000001</c:v>
                </c:pt>
                <c:pt idx="2098">
                  <c:v>147.1</c:v>
                </c:pt>
                <c:pt idx="2099">
                  <c:v>148.51999000000001</c:v>
                </c:pt>
                <c:pt idx="2100">
                  <c:v>145.41999999999999</c:v>
                </c:pt>
                <c:pt idx="2101">
                  <c:v>146.56</c:v>
                </c:pt>
                <c:pt idx="2102">
                  <c:v>146.78</c:v>
                </c:pt>
                <c:pt idx="2103">
                  <c:v>144.85</c:v>
                </c:pt>
                <c:pt idx="2104">
                  <c:v>145.66999999999999</c:v>
                </c:pt>
                <c:pt idx="2105">
                  <c:v>146.41</c:v>
                </c:pt>
                <c:pt idx="2106">
                  <c:v>147.04001</c:v>
                </c:pt>
                <c:pt idx="2107">
                  <c:v>146.93998999999999</c:v>
                </c:pt>
                <c:pt idx="2108">
                  <c:v>148.16999999999999</c:v>
                </c:pt>
                <c:pt idx="2109">
                  <c:v>148.19999999999999</c:v>
                </c:pt>
              </c:numCache>
            </c:numRef>
          </c:val>
          <c:smooth val="0"/>
          <c:extLst>
            <c:ext xmlns:c16="http://schemas.microsoft.com/office/drawing/2014/chart" uri="{C3380CC4-5D6E-409C-BE32-E72D297353CC}">
              <c16:uniqueId val="{00000000-39F2-104F-8D1D-22D1266C2E0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60.619357999999998</c:v>
                </c:pt>
                <c:pt idx="1">
                  <c:v>61.510314999999999</c:v>
                </c:pt>
                <c:pt idx="2">
                  <c:v>61.477801999999997</c:v>
                </c:pt>
                <c:pt idx="3">
                  <c:v>61.371110000000002</c:v>
                </c:pt>
                <c:pt idx="4">
                  <c:v>61.933712</c:v>
                </c:pt>
                <c:pt idx="5">
                  <c:v>62.130882</c:v>
                </c:pt>
                <c:pt idx="6">
                  <c:v>62.109591999999999</c:v>
                </c:pt>
                <c:pt idx="7">
                  <c:v>61.461925999999998</c:v>
                </c:pt>
                <c:pt idx="8">
                  <c:v>61.633414999999999</c:v>
                </c:pt>
                <c:pt idx="9">
                  <c:v>61.922800000000002</c:v>
                </c:pt>
                <c:pt idx="10">
                  <c:v>61.681699999999999</c:v>
                </c:pt>
                <c:pt idx="11">
                  <c:v>61.914400000000001</c:v>
                </c:pt>
                <c:pt idx="12">
                  <c:v>61.732418000000003</c:v>
                </c:pt>
                <c:pt idx="13">
                  <c:v>61.58117</c:v>
                </c:pt>
                <c:pt idx="14">
                  <c:v>62.217784999999999</c:v>
                </c:pt>
                <c:pt idx="15">
                  <c:v>62.120415000000001</c:v>
                </c:pt>
                <c:pt idx="16">
                  <c:v>62.126860000000001</c:v>
                </c:pt>
                <c:pt idx="17">
                  <c:v>62.183390000000003</c:v>
                </c:pt>
                <c:pt idx="18">
                  <c:v>62.072406999999998</c:v>
                </c:pt>
                <c:pt idx="19">
                  <c:v>62.217255000000002</c:v>
                </c:pt>
                <c:pt idx="20">
                  <c:v>62.155349999999999</c:v>
                </c:pt>
                <c:pt idx="21">
                  <c:v>61.835279999999997</c:v>
                </c:pt>
                <c:pt idx="22">
                  <c:v>62.24145</c:v>
                </c:pt>
                <c:pt idx="23">
                  <c:v>62.077889999999996</c:v>
                </c:pt>
                <c:pt idx="24">
                  <c:v>61.772835000000001</c:v>
                </c:pt>
                <c:pt idx="25">
                  <c:v>62.345089999999999</c:v>
                </c:pt>
                <c:pt idx="26">
                  <c:v>60.873660000000001</c:v>
                </c:pt>
                <c:pt idx="27">
                  <c:v>62.2789</c:v>
                </c:pt>
                <c:pt idx="28">
                  <c:v>62.718487000000003</c:v>
                </c:pt>
                <c:pt idx="29">
                  <c:v>62.819110000000002</c:v>
                </c:pt>
                <c:pt idx="30">
                  <c:v>62.463726000000001</c:v>
                </c:pt>
                <c:pt idx="31">
                  <c:v>62.610385999999998</c:v>
                </c:pt>
                <c:pt idx="32">
                  <c:v>62.501277999999999</c:v>
                </c:pt>
                <c:pt idx="33">
                  <c:v>62.365242000000002</c:v>
                </c:pt>
                <c:pt idx="34">
                  <c:v>62.132719999999999</c:v>
                </c:pt>
                <c:pt idx="35">
                  <c:v>62.26399</c:v>
                </c:pt>
                <c:pt idx="36">
                  <c:v>62.354976999999998</c:v>
                </c:pt>
                <c:pt idx="37">
                  <c:v>62.333736000000002</c:v>
                </c:pt>
                <c:pt idx="38">
                  <c:v>62.497314000000003</c:v>
                </c:pt>
                <c:pt idx="39">
                  <c:v>62.3399</c:v>
                </c:pt>
                <c:pt idx="40">
                  <c:v>62.409331999999999</c:v>
                </c:pt>
                <c:pt idx="41">
                  <c:v>62.304794000000001</c:v>
                </c:pt>
                <c:pt idx="42">
                  <c:v>62.392189999999999</c:v>
                </c:pt>
                <c:pt idx="43">
                  <c:v>61.967449999999999</c:v>
                </c:pt>
                <c:pt idx="44">
                  <c:v>60.14255</c:v>
                </c:pt>
                <c:pt idx="45">
                  <c:v>62.328163000000004</c:v>
                </c:pt>
                <c:pt idx="46">
                  <c:v>62.868122</c:v>
                </c:pt>
                <c:pt idx="47">
                  <c:v>62.844900000000003</c:v>
                </c:pt>
                <c:pt idx="48">
                  <c:v>62.865783999999998</c:v>
                </c:pt>
                <c:pt idx="49">
                  <c:v>62.974677999999997</c:v>
                </c:pt>
                <c:pt idx="50">
                  <c:v>63.25806</c:v>
                </c:pt>
                <c:pt idx="51">
                  <c:v>63.163269999999997</c:v>
                </c:pt>
                <c:pt idx="52">
                  <c:v>62.880789999999998</c:v>
                </c:pt>
                <c:pt idx="53">
                  <c:v>62.83549</c:v>
                </c:pt>
                <c:pt idx="54">
                  <c:v>62.935253000000003</c:v>
                </c:pt>
                <c:pt idx="55">
                  <c:v>62.722233000000003</c:v>
                </c:pt>
                <c:pt idx="56">
                  <c:v>63.074272000000001</c:v>
                </c:pt>
                <c:pt idx="57">
                  <c:v>63.052639999999997</c:v>
                </c:pt>
                <c:pt idx="58">
                  <c:v>63.075606999999998</c:v>
                </c:pt>
                <c:pt idx="59">
                  <c:v>63.167884999999998</c:v>
                </c:pt>
                <c:pt idx="60">
                  <c:v>63.290512</c:v>
                </c:pt>
                <c:pt idx="61">
                  <c:v>63.30932</c:v>
                </c:pt>
                <c:pt idx="62">
                  <c:v>63.190384000000002</c:v>
                </c:pt>
                <c:pt idx="63">
                  <c:v>63.425545</c:v>
                </c:pt>
                <c:pt idx="64">
                  <c:v>63.423699999999997</c:v>
                </c:pt>
                <c:pt idx="65">
                  <c:v>63.572902999999997</c:v>
                </c:pt>
                <c:pt idx="66">
                  <c:v>63.752124999999999</c:v>
                </c:pt>
                <c:pt idx="67">
                  <c:v>63.803043000000002</c:v>
                </c:pt>
                <c:pt idx="68">
                  <c:v>63.566369999999999</c:v>
                </c:pt>
                <c:pt idx="69">
                  <c:v>63.645626</c:v>
                </c:pt>
                <c:pt idx="70">
                  <c:v>63.813023000000001</c:v>
                </c:pt>
                <c:pt idx="71">
                  <c:v>63.766204999999999</c:v>
                </c:pt>
                <c:pt idx="72">
                  <c:v>63.668323999999998</c:v>
                </c:pt>
                <c:pt idx="73">
                  <c:v>63.606037000000001</c:v>
                </c:pt>
                <c:pt idx="74">
                  <c:v>63.084063999999998</c:v>
                </c:pt>
                <c:pt idx="75">
                  <c:v>63.532173</c:v>
                </c:pt>
                <c:pt idx="76">
                  <c:v>63.738056</c:v>
                </c:pt>
                <c:pt idx="77">
                  <c:v>63.164569999999998</c:v>
                </c:pt>
                <c:pt idx="78">
                  <c:v>63.359645999999998</c:v>
                </c:pt>
                <c:pt idx="79">
                  <c:v>63.479790000000001</c:v>
                </c:pt>
                <c:pt idx="80">
                  <c:v>63.788944000000001</c:v>
                </c:pt>
                <c:pt idx="81">
                  <c:v>63.476073999999997</c:v>
                </c:pt>
                <c:pt idx="82">
                  <c:v>63.696809999999999</c:v>
                </c:pt>
                <c:pt idx="83">
                  <c:v>63.567059999999998</c:v>
                </c:pt>
                <c:pt idx="84">
                  <c:v>63.72184</c:v>
                </c:pt>
                <c:pt idx="85">
                  <c:v>63.641967999999999</c:v>
                </c:pt>
                <c:pt idx="86">
                  <c:v>63.901305999999998</c:v>
                </c:pt>
                <c:pt idx="87">
                  <c:v>63.448666000000003</c:v>
                </c:pt>
                <c:pt idx="88">
                  <c:v>62.933838000000002</c:v>
                </c:pt>
                <c:pt idx="89">
                  <c:v>62.547252999999998</c:v>
                </c:pt>
                <c:pt idx="90">
                  <c:v>62.951217999999997</c:v>
                </c:pt>
                <c:pt idx="91">
                  <c:v>63.142769999999999</c:v>
                </c:pt>
                <c:pt idx="92">
                  <c:v>63.397198000000003</c:v>
                </c:pt>
                <c:pt idx="93">
                  <c:v>63.411009999999997</c:v>
                </c:pt>
                <c:pt idx="94">
                  <c:v>63.10483</c:v>
                </c:pt>
                <c:pt idx="95">
                  <c:v>63.464300000000001</c:v>
                </c:pt>
                <c:pt idx="96">
                  <c:v>63.239123999999997</c:v>
                </c:pt>
                <c:pt idx="97">
                  <c:v>63.382792999999999</c:v>
                </c:pt>
                <c:pt idx="98">
                  <c:v>63.508445999999999</c:v>
                </c:pt>
                <c:pt idx="99">
                  <c:v>63.480609999999999</c:v>
                </c:pt>
                <c:pt idx="100">
                  <c:v>63.558154999999999</c:v>
                </c:pt>
                <c:pt idx="101">
                  <c:v>63.357838000000001</c:v>
                </c:pt>
                <c:pt idx="102">
                  <c:v>63.732512999999997</c:v>
                </c:pt>
                <c:pt idx="103">
                  <c:v>63.965797000000002</c:v>
                </c:pt>
                <c:pt idx="104">
                  <c:v>64.06532</c:v>
                </c:pt>
                <c:pt idx="105">
                  <c:v>64.027850000000001</c:v>
                </c:pt>
                <c:pt idx="106">
                  <c:v>63.647247</c:v>
                </c:pt>
                <c:pt idx="107">
                  <c:v>63.520890000000001</c:v>
                </c:pt>
                <c:pt idx="108">
                  <c:v>64.290694999999999</c:v>
                </c:pt>
                <c:pt idx="109">
                  <c:v>64.657799999999995</c:v>
                </c:pt>
                <c:pt idx="110">
                  <c:v>64.387244999999993</c:v>
                </c:pt>
                <c:pt idx="111">
                  <c:v>64.432839999999999</c:v>
                </c:pt>
                <c:pt idx="112">
                  <c:v>64.620345999999998</c:v>
                </c:pt>
                <c:pt idx="113">
                  <c:v>64.768690000000007</c:v>
                </c:pt>
                <c:pt idx="114">
                  <c:v>64.804276000000002</c:v>
                </c:pt>
                <c:pt idx="115">
                  <c:v>64.568439999999995</c:v>
                </c:pt>
                <c:pt idx="116">
                  <c:v>63.973731999999998</c:v>
                </c:pt>
                <c:pt idx="117">
                  <c:v>64.586359999999999</c:v>
                </c:pt>
                <c:pt idx="118">
                  <c:v>64.989410000000007</c:v>
                </c:pt>
                <c:pt idx="119">
                  <c:v>65.122190000000003</c:v>
                </c:pt>
                <c:pt idx="120">
                  <c:v>64.971329999999995</c:v>
                </c:pt>
                <c:pt idx="121">
                  <c:v>64.850740000000002</c:v>
                </c:pt>
                <c:pt idx="122">
                  <c:v>64.987840000000006</c:v>
                </c:pt>
                <c:pt idx="123">
                  <c:v>64.732439999999997</c:v>
                </c:pt>
                <c:pt idx="124">
                  <c:v>64.79571</c:v>
                </c:pt>
                <c:pt idx="125">
                  <c:v>64.757225000000005</c:v>
                </c:pt>
                <c:pt idx="126">
                  <c:v>64.642610000000005</c:v>
                </c:pt>
                <c:pt idx="127">
                  <c:v>64.110979999999998</c:v>
                </c:pt>
                <c:pt idx="128">
                  <c:v>63.946669999999997</c:v>
                </c:pt>
                <c:pt idx="129">
                  <c:v>64.090514999999996</c:v>
                </c:pt>
                <c:pt idx="130">
                  <c:v>64.309610000000006</c:v>
                </c:pt>
                <c:pt idx="131">
                  <c:v>63.882750000000001</c:v>
                </c:pt>
                <c:pt idx="132">
                  <c:v>64.169014000000004</c:v>
                </c:pt>
                <c:pt idx="133">
                  <c:v>64.316959999999995</c:v>
                </c:pt>
                <c:pt idx="134">
                  <c:v>64.061989999999994</c:v>
                </c:pt>
                <c:pt idx="135">
                  <c:v>63.694479999999999</c:v>
                </c:pt>
                <c:pt idx="136">
                  <c:v>63.675564000000001</c:v>
                </c:pt>
                <c:pt idx="137">
                  <c:v>63.613422</c:v>
                </c:pt>
                <c:pt idx="138">
                  <c:v>63.790984999999999</c:v>
                </c:pt>
                <c:pt idx="139">
                  <c:v>63.560119999999998</c:v>
                </c:pt>
                <c:pt idx="140">
                  <c:v>63.772680000000001</c:v>
                </c:pt>
                <c:pt idx="141">
                  <c:v>64.051765000000003</c:v>
                </c:pt>
                <c:pt idx="142">
                  <c:v>63.966278000000003</c:v>
                </c:pt>
                <c:pt idx="143">
                  <c:v>64.143190000000004</c:v>
                </c:pt>
                <c:pt idx="144">
                  <c:v>64.107635000000002</c:v>
                </c:pt>
                <c:pt idx="145">
                  <c:v>64.245980000000003</c:v>
                </c:pt>
                <c:pt idx="146">
                  <c:v>64.435940000000002</c:v>
                </c:pt>
                <c:pt idx="147">
                  <c:v>64.410774000000004</c:v>
                </c:pt>
                <c:pt idx="148">
                  <c:v>64.35436</c:v>
                </c:pt>
                <c:pt idx="149">
                  <c:v>64.445279999999997</c:v>
                </c:pt>
                <c:pt idx="150">
                  <c:v>64.536095000000003</c:v>
                </c:pt>
                <c:pt idx="151">
                  <c:v>64.606639999999999</c:v>
                </c:pt>
                <c:pt idx="152">
                  <c:v>64.651769999999999</c:v>
                </c:pt>
                <c:pt idx="153">
                  <c:v>64.643370000000004</c:v>
                </c:pt>
                <c:pt idx="154">
                  <c:v>64.592650000000006</c:v>
                </c:pt>
                <c:pt idx="155">
                  <c:v>64.673109999999994</c:v>
                </c:pt>
                <c:pt idx="156">
                  <c:v>64.904589999999999</c:v>
                </c:pt>
                <c:pt idx="157">
                  <c:v>64.908820000000006</c:v>
                </c:pt>
                <c:pt idx="158">
                  <c:v>64.487269999999995</c:v>
                </c:pt>
                <c:pt idx="159">
                  <c:v>64.708910000000003</c:v>
                </c:pt>
                <c:pt idx="160">
                  <c:v>64.538539999999998</c:v>
                </c:pt>
                <c:pt idx="161">
                  <c:v>64.697630000000004</c:v>
                </c:pt>
                <c:pt idx="162">
                  <c:v>64.880713999999998</c:v>
                </c:pt>
                <c:pt idx="163">
                  <c:v>64.425380000000004</c:v>
                </c:pt>
                <c:pt idx="164">
                  <c:v>64.151269999999997</c:v>
                </c:pt>
                <c:pt idx="165">
                  <c:v>64.160445999999993</c:v>
                </c:pt>
                <c:pt idx="166">
                  <c:v>64.484054999999998</c:v>
                </c:pt>
                <c:pt idx="167">
                  <c:v>64.741919999999993</c:v>
                </c:pt>
                <c:pt idx="168">
                  <c:v>64.91404</c:v>
                </c:pt>
                <c:pt idx="169">
                  <c:v>64.592349999999996</c:v>
                </c:pt>
                <c:pt idx="170">
                  <c:v>64.459755000000001</c:v>
                </c:pt>
                <c:pt idx="171">
                  <c:v>65.219660000000005</c:v>
                </c:pt>
                <c:pt idx="172">
                  <c:v>65.116669999999999</c:v>
                </c:pt>
                <c:pt idx="173">
                  <c:v>65.634529999999998</c:v>
                </c:pt>
                <c:pt idx="174">
                  <c:v>65.581360000000004</c:v>
                </c:pt>
                <c:pt idx="175">
                  <c:v>65.669464000000005</c:v>
                </c:pt>
                <c:pt idx="176">
                  <c:v>65.610280000000003</c:v>
                </c:pt>
                <c:pt idx="177">
                  <c:v>65.971279999999993</c:v>
                </c:pt>
                <c:pt idx="178">
                  <c:v>65.839190000000002</c:v>
                </c:pt>
                <c:pt idx="179">
                  <c:v>66.146019999999993</c:v>
                </c:pt>
                <c:pt idx="180">
                  <c:v>66.308260000000004</c:v>
                </c:pt>
                <c:pt idx="181">
                  <c:v>66.080370000000002</c:v>
                </c:pt>
                <c:pt idx="182">
                  <c:v>66.170554999999993</c:v>
                </c:pt>
                <c:pt idx="183">
                  <c:v>66.344840000000005</c:v>
                </c:pt>
                <c:pt idx="184">
                  <c:v>66.390969999999996</c:v>
                </c:pt>
                <c:pt idx="185">
                  <c:v>65.984939999999995</c:v>
                </c:pt>
                <c:pt idx="186">
                  <c:v>65.958340000000007</c:v>
                </c:pt>
                <c:pt idx="187">
                  <c:v>66.283600000000007</c:v>
                </c:pt>
                <c:pt idx="188">
                  <c:v>66.569199999999995</c:v>
                </c:pt>
                <c:pt idx="189">
                  <c:v>66.555660000000003</c:v>
                </c:pt>
                <c:pt idx="190">
                  <c:v>66.881619999999998</c:v>
                </c:pt>
                <c:pt idx="191">
                  <c:v>67.034324999999995</c:v>
                </c:pt>
                <c:pt idx="192">
                  <c:v>67.04025</c:v>
                </c:pt>
                <c:pt idx="193">
                  <c:v>66.918239999999997</c:v>
                </c:pt>
                <c:pt idx="194">
                  <c:v>66.962760000000003</c:v>
                </c:pt>
                <c:pt idx="195">
                  <c:v>66.893069999999994</c:v>
                </c:pt>
                <c:pt idx="196">
                  <c:v>67.232219999999998</c:v>
                </c:pt>
                <c:pt idx="197">
                  <c:v>67.319559999999996</c:v>
                </c:pt>
                <c:pt idx="198">
                  <c:v>67.486080000000001</c:v>
                </c:pt>
                <c:pt idx="199">
                  <c:v>67.167914999999994</c:v>
                </c:pt>
                <c:pt idx="200">
                  <c:v>67.414649999999995</c:v>
                </c:pt>
                <c:pt idx="201">
                  <c:v>67.633859999999999</c:v>
                </c:pt>
                <c:pt idx="202">
                  <c:v>67.31644</c:v>
                </c:pt>
                <c:pt idx="203">
                  <c:v>67.099463999999998</c:v>
                </c:pt>
                <c:pt idx="204">
                  <c:v>67.000084000000001</c:v>
                </c:pt>
                <c:pt idx="205">
                  <c:v>67.324905000000001</c:v>
                </c:pt>
                <c:pt idx="206">
                  <c:v>67.620419999999996</c:v>
                </c:pt>
                <c:pt idx="207">
                  <c:v>67.660229999999999</c:v>
                </c:pt>
                <c:pt idx="208">
                  <c:v>67.787499999999994</c:v>
                </c:pt>
                <c:pt idx="209">
                  <c:v>67.399109999999993</c:v>
                </c:pt>
                <c:pt idx="210">
                  <c:v>67.380409999999998</c:v>
                </c:pt>
                <c:pt idx="211">
                  <c:v>67.82244</c:v>
                </c:pt>
                <c:pt idx="212">
                  <c:v>67.779629999999997</c:v>
                </c:pt>
                <c:pt idx="213">
                  <c:v>67.052899999999994</c:v>
                </c:pt>
                <c:pt idx="214">
                  <c:v>67.453389999999999</c:v>
                </c:pt>
                <c:pt idx="215">
                  <c:v>68.289299999999997</c:v>
                </c:pt>
                <c:pt idx="216">
                  <c:v>67.865740000000002</c:v>
                </c:pt>
                <c:pt idx="217">
                  <c:v>68.675529999999995</c:v>
                </c:pt>
                <c:pt idx="218">
                  <c:v>69.265410000000003</c:v>
                </c:pt>
                <c:pt idx="219">
                  <c:v>69.130070000000003</c:v>
                </c:pt>
                <c:pt idx="220">
                  <c:v>68.959693999999999</c:v>
                </c:pt>
                <c:pt idx="221">
                  <c:v>68.972369999999998</c:v>
                </c:pt>
                <c:pt idx="222">
                  <c:v>68.845770000000002</c:v>
                </c:pt>
                <c:pt idx="223">
                  <c:v>68.715096000000003</c:v>
                </c:pt>
                <c:pt idx="224">
                  <c:v>68.696749999999994</c:v>
                </c:pt>
                <c:pt idx="225">
                  <c:v>68.576769999999996</c:v>
                </c:pt>
                <c:pt idx="226">
                  <c:v>68.291374000000005</c:v>
                </c:pt>
                <c:pt idx="227">
                  <c:v>68.558719999999994</c:v>
                </c:pt>
                <c:pt idx="228">
                  <c:v>68.929370000000006</c:v>
                </c:pt>
                <c:pt idx="229">
                  <c:v>69.204704000000007</c:v>
                </c:pt>
                <c:pt idx="230">
                  <c:v>68.948340000000002</c:v>
                </c:pt>
                <c:pt idx="231">
                  <c:v>69.04477</c:v>
                </c:pt>
                <c:pt idx="232">
                  <c:v>69.232429999999994</c:v>
                </c:pt>
                <c:pt idx="233">
                  <c:v>69.377529999999993</c:v>
                </c:pt>
                <c:pt idx="234">
                  <c:v>68.947945000000004</c:v>
                </c:pt>
                <c:pt idx="235">
                  <c:v>69.279039999999995</c:v>
                </c:pt>
                <c:pt idx="236">
                  <c:v>69.557239999999993</c:v>
                </c:pt>
                <c:pt idx="237">
                  <c:v>69.212395000000001</c:v>
                </c:pt>
                <c:pt idx="238">
                  <c:v>68.78407</c:v>
                </c:pt>
                <c:pt idx="239">
                  <c:v>68.586259999999996</c:v>
                </c:pt>
                <c:pt idx="240">
                  <c:v>68.879720000000006</c:v>
                </c:pt>
                <c:pt idx="241">
                  <c:v>68.071749999999994</c:v>
                </c:pt>
                <c:pt idx="242">
                  <c:v>68.576700000000002</c:v>
                </c:pt>
                <c:pt idx="243">
                  <c:v>68.178550000000001</c:v>
                </c:pt>
                <c:pt idx="244">
                  <c:v>67.697819999999993</c:v>
                </c:pt>
                <c:pt idx="245">
                  <c:v>67.899299999999997</c:v>
                </c:pt>
                <c:pt idx="246">
                  <c:v>67.877369999999999</c:v>
                </c:pt>
                <c:pt idx="247">
                  <c:v>67.676119999999997</c:v>
                </c:pt>
                <c:pt idx="248">
                  <c:v>68.098240000000004</c:v>
                </c:pt>
                <c:pt idx="249">
                  <c:v>68.155779999999993</c:v>
                </c:pt>
                <c:pt idx="250">
                  <c:v>68.244865000000004</c:v>
                </c:pt>
                <c:pt idx="251">
                  <c:v>68.431380000000004</c:v>
                </c:pt>
                <c:pt idx="252">
                  <c:v>67.430670000000006</c:v>
                </c:pt>
                <c:pt idx="253">
                  <c:v>67.289670000000001</c:v>
                </c:pt>
                <c:pt idx="254">
                  <c:v>68.362206</c:v>
                </c:pt>
                <c:pt idx="255">
                  <c:v>68.581695999999994</c:v>
                </c:pt>
                <c:pt idx="256">
                  <c:v>69.002139999999997</c:v>
                </c:pt>
                <c:pt idx="257">
                  <c:v>69.633700000000005</c:v>
                </c:pt>
                <c:pt idx="258">
                  <c:v>69.848029999999994</c:v>
                </c:pt>
                <c:pt idx="259">
                  <c:v>70.001499999999993</c:v>
                </c:pt>
                <c:pt idx="260">
                  <c:v>70.271299999999997</c:v>
                </c:pt>
                <c:pt idx="261">
                  <c:v>70.207679999999996</c:v>
                </c:pt>
                <c:pt idx="262">
                  <c:v>69.976010000000002</c:v>
                </c:pt>
                <c:pt idx="263">
                  <c:v>70.758759999999995</c:v>
                </c:pt>
                <c:pt idx="264">
                  <c:v>70.829520000000002</c:v>
                </c:pt>
                <c:pt idx="265">
                  <c:v>71.148926000000003</c:v>
                </c:pt>
                <c:pt idx="266">
                  <c:v>71.435490000000001</c:v>
                </c:pt>
                <c:pt idx="267">
                  <c:v>71.859780000000001</c:v>
                </c:pt>
                <c:pt idx="268">
                  <c:v>71.855896000000001</c:v>
                </c:pt>
                <c:pt idx="269">
                  <c:v>71.476820000000004</c:v>
                </c:pt>
                <c:pt idx="270">
                  <c:v>71.455665999999994</c:v>
                </c:pt>
                <c:pt idx="271">
                  <c:v>71.209159999999997</c:v>
                </c:pt>
                <c:pt idx="272">
                  <c:v>70.790405000000007</c:v>
                </c:pt>
                <c:pt idx="273">
                  <c:v>70.902640000000005</c:v>
                </c:pt>
                <c:pt idx="274">
                  <c:v>71.911299999999997</c:v>
                </c:pt>
                <c:pt idx="275">
                  <c:v>71.683425999999997</c:v>
                </c:pt>
                <c:pt idx="276">
                  <c:v>71.965789999999998</c:v>
                </c:pt>
                <c:pt idx="277">
                  <c:v>70.939440000000005</c:v>
                </c:pt>
                <c:pt idx="278">
                  <c:v>71.442939999999993</c:v>
                </c:pt>
                <c:pt idx="279">
                  <c:v>71.820369999999997</c:v>
                </c:pt>
                <c:pt idx="280">
                  <c:v>71.289230000000003</c:v>
                </c:pt>
                <c:pt idx="281">
                  <c:v>71.462209999999999</c:v>
                </c:pt>
                <c:pt idx="282">
                  <c:v>71.504890000000003</c:v>
                </c:pt>
                <c:pt idx="283">
                  <c:v>71.106859999999998</c:v>
                </c:pt>
                <c:pt idx="284">
                  <c:v>71.562119999999993</c:v>
                </c:pt>
                <c:pt idx="285">
                  <c:v>71.721879999999999</c:v>
                </c:pt>
                <c:pt idx="286">
                  <c:v>72.021545000000003</c:v>
                </c:pt>
                <c:pt idx="287">
                  <c:v>71.659644999999998</c:v>
                </c:pt>
                <c:pt idx="288">
                  <c:v>70.554689999999994</c:v>
                </c:pt>
                <c:pt idx="289">
                  <c:v>70.881749999999997</c:v>
                </c:pt>
                <c:pt idx="290">
                  <c:v>71.466080000000005</c:v>
                </c:pt>
                <c:pt idx="291">
                  <c:v>70.74418</c:v>
                </c:pt>
                <c:pt idx="292">
                  <c:v>70.550240000000002</c:v>
                </c:pt>
                <c:pt idx="293">
                  <c:v>70.920990000000003</c:v>
                </c:pt>
                <c:pt idx="294">
                  <c:v>70.778289999999998</c:v>
                </c:pt>
                <c:pt idx="295">
                  <c:v>70.891630000000006</c:v>
                </c:pt>
                <c:pt idx="296">
                  <c:v>70.042760000000001</c:v>
                </c:pt>
                <c:pt idx="297">
                  <c:v>71.284400000000005</c:v>
                </c:pt>
                <c:pt idx="298">
                  <c:v>71.727459999999994</c:v>
                </c:pt>
                <c:pt idx="299">
                  <c:v>71.645034999999993</c:v>
                </c:pt>
                <c:pt idx="300">
                  <c:v>71.825040000000001</c:v>
                </c:pt>
                <c:pt idx="301">
                  <c:v>71.667900000000003</c:v>
                </c:pt>
                <c:pt idx="302">
                  <c:v>71.204809999999995</c:v>
                </c:pt>
                <c:pt idx="303">
                  <c:v>71.421059999999997</c:v>
                </c:pt>
                <c:pt idx="304">
                  <c:v>71.646645000000007</c:v>
                </c:pt>
                <c:pt idx="305">
                  <c:v>71.778400000000005</c:v>
                </c:pt>
                <c:pt idx="306">
                  <c:v>71.826980000000006</c:v>
                </c:pt>
                <c:pt idx="307">
                  <c:v>71.873954999999995</c:v>
                </c:pt>
                <c:pt idx="308">
                  <c:v>71.649770000000004</c:v>
                </c:pt>
                <c:pt idx="309">
                  <c:v>71.216679999999997</c:v>
                </c:pt>
                <c:pt idx="310">
                  <c:v>71.506870000000006</c:v>
                </c:pt>
                <c:pt idx="311">
                  <c:v>71.594340000000003</c:v>
                </c:pt>
                <c:pt idx="312">
                  <c:v>71.732339999999994</c:v>
                </c:pt>
                <c:pt idx="313">
                  <c:v>71.9435</c:v>
                </c:pt>
                <c:pt idx="314">
                  <c:v>71.790139999999994</c:v>
                </c:pt>
                <c:pt idx="315">
                  <c:v>71.363320000000002</c:v>
                </c:pt>
                <c:pt idx="316">
                  <c:v>71.338139999999996</c:v>
                </c:pt>
                <c:pt idx="317">
                  <c:v>71.318084999999996</c:v>
                </c:pt>
                <c:pt idx="318">
                  <c:v>71.194000000000003</c:v>
                </c:pt>
                <c:pt idx="319">
                  <c:v>71.615930000000006</c:v>
                </c:pt>
                <c:pt idx="320">
                  <c:v>71.665980000000005</c:v>
                </c:pt>
                <c:pt idx="321">
                  <c:v>71.771029999999996</c:v>
                </c:pt>
                <c:pt idx="322">
                  <c:v>71.668030000000002</c:v>
                </c:pt>
                <c:pt idx="323">
                  <c:v>71.832480000000004</c:v>
                </c:pt>
                <c:pt idx="324">
                  <c:v>71.966790000000003</c:v>
                </c:pt>
                <c:pt idx="325">
                  <c:v>72.089200000000005</c:v>
                </c:pt>
                <c:pt idx="326">
                  <c:v>72.677490000000006</c:v>
                </c:pt>
                <c:pt idx="327">
                  <c:v>72.482830000000007</c:v>
                </c:pt>
                <c:pt idx="328">
                  <c:v>72.820329999999998</c:v>
                </c:pt>
                <c:pt idx="329">
                  <c:v>73.288579999999996</c:v>
                </c:pt>
                <c:pt idx="330">
                  <c:v>73.437449999999998</c:v>
                </c:pt>
                <c:pt idx="331">
                  <c:v>73.856476000000001</c:v>
                </c:pt>
                <c:pt idx="332">
                  <c:v>73.836640000000003</c:v>
                </c:pt>
                <c:pt idx="333">
                  <c:v>73.808170000000004</c:v>
                </c:pt>
                <c:pt idx="334">
                  <c:v>73.75403</c:v>
                </c:pt>
                <c:pt idx="335">
                  <c:v>73.973145000000002</c:v>
                </c:pt>
                <c:pt idx="336">
                  <c:v>73.945049999999995</c:v>
                </c:pt>
                <c:pt idx="337">
                  <c:v>74.128960000000006</c:v>
                </c:pt>
                <c:pt idx="338">
                  <c:v>74.096435999999997</c:v>
                </c:pt>
                <c:pt idx="339">
                  <c:v>74.293329999999997</c:v>
                </c:pt>
                <c:pt idx="340">
                  <c:v>74.547030000000007</c:v>
                </c:pt>
                <c:pt idx="341">
                  <c:v>75.059950000000001</c:v>
                </c:pt>
                <c:pt idx="342">
                  <c:v>75.164839999999998</c:v>
                </c:pt>
                <c:pt idx="343">
                  <c:v>75.386086000000006</c:v>
                </c:pt>
                <c:pt idx="344">
                  <c:v>75.575530000000001</c:v>
                </c:pt>
                <c:pt idx="345">
                  <c:v>75.680019999999999</c:v>
                </c:pt>
                <c:pt idx="346">
                  <c:v>75.613730000000004</c:v>
                </c:pt>
                <c:pt idx="347">
                  <c:v>75.964669999999998</c:v>
                </c:pt>
                <c:pt idx="348">
                  <c:v>76.292739999999995</c:v>
                </c:pt>
                <c:pt idx="349">
                  <c:v>76.633049999999997</c:v>
                </c:pt>
                <c:pt idx="350">
                  <c:v>76.634399999999999</c:v>
                </c:pt>
                <c:pt idx="351">
                  <c:v>76.390029999999996</c:v>
                </c:pt>
                <c:pt idx="352">
                  <c:v>76.488079999999997</c:v>
                </c:pt>
                <c:pt idx="353">
                  <c:v>76.358530000000002</c:v>
                </c:pt>
                <c:pt idx="354">
                  <c:v>76.253770000000003</c:v>
                </c:pt>
                <c:pt idx="355">
                  <c:v>76.235169999999997</c:v>
                </c:pt>
                <c:pt idx="356">
                  <c:v>76.386734000000004</c:v>
                </c:pt>
                <c:pt idx="357">
                  <c:v>76.401880000000006</c:v>
                </c:pt>
                <c:pt idx="358">
                  <c:v>76.640884</c:v>
                </c:pt>
                <c:pt idx="359">
                  <c:v>76.498500000000007</c:v>
                </c:pt>
                <c:pt idx="360">
                  <c:v>76.843890000000002</c:v>
                </c:pt>
                <c:pt idx="361">
                  <c:v>76.737380000000002</c:v>
                </c:pt>
                <c:pt idx="362">
                  <c:v>75.903859999999995</c:v>
                </c:pt>
                <c:pt idx="363">
                  <c:v>76.840130000000002</c:v>
                </c:pt>
                <c:pt idx="364">
                  <c:v>77.762559999999993</c:v>
                </c:pt>
                <c:pt idx="365">
                  <c:v>77.667090000000002</c:v>
                </c:pt>
                <c:pt idx="366">
                  <c:v>77.564040000000006</c:v>
                </c:pt>
                <c:pt idx="367">
                  <c:v>77.535529999999994</c:v>
                </c:pt>
                <c:pt idx="368">
                  <c:v>76.937610000000006</c:v>
                </c:pt>
                <c:pt idx="369">
                  <c:v>76.680899999999994</c:v>
                </c:pt>
                <c:pt idx="370">
                  <c:v>76.199719999999999</c:v>
                </c:pt>
                <c:pt idx="371">
                  <c:v>75.607140000000001</c:v>
                </c:pt>
                <c:pt idx="372">
                  <c:v>75.621840000000006</c:v>
                </c:pt>
                <c:pt idx="373">
                  <c:v>75.834500000000006</c:v>
                </c:pt>
                <c:pt idx="374">
                  <c:v>75.957220000000007</c:v>
                </c:pt>
                <c:pt idx="375">
                  <c:v>75.876180000000005</c:v>
                </c:pt>
                <c:pt idx="376">
                  <c:v>76.195526000000001</c:v>
                </c:pt>
                <c:pt idx="377">
                  <c:v>76.142809999999997</c:v>
                </c:pt>
                <c:pt idx="378">
                  <c:v>76.137140000000002</c:v>
                </c:pt>
                <c:pt idx="379">
                  <c:v>76.092060000000004</c:v>
                </c:pt>
                <c:pt idx="380">
                  <c:v>76.383340000000004</c:v>
                </c:pt>
                <c:pt idx="381">
                  <c:v>76.578704999999999</c:v>
                </c:pt>
                <c:pt idx="382">
                  <c:v>76.302490000000006</c:v>
                </c:pt>
                <c:pt idx="383">
                  <c:v>76.708725000000001</c:v>
                </c:pt>
                <c:pt idx="384">
                  <c:v>76.972305000000006</c:v>
                </c:pt>
                <c:pt idx="385">
                  <c:v>77.010090000000005</c:v>
                </c:pt>
                <c:pt idx="386">
                  <c:v>77.499054000000001</c:v>
                </c:pt>
                <c:pt idx="387">
                  <c:v>77.772769999999994</c:v>
                </c:pt>
                <c:pt idx="388">
                  <c:v>77.792159999999996</c:v>
                </c:pt>
                <c:pt idx="389">
                  <c:v>77.830089999999998</c:v>
                </c:pt>
                <c:pt idx="390">
                  <c:v>77.667625000000001</c:v>
                </c:pt>
                <c:pt idx="391">
                  <c:v>77.733739999999997</c:v>
                </c:pt>
                <c:pt idx="392">
                  <c:v>77.909099999999995</c:v>
                </c:pt>
                <c:pt idx="393">
                  <c:v>78.378230000000002</c:v>
                </c:pt>
                <c:pt idx="394">
                  <c:v>78.458399999999997</c:v>
                </c:pt>
                <c:pt idx="395">
                  <c:v>78.375039999999998</c:v>
                </c:pt>
                <c:pt idx="396">
                  <c:v>78.340575999999999</c:v>
                </c:pt>
                <c:pt idx="397">
                  <c:v>78.375564999999995</c:v>
                </c:pt>
                <c:pt idx="398">
                  <c:v>78.297439999999995</c:v>
                </c:pt>
                <c:pt idx="399">
                  <c:v>78.203500000000005</c:v>
                </c:pt>
                <c:pt idx="400">
                  <c:v>78.100075000000004</c:v>
                </c:pt>
                <c:pt idx="401">
                  <c:v>78.201935000000006</c:v>
                </c:pt>
                <c:pt idx="402">
                  <c:v>78.507940000000005</c:v>
                </c:pt>
                <c:pt idx="403">
                  <c:v>78.460669999999993</c:v>
                </c:pt>
                <c:pt idx="404">
                  <c:v>78.780150000000006</c:v>
                </c:pt>
                <c:pt idx="405">
                  <c:v>78.872749999999996</c:v>
                </c:pt>
                <c:pt idx="406">
                  <c:v>78.848174999999998</c:v>
                </c:pt>
                <c:pt idx="407">
                  <c:v>78.433920000000001</c:v>
                </c:pt>
                <c:pt idx="408">
                  <c:v>78.553020000000004</c:v>
                </c:pt>
                <c:pt idx="409">
                  <c:v>78.596953999999997</c:v>
                </c:pt>
                <c:pt idx="410">
                  <c:v>78.236144999999993</c:v>
                </c:pt>
                <c:pt idx="411">
                  <c:v>77.622214999999997</c:v>
                </c:pt>
                <c:pt idx="412">
                  <c:v>77.537589999999994</c:v>
                </c:pt>
                <c:pt idx="413">
                  <c:v>77.546170000000004</c:v>
                </c:pt>
                <c:pt idx="414">
                  <c:v>77.50676</c:v>
                </c:pt>
                <c:pt idx="415">
                  <c:v>76.589209999999994</c:v>
                </c:pt>
                <c:pt idx="416">
                  <c:v>76.778210000000001</c:v>
                </c:pt>
                <c:pt idx="417">
                  <c:v>75.932630000000003</c:v>
                </c:pt>
                <c:pt idx="418">
                  <c:v>75.48433</c:v>
                </c:pt>
                <c:pt idx="419">
                  <c:v>75.576310000000007</c:v>
                </c:pt>
                <c:pt idx="420">
                  <c:v>75.265929999999997</c:v>
                </c:pt>
                <c:pt idx="421">
                  <c:v>74.286680000000004</c:v>
                </c:pt>
                <c:pt idx="422">
                  <c:v>74.091759999999994</c:v>
                </c:pt>
                <c:pt idx="423">
                  <c:v>74.347939999999994</c:v>
                </c:pt>
                <c:pt idx="424">
                  <c:v>74.369839999999996</c:v>
                </c:pt>
                <c:pt idx="425">
                  <c:v>74.712360000000004</c:v>
                </c:pt>
                <c:pt idx="426">
                  <c:v>75.095950000000002</c:v>
                </c:pt>
                <c:pt idx="427">
                  <c:v>75.301490000000001</c:v>
                </c:pt>
                <c:pt idx="428">
                  <c:v>75.861580000000004</c:v>
                </c:pt>
                <c:pt idx="429">
                  <c:v>76.182236000000003</c:v>
                </c:pt>
                <c:pt idx="430">
                  <c:v>76.423255999999995</c:v>
                </c:pt>
                <c:pt idx="431">
                  <c:v>76.534080000000003</c:v>
                </c:pt>
                <c:pt idx="432">
                  <c:v>76.691829999999996</c:v>
                </c:pt>
                <c:pt idx="433">
                  <c:v>76.820949999999996</c:v>
                </c:pt>
                <c:pt idx="434">
                  <c:v>77.261475000000004</c:v>
                </c:pt>
                <c:pt idx="435">
                  <c:v>77.612859999999998</c:v>
                </c:pt>
                <c:pt idx="436">
                  <c:v>77.996009999999998</c:v>
                </c:pt>
                <c:pt idx="437">
                  <c:v>78.303619999999995</c:v>
                </c:pt>
                <c:pt idx="438">
                  <c:v>78.416650000000004</c:v>
                </c:pt>
                <c:pt idx="439">
                  <c:v>79.051950000000005</c:v>
                </c:pt>
                <c:pt idx="440">
                  <c:v>79.482500000000002</c:v>
                </c:pt>
                <c:pt idx="441">
                  <c:v>79.708129999999997</c:v>
                </c:pt>
                <c:pt idx="442">
                  <c:v>79.418769999999995</c:v>
                </c:pt>
                <c:pt idx="443">
                  <c:v>79.781170000000003</c:v>
                </c:pt>
                <c:pt idx="444">
                  <c:v>80.248630000000006</c:v>
                </c:pt>
                <c:pt idx="445">
                  <c:v>80.587919999999997</c:v>
                </c:pt>
                <c:pt idx="446">
                  <c:v>80.870475999999996</c:v>
                </c:pt>
                <c:pt idx="447">
                  <c:v>81.062150000000003</c:v>
                </c:pt>
                <c:pt idx="448">
                  <c:v>81.104830000000007</c:v>
                </c:pt>
                <c:pt idx="449">
                  <c:v>81.46414</c:v>
                </c:pt>
                <c:pt idx="450">
                  <c:v>81.928070000000005</c:v>
                </c:pt>
                <c:pt idx="451">
                  <c:v>82.457549999999998</c:v>
                </c:pt>
                <c:pt idx="452">
                  <c:v>82.712006000000002</c:v>
                </c:pt>
                <c:pt idx="453">
                  <c:v>82.448520000000002</c:v>
                </c:pt>
                <c:pt idx="454">
                  <c:v>82.456215</c:v>
                </c:pt>
                <c:pt idx="455">
                  <c:v>82.474260000000001</c:v>
                </c:pt>
                <c:pt idx="456">
                  <c:v>82.596540000000005</c:v>
                </c:pt>
                <c:pt idx="457">
                  <c:v>82.693115000000006</c:v>
                </c:pt>
                <c:pt idx="458">
                  <c:v>82.799415999999994</c:v>
                </c:pt>
                <c:pt idx="459">
                  <c:v>83.071465000000003</c:v>
                </c:pt>
                <c:pt idx="460">
                  <c:v>82.667569999999998</c:v>
                </c:pt>
                <c:pt idx="461">
                  <c:v>82.372950000000003</c:v>
                </c:pt>
                <c:pt idx="462">
                  <c:v>81.941800000000001</c:v>
                </c:pt>
                <c:pt idx="463">
                  <c:v>81.421584999999993</c:v>
                </c:pt>
                <c:pt idx="464">
                  <c:v>80.427154999999999</c:v>
                </c:pt>
                <c:pt idx="465">
                  <c:v>80.526790000000005</c:v>
                </c:pt>
                <c:pt idx="466">
                  <c:v>80.94059</c:v>
                </c:pt>
                <c:pt idx="467">
                  <c:v>81.37285</c:v>
                </c:pt>
                <c:pt idx="468">
                  <c:v>82.570790000000002</c:v>
                </c:pt>
                <c:pt idx="469">
                  <c:v>83.412850000000006</c:v>
                </c:pt>
                <c:pt idx="470">
                  <c:v>83.970860000000002</c:v>
                </c:pt>
                <c:pt idx="471">
                  <c:v>84.313254999999998</c:v>
                </c:pt>
                <c:pt idx="472">
                  <c:v>84.251329999999996</c:v>
                </c:pt>
                <c:pt idx="473">
                  <c:v>84.114913999999999</c:v>
                </c:pt>
                <c:pt idx="474">
                  <c:v>83.521479999999997</c:v>
                </c:pt>
                <c:pt idx="475">
                  <c:v>83.222430000000003</c:v>
                </c:pt>
                <c:pt idx="476">
                  <c:v>82.153009999999995</c:v>
                </c:pt>
                <c:pt idx="477">
                  <c:v>81.389365999999995</c:v>
                </c:pt>
                <c:pt idx="478">
                  <c:v>81.369429999999994</c:v>
                </c:pt>
                <c:pt idx="479">
                  <c:v>81.739586000000003</c:v>
                </c:pt>
                <c:pt idx="480">
                  <c:v>82.297295000000005</c:v>
                </c:pt>
                <c:pt idx="481">
                  <c:v>82.387379999999993</c:v>
                </c:pt>
                <c:pt idx="482">
                  <c:v>82.008529999999993</c:v>
                </c:pt>
                <c:pt idx="483">
                  <c:v>81.651020000000003</c:v>
                </c:pt>
                <c:pt idx="484">
                  <c:v>81.357315</c:v>
                </c:pt>
                <c:pt idx="485">
                  <c:v>81.475200000000001</c:v>
                </c:pt>
                <c:pt idx="486">
                  <c:v>81.040954999999997</c:v>
                </c:pt>
                <c:pt idx="487">
                  <c:v>81.262825000000007</c:v>
                </c:pt>
                <c:pt idx="488">
                  <c:v>81.438779999999994</c:v>
                </c:pt>
                <c:pt idx="489">
                  <c:v>81.857349999999997</c:v>
                </c:pt>
                <c:pt idx="490">
                  <c:v>82.383250000000004</c:v>
                </c:pt>
                <c:pt idx="491">
                  <c:v>81.702449999999999</c:v>
                </c:pt>
                <c:pt idx="492">
                  <c:v>81.156149999999997</c:v>
                </c:pt>
                <c:pt idx="493">
                  <c:v>81.564880000000002</c:v>
                </c:pt>
                <c:pt idx="494">
                  <c:v>80.841669999999993</c:v>
                </c:pt>
                <c:pt idx="495">
                  <c:v>80.823325999999994</c:v>
                </c:pt>
                <c:pt idx="496">
                  <c:v>81.624070000000003</c:v>
                </c:pt>
                <c:pt idx="497">
                  <c:v>81.913439999999994</c:v>
                </c:pt>
                <c:pt idx="498">
                  <c:v>82.363789999999995</c:v>
                </c:pt>
                <c:pt idx="499">
                  <c:v>82.479900000000001</c:v>
                </c:pt>
                <c:pt idx="500">
                  <c:v>82.475340000000003</c:v>
                </c:pt>
                <c:pt idx="501">
                  <c:v>82.324740000000006</c:v>
                </c:pt>
                <c:pt idx="502">
                  <c:v>81.763940000000005</c:v>
                </c:pt>
                <c:pt idx="503">
                  <c:v>81.987015</c:v>
                </c:pt>
                <c:pt idx="504">
                  <c:v>83.090739999999997</c:v>
                </c:pt>
                <c:pt idx="505">
                  <c:v>83.849630000000005</c:v>
                </c:pt>
                <c:pt idx="506">
                  <c:v>84.606834000000006</c:v>
                </c:pt>
                <c:pt idx="507">
                  <c:v>84.922920000000005</c:v>
                </c:pt>
                <c:pt idx="508">
                  <c:v>85.200140000000005</c:v>
                </c:pt>
                <c:pt idx="509">
                  <c:v>85.531000000000006</c:v>
                </c:pt>
                <c:pt idx="510">
                  <c:v>85.774870000000007</c:v>
                </c:pt>
                <c:pt idx="511">
                  <c:v>85.866709999999998</c:v>
                </c:pt>
                <c:pt idx="512">
                  <c:v>85.486785999999995</c:v>
                </c:pt>
                <c:pt idx="513">
                  <c:v>85.028594999999996</c:v>
                </c:pt>
                <c:pt idx="514">
                  <c:v>85.625380000000007</c:v>
                </c:pt>
                <c:pt idx="515">
                  <c:v>85.941839999999999</c:v>
                </c:pt>
                <c:pt idx="516">
                  <c:v>85.919809999999998</c:v>
                </c:pt>
                <c:pt idx="517">
                  <c:v>86.025634999999994</c:v>
                </c:pt>
                <c:pt idx="518">
                  <c:v>85.142300000000006</c:v>
                </c:pt>
                <c:pt idx="519">
                  <c:v>84.965389999999999</c:v>
                </c:pt>
                <c:pt idx="520">
                  <c:v>84.512609999999995</c:v>
                </c:pt>
                <c:pt idx="521">
                  <c:v>84.303084999999996</c:v>
                </c:pt>
                <c:pt idx="522">
                  <c:v>84.600549999999998</c:v>
                </c:pt>
                <c:pt idx="523">
                  <c:v>84.470839999999995</c:v>
                </c:pt>
                <c:pt idx="524">
                  <c:v>84.685360000000003</c:v>
                </c:pt>
                <c:pt idx="525">
                  <c:v>84.709045000000003</c:v>
                </c:pt>
                <c:pt idx="526">
                  <c:v>84.47878</c:v>
                </c:pt>
                <c:pt idx="527">
                  <c:v>84.703710000000001</c:v>
                </c:pt>
                <c:pt idx="528">
                  <c:v>84.576096000000007</c:v>
                </c:pt>
                <c:pt idx="529">
                  <c:v>84.942215000000004</c:v>
                </c:pt>
                <c:pt idx="530">
                  <c:v>84.894040000000004</c:v>
                </c:pt>
                <c:pt idx="531">
                  <c:v>84.650940000000006</c:v>
                </c:pt>
                <c:pt idx="532">
                  <c:v>84.613410000000002</c:v>
                </c:pt>
                <c:pt idx="533">
                  <c:v>84.733350000000002</c:v>
                </c:pt>
                <c:pt idx="534">
                  <c:v>84.96848</c:v>
                </c:pt>
                <c:pt idx="535">
                  <c:v>84.837710000000001</c:v>
                </c:pt>
                <c:pt idx="536">
                  <c:v>84.692149999999998</c:v>
                </c:pt>
                <c:pt idx="537">
                  <c:v>84.786969999999997</c:v>
                </c:pt>
                <c:pt idx="538">
                  <c:v>84.749200000000002</c:v>
                </c:pt>
                <c:pt idx="539">
                  <c:v>84.830765</c:v>
                </c:pt>
                <c:pt idx="540">
                  <c:v>84.904660000000007</c:v>
                </c:pt>
                <c:pt idx="541">
                  <c:v>85.045140000000004</c:v>
                </c:pt>
                <c:pt idx="542">
                  <c:v>85.395995999999997</c:v>
                </c:pt>
                <c:pt idx="543">
                  <c:v>85.235259999999997</c:v>
                </c:pt>
                <c:pt idx="544">
                  <c:v>84.994489999999999</c:v>
                </c:pt>
                <c:pt idx="545">
                  <c:v>85.225899999999996</c:v>
                </c:pt>
                <c:pt idx="546">
                  <c:v>85.380549999999999</c:v>
                </c:pt>
                <c:pt idx="547">
                  <c:v>84.886110000000002</c:v>
                </c:pt>
                <c:pt idx="548">
                  <c:v>84.961889999999997</c:v>
                </c:pt>
                <c:pt idx="549">
                  <c:v>85.126459999999994</c:v>
                </c:pt>
                <c:pt idx="550">
                  <c:v>85.180109999999999</c:v>
                </c:pt>
                <c:pt idx="551">
                  <c:v>84.811300000000003</c:v>
                </c:pt>
                <c:pt idx="552">
                  <c:v>85.100669999999994</c:v>
                </c:pt>
                <c:pt idx="553">
                  <c:v>85.425020000000004</c:v>
                </c:pt>
                <c:pt idx="554">
                  <c:v>85.714293999999995</c:v>
                </c:pt>
                <c:pt idx="555">
                  <c:v>85.803039999999996</c:v>
                </c:pt>
                <c:pt idx="556">
                  <c:v>85.239239999999995</c:v>
                </c:pt>
                <c:pt idx="557">
                  <c:v>85.587654000000001</c:v>
                </c:pt>
                <c:pt idx="558">
                  <c:v>86.217020000000005</c:v>
                </c:pt>
                <c:pt idx="559">
                  <c:v>86.227090000000004</c:v>
                </c:pt>
                <c:pt idx="560">
                  <c:v>86.059250000000006</c:v>
                </c:pt>
                <c:pt idx="561">
                  <c:v>86.08802</c:v>
                </c:pt>
                <c:pt idx="562">
                  <c:v>86.073059999999998</c:v>
                </c:pt>
                <c:pt idx="563">
                  <c:v>86.181730000000002</c:v>
                </c:pt>
                <c:pt idx="564">
                  <c:v>86.102553999999998</c:v>
                </c:pt>
                <c:pt idx="565">
                  <c:v>86.033529999999999</c:v>
                </c:pt>
                <c:pt idx="566">
                  <c:v>86.309960000000004</c:v>
                </c:pt>
                <c:pt idx="567">
                  <c:v>86.491659999999996</c:v>
                </c:pt>
                <c:pt idx="568">
                  <c:v>86.776169999999993</c:v>
                </c:pt>
                <c:pt idx="569">
                  <c:v>86.938749999999999</c:v>
                </c:pt>
                <c:pt idx="570">
                  <c:v>87.081770000000006</c:v>
                </c:pt>
                <c:pt idx="571">
                  <c:v>87.140979999999999</c:v>
                </c:pt>
                <c:pt idx="572">
                  <c:v>87.079300000000003</c:v>
                </c:pt>
                <c:pt idx="573">
                  <c:v>86.682339999999996</c:v>
                </c:pt>
                <c:pt idx="574">
                  <c:v>86.696370000000002</c:v>
                </c:pt>
                <c:pt idx="575">
                  <c:v>86.463065999999998</c:v>
                </c:pt>
                <c:pt idx="576">
                  <c:v>86.037329999999997</c:v>
                </c:pt>
                <c:pt idx="577">
                  <c:v>86.191929999999999</c:v>
                </c:pt>
                <c:pt idx="578">
                  <c:v>86.470410000000001</c:v>
                </c:pt>
                <c:pt idx="579">
                  <c:v>86.793329999999997</c:v>
                </c:pt>
                <c:pt idx="580">
                  <c:v>86.402320000000003</c:v>
                </c:pt>
                <c:pt idx="581">
                  <c:v>86.016509999999997</c:v>
                </c:pt>
                <c:pt idx="582">
                  <c:v>85.745559999999998</c:v>
                </c:pt>
                <c:pt idx="583">
                  <c:v>85.840789999999998</c:v>
                </c:pt>
                <c:pt idx="584">
                  <c:v>86.157719999999998</c:v>
                </c:pt>
                <c:pt idx="585">
                  <c:v>86.421459999999996</c:v>
                </c:pt>
                <c:pt idx="586">
                  <c:v>86.209236000000004</c:v>
                </c:pt>
                <c:pt idx="587">
                  <c:v>85.255610000000004</c:v>
                </c:pt>
                <c:pt idx="588">
                  <c:v>85.629329999999996</c:v>
                </c:pt>
                <c:pt idx="589">
                  <c:v>86.166579999999996</c:v>
                </c:pt>
                <c:pt idx="590">
                  <c:v>86.375320000000002</c:v>
                </c:pt>
                <c:pt idx="591">
                  <c:v>85.969769999999997</c:v>
                </c:pt>
                <c:pt idx="592">
                  <c:v>86.229339999999993</c:v>
                </c:pt>
                <c:pt idx="593">
                  <c:v>86.564329999999998</c:v>
                </c:pt>
                <c:pt idx="594">
                  <c:v>86.279139999999998</c:v>
                </c:pt>
                <c:pt idx="595">
                  <c:v>86.046379999999999</c:v>
                </c:pt>
                <c:pt idx="596">
                  <c:v>85.866630000000001</c:v>
                </c:pt>
                <c:pt idx="597">
                  <c:v>85.435050000000004</c:v>
                </c:pt>
                <c:pt idx="598">
                  <c:v>85.275795000000002</c:v>
                </c:pt>
                <c:pt idx="599">
                  <c:v>85.169849999999997</c:v>
                </c:pt>
                <c:pt idx="600">
                  <c:v>85.333884999999995</c:v>
                </c:pt>
                <c:pt idx="601">
                  <c:v>85.018585000000002</c:v>
                </c:pt>
                <c:pt idx="602">
                  <c:v>84.366050000000001</c:v>
                </c:pt>
                <c:pt idx="603">
                  <c:v>83.795100000000005</c:v>
                </c:pt>
                <c:pt idx="604">
                  <c:v>83.092420000000004</c:v>
                </c:pt>
                <c:pt idx="605">
                  <c:v>83.38897</c:v>
                </c:pt>
                <c:pt idx="606">
                  <c:v>84.131060000000005</c:v>
                </c:pt>
                <c:pt idx="607">
                  <c:v>85.110209999999995</c:v>
                </c:pt>
                <c:pt idx="608">
                  <c:v>85.527140000000003</c:v>
                </c:pt>
                <c:pt idx="609">
                  <c:v>86.045815000000005</c:v>
                </c:pt>
                <c:pt idx="610">
                  <c:v>86.549965</c:v>
                </c:pt>
                <c:pt idx="611">
                  <c:v>86.864760000000004</c:v>
                </c:pt>
                <c:pt idx="612">
                  <c:v>86.939859999999996</c:v>
                </c:pt>
                <c:pt idx="613">
                  <c:v>86.854619999999997</c:v>
                </c:pt>
                <c:pt idx="614">
                  <c:v>86.730369999999994</c:v>
                </c:pt>
                <c:pt idx="615">
                  <c:v>86.224959999999996</c:v>
                </c:pt>
                <c:pt idx="616">
                  <c:v>85.505830000000003</c:v>
                </c:pt>
                <c:pt idx="617">
                  <c:v>85.412360000000007</c:v>
                </c:pt>
                <c:pt idx="618">
                  <c:v>85.8202</c:v>
                </c:pt>
                <c:pt idx="619">
                  <c:v>86.160445999999993</c:v>
                </c:pt>
                <c:pt idx="620">
                  <c:v>85.920159999999996</c:v>
                </c:pt>
                <c:pt idx="621">
                  <c:v>85.843284999999995</c:v>
                </c:pt>
                <c:pt idx="622">
                  <c:v>85.823654000000005</c:v>
                </c:pt>
                <c:pt idx="623">
                  <c:v>85.789444000000003</c:v>
                </c:pt>
                <c:pt idx="624">
                  <c:v>85.182559999999995</c:v>
                </c:pt>
                <c:pt idx="625">
                  <c:v>85.022803999999994</c:v>
                </c:pt>
                <c:pt idx="626">
                  <c:v>85.455849999999998</c:v>
                </c:pt>
                <c:pt idx="627">
                  <c:v>85.587410000000006</c:v>
                </c:pt>
                <c:pt idx="628">
                  <c:v>85.666889999999995</c:v>
                </c:pt>
                <c:pt idx="629">
                  <c:v>85.509</c:v>
                </c:pt>
                <c:pt idx="630">
                  <c:v>85.638499999999993</c:v>
                </c:pt>
                <c:pt idx="631">
                  <c:v>85.893485999999996</c:v>
                </c:pt>
                <c:pt idx="632">
                  <c:v>85.644615000000002</c:v>
                </c:pt>
                <c:pt idx="633">
                  <c:v>85.319069999999996</c:v>
                </c:pt>
                <c:pt idx="634">
                  <c:v>84.600020000000001</c:v>
                </c:pt>
                <c:pt idx="635">
                  <c:v>82.675020000000004</c:v>
                </c:pt>
                <c:pt idx="636">
                  <c:v>79.519270000000006</c:v>
                </c:pt>
                <c:pt idx="637">
                  <c:v>78.541089999999997</c:v>
                </c:pt>
                <c:pt idx="638">
                  <c:v>79.347530000000006</c:v>
                </c:pt>
                <c:pt idx="639">
                  <c:v>80.179114999999996</c:v>
                </c:pt>
                <c:pt idx="640">
                  <c:v>80.535039999999995</c:v>
                </c:pt>
                <c:pt idx="641">
                  <c:v>80.449770000000001</c:v>
                </c:pt>
                <c:pt idx="642">
                  <c:v>78.979100000000003</c:v>
                </c:pt>
                <c:pt idx="643">
                  <c:v>78.978620000000006</c:v>
                </c:pt>
                <c:pt idx="644">
                  <c:v>79.400819999999996</c:v>
                </c:pt>
                <c:pt idx="645">
                  <c:v>78.623059999999995</c:v>
                </c:pt>
                <c:pt idx="646">
                  <c:v>78.937359999999998</c:v>
                </c:pt>
                <c:pt idx="647">
                  <c:v>78.499470000000002</c:v>
                </c:pt>
                <c:pt idx="648">
                  <c:v>78.285674999999998</c:v>
                </c:pt>
                <c:pt idx="649">
                  <c:v>78.148926000000003</c:v>
                </c:pt>
                <c:pt idx="650">
                  <c:v>77.804280000000006</c:v>
                </c:pt>
                <c:pt idx="651">
                  <c:v>77.954390000000004</c:v>
                </c:pt>
                <c:pt idx="652">
                  <c:v>78.082669999999993</c:v>
                </c:pt>
                <c:pt idx="653">
                  <c:v>77.866029999999995</c:v>
                </c:pt>
                <c:pt idx="654">
                  <c:v>76.722179999999994</c:v>
                </c:pt>
                <c:pt idx="655">
                  <c:v>77.509990000000002</c:v>
                </c:pt>
                <c:pt idx="656">
                  <c:v>77.396330000000006</c:v>
                </c:pt>
                <c:pt idx="657">
                  <c:v>77.247219999999999</c:v>
                </c:pt>
                <c:pt idx="658">
                  <c:v>76.861890000000002</c:v>
                </c:pt>
                <c:pt idx="659">
                  <c:v>76.389533999999998</c:v>
                </c:pt>
                <c:pt idx="660">
                  <c:v>75.62303</c:v>
                </c:pt>
                <c:pt idx="661">
                  <c:v>74.984309999999994</c:v>
                </c:pt>
                <c:pt idx="662">
                  <c:v>74.947320000000005</c:v>
                </c:pt>
                <c:pt idx="663">
                  <c:v>75.106039999999993</c:v>
                </c:pt>
                <c:pt idx="664">
                  <c:v>75.384020000000007</c:v>
                </c:pt>
                <c:pt idx="665">
                  <c:v>75.807884000000001</c:v>
                </c:pt>
                <c:pt idx="666">
                  <c:v>75.81138</c:v>
                </c:pt>
                <c:pt idx="667">
                  <c:v>76.270079999999993</c:v>
                </c:pt>
                <c:pt idx="668">
                  <c:v>77.153779999999998</c:v>
                </c:pt>
                <c:pt idx="669">
                  <c:v>77.473479999999995</c:v>
                </c:pt>
                <c:pt idx="670">
                  <c:v>77.93571</c:v>
                </c:pt>
                <c:pt idx="671">
                  <c:v>77.86994</c:v>
                </c:pt>
                <c:pt idx="672">
                  <c:v>78.126525999999998</c:v>
                </c:pt>
                <c:pt idx="673">
                  <c:v>78.39264</c:v>
                </c:pt>
                <c:pt idx="674">
                  <c:v>78.776793999999995</c:v>
                </c:pt>
                <c:pt idx="675">
                  <c:v>79.241439999999997</c:v>
                </c:pt>
                <c:pt idx="676">
                  <c:v>79.739649999999997</c:v>
                </c:pt>
                <c:pt idx="677">
                  <c:v>79.736594999999994</c:v>
                </c:pt>
                <c:pt idx="678">
                  <c:v>79.896805000000001</c:v>
                </c:pt>
                <c:pt idx="679">
                  <c:v>80.583304999999996</c:v>
                </c:pt>
                <c:pt idx="680">
                  <c:v>81.265699999999995</c:v>
                </c:pt>
                <c:pt idx="681">
                  <c:v>81.563890000000001</c:v>
                </c:pt>
                <c:pt idx="682">
                  <c:v>81.878749999999997</c:v>
                </c:pt>
                <c:pt idx="683">
                  <c:v>82.532409999999999</c:v>
                </c:pt>
                <c:pt idx="684">
                  <c:v>82.453599999999994</c:v>
                </c:pt>
                <c:pt idx="685">
                  <c:v>82.84845</c:v>
                </c:pt>
                <c:pt idx="686">
                  <c:v>83.493744000000007</c:v>
                </c:pt>
                <c:pt idx="687">
                  <c:v>83.995093999999995</c:v>
                </c:pt>
                <c:pt idx="688">
                  <c:v>84.385863999999998</c:v>
                </c:pt>
                <c:pt idx="689">
                  <c:v>84.306550000000001</c:v>
                </c:pt>
                <c:pt idx="690">
                  <c:v>84.123504999999994</c:v>
                </c:pt>
                <c:pt idx="691">
                  <c:v>84.314070000000001</c:v>
                </c:pt>
                <c:pt idx="692">
                  <c:v>84.400499999999994</c:v>
                </c:pt>
                <c:pt idx="693">
                  <c:v>83.907195999999999</c:v>
                </c:pt>
                <c:pt idx="694">
                  <c:v>83.278599999999997</c:v>
                </c:pt>
                <c:pt idx="695">
                  <c:v>83.444860000000006</c:v>
                </c:pt>
                <c:pt idx="696">
                  <c:v>83.471360000000004</c:v>
                </c:pt>
                <c:pt idx="697">
                  <c:v>83.734480000000005</c:v>
                </c:pt>
                <c:pt idx="698">
                  <c:v>83.926569999999998</c:v>
                </c:pt>
                <c:pt idx="699">
                  <c:v>83.930589999999995</c:v>
                </c:pt>
                <c:pt idx="700">
                  <c:v>83.928849999999997</c:v>
                </c:pt>
                <c:pt idx="701">
                  <c:v>84.269424000000001</c:v>
                </c:pt>
                <c:pt idx="702">
                  <c:v>84.594245999999998</c:v>
                </c:pt>
                <c:pt idx="703">
                  <c:v>85.005080000000007</c:v>
                </c:pt>
                <c:pt idx="704">
                  <c:v>84.266689999999997</c:v>
                </c:pt>
                <c:pt idx="705">
                  <c:v>84.307649999999995</c:v>
                </c:pt>
                <c:pt idx="706">
                  <c:v>84.304016000000004</c:v>
                </c:pt>
                <c:pt idx="707">
                  <c:v>83.669160000000005</c:v>
                </c:pt>
                <c:pt idx="708">
                  <c:v>83.753005999999999</c:v>
                </c:pt>
                <c:pt idx="709">
                  <c:v>84.22475</c:v>
                </c:pt>
                <c:pt idx="710">
                  <c:v>84.409009999999995</c:v>
                </c:pt>
                <c:pt idx="711">
                  <c:v>84.004450000000006</c:v>
                </c:pt>
                <c:pt idx="712">
                  <c:v>83.814440000000005</c:v>
                </c:pt>
                <c:pt idx="713">
                  <c:v>82.913640000000001</c:v>
                </c:pt>
                <c:pt idx="714">
                  <c:v>82.268050000000002</c:v>
                </c:pt>
                <c:pt idx="715">
                  <c:v>82.432040000000001</c:v>
                </c:pt>
                <c:pt idx="716">
                  <c:v>83.061485000000005</c:v>
                </c:pt>
                <c:pt idx="717">
                  <c:v>83.066810000000004</c:v>
                </c:pt>
                <c:pt idx="718">
                  <c:v>82.072013999999996</c:v>
                </c:pt>
                <c:pt idx="719">
                  <c:v>82.372150000000005</c:v>
                </c:pt>
                <c:pt idx="720">
                  <c:v>82.700410000000005</c:v>
                </c:pt>
                <c:pt idx="721">
                  <c:v>83.154560000000004</c:v>
                </c:pt>
                <c:pt idx="722">
                  <c:v>83.647189999999995</c:v>
                </c:pt>
                <c:pt idx="723">
                  <c:v>83.214259999999996</c:v>
                </c:pt>
                <c:pt idx="724">
                  <c:v>83.438064999999995</c:v>
                </c:pt>
                <c:pt idx="725">
                  <c:v>83.461609999999993</c:v>
                </c:pt>
                <c:pt idx="726">
                  <c:v>83.009519999999995</c:v>
                </c:pt>
                <c:pt idx="727">
                  <c:v>81.704070000000002</c:v>
                </c:pt>
                <c:pt idx="728">
                  <c:v>81.404650000000004</c:v>
                </c:pt>
                <c:pt idx="729">
                  <c:v>80.958145000000002</c:v>
                </c:pt>
                <c:pt idx="730">
                  <c:v>80.046936000000002</c:v>
                </c:pt>
                <c:pt idx="731">
                  <c:v>79.362099999999998</c:v>
                </c:pt>
                <c:pt idx="732">
                  <c:v>78.744240000000005</c:v>
                </c:pt>
                <c:pt idx="733">
                  <c:v>78.524733999999995</c:v>
                </c:pt>
                <c:pt idx="734">
                  <c:v>77.702933999999999</c:v>
                </c:pt>
                <c:pt idx="735">
                  <c:v>77.198166000000001</c:v>
                </c:pt>
                <c:pt idx="736">
                  <c:v>76.111980000000003</c:v>
                </c:pt>
                <c:pt idx="737">
                  <c:v>75.803330000000003</c:v>
                </c:pt>
                <c:pt idx="738">
                  <c:v>75.172380000000004</c:v>
                </c:pt>
                <c:pt idx="739">
                  <c:v>75.078010000000006</c:v>
                </c:pt>
                <c:pt idx="740">
                  <c:v>75.102189999999993</c:v>
                </c:pt>
                <c:pt idx="741">
                  <c:v>75.141760000000005</c:v>
                </c:pt>
                <c:pt idx="742">
                  <c:v>75.292169999999999</c:v>
                </c:pt>
                <c:pt idx="743">
                  <c:v>74.542550000000006</c:v>
                </c:pt>
                <c:pt idx="744">
                  <c:v>74.346459999999993</c:v>
                </c:pt>
                <c:pt idx="745">
                  <c:v>74.307429999999997</c:v>
                </c:pt>
                <c:pt idx="746">
                  <c:v>75.033299999999997</c:v>
                </c:pt>
                <c:pt idx="747">
                  <c:v>74.813090000000003</c:v>
                </c:pt>
                <c:pt idx="748">
                  <c:v>74.382164000000003</c:v>
                </c:pt>
                <c:pt idx="749">
                  <c:v>74.238690000000005</c:v>
                </c:pt>
                <c:pt idx="750">
                  <c:v>73.746796000000003</c:v>
                </c:pt>
                <c:pt idx="751">
                  <c:v>73.335970000000003</c:v>
                </c:pt>
                <c:pt idx="752">
                  <c:v>72.933395000000004</c:v>
                </c:pt>
                <c:pt idx="753">
                  <c:v>72.686356000000004</c:v>
                </c:pt>
                <c:pt idx="754">
                  <c:v>71.975489999999994</c:v>
                </c:pt>
                <c:pt idx="755">
                  <c:v>72.065309999999997</c:v>
                </c:pt>
                <c:pt idx="756">
                  <c:v>72.387829999999994</c:v>
                </c:pt>
                <c:pt idx="757">
                  <c:v>72.789535999999998</c:v>
                </c:pt>
                <c:pt idx="758">
                  <c:v>73.029290000000003</c:v>
                </c:pt>
                <c:pt idx="759">
                  <c:v>72.953545000000005</c:v>
                </c:pt>
                <c:pt idx="760">
                  <c:v>73.216279999999998</c:v>
                </c:pt>
                <c:pt idx="761">
                  <c:v>73.389920000000004</c:v>
                </c:pt>
                <c:pt idx="762">
                  <c:v>73.184269999999998</c:v>
                </c:pt>
                <c:pt idx="763">
                  <c:v>73.647484000000006</c:v>
                </c:pt>
                <c:pt idx="764">
                  <c:v>73.615219999999994</c:v>
                </c:pt>
                <c:pt idx="765">
                  <c:v>73.722694000000004</c:v>
                </c:pt>
                <c:pt idx="766">
                  <c:v>74.485699999999994</c:v>
                </c:pt>
                <c:pt idx="767">
                  <c:v>75.188720000000004</c:v>
                </c:pt>
                <c:pt idx="768">
                  <c:v>75.532745000000006</c:v>
                </c:pt>
                <c:pt idx="769">
                  <c:v>75.554850000000002</c:v>
                </c:pt>
                <c:pt idx="770">
                  <c:v>76.079220000000007</c:v>
                </c:pt>
                <c:pt idx="771">
                  <c:v>76.465890000000002</c:v>
                </c:pt>
                <c:pt idx="772">
                  <c:v>76.745050000000006</c:v>
                </c:pt>
                <c:pt idx="773">
                  <c:v>76.889790000000005</c:v>
                </c:pt>
                <c:pt idx="774">
                  <c:v>77.37576</c:v>
                </c:pt>
                <c:pt idx="775">
                  <c:v>78.151319999999998</c:v>
                </c:pt>
                <c:pt idx="776">
                  <c:v>78.473749999999995</c:v>
                </c:pt>
                <c:pt idx="777">
                  <c:v>78.732140000000001</c:v>
                </c:pt>
                <c:pt idx="778">
                  <c:v>78.894585000000006</c:v>
                </c:pt>
                <c:pt idx="779">
                  <c:v>79.009289999999993</c:v>
                </c:pt>
                <c:pt idx="780">
                  <c:v>79.846279999999993</c:v>
                </c:pt>
                <c:pt idx="781">
                  <c:v>80.562799999999996</c:v>
                </c:pt>
                <c:pt idx="782">
                  <c:v>80.757570000000001</c:v>
                </c:pt>
                <c:pt idx="783">
                  <c:v>80.899215999999996</c:v>
                </c:pt>
                <c:pt idx="784">
                  <c:v>80.907555000000002</c:v>
                </c:pt>
                <c:pt idx="785">
                  <c:v>81.244439999999997</c:v>
                </c:pt>
                <c:pt idx="786">
                  <c:v>81.378783999999996</c:v>
                </c:pt>
                <c:pt idx="787">
                  <c:v>81.355643999999998</c:v>
                </c:pt>
                <c:pt idx="788">
                  <c:v>81.870840000000001</c:v>
                </c:pt>
                <c:pt idx="789">
                  <c:v>82.154365999999996</c:v>
                </c:pt>
                <c:pt idx="790">
                  <c:v>82.165210000000002</c:v>
                </c:pt>
                <c:pt idx="791">
                  <c:v>82.381879999999995</c:v>
                </c:pt>
                <c:pt idx="792">
                  <c:v>81.848815999999999</c:v>
                </c:pt>
                <c:pt idx="793">
                  <c:v>81.713936000000004</c:v>
                </c:pt>
                <c:pt idx="794">
                  <c:v>81.861009999999993</c:v>
                </c:pt>
                <c:pt idx="795">
                  <c:v>82.527820000000006</c:v>
                </c:pt>
                <c:pt idx="796">
                  <c:v>83.140510000000006</c:v>
                </c:pt>
                <c:pt idx="797">
                  <c:v>83.110849999999999</c:v>
                </c:pt>
                <c:pt idx="798">
                  <c:v>83.259659999999997</c:v>
                </c:pt>
                <c:pt idx="799">
                  <c:v>83.11251</c:v>
                </c:pt>
                <c:pt idx="800">
                  <c:v>83.607039999999998</c:v>
                </c:pt>
                <c:pt idx="801">
                  <c:v>84.198419999999999</c:v>
                </c:pt>
                <c:pt idx="802">
                  <c:v>83.942149999999998</c:v>
                </c:pt>
                <c:pt idx="803">
                  <c:v>84.045974999999999</c:v>
                </c:pt>
                <c:pt idx="804">
                  <c:v>84.654854</c:v>
                </c:pt>
                <c:pt idx="805">
                  <c:v>85.144189999999995</c:v>
                </c:pt>
                <c:pt idx="806">
                  <c:v>85.264690000000002</c:v>
                </c:pt>
                <c:pt idx="807">
                  <c:v>84.886949999999999</c:v>
                </c:pt>
                <c:pt idx="808">
                  <c:v>84.486339999999998</c:v>
                </c:pt>
                <c:pt idx="809">
                  <c:v>84.63449</c:v>
                </c:pt>
                <c:pt idx="810">
                  <c:v>84.521484000000001</c:v>
                </c:pt>
                <c:pt idx="811">
                  <c:v>84.275986000000003</c:v>
                </c:pt>
                <c:pt idx="812">
                  <c:v>84.194969999999998</c:v>
                </c:pt>
                <c:pt idx="813">
                  <c:v>84.171750000000003</c:v>
                </c:pt>
                <c:pt idx="814">
                  <c:v>83.939390000000003</c:v>
                </c:pt>
                <c:pt idx="815">
                  <c:v>84.200419999999994</c:v>
                </c:pt>
                <c:pt idx="816">
                  <c:v>84.179019999999994</c:v>
                </c:pt>
                <c:pt idx="817">
                  <c:v>84.163659999999993</c:v>
                </c:pt>
                <c:pt idx="818">
                  <c:v>83.085250000000002</c:v>
                </c:pt>
                <c:pt idx="819">
                  <c:v>83.317189999999997</c:v>
                </c:pt>
                <c:pt idx="820">
                  <c:v>83.246809999999996</c:v>
                </c:pt>
                <c:pt idx="821">
                  <c:v>82.804860000000005</c:v>
                </c:pt>
                <c:pt idx="822">
                  <c:v>82.890060000000005</c:v>
                </c:pt>
                <c:pt idx="823">
                  <c:v>83.021384999999995</c:v>
                </c:pt>
                <c:pt idx="824">
                  <c:v>83.198790000000002</c:v>
                </c:pt>
                <c:pt idx="825">
                  <c:v>83.809479999999994</c:v>
                </c:pt>
                <c:pt idx="826">
                  <c:v>84.27901</c:v>
                </c:pt>
                <c:pt idx="827">
                  <c:v>84.209525999999997</c:v>
                </c:pt>
                <c:pt idx="828">
                  <c:v>84.546499999999995</c:v>
                </c:pt>
                <c:pt idx="829">
                  <c:v>84.173950000000005</c:v>
                </c:pt>
                <c:pt idx="830">
                  <c:v>84.202674999999999</c:v>
                </c:pt>
                <c:pt idx="831">
                  <c:v>84.732479999999995</c:v>
                </c:pt>
                <c:pt idx="832">
                  <c:v>84.798220000000001</c:v>
                </c:pt>
                <c:pt idx="833">
                  <c:v>85.212699999999998</c:v>
                </c:pt>
                <c:pt idx="834">
                  <c:v>85.363619999999997</c:v>
                </c:pt>
                <c:pt idx="835">
                  <c:v>85.689769999999996</c:v>
                </c:pt>
                <c:pt idx="836">
                  <c:v>85.784689999999998</c:v>
                </c:pt>
                <c:pt idx="837">
                  <c:v>85.546486000000002</c:v>
                </c:pt>
                <c:pt idx="838">
                  <c:v>85.074640000000002</c:v>
                </c:pt>
                <c:pt idx="839">
                  <c:v>84.781049999999993</c:v>
                </c:pt>
                <c:pt idx="840">
                  <c:v>84.807079999999999</c:v>
                </c:pt>
                <c:pt idx="841">
                  <c:v>84.922004999999999</c:v>
                </c:pt>
                <c:pt idx="842">
                  <c:v>84.459404000000006</c:v>
                </c:pt>
                <c:pt idx="843">
                  <c:v>84.661659999999998</c:v>
                </c:pt>
                <c:pt idx="844">
                  <c:v>85.043660000000003</c:v>
                </c:pt>
                <c:pt idx="845">
                  <c:v>85.089169999999996</c:v>
                </c:pt>
                <c:pt idx="846">
                  <c:v>85.498180000000005</c:v>
                </c:pt>
                <c:pt idx="847">
                  <c:v>83.712630000000004</c:v>
                </c:pt>
                <c:pt idx="848">
                  <c:v>82.491699999999994</c:v>
                </c:pt>
                <c:pt idx="849">
                  <c:v>82.928200000000004</c:v>
                </c:pt>
                <c:pt idx="850">
                  <c:v>83.641334999999998</c:v>
                </c:pt>
                <c:pt idx="851">
                  <c:v>83.748565999999997</c:v>
                </c:pt>
                <c:pt idx="852">
                  <c:v>84.434780000000003</c:v>
                </c:pt>
                <c:pt idx="853">
                  <c:v>84.622060000000005</c:v>
                </c:pt>
                <c:pt idx="854">
                  <c:v>84.596810000000005</c:v>
                </c:pt>
                <c:pt idx="855">
                  <c:v>83.943610000000007</c:v>
                </c:pt>
                <c:pt idx="856">
                  <c:v>84.653859999999995</c:v>
                </c:pt>
                <c:pt idx="857">
                  <c:v>85.463530000000006</c:v>
                </c:pt>
                <c:pt idx="858">
                  <c:v>86.450490000000002</c:v>
                </c:pt>
                <c:pt idx="859">
                  <c:v>86.920429999999996</c:v>
                </c:pt>
                <c:pt idx="860">
                  <c:v>87.285719999999998</c:v>
                </c:pt>
                <c:pt idx="861">
                  <c:v>87.463009999999997</c:v>
                </c:pt>
                <c:pt idx="862">
                  <c:v>87.939449999999994</c:v>
                </c:pt>
                <c:pt idx="863">
                  <c:v>88.272329999999997</c:v>
                </c:pt>
                <c:pt idx="864">
                  <c:v>88.731819999999999</c:v>
                </c:pt>
                <c:pt idx="865">
                  <c:v>89.010819999999995</c:v>
                </c:pt>
                <c:pt idx="866">
                  <c:v>89.322265999999999</c:v>
                </c:pt>
                <c:pt idx="867">
                  <c:v>89.330956</c:v>
                </c:pt>
                <c:pt idx="868">
                  <c:v>89.264979999999994</c:v>
                </c:pt>
                <c:pt idx="869">
                  <c:v>88.959479999999999</c:v>
                </c:pt>
                <c:pt idx="870">
                  <c:v>89.044944999999998</c:v>
                </c:pt>
                <c:pt idx="871">
                  <c:v>89.249769999999998</c:v>
                </c:pt>
                <c:pt idx="872">
                  <c:v>89.299459999999996</c:v>
                </c:pt>
                <c:pt idx="873">
                  <c:v>89.265686000000002</c:v>
                </c:pt>
                <c:pt idx="874">
                  <c:v>89.38364</c:v>
                </c:pt>
                <c:pt idx="875">
                  <c:v>89.535163999999995</c:v>
                </c:pt>
                <c:pt idx="876">
                  <c:v>89.945880000000002</c:v>
                </c:pt>
                <c:pt idx="877">
                  <c:v>90.087813999999995</c:v>
                </c:pt>
                <c:pt idx="878">
                  <c:v>90.337524000000002</c:v>
                </c:pt>
                <c:pt idx="879">
                  <c:v>90.522530000000003</c:v>
                </c:pt>
                <c:pt idx="880">
                  <c:v>90.641509999999997</c:v>
                </c:pt>
                <c:pt idx="881">
                  <c:v>90.618160000000003</c:v>
                </c:pt>
                <c:pt idx="882">
                  <c:v>90.77176</c:v>
                </c:pt>
                <c:pt idx="883">
                  <c:v>90.637680000000003</c:v>
                </c:pt>
                <c:pt idx="884">
                  <c:v>90.530556000000004</c:v>
                </c:pt>
                <c:pt idx="885">
                  <c:v>90.632866000000007</c:v>
                </c:pt>
                <c:pt idx="886">
                  <c:v>90.622990000000001</c:v>
                </c:pt>
                <c:pt idx="887">
                  <c:v>90.640410000000003</c:v>
                </c:pt>
                <c:pt idx="888">
                  <c:v>90.743340000000003</c:v>
                </c:pt>
                <c:pt idx="889">
                  <c:v>90.40634</c:v>
                </c:pt>
                <c:pt idx="890">
                  <c:v>90.358029999999999</c:v>
                </c:pt>
                <c:pt idx="891">
                  <c:v>90.320599999999999</c:v>
                </c:pt>
                <c:pt idx="892">
                  <c:v>90.428939999999997</c:v>
                </c:pt>
                <c:pt idx="893">
                  <c:v>90.212609999999998</c:v>
                </c:pt>
                <c:pt idx="894">
                  <c:v>89.844470000000001</c:v>
                </c:pt>
                <c:pt idx="895">
                  <c:v>89.717950000000002</c:v>
                </c:pt>
                <c:pt idx="896">
                  <c:v>89.884833999999998</c:v>
                </c:pt>
                <c:pt idx="897">
                  <c:v>90.235405</c:v>
                </c:pt>
                <c:pt idx="898">
                  <c:v>90.400536000000002</c:v>
                </c:pt>
                <c:pt idx="899">
                  <c:v>90.291970000000006</c:v>
                </c:pt>
                <c:pt idx="900">
                  <c:v>88.949860000000001</c:v>
                </c:pt>
                <c:pt idx="901">
                  <c:v>88.826030000000003</c:v>
                </c:pt>
                <c:pt idx="902">
                  <c:v>88.628489999999999</c:v>
                </c:pt>
                <c:pt idx="903">
                  <c:v>88.656819999999996</c:v>
                </c:pt>
                <c:pt idx="904">
                  <c:v>89.103549999999998</c:v>
                </c:pt>
                <c:pt idx="905">
                  <c:v>88.923069999999996</c:v>
                </c:pt>
                <c:pt idx="906">
                  <c:v>88.915120000000002</c:v>
                </c:pt>
                <c:pt idx="907">
                  <c:v>89.060074</c:v>
                </c:pt>
                <c:pt idx="908">
                  <c:v>89.331540000000004</c:v>
                </c:pt>
                <c:pt idx="909">
                  <c:v>89.571610000000007</c:v>
                </c:pt>
                <c:pt idx="910">
                  <c:v>89.60163</c:v>
                </c:pt>
                <c:pt idx="911">
                  <c:v>89.177700000000002</c:v>
                </c:pt>
                <c:pt idx="912">
                  <c:v>89.177099999999996</c:v>
                </c:pt>
                <c:pt idx="913">
                  <c:v>89.199110000000005</c:v>
                </c:pt>
                <c:pt idx="914">
                  <c:v>88.35951</c:v>
                </c:pt>
                <c:pt idx="915">
                  <c:v>88.015389999999996</c:v>
                </c:pt>
                <c:pt idx="916">
                  <c:v>88.396575999999996</c:v>
                </c:pt>
                <c:pt idx="917">
                  <c:v>88.550255000000007</c:v>
                </c:pt>
                <c:pt idx="918">
                  <c:v>88.497765000000001</c:v>
                </c:pt>
                <c:pt idx="919">
                  <c:v>88.708600000000004</c:v>
                </c:pt>
                <c:pt idx="920">
                  <c:v>89.006910000000005</c:v>
                </c:pt>
                <c:pt idx="921">
                  <c:v>89.59496</c:v>
                </c:pt>
                <c:pt idx="922">
                  <c:v>89.468739999999997</c:v>
                </c:pt>
                <c:pt idx="923">
                  <c:v>89.380970000000005</c:v>
                </c:pt>
                <c:pt idx="924">
                  <c:v>89.243510000000001</c:v>
                </c:pt>
                <c:pt idx="925">
                  <c:v>88.8964</c:v>
                </c:pt>
                <c:pt idx="926">
                  <c:v>88.617835999999997</c:v>
                </c:pt>
                <c:pt idx="927">
                  <c:v>88.806439999999995</c:v>
                </c:pt>
                <c:pt idx="928">
                  <c:v>88.872290000000007</c:v>
                </c:pt>
                <c:pt idx="929">
                  <c:v>88.877303999999995</c:v>
                </c:pt>
                <c:pt idx="930">
                  <c:v>88.938050000000004</c:v>
                </c:pt>
                <c:pt idx="931">
                  <c:v>88.806830000000005</c:v>
                </c:pt>
                <c:pt idx="932">
                  <c:v>88.715209999999999</c:v>
                </c:pt>
                <c:pt idx="933">
                  <c:v>88.851875000000007</c:v>
                </c:pt>
                <c:pt idx="934">
                  <c:v>88.695610000000002</c:v>
                </c:pt>
                <c:pt idx="935">
                  <c:v>88.569040000000001</c:v>
                </c:pt>
                <c:pt idx="936">
                  <c:v>88.627189999999999</c:v>
                </c:pt>
                <c:pt idx="937">
                  <c:v>88.199420000000003</c:v>
                </c:pt>
                <c:pt idx="938">
                  <c:v>87.749319999999997</c:v>
                </c:pt>
                <c:pt idx="939">
                  <c:v>87.498149999999995</c:v>
                </c:pt>
                <c:pt idx="940">
                  <c:v>87.401060000000001</c:v>
                </c:pt>
                <c:pt idx="941">
                  <c:v>87.443089999999998</c:v>
                </c:pt>
                <c:pt idx="942">
                  <c:v>87.424440000000004</c:v>
                </c:pt>
                <c:pt idx="943">
                  <c:v>87.485434999999995</c:v>
                </c:pt>
                <c:pt idx="944">
                  <c:v>86.968509999999995</c:v>
                </c:pt>
                <c:pt idx="945">
                  <c:v>87.119699999999995</c:v>
                </c:pt>
                <c:pt idx="946">
                  <c:v>87.407589999999999</c:v>
                </c:pt>
                <c:pt idx="947">
                  <c:v>87.965109999999996</c:v>
                </c:pt>
                <c:pt idx="948">
                  <c:v>88.716544999999996</c:v>
                </c:pt>
                <c:pt idx="949">
                  <c:v>89.350369999999998</c:v>
                </c:pt>
                <c:pt idx="950">
                  <c:v>89.377200000000002</c:v>
                </c:pt>
                <c:pt idx="951">
                  <c:v>89.74436</c:v>
                </c:pt>
                <c:pt idx="952">
                  <c:v>90.017619999999994</c:v>
                </c:pt>
                <c:pt idx="953">
                  <c:v>90.082459999999998</c:v>
                </c:pt>
                <c:pt idx="954">
                  <c:v>90.452613999999997</c:v>
                </c:pt>
                <c:pt idx="955">
                  <c:v>90.251999999999995</c:v>
                </c:pt>
                <c:pt idx="956">
                  <c:v>90.316739999999996</c:v>
                </c:pt>
                <c:pt idx="957">
                  <c:v>89.722059999999999</c:v>
                </c:pt>
                <c:pt idx="958">
                  <c:v>89.009704999999997</c:v>
                </c:pt>
                <c:pt idx="959">
                  <c:v>89.438599999999994</c:v>
                </c:pt>
                <c:pt idx="960">
                  <c:v>90.400859999999994</c:v>
                </c:pt>
                <c:pt idx="961">
                  <c:v>90.839129999999997</c:v>
                </c:pt>
                <c:pt idx="962">
                  <c:v>91.219200000000001</c:v>
                </c:pt>
                <c:pt idx="963">
                  <c:v>91.566190000000006</c:v>
                </c:pt>
                <c:pt idx="964">
                  <c:v>91.79083</c:v>
                </c:pt>
                <c:pt idx="965">
                  <c:v>91.713843999999995</c:v>
                </c:pt>
                <c:pt idx="966">
                  <c:v>91.959299999999999</c:v>
                </c:pt>
                <c:pt idx="967">
                  <c:v>91.771029999999996</c:v>
                </c:pt>
                <c:pt idx="968">
                  <c:v>91.925830000000005</c:v>
                </c:pt>
                <c:pt idx="969">
                  <c:v>91.363020000000006</c:v>
                </c:pt>
                <c:pt idx="970">
                  <c:v>91.493979999999993</c:v>
                </c:pt>
                <c:pt idx="971">
                  <c:v>91.946799999999996</c:v>
                </c:pt>
                <c:pt idx="972">
                  <c:v>92.318929999999995</c:v>
                </c:pt>
                <c:pt idx="973">
                  <c:v>92.784583999999995</c:v>
                </c:pt>
                <c:pt idx="974">
                  <c:v>93.37773</c:v>
                </c:pt>
                <c:pt idx="975">
                  <c:v>93.921859999999995</c:v>
                </c:pt>
                <c:pt idx="976">
                  <c:v>93.878420000000006</c:v>
                </c:pt>
                <c:pt idx="977">
                  <c:v>93.692700000000002</c:v>
                </c:pt>
                <c:pt idx="978">
                  <c:v>93.179114999999996</c:v>
                </c:pt>
                <c:pt idx="979">
                  <c:v>93.009029999999996</c:v>
                </c:pt>
                <c:pt idx="980">
                  <c:v>93.211410000000001</c:v>
                </c:pt>
                <c:pt idx="981">
                  <c:v>92.869659999999996</c:v>
                </c:pt>
                <c:pt idx="982">
                  <c:v>92.685980000000001</c:v>
                </c:pt>
                <c:pt idx="983">
                  <c:v>92.248374999999996</c:v>
                </c:pt>
                <c:pt idx="984">
                  <c:v>91.898840000000007</c:v>
                </c:pt>
                <c:pt idx="985">
                  <c:v>92.013580000000005</c:v>
                </c:pt>
                <c:pt idx="986">
                  <c:v>92.492469999999997</c:v>
                </c:pt>
                <c:pt idx="987">
                  <c:v>92.918779999999998</c:v>
                </c:pt>
                <c:pt idx="988">
                  <c:v>92.908559999999994</c:v>
                </c:pt>
                <c:pt idx="989">
                  <c:v>92.76003</c:v>
                </c:pt>
                <c:pt idx="990">
                  <c:v>92.613209999999995</c:v>
                </c:pt>
                <c:pt idx="991">
                  <c:v>92.536839999999998</c:v>
                </c:pt>
                <c:pt idx="992">
                  <c:v>92.350989999999996</c:v>
                </c:pt>
                <c:pt idx="993">
                  <c:v>92.373000000000005</c:v>
                </c:pt>
                <c:pt idx="994">
                  <c:v>92.87312</c:v>
                </c:pt>
                <c:pt idx="995">
                  <c:v>93.208625999999995</c:v>
                </c:pt>
                <c:pt idx="996">
                  <c:v>93.164159999999995</c:v>
                </c:pt>
                <c:pt idx="997">
                  <c:v>93.062743999999995</c:v>
                </c:pt>
                <c:pt idx="998">
                  <c:v>93.073715000000007</c:v>
                </c:pt>
                <c:pt idx="999">
                  <c:v>93.176199999999994</c:v>
                </c:pt>
                <c:pt idx="1000">
                  <c:v>93.391310000000004</c:v>
                </c:pt>
                <c:pt idx="1001">
                  <c:v>93.495999999999995</c:v>
                </c:pt>
                <c:pt idx="1002">
                  <c:v>93.277929999999998</c:v>
                </c:pt>
                <c:pt idx="1003">
                  <c:v>93.257729999999995</c:v>
                </c:pt>
                <c:pt idx="1004">
                  <c:v>93.513050000000007</c:v>
                </c:pt>
                <c:pt idx="1005">
                  <c:v>93.763030000000001</c:v>
                </c:pt>
                <c:pt idx="1006">
                  <c:v>94.269530000000003</c:v>
                </c:pt>
                <c:pt idx="1007">
                  <c:v>94.603485000000006</c:v>
                </c:pt>
                <c:pt idx="1008">
                  <c:v>94.160709999999995</c:v>
                </c:pt>
                <c:pt idx="1009">
                  <c:v>93.235119999999995</c:v>
                </c:pt>
                <c:pt idx="1010">
                  <c:v>93.006420000000006</c:v>
                </c:pt>
                <c:pt idx="1011">
                  <c:v>93.287570000000002</c:v>
                </c:pt>
                <c:pt idx="1012">
                  <c:v>93.698425</c:v>
                </c:pt>
                <c:pt idx="1013">
                  <c:v>94.254469999999998</c:v>
                </c:pt>
                <c:pt idx="1014">
                  <c:v>94.923360000000002</c:v>
                </c:pt>
                <c:pt idx="1015">
                  <c:v>95.329359999999994</c:v>
                </c:pt>
                <c:pt idx="1016">
                  <c:v>95.778260000000003</c:v>
                </c:pt>
                <c:pt idx="1017">
                  <c:v>95.852844000000005</c:v>
                </c:pt>
                <c:pt idx="1018">
                  <c:v>96.343604999999997</c:v>
                </c:pt>
                <c:pt idx="1019">
                  <c:v>96.77646</c:v>
                </c:pt>
                <c:pt idx="1020">
                  <c:v>97.276179999999997</c:v>
                </c:pt>
                <c:pt idx="1021">
                  <c:v>97.494259999999997</c:v>
                </c:pt>
                <c:pt idx="1022">
                  <c:v>97.681439999999995</c:v>
                </c:pt>
                <c:pt idx="1023">
                  <c:v>97.649529999999999</c:v>
                </c:pt>
                <c:pt idx="1024">
                  <c:v>98.033294999999995</c:v>
                </c:pt>
                <c:pt idx="1025">
                  <c:v>98.750656000000006</c:v>
                </c:pt>
                <c:pt idx="1026">
                  <c:v>99.375786000000005</c:v>
                </c:pt>
                <c:pt idx="1027">
                  <c:v>99.564620000000005</c:v>
                </c:pt>
                <c:pt idx="1028">
                  <c:v>99.563900000000004</c:v>
                </c:pt>
                <c:pt idx="1029">
                  <c:v>99.474969999999999</c:v>
                </c:pt>
                <c:pt idx="1030">
                  <c:v>99.022964000000002</c:v>
                </c:pt>
                <c:pt idx="1031">
                  <c:v>99.365523999999994</c:v>
                </c:pt>
                <c:pt idx="1032">
                  <c:v>99.028570000000002</c:v>
                </c:pt>
                <c:pt idx="1033">
                  <c:v>99.099400000000003</c:v>
                </c:pt>
                <c:pt idx="1034">
                  <c:v>99.447580000000002</c:v>
                </c:pt>
                <c:pt idx="1035">
                  <c:v>99.450199999999995</c:v>
                </c:pt>
                <c:pt idx="1036">
                  <c:v>99.331890000000001</c:v>
                </c:pt>
                <c:pt idx="1037">
                  <c:v>99.379230000000007</c:v>
                </c:pt>
                <c:pt idx="1038">
                  <c:v>99.650700000000001</c:v>
                </c:pt>
                <c:pt idx="1039">
                  <c:v>100.17366</c:v>
                </c:pt>
                <c:pt idx="1040">
                  <c:v>100.00024000000001</c:v>
                </c:pt>
                <c:pt idx="1041">
                  <c:v>99.653310000000005</c:v>
                </c:pt>
                <c:pt idx="1042">
                  <c:v>99.861823999999999</c:v>
                </c:pt>
                <c:pt idx="1043">
                  <c:v>99.891869999999997</c:v>
                </c:pt>
                <c:pt idx="1044">
                  <c:v>99.900459999999995</c:v>
                </c:pt>
                <c:pt idx="1045">
                  <c:v>99.810249999999996</c:v>
                </c:pt>
                <c:pt idx="1046">
                  <c:v>99.694140000000004</c:v>
                </c:pt>
                <c:pt idx="1047">
                  <c:v>99.462519999999998</c:v>
                </c:pt>
                <c:pt idx="1048">
                  <c:v>98.314340000000001</c:v>
                </c:pt>
                <c:pt idx="1049">
                  <c:v>97.809169999999995</c:v>
                </c:pt>
                <c:pt idx="1050">
                  <c:v>98.332260000000005</c:v>
                </c:pt>
                <c:pt idx="1051">
                  <c:v>98.057220000000001</c:v>
                </c:pt>
                <c:pt idx="1052">
                  <c:v>97.896379999999994</c:v>
                </c:pt>
                <c:pt idx="1053">
                  <c:v>98.226555000000005</c:v>
                </c:pt>
                <c:pt idx="1054">
                  <c:v>98.032234000000003</c:v>
                </c:pt>
                <c:pt idx="1055">
                  <c:v>98.274180000000001</c:v>
                </c:pt>
                <c:pt idx="1056">
                  <c:v>98.523430000000005</c:v>
                </c:pt>
                <c:pt idx="1057">
                  <c:v>98.10651</c:v>
                </c:pt>
                <c:pt idx="1058">
                  <c:v>98.054379999999995</c:v>
                </c:pt>
                <c:pt idx="1059">
                  <c:v>98.036180000000002</c:v>
                </c:pt>
                <c:pt idx="1060">
                  <c:v>98.293304000000006</c:v>
                </c:pt>
                <c:pt idx="1061">
                  <c:v>98.944010000000006</c:v>
                </c:pt>
                <c:pt idx="1062">
                  <c:v>99.359830000000002</c:v>
                </c:pt>
                <c:pt idx="1063">
                  <c:v>99.620829999999998</c:v>
                </c:pt>
                <c:pt idx="1064">
                  <c:v>100.0917</c:v>
                </c:pt>
                <c:pt idx="1065">
                  <c:v>100.47481999999999</c:v>
                </c:pt>
                <c:pt idx="1066">
                  <c:v>100.84238000000001</c:v>
                </c:pt>
                <c:pt idx="1067">
                  <c:v>101.36617</c:v>
                </c:pt>
                <c:pt idx="1068">
                  <c:v>101.69822000000001</c:v>
                </c:pt>
                <c:pt idx="1069">
                  <c:v>101.841705</c:v>
                </c:pt>
                <c:pt idx="1070">
                  <c:v>101.76179</c:v>
                </c:pt>
                <c:pt idx="1071">
                  <c:v>101.80118</c:v>
                </c:pt>
                <c:pt idx="1072">
                  <c:v>101.20482</c:v>
                </c:pt>
                <c:pt idx="1073">
                  <c:v>100.82203</c:v>
                </c:pt>
                <c:pt idx="1074">
                  <c:v>100.07380000000001</c:v>
                </c:pt>
                <c:pt idx="1075">
                  <c:v>100.00053</c:v>
                </c:pt>
                <c:pt idx="1076">
                  <c:v>100.2702</c:v>
                </c:pt>
                <c:pt idx="1077">
                  <c:v>100.55923</c:v>
                </c:pt>
                <c:pt idx="1078">
                  <c:v>100.654045</c:v>
                </c:pt>
                <c:pt idx="1079">
                  <c:v>100.75332</c:v>
                </c:pt>
                <c:pt idx="1080">
                  <c:v>100.90349000000001</c:v>
                </c:pt>
                <c:pt idx="1081">
                  <c:v>100.577286</c:v>
                </c:pt>
                <c:pt idx="1082">
                  <c:v>100.73192</c:v>
                </c:pt>
                <c:pt idx="1083">
                  <c:v>101.50490000000001</c:v>
                </c:pt>
                <c:pt idx="1084">
                  <c:v>102.22132999999999</c:v>
                </c:pt>
                <c:pt idx="1085">
                  <c:v>102.724236</c:v>
                </c:pt>
                <c:pt idx="1086">
                  <c:v>102.91915</c:v>
                </c:pt>
                <c:pt idx="1087">
                  <c:v>102.91559599999999</c:v>
                </c:pt>
                <c:pt idx="1088">
                  <c:v>103.1347</c:v>
                </c:pt>
                <c:pt idx="1089">
                  <c:v>103.31231</c:v>
                </c:pt>
                <c:pt idx="1090">
                  <c:v>103.71044999999999</c:v>
                </c:pt>
                <c:pt idx="1091">
                  <c:v>103.708046</c:v>
                </c:pt>
                <c:pt idx="1092">
                  <c:v>103.524</c:v>
                </c:pt>
                <c:pt idx="1093">
                  <c:v>102.98038</c:v>
                </c:pt>
                <c:pt idx="1094">
                  <c:v>103.39634</c:v>
                </c:pt>
                <c:pt idx="1095">
                  <c:v>103.36620000000001</c:v>
                </c:pt>
                <c:pt idx="1096">
                  <c:v>103.06074</c:v>
                </c:pt>
                <c:pt idx="1097">
                  <c:v>102.90816</c:v>
                </c:pt>
                <c:pt idx="1098">
                  <c:v>102.85457599999999</c:v>
                </c:pt>
                <c:pt idx="1099">
                  <c:v>102.91472</c:v>
                </c:pt>
                <c:pt idx="1100">
                  <c:v>102.63191999999999</c:v>
                </c:pt>
                <c:pt idx="1101">
                  <c:v>102.58667</c:v>
                </c:pt>
                <c:pt idx="1102">
                  <c:v>102.04709</c:v>
                </c:pt>
                <c:pt idx="1103">
                  <c:v>101.76298</c:v>
                </c:pt>
                <c:pt idx="1104">
                  <c:v>101.99014</c:v>
                </c:pt>
                <c:pt idx="1105">
                  <c:v>101.75494399999999</c:v>
                </c:pt>
                <c:pt idx="1106">
                  <c:v>100.95863</c:v>
                </c:pt>
                <c:pt idx="1107">
                  <c:v>100.77819</c:v>
                </c:pt>
                <c:pt idx="1108">
                  <c:v>100.28694</c:v>
                </c:pt>
                <c:pt idx="1109">
                  <c:v>99.554590000000005</c:v>
                </c:pt>
                <c:pt idx="1110">
                  <c:v>100.003204</c:v>
                </c:pt>
                <c:pt idx="1111">
                  <c:v>100.9607</c:v>
                </c:pt>
                <c:pt idx="1112">
                  <c:v>101.77970999999999</c:v>
                </c:pt>
                <c:pt idx="1113">
                  <c:v>102.350105</c:v>
                </c:pt>
                <c:pt idx="1114">
                  <c:v>102.81623</c:v>
                </c:pt>
                <c:pt idx="1115">
                  <c:v>103.43821</c:v>
                </c:pt>
                <c:pt idx="1116">
                  <c:v>103.72055</c:v>
                </c:pt>
                <c:pt idx="1117">
                  <c:v>103.90577999999999</c:v>
                </c:pt>
                <c:pt idx="1118">
                  <c:v>104.03908</c:v>
                </c:pt>
                <c:pt idx="1119">
                  <c:v>104.39422999999999</c:v>
                </c:pt>
                <c:pt idx="1120">
                  <c:v>104.49515</c:v>
                </c:pt>
                <c:pt idx="1121">
                  <c:v>104.40472</c:v>
                </c:pt>
                <c:pt idx="1122">
                  <c:v>104.09002</c:v>
                </c:pt>
                <c:pt idx="1123">
                  <c:v>103.77943399999999</c:v>
                </c:pt>
                <c:pt idx="1124">
                  <c:v>103.51826</c:v>
                </c:pt>
                <c:pt idx="1125">
                  <c:v>103.3708</c:v>
                </c:pt>
                <c:pt idx="1126">
                  <c:v>103.04201</c:v>
                </c:pt>
                <c:pt idx="1127">
                  <c:v>102.79079</c:v>
                </c:pt>
                <c:pt idx="1128">
                  <c:v>102.743454</c:v>
                </c:pt>
                <c:pt idx="1129">
                  <c:v>102.62961</c:v>
                </c:pt>
                <c:pt idx="1130">
                  <c:v>102.50830999999999</c:v>
                </c:pt>
                <c:pt idx="1131">
                  <c:v>101.87797999999999</c:v>
                </c:pt>
                <c:pt idx="1132">
                  <c:v>101.49999</c:v>
                </c:pt>
                <c:pt idx="1133">
                  <c:v>101.38088999999999</c:v>
                </c:pt>
                <c:pt idx="1134">
                  <c:v>101.143745</c:v>
                </c:pt>
                <c:pt idx="1135">
                  <c:v>101.13782999999999</c:v>
                </c:pt>
                <c:pt idx="1136">
                  <c:v>100.45050000000001</c:v>
                </c:pt>
                <c:pt idx="1137">
                  <c:v>99.786736000000005</c:v>
                </c:pt>
                <c:pt idx="1138">
                  <c:v>99.869643999999994</c:v>
                </c:pt>
                <c:pt idx="1139">
                  <c:v>100.49016</c:v>
                </c:pt>
                <c:pt idx="1140">
                  <c:v>100.46335999999999</c:v>
                </c:pt>
                <c:pt idx="1141">
                  <c:v>99.749529999999993</c:v>
                </c:pt>
                <c:pt idx="1142">
                  <c:v>99.522779999999997</c:v>
                </c:pt>
                <c:pt idx="1143">
                  <c:v>99.891980000000004</c:v>
                </c:pt>
                <c:pt idx="1144">
                  <c:v>100.46519499999999</c:v>
                </c:pt>
                <c:pt idx="1145">
                  <c:v>100.99533</c:v>
                </c:pt>
                <c:pt idx="1146">
                  <c:v>100.92615000000001</c:v>
                </c:pt>
                <c:pt idx="1147">
                  <c:v>101.251</c:v>
                </c:pt>
                <c:pt idx="1148">
                  <c:v>101.6426</c:v>
                </c:pt>
                <c:pt idx="1149">
                  <c:v>102.15707</c:v>
                </c:pt>
                <c:pt idx="1150">
                  <c:v>102.51675</c:v>
                </c:pt>
                <c:pt idx="1151">
                  <c:v>102.15009999999999</c:v>
                </c:pt>
                <c:pt idx="1152">
                  <c:v>102.49075999999999</c:v>
                </c:pt>
                <c:pt idx="1153">
                  <c:v>103.13851</c:v>
                </c:pt>
                <c:pt idx="1154">
                  <c:v>103.02573</c:v>
                </c:pt>
                <c:pt idx="1155">
                  <c:v>103.06506</c:v>
                </c:pt>
                <c:pt idx="1156">
                  <c:v>103.01412999999999</c:v>
                </c:pt>
                <c:pt idx="1157">
                  <c:v>103.61712</c:v>
                </c:pt>
                <c:pt idx="1158">
                  <c:v>104.3925</c:v>
                </c:pt>
                <c:pt idx="1159">
                  <c:v>104.36208999999999</c:v>
                </c:pt>
                <c:pt idx="1160">
                  <c:v>104.00502</c:v>
                </c:pt>
                <c:pt idx="1161">
                  <c:v>103.92149000000001</c:v>
                </c:pt>
                <c:pt idx="1162">
                  <c:v>103.74055</c:v>
                </c:pt>
                <c:pt idx="1163">
                  <c:v>103.70443</c:v>
                </c:pt>
                <c:pt idx="1164">
                  <c:v>103.48578000000001</c:v>
                </c:pt>
                <c:pt idx="1165">
                  <c:v>101.210526</c:v>
                </c:pt>
                <c:pt idx="1166">
                  <c:v>100.52081</c:v>
                </c:pt>
                <c:pt idx="1167">
                  <c:v>100.64404999999999</c:v>
                </c:pt>
                <c:pt idx="1168">
                  <c:v>100.77127</c:v>
                </c:pt>
                <c:pt idx="1169">
                  <c:v>100.29619599999999</c:v>
                </c:pt>
                <c:pt idx="1170">
                  <c:v>100.590706</c:v>
                </c:pt>
                <c:pt idx="1171">
                  <c:v>101.87266</c:v>
                </c:pt>
                <c:pt idx="1172">
                  <c:v>103.13018</c:v>
                </c:pt>
                <c:pt idx="1173">
                  <c:v>103.65358999999999</c:v>
                </c:pt>
                <c:pt idx="1174">
                  <c:v>103.416115</c:v>
                </c:pt>
                <c:pt idx="1175">
                  <c:v>103.172264</c:v>
                </c:pt>
                <c:pt idx="1176">
                  <c:v>103.23148</c:v>
                </c:pt>
                <c:pt idx="1177">
                  <c:v>103.23305999999999</c:v>
                </c:pt>
                <c:pt idx="1178">
                  <c:v>102.78394</c:v>
                </c:pt>
                <c:pt idx="1179">
                  <c:v>102.40825</c:v>
                </c:pt>
                <c:pt idx="1180">
                  <c:v>102.15374</c:v>
                </c:pt>
                <c:pt idx="1181">
                  <c:v>101.77323</c:v>
                </c:pt>
                <c:pt idx="1182">
                  <c:v>101.35057</c:v>
                </c:pt>
                <c:pt idx="1183">
                  <c:v>101.02144</c:v>
                </c:pt>
                <c:pt idx="1184">
                  <c:v>100.30965</c:v>
                </c:pt>
                <c:pt idx="1185">
                  <c:v>100.08329000000001</c:v>
                </c:pt>
                <c:pt idx="1186">
                  <c:v>100.29998999999999</c:v>
                </c:pt>
                <c:pt idx="1187">
                  <c:v>100.39328</c:v>
                </c:pt>
                <c:pt idx="1188">
                  <c:v>100.061356</c:v>
                </c:pt>
                <c:pt idx="1189">
                  <c:v>100.02084000000001</c:v>
                </c:pt>
                <c:pt idx="1190">
                  <c:v>100.45894</c:v>
                </c:pt>
                <c:pt idx="1191">
                  <c:v>101.08129</c:v>
                </c:pt>
                <c:pt idx="1192">
                  <c:v>101.09654999999999</c:v>
                </c:pt>
                <c:pt idx="1193">
                  <c:v>100.6953</c:v>
                </c:pt>
                <c:pt idx="1194">
                  <c:v>100.55038</c:v>
                </c:pt>
                <c:pt idx="1195">
                  <c:v>100.747444</c:v>
                </c:pt>
                <c:pt idx="1196">
                  <c:v>100.76967999999999</c:v>
                </c:pt>
                <c:pt idx="1197">
                  <c:v>100.84114</c:v>
                </c:pt>
                <c:pt idx="1198">
                  <c:v>100.365166</c:v>
                </c:pt>
                <c:pt idx="1199">
                  <c:v>99.955839999999995</c:v>
                </c:pt>
                <c:pt idx="1200">
                  <c:v>100.42222</c:v>
                </c:pt>
                <c:pt idx="1201">
                  <c:v>100.729195</c:v>
                </c:pt>
                <c:pt idx="1202">
                  <c:v>100.64409000000001</c:v>
                </c:pt>
                <c:pt idx="1203">
                  <c:v>100.71017999999999</c:v>
                </c:pt>
                <c:pt idx="1204">
                  <c:v>100.62339</c:v>
                </c:pt>
                <c:pt idx="1205">
                  <c:v>101.23076</c:v>
                </c:pt>
                <c:pt idx="1206">
                  <c:v>101.49493</c:v>
                </c:pt>
                <c:pt idx="1207">
                  <c:v>101.523636</c:v>
                </c:pt>
                <c:pt idx="1208">
                  <c:v>101.44489</c:v>
                </c:pt>
                <c:pt idx="1209">
                  <c:v>101.11225</c:v>
                </c:pt>
                <c:pt idx="1210">
                  <c:v>100.765366</c:v>
                </c:pt>
                <c:pt idx="1211">
                  <c:v>100.935036</c:v>
                </c:pt>
                <c:pt idx="1212">
                  <c:v>101.379616</c:v>
                </c:pt>
                <c:pt idx="1213">
                  <c:v>101.77218999999999</c:v>
                </c:pt>
                <c:pt idx="1214">
                  <c:v>101.44383000000001</c:v>
                </c:pt>
                <c:pt idx="1215">
                  <c:v>101.59618</c:v>
                </c:pt>
                <c:pt idx="1216">
                  <c:v>102.2063</c:v>
                </c:pt>
                <c:pt idx="1217">
                  <c:v>102.52781</c:v>
                </c:pt>
                <c:pt idx="1218">
                  <c:v>102.38858999999999</c:v>
                </c:pt>
                <c:pt idx="1219">
                  <c:v>101.81881</c:v>
                </c:pt>
                <c:pt idx="1220">
                  <c:v>101.01021</c:v>
                </c:pt>
                <c:pt idx="1221">
                  <c:v>101.29407500000001</c:v>
                </c:pt>
                <c:pt idx="1222">
                  <c:v>101.77596</c:v>
                </c:pt>
                <c:pt idx="1223">
                  <c:v>101.860634</c:v>
                </c:pt>
                <c:pt idx="1224">
                  <c:v>102.22077</c:v>
                </c:pt>
                <c:pt idx="1225">
                  <c:v>102.72096999999999</c:v>
                </c:pt>
                <c:pt idx="1226">
                  <c:v>102.909775</c:v>
                </c:pt>
                <c:pt idx="1227">
                  <c:v>102.78583999999999</c:v>
                </c:pt>
                <c:pt idx="1228">
                  <c:v>102.76932499999999</c:v>
                </c:pt>
                <c:pt idx="1229">
                  <c:v>102.30194</c:v>
                </c:pt>
                <c:pt idx="1230">
                  <c:v>101.9218</c:v>
                </c:pt>
                <c:pt idx="1231">
                  <c:v>101.760796</c:v>
                </c:pt>
                <c:pt idx="1232">
                  <c:v>102.08819</c:v>
                </c:pt>
                <c:pt idx="1233">
                  <c:v>102.78042600000001</c:v>
                </c:pt>
                <c:pt idx="1234">
                  <c:v>102.44267000000001</c:v>
                </c:pt>
                <c:pt idx="1235">
                  <c:v>102.180565</c:v>
                </c:pt>
                <c:pt idx="1236">
                  <c:v>102.60286000000001</c:v>
                </c:pt>
                <c:pt idx="1237">
                  <c:v>103.2715</c:v>
                </c:pt>
                <c:pt idx="1238">
                  <c:v>103.61204499999999</c:v>
                </c:pt>
                <c:pt idx="1239">
                  <c:v>103.33796</c:v>
                </c:pt>
                <c:pt idx="1240">
                  <c:v>103.64462</c:v>
                </c:pt>
                <c:pt idx="1241">
                  <c:v>103.41025500000001</c:v>
                </c:pt>
                <c:pt idx="1242">
                  <c:v>103.38795</c:v>
                </c:pt>
                <c:pt idx="1243">
                  <c:v>104.28046000000001</c:v>
                </c:pt>
                <c:pt idx="1244">
                  <c:v>105.33843</c:v>
                </c:pt>
                <c:pt idx="1245">
                  <c:v>105.994316</c:v>
                </c:pt>
                <c:pt idx="1246">
                  <c:v>106.54764</c:v>
                </c:pt>
                <c:pt idx="1247">
                  <c:v>107.06291</c:v>
                </c:pt>
                <c:pt idx="1248">
                  <c:v>106.922005</c:v>
                </c:pt>
                <c:pt idx="1249">
                  <c:v>106.349014</c:v>
                </c:pt>
                <c:pt idx="1250">
                  <c:v>106.43590500000001</c:v>
                </c:pt>
                <c:pt idx="1251">
                  <c:v>106.69098</c:v>
                </c:pt>
                <c:pt idx="1252">
                  <c:v>105.81826</c:v>
                </c:pt>
                <c:pt idx="1253">
                  <c:v>103.07934</c:v>
                </c:pt>
                <c:pt idx="1254">
                  <c:v>102.4</c:v>
                </c:pt>
                <c:pt idx="1255">
                  <c:v>102.21545</c:v>
                </c:pt>
                <c:pt idx="1256">
                  <c:v>100.37788399999999</c:v>
                </c:pt>
                <c:pt idx="1257">
                  <c:v>99.648439999999994</c:v>
                </c:pt>
                <c:pt idx="1258">
                  <c:v>99.121089999999995</c:v>
                </c:pt>
                <c:pt idx="1259">
                  <c:v>98.726299999999995</c:v>
                </c:pt>
                <c:pt idx="1260">
                  <c:v>99.327749999999995</c:v>
                </c:pt>
                <c:pt idx="1261">
                  <c:v>100.248085</c:v>
                </c:pt>
                <c:pt idx="1262">
                  <c:v>100.27663</c:v>
                </c:pt>
                <c:pt idx="1263">
                  <c:v>100.25536</c:v>
                </c:pt>
                <c:pt idx="1264">
                  <c:v>100.55540000000001</c:v>
                </c:pt>
                <c:pt idx="1265">
                  <c:v>101.36938499999999</c:v>
                </c:pt>
                <c:pt idx="1266">
                  <c:v>103.704094</c:v>
                </c:pt>
                <c:pt idx="1267">
                  <c:v>106.45355000000001</c:v>
                </c:pt>
                <c:pt idx="1268">
                  <c:v>107.67177</c:v>
                </c:pt>
                <c:pt idx="1269">
                  <c:v>107.70578</c:v>
                </c:pt>
                <c:pt idx="1270">
                  <c:v>105.90501</c:v>
                </c:pt>
                <c:pt idx="1271">
                  <c:v>104.87617</c:v>
                </c:pt>
                <c:pt idx="1272">
                  <c:v>105.31968999999999</c:v>
                </c:pt>
                <c:pt idx="1273">
                  <c:v>105.56422999999999</c:v>
                </c:pt>
                <c:pt idx="1274">
                  <c:v>105.04079</c:v>
                </c:pt>
                <c:pt idx="1275">
                  <c:v>104.377945</c:v>
                </c:pt>
                <c:pt idx="1276">
                  <c:v>104.79866</c:v>
                </c:pt>
                <c:pt idx="1277">
                  <c:v>104.45192</c:v>
                </c:pt>
                <c:pt idx="1278">
                  <c:v>103.66065999999999</c:v>
                </c:pt>
                <c:pt idx="1279">
                  <c:v>103.16445</c:v>
                </c:pt>
                <c:pt idx="1280">
                  <c:v>103.00134</c:v>
                </c:pt>
                <c:pt idx="1281">
                  <c:v>101.990486</c:v>
                </c:pt>
                <c:pt idx="1282">
                  <c:v>101.352554</c:v>
                </c:pt>
                <c:pt idx="1283">
                  <c:v>102.04398999999999</c:v>
                </c:pt>
                <c:pt idx="1284">
                  <c:v>102.32742</c:v>
                </c:pt>
                <c:pt idx="1285">
                  <c:v>101.21916</c:v>
                </c:pt>
                <c:pt idx="1286">
                  <c:v>99.755110000000002</c:v>
                </c:pt>
                <c:pt idx="1287">
                  <c:v>100.25312</c:v>
                </c:pt>
                <c:pt idx="1288">
                  <c:v>99.637439999999998</c:v>
                </c:pt>
                <c:pt idx="1289">
                  <c:v>98.698319999999995</c:v>
                </c:pt>
                <c:pt idx="1290">
                  <c:v>99.140129999999999</c:v>
                </c:pt>
                <c:pt idx="1291">
                  <c:v>98.703810000000004</c:v>
                </c:pt>
                <c:pt idx="1292">
                  <c:v>98.796170000000004</c:v>
                </c:pt>
                <c:pt idx="1293">
                  <c:v>99.093310000000002</c:v>
                </c:pt>
                <c:pt idx="1294">
                  <c:v>99.721940000000004</c:v>
                </c:pt>
                <c:pt idx="1295">
                  <c:v>99.373310000000004</c:v>
                </c:pt>
                <c:pt idx="1296">
                  <c:v>99.749430000000004</c:v>
                </c:pt>
                <c:pt idx="1297">
                  <c:v>100.78894</c:v>
                </c:pt>
                <c:pt idx="1298">
                  <c:v>100.92115</c:v>
                </c:pt>
                <c:pt idx="1299">
                  <c:v>101.72761</c:v>
                </c:pt>
                <c:pt idx="1300">
                  <c:v>102.37595</c:v>
                </c:pt>
                <c:pt idx="1301">
                  <c:v>103.08753</c:v>
                </c:pt>
                <c:pt idx="1302">
                  <c:v>103.139145</c:v>
                </c:pt>
                <c:pt idx="1303">
                  <c:v>102.34608</c:v>
                </c:pt>
                <c:pt idx="1304">
                  <c:v>101.60475</c:v>
                </c:pt>
                <c:pt idx="1305">
                  <c:v>100.60727</c:v>
                </c:pt>
                <c:pt idx="1306">
                  <c:v>100.34345999999999</c:v>
                </c:pt>
                <c:pt idx="1307">
                  <c:v>100.280266</c:v>
                </c:pt>
                <c:pt idx="1308">
                  <c:v>100.69176</c:v>
                </c:pt>
                <c:pt idx="1309">
                  <c:v>100.93804</c:v>
                </c:pt>
                <c:pt idx="1310">
                  <c:v>100.893005</c:v>
                </c:pt>
                <c:pt idx="1311">
                  <c:v>100.36498</c:v>
                </c:pt>
                <c:pt idx="1312">
                  <c:v>100.30006</c:v>
                </c:pt>
                <c:pt idx="1313">
                  <c:v>99.716980000000007</c:v>
                </c:pt>
                <c:pt idx="1314">
                  <c:v>98.929850000000002</c:v>
                </c:pt>
                <c:pt idx="1315">
                  <c:v>99.120270000000005</c:v>
                </c:pt>
                <c:pt idx="1316">
                  <c:v>100.090706</c:v>
                </c:pt>
                <c:pt idx="1317">
                  <c:v>100.32120999999999</c:v>
                </c:pt>
                <c:pt idx="1318">
                  <c:v>100.25724</c:v>
                </c:pt>
                <c:pt idx="1319">
                  <c:v>101.193726</c:v>
                </c:pt>
                <c:pt idx="1320">
                  <c:v>101.97614</c:v>
                </c:pt>
                <c:pt idx="1321">
                  <c:v>102.14951000000001</c:v>
                </c:pt>
                <c:pt idx="1322">
                  <c:v>101.24551</c:v>
                </c:pt>
                <c:pt idx="1323">
                  <c:v>100.99194</c:v>
                </c:pt>
                <c:pt idx="1324">
                  <c:v>100.82393999999999</c:v>
                </c:pt>
                <c:pt idx="1325">
                  <c:v>100.57019</c:v>
                </c:pt>
                <c:pt idx="1326">
                  <c:v>100.8099</c:v>
                </c:pt>
                <c:pt idx="1327">
                  <c:v>100.7983</c:v>
                </c:pt>
                <c:pt idx="1328">
                  <c:v>101.08763999999999</c:v>
                </c:pt>
                <c:pt idx="1329">
                  <c:v>101.62659499999999</c:v>
                </c:pt>
                <c:pt idx="1330">
                  <c:v>101.91285000000001</c:v>
                </c:pt>
                <c:pt idx="1331">
                  <c:v>100.73052</c:v>
                </c:pt>
                <c:pt idx="1332">
                  <c:v>100.64237</c:v>
                </c:pt>
                <c:pt idx="1333">
                  <c:v>100.09684</c:v>
                </c:pt>
                <c:pt idx="1334">
                  <c:v>100.84383</c:v>
                </c:pt>
                <c:pt idx="1335">
                  <c:v>101.94883</c:v>
                </c:pt>
                <c:pt idx="1336">
                  <c:v>102.19155000000001</c:v>
                </c:pt>
                <c:pt idx="1337">
                  <c:v>102.622505</c:v>
                </c:pt>
                <c:pt idx="1338">
                  <c:v>102.58113</c:v>
                </c:pt>
                <c:pt idx="1339">
                  <c:v>102.586624</c:v>
                </c:pt>
                <c:pt idx="1340">
                  <c:v>102.90516</c:v>
                </c:pt>
                <c:pt idx="1341">
                  <c:v>103.02822999999999</c:v>
                </c:pt>
                <c:pt idx="1342">
                  <c:v>102.1665</c:v>
                </c:pt>
                <c:pt idx="1343">
                  <c:v>102.34559</c:v>
                </c:pt>
                <c:pt idx="1344">
                  <c:v>101.42171500000001</c:v>
                </c:pt>
                <c:pt idx="1345">
                  <c:v>101.40130000000001</c:v>
                </c:pt>
                <c:pt idx="1346">
                  <c:v>102.10719</c:v>
                </c:pt>
                <c:pt idx="1347">
                  <c:v>103.00402</c:v>
                </c:pt>
                <c:pt idx="1348">
                  <c:v>102.78277</c:v>
                </c:pt>
                <c:pt idx="1349">
                  <c:v>102.55659</c:v>
                </c:pt>
                <c:pt idx="1350">
                  <c:v>102.12412999999999</c:v>
                </c:pt>
                <c:pt idx="1351">
                  <c:v>102.123024</c:v>
                </c:pt>
                <c:pt idx="1352">
                  <c:v>101.47171</c:v>
                </c:pt>
                <c:pt idx="1353">
                  <c:v>101.56822</c:v>
                </c:pt>
                <c:pt idx="1354">
                  <c:v>101.70832</c:v>
                </c:pt>
                <c:pt idx="1355">
                  <c:v>101.69552</c:v>
                </c:pt>
                <c:pt idx="1356">
                  <c:v>101.60042</c:v>
                </c:pt>
                <c:pt idx="1357">
                  <c:v>101.70757</c:v>
                </c:pt>
                <c:pt idx="1358">
                  <c:v>101.96510000000001</c:v>
                </c:pt>
                <c:pt idx="1359">
                  <c:v>101.467285</c:v>
                </c:pt>
                <c:pt idx="1360">
                  <c:v>98.747283999999993</c:v>
                </c:pt>
                <c:pt idx="1361">
                  <c:v>99.103549999999998</c:v>
                </c:pt>
                <c:pt idx="1362">
                  <c:v>101.32416000000001</c:v>
                </c:pt>
                <c:pt idx="1363">
                  <c:v>103.11328</c:v>
                </c:pt>
                <c:pt idx="1364">
                  <c:v>104.025764</c:v>
                </c:pt>
                <c:pt idx="1365">
                  <c:v>104.34499</c:v>
                </c:pt>
                <c:pt idx="1366">
                  <c:v>104.74133</c:v>
                </c:pt>
                <c:pt idx="1367">
                  <c:v>103.733475</c:v>
                </c:pt>
                <c:pt idx="1368">
                  <c:v>98.398910000000001</c:v>
                </c:pt>
                <c:pt idx="1369">
                  <c:v>98.71763</c:v>
                </c:pt>
                <c:pt idx="1370">
                  <c:v>102.807</c:v>
                </c:pt>
                <c:pt idx="1371">
                  <c:v>105.77177399999999</c:v>
                </c:pt>
                <c:pt idx="1372">
                  <c:v>106.63077</c:v>
                </c:pt>
                <c:pt idx="1373">
                  <c:v>106.3883</c:v>
                </c:pt>
                <c:pt idx="1374">
                  <c:v>106.4389</c:v>
                </c:pt>
                <c:pt idx="1375">
                  <c:v>106.55595</c:v>
                </c:pt>
                <c:pt idx="1376">
                  <c:v>106.96635000000001</c:v>
                </c:pt>
                <c:pt idx="1377">
                  <c:v>108.03892999999999</c:v>
                </c:pt>
                <c:pt idx="1378">
                  <c:v>109.05110000000001</c:v>
                </c:pt>
                <c:pt idx="1379">
                  <c:v>108.624</c:v>
                </c:pt>
                <c:pt idx="1380">
                  <c:v>106.99786</c:v>
                </c:pt>
                <c:pt idx="1381">
                  <c:v>106.31652</c:v>
                </c:pt>
                <c:pt idx="1382">
                  <c:v>106.55877</c:v>
                </c:pt>
                <c:pt idx="1383">
                  <c:v>106.717766</c:v>
                </c:pt>
                <c:pt idx="1384">
                  <c:v>106.8165</c:v>
                </c:pt>
                <c:pt idx="1385">
                  <c:v>107.1366</c:v>
                </c:pt>
                <c:pt idx="1386">
                  <c:v>107.555595</c:v>
                </c:pt>
                <c:pt idx="1387">
                  <c:v>107.80500000000001</c:v>
                </c:pt>
                <c:pt idx="1388">
                  <c:v>106.93622999999999</c:v>
                </c:pt>
                <c:pt idx="1389">
                  <c:v>106.93559</c:v>
                </c:pt>
                <c:pt idx="1390">
                  <c:v>106.7595</c:v>
                </c:pt>
                <c:pt idx="1391">
                  <c:v>106.70089</c:v>
                </c:pt>
                <c:pt idx="1392">
                  <c:v>106.70444500000001</c:v>
                </c:pt>
                <c:pt idx="1393">
                  <c:v>107.19639599999999</c:v>
                </c:pt>
                <c:pt idx="1394">
                  <c:v>108.06424</c:v>
                </c:pt>
                <c:pt idx="1395">
                  <c:v>108.07434000000001</c:v>
                </c:pt>
                <c:pt idx="1396">
                  <c:v>108.81626</c:v>
                </c:pt>
                <c:pt idx="1397">
                  <c:v>109.57832999999999</c:v>
                </c:pt>
                <c:pt idx="1398">
                  <c:v>109.65118</c:v>
                </c:pt>
                <c:pt idx="1399">
                  <c:v>109.303375</c:v>
                </c:pt>
                <c:pt idx="1400">
                  <c:v>109.14763000000001</c:v>
                </c:pt>
                <c:pt idx="1401">
                  <c:v>108.91806</c:v>
                </c:pt>
                <c:pt idx="1402">
                  <c:v>108.93394499999999</c:v>
                </c:pt>
                <c:pt idx="1403">
                  <c:v>109.28425</c:v>
                </c:pt>
                <c:pt idx="1404">
                  <c:v>109.83034000000001</c:v>
                </c:pt>
                <c:pt idx="1405">
                  <c:v>110.52518000000001</c:v>
                </c:pt>
                <c:pt idx="1406">
                  <c:v>112.33768499999999</c:v>
                </c:pt>
                <c:pt idx="1407">
                  <c:v>113.9598</c:v>
                </c:pt>
                <c:pt idx="1408">
                  <c:v>114.29967499999999</c:v>
                </c:pt>
                <c:pt idx="1409">
                  <c:v>114.26983</c:v>
                </c:pt>
                <c:pt idx="1410">
                  <c:v>113.39142</c:v>
                </c:pt>
                <c:pt idx="1411">
                  <c:v>112.49532000000001</c:v>
                </c:pt>
                <c:pt idx="1412">
                  <c:v>111.153305</c:v>
                </c:pt>
                <c:pt idx="1413">
                  <c:v>110.43415</c:v>
                </c:pt>
                <c:pt idx="1414">
                  <c:v>110.932655</c:v>
                </c:pt>
                <c:pt idx="1415">
                  <c:v>111.13346</c:v>
                </c:pt>
                <c:pt idx="1416">
                  <c:v>111.499886</c:v>
                </c:pt>
                <c:pt idx="1417">
                  <c:v>111.28950500000001</c:v>
                </c:pt>
                <c:pt idx="1418">
                  <c:v>111.43388</c:v>
                </c:pt>
                <c:pt idx="1419">
                  <c:v>111.52499400000001</c:v>
                </c:pt>
                <c:pt idx="1420">
                  <c:v>111.87170999999999</c:v>
                </c:pt>
                <c:pt idx="1421">
                  <c:v>112.28538</c:v>
                </c:pt>
                <c:pt idx="1422">
                  <c:v>113.04097</c:v>
                </c:pt>
                <c:pt idx="1423">
                  <c:v>113.2971</c:v>
                </c:pt>
                <c:pt idx="1424">
                  <c:v>112.48251</c:v>
                </c:pt>
                <c:pt idx="1425">
                  <c:v>109.966995</c:v>
                </c:pt>
                <c:pt idx="1426">
                  <c:v>106.86797</c:v>
                </c:pt>
                <c:pt idx="1427">
                  <c:v>106.08163</c:v>
                </c:pt>
                <c:pt idx="1428">
                  <c:v>105.457855</c:v>
                </c:pt>
                <c:pt idx="1429">
                  <c:v>105.86272</c:v>
                </c:pt>
                <c:pt idx="1430">
                  <c:v>105.64883399999999</c:v>
                </c:pt>
                <c:pt idx="1431">
                  <c:v>104.95212600000001</c:v>
                </c:pt>
                <c:pt idx="1432">
                  <c:v>104.77809999999999</c:v>
                </c:pt>
                <c:pt idx="1433">
                  <c:v>104.879295</c:v>
                </c:pt>
                <c:pt idx="1434">
                  <c:v>105.64664500000001</c:v>
                </c:pt>
                <c:pt idx="1435">
                  <c:v>105.24856</c:v>
                </c:pt>
                <c:pt idx="1436">
                  <c:v>106.35393000000001</c:v>
                </c:pt>
                <c:pt idx="1437">
                  <c:v>107.18369</c:v>
                </c:pt>
                <c:pt idx="1438">
                  <c:v>108.917</c:v>
                </c:pt>
                <c:pt idx="1439">
                  <c:v>110.76434999999999</c:v>
                </c:pt>
                <c:pt idx="1440">
                  <c:v>111.87003</c:v>
                </c:pt>
                <c:pt idx="1441">
                  <c:v>110.80426</c:v>
                </c:pt>
                <c:pt idx="1442">
                  <c:v>109.87674</c:v>
                </c:pt>
                <c:pt idx="1443">
                  <c:v>110.06292000000001</c:v>
                </c:pt>
                <c:pt idx="1444">
                  <c:v>111.16683</c:v>
                </c:pt>
                <c:pt idx="1445">
                  <c:v>113.536934</c:v>
                </c:pt>
                <c:pt idx="1446">
                  <c:v>113.95301000000001</c:v>
                </c:pt>
                <c:pt idx="1447">
                  <c:v>113.141335</c:v>
                </c:pt>
                <c:pt idx="1448">
                  <c:v>110.03821600000001</c:v>
                </c:pt>
                <c:pt idx="1449">
                  <c:v>108.13527000000001</c:v>
                </c:pt>
                <c:pt idx="1450">
                  <c:v>106.150505</c:v>
                </c:pt>
                <c:pt idx="1451">
                  <c:v>105.25226600000001</c:v>
                </c:pt>
                <c:pt idx="1452">
                  <c:v>104.40586</c:v>
                </c:pt>
                <c:pt idx="1453">
                  <c:v>102.82897</c:v>
                </c:pt>
                <c:pt idx="1454">
                  <c:v>101.10786400000001</c:v>
                </c:pt>
                <c:pt idx="1455">
                  <c:v>101.07037</c:v>
                </c:pt>
                <c:pt idx="1456">
                  <c:v>101.56796</c:v>
                </c:pt>
                <c:pt idx="1457">
                  <c:v>102.03336</c:v>
                </c:pt>
                <c:pt idx="1458">
                  <c:v>101.9164</c:v>
                </c:pt>
                <c:pt idx="1459">
                  <c:v>102.23978</c:v>
                </c:pt>
                <c:pt idx="1460">
                  <c:v>102.13885999999999</c:v>
                </c:pt>
                <c:pt idx="1461">
                  <c:v>101.10356</c:v>
                </c:pt>
                <c:pt idx="1462">
                  <c:v>100.67864</c:v>
                </c:pt>
                <c:pt idx="1463">
                  <c:v>99.505610000000004</c:v>
                </c:pt>
                <c:pt idx="1464">
                  <c:v>99.959599999999995</c:v>
                </c:pt>
                <c:pt idx="1465">
                  <c:v>100.46024</c:v>
                </c:pt>
                <c:pt idx="1466">
                  <c:v>101.5313</c:v>
                </c:pt>
                <c:pt idx="1467">
                  <c:v>101.84608</c:v>
                </c:pt>
                <c:pt idx="1468">
                  <c:v>101.66656999999999</c:v>
                </c:pt>
                <c:pt idx="1469">
                  <c:v>100.71008999999999</c:v>
                </c:pt>
                <c:pt idx="1470">
                  <c:v>98.828519999999997</c:v>
                </c:pt>
                <c:pt idx="1471">
                  <c:v>97.456090000000003</c:v>
                </c:pt>
                <c:pt idx="1472">
                  <c:v>97.356909999999999</c:v>
                </c:pt>
                <c:pt idx="1473">
                  <c:v>96.662834000000004</c:v>
                </c:pt>
                <c:pt idx="1474">
                  <c:v>95.284790000000001</c:v>
                </c:pt>
                <c:pt idx="1475">
                  <c:v>92.704669999999993</c:v>
                </c:pt>
                <c:pt idx="1476">
                  <c:v>92.369675000000001</c:v>
                </c:pt>
                <c:pt idx="1477">
                  <c:v>95.147193999999999</c:v>
                </c:pt>
                <c:pt idx="1478">
                  <c:v>96.286680000000004</c:v>
                </c:pt>
                <c:pt idx="1479">
                  <c:v>96.063569999999999</c:v>
                </c:pt>
                <c:pt idx="1480">
                  <c:v>96.108649999999997</c:v>
                </c:pt>
                <c:pt idx="1481">
                  <c:v>96.203445000000002</c:v>
                </c:pt>
                <c:pt idx="1482">
                  <c:v>95.192779999999999</c:v>
                </c:pt>
                <c:pt idx="1483">
                  <c:v>95.806169999999995</c:v>
                </c:pt>
                <c:pt idx="1484">
                  <c:v>96.733000000000004</c:v>
                </c:pt>
                <c:pt idx="1485">
                  <c:v>97.727410000000006</c:v>
                </c:pt>
                <c:pt idx="1486">
                  <c:v>98.372569999999996</c:v>
                </c:pt>
                <c:pt idx="1487">
                  <c:v>99.370990000000006</c:v>
                </c:pt>
                <c:pt idx="1488">
                  <c:v>101.05416</c:v>
                </c:pt>
                <c:pt idx="1489">
                  <c:v>102.159515</c:v>
                </c:pt>
                <c:pt idx="1490">
                  <c:v>103.42649</c:v>
                </c:pt>
                <c:pt idx="1491">
                  <c:v>103.89277</c:v>
                </c:pt>
                <c:pt idx="1492">
                  <c:v>103.812195</c:v>
                </c:pt>
                <c:pt idx="1493">
                  <c:v>104.22282</c:v>
                </c:pt>
                <c:pt idx="1494">
                  <c:v>103.565994</c:v>
                </c:pt>
                <c:pt idx="1495">
                  <c:v>103.6147</c:v>
                </c:pt>
                <c:pt idx="1496">
                  <c:v>103.929924</c:v>
                </c:pt>
                <c:pt idx="1497">
                  <c:v>104.315704</c:v>
                </c:pt>
                <c:pt idx="1498">
                  <c:v>103.91118</c:v>
                </c:pt>
                <c:pt idx="1499">
                  <c:v>103.383545</c:v>
                </c:pt>
                <c:pt idx="1500">
                  <c:v>103.35226</c:v>
                </c:pt>
                <c:pt idx="1501">
                  <c:v>103.00364999999999</c:v>
                </c:pt>
                <c:pt idx="1502">
                  <c:v>102.584785</c:v>
                </c:pt>
                <c:pt idx="1503">
                  <c:v>102.93409</c:v>
                </c:pt>
                <c:pt idx="1504">
                  <c:v>103.0635</c:v>
                </c:pt>
                <c:pt idx="1505">
                  <c:v>102.86144</c:v>
                </c:pt>
                <c:pt idx="1506">
                  <c:v>102.37894</c:v>
                </c:pt>
                <c:pt idx="1507">
                  <c:v>102.28296</c:v>
                </c:pt>
                <c:pt idx="1508">
                  <c:v>102.06905999999999</c:v>
                </c:pt>
                <c:pt idx="1509">
                  <c:v>101.77239</c:v>
                </c:pt>
                <c:pt idx="1510">
                  <c:v>101.65102</c:v>
                </c:pt>
                <c:pt idx="1511">
                  <c:v>101.43944500000001</c:v>
                </c:pt>
                <c:pt idx="1512">
                  <c:v>101.165344</c:v>
                </c:pt>
                <c:pt idx="1513">
                  <c:v>101.58221399999999</c:v>
                </c:pt>
                <c:pt idx="1514">
                  <c:v>102.29146</c:v>
                </c:pt>
                <c:pt idx="1515">
                  <c:v>102.78975</c:v>
                </c:pt>
                <c:pt idx="1516">
                  <c:v>103.425415</c:v>
                </c:pt>
                <c:pt idx="1517">
                  <c:v>103.99996</c:v>
                </c:pt>
                <c:pt idx="1518">
                  <c:v>104.24666999999999</c:v>
                </c:pt>
                <c:pt idx="1519">
                  <c:v>104.27074399999999</c:v>
                </c:pt>
                <c:pt idx="1520">
                  <c:v>103.76769</c:v>
                </c:pt>
                <c:pt idx="1521">
                  <c:v>104.148674</c:v>
                </c:pt>
                <c:pt idx="1522">
                  <c:v>104.27547</c:v>
                </c:pt>
                <c:pt idx="1523">
                  <c:v>104.30419999999999</c:v>
                </c:pt>
                <c:pt idx="1524">
                  <c:v>103.92986999999999</c:v>
                </c:pt>
                <c:pt idx="1525">
                  <c:v>103.32847</c:v>
                </c:pt>
                <c:pt idx="1526">
                  <c:v>102.99563000000001</c:v>
                </c:pt>
                <c:pt idx="1527">
                  <c:v>103.48345999999999</c:v>
                </c:pt>
                <c:pt idx="1528">
                  <c:v>103.91016399999999</c:v>
                </c:pt>
                <c:pt idx="1529">
                  <c:v>104.08495000000001</c:v>
                </c:pt>
                <c:pt idx="1530">
                  <c:v>103.321</c:v>
                </c:pt>
                <c:pt idx="1531">
                  <c:v>101.03737</c:v>
                </c:pt>
                <c:pt idx="1532">
                  <c:v>100.57863999999999</c:v>
                </c:pt>
                <c:pt idx="1533">
                  <c:v>102.109314</c:v>
                </c:pt>
                <c:pt idx="1534">
                  <c:v>103.31865999999999</c:v>
                </c:pt>
                <c:pt idx="1535">
                  <c:v>104.84256999999999</c:v>
                </c:pt>
                <c:pt idx="1536">
                  <c:v>104.68787</c:v>
                </c:pt>
                <c:pt idx="1537">
                  <c:v>105.24893</c:v>
                </c:pt>
                <c:pt idx="1538">
                  <c:v>105.88621999999999</c:v>
                </c:pt>
                <c:pt idx="1539">
                  <c:v>105.41381</c:v>
                </c:pt>
                <c:pt idx="1540">
                  <c:v>105.43519000000001</c:v>
                </c:pt>
                <c:pt idx="1541">
                  <c:v>105.35809999999999</c:v>
                </c:pt>
                <c:pt idx="1542">
                  <c:v>105.70659999999999</c:v>
                </c:pt>
                <c:pt idx="1543">
                  <c:v>106.53162</c:v>
                </c:pt>
                <c:pt idx="1544">
                  <c:v>107.19441</c:v>
                </c:pt>
                <c:pt idx="1545">
                  <c:v>108.07997</c:v>
                </c:pt>
                <c:pt idx="1546">
                  <c:v>109.10946</c:v>
                </c:pt>
                <c:pt idx="1547">
                  <c:v>110.84381</c:v>
                </c:pt>
                <c:pt idx="1548">
                  <c:v>113.567566</c:v>
                </c:pt>
                <c:pt idx="1549">
                  <c:v>116.30816</c:v>
                </c:pt>
                <c:pt idx="1550">
                  <c:v>117.30928</c:v>
                </c:pt>
                <c:pt idx="1551">
                  <c:v>116.54759</c:v>
                </c:pt>
                <c:pt idx="1552">
                  <c:v>113.28845</c:v>
                </c:pt>
                <c:pt idx="1553">
                  <c:v>110.34607</c:v>
                </c:pt>
                <c:pt idx="1554">
                  <c:v>108.85447000000001</c:v>
                </c:pt>
                <c:pt idx="1555">
                  <c:v>108.69395</c:v>
                </c:pt>
                <c:pt idx="1556">
                  <c:v>110.32356</c:v>
                </c:pt>
                <c:pt idx="1557">
                  <c:v>114.04148000000001</c:v>
                </c:pt>
                <c:pt idx="1558">
                  <c:v>118.944626</c:v>
                </c:pt>
                <c:pt idx="1559">
                  <c:v>121.98273500000001</c:v>
                </c:pt>
                <c:pt idx="1560">
                  <c:v>123.34314000000001</c:v>
                </c:pt>
                <c:pt idx="1561">
                  <c:v>124.00819</c:v>
                </c:pt>
                <c:pt idx="1562">
                  <c:v>124.3968</c:v>
                </c:pt>
                <c:pt idx="1563">
                  <c:v>123.44942</c:v>
                </c:pt>
                <c:pt idx="1564">
                  <c:v>121.65378</c:v>
                </c:pt>
                <c:pt idx="1565">
                  <c:v>121.44459500000001</c:v>
                </c:pt>
                <c:pt idx="1566">
                  <c:v>118.25611000000001</c:v>
                </c:pt>
                <c:pt idx="1567">
                  <c:v>115.04441</c:v>
                </c:pt>
                <c:pt idx="1568">
                  <c:v>114.04976000000001</c:v>
                </c:pt>
                <c:pt idx="1569">
                  <c:v>114.05534</c:v>
                </c:pt>
                <c:pt idx="1570">
                  <c:v>114.55982</c:v>
                </c:pt>
                <c:pt idx="1571">
                  <c:v>112.44045</c:v>
                </c:pt>
                <c:pt idx="1572">
                  <c:v>110.33935</c:v>
                </c:pt>
                <c:pt idx="1573">
                  <c:v>108.69731</c:v>
                </c:pt>
                <c:pt idx="1574">
                  <c:v>108.48455</c:v>
                </c:pt>
                <c:pt idx="1575">
                  <c:v>108.27951</c:v>
                </c:pt>
                <c:pt idx="1576">
                  <c:v>108.10683</c:v>
                </c:pt>
                <c:pt idx="1577">
                  <c:v>108.63435</c:v>
                </c:pt>
                <c:pt idx="1578">
                  <c:v>109.92376</c:v>
                </c:pt>
                <c:pt idx="1579">
                  <c:v>111.212135</c:v>
                </c:pt>
                <c:pt idx="1580">
                  <c:v>114.01438</c:v>
                </c:pt>
                <c:pt idx="1581">
                  <c:v>114.04214</c:v>
                </c:pt>
                <c:pt idx="1582">
                  <c:v>114.50506</c:v>
                </c:pt>
                <c:pt idx="1583">
                  <c:v>116.25261</c:v>
                </c:pt>
                <c:pt idx="1584">
                  <c:v>117.30641</c:v>
                </c:pt>
                <c:pt idx="1585">
                  <c:v>117.31271</c:v>
                </c:pt>
                <c:pt idx="1586">
                  <c:v>116.886185</c:v>
                </c:pt>
                <c:pt idx="1587">
                  <c:v>117.85813</c:v>
                </c:pt>
                <c:pt idx="1588">
                  <c:v>118.51613</c:v>
                </c:pt>
                <c:pt idx="1589">
                  <c:v>119.91761</c:v>
                </c:pt>
                <c:pt idx="1590">
                  <c:v>120.860405</c:v>
                </c:pt>
                <c:pt idx="1591">
                  <c:v>118.90836</c:v>
                </c:pt>
                <c:pt idx="1592">
                  <c:v>116.39155</c:v>
                </c:pt>
                <c:pt idx="1593">
                  <c:v>116.41675600000001</c:v>
                </c:pt>
                <c:pt idx="1594">
                  <c:v>116.10557</c:v>
                </c:pt>
                <c:pt idx="1595">
                  <c:v>114.03422</c:v>
                </c:pt>
                <c:pt idx="1596">
                  <c:v>112.97326</c:v>
                </c:pt>
                <c:pt idx="1597">
                  <c:v>112.611626</c:v>
                </c:pt>
                <c:pt idx="1598">
                  <c:v>112.98739999999999</c:v>
                </c:pt>
                <c:pt idx="1599">
                  <c:v>112.63564</c:v>
                </c:pt>
                <c:pt idx="1600">
                  <c:v>113.1258</c:v>
                </c:pt>
                <c:pt idx="1601">
                  <c:v>117.89586</c:v>
                </c:pt>
                <c:pt idx="1602">
                  <c:v>123.52609</c:v>
                </c:pt>
                <c:pt idx="1603">
                  <c:v>125.65145</c:v>
                </c:pt>
                <c:pt idx="1604">
                  <c:v>126.76065</c:v>
                </c:pt>
                <c:pt idx="1605">
                  <c:v>127.00519</c:v>
                </c:pt>
                <c:pt idx="1606">
                  <c:v>127.14467</c:v>
                </c:pt>
                <c:pt idx="1607">
                  <c:v>127.44784</c:v>
                </c:pt>
                <c:pt idx="1608">
                  <c:v>127.532394</c:v>
                </c:pt>
                <c:pt idx="1609">
                  <c:v>127.71921</c:v>
                </c:pt>
                <c:pt idx="1610">
                  <c:v>128.1619</c:v>
                </c:pt>
                <c:pt idx="1611">
                  <c:v>128.08271999999999</c:v>
                </c:pt>
                <c:pt idx="1612">
                  <c:v>127.74066999999999</c:v>
                </c:pt>
                <c:pt idx="1613">
                  <c:v>127.95241</c:v>
                </c:pt>
                <c:pt idx="1614">
                  <c:v>127.78927</c:v>
                </c:pt>
                <c:pt idx="1615">
                  <c:v>127.45426</c:v>
                </c:pt>
                <c:pt idx="1616">
                  <c:v>126.87707</c:v>
                </c:pt>
                <c:pt idx="1617">
                  <c:v>126.66005</c:v>
                </c:pt>
                <c:pt idx="1618">
                  <c:v>126.33508</c:v>
                </c:pt>
                <c:pt idx="1619">
                  <c:v>126.07723</c:v>
                </c:pt>
                <c:pt idx="1620">
                  <c:v>126.23645</c:v>
                </c:pt>
                <c:pt idx="1621">
                  <c:v>126.2993</c:v>
                </c:pt>
                <c:pt idx="1622">
                  <c:v>124.9462</c:v>
                </c:pt>
                <c:pt idx="1623">
                  <c:v>124.392105</c:v>
                </c:pt>
                <c:pt idx="1624">
                  <c:v>125.39400999999999</c:v>
                </c:pt>
                <c:pt idx="1625">
                  <c:v>127.87805</c:v>
                </c:pt>
                <c:pt idx="1626">
                  <c:v>127.54964</c:v>
                </c:pt>
                <c:pt idx="1627">
                  <c:v>127.06377000000001</c:v>
                </c:pt>
                <c:pt idx="1628">
                  <c:v>126.39084</c:v>
                </c:pt>
                <c:pt idx="1629">
                  <c:v>124.81917</c:v>
                </c:pt>
                <c:pt idx="1630">
                  <c:v>124.83195499999999</c:v>
                </c:pt>
                <c:pt idx="1631">
                  <c:v>124.93996</c:v>
                </c:pt>
                <c:pt idx="1632">
                  <c:v>125.48784000000001</c:v>
                </c:pt>
                <c:pt idx="1633">
                  <c:v>125.35196000000001</c:v>
                </c:pt>
                <c:pt idx="1634">
                  <c:v>124.77800999999999</c:v>
                </c:pt>
                <c:pt idx="1635">
                  <c:v>125.48322</c:v>
                </c:pt>
                <c:pt idx="1636">
                  <c:v>124.78087600000001</c:v>
                </c:pt>
                <c:pt idx="1637">
                  <c:v>124.07874</c:v>
                </c:pt>
                <c:pt idx="1638">
                  <c:v>124.444305</c:v>
                </c:pt>
                <c:pt idx="1639">
                  <c:v>125.20650999999999</c:v>
                </c:pt>
                <c:pt idx="1640">
                  <c:v>125.19895</c:v>
                </c:pt>
                <c:pt idx="1641">
                  <c:v>125.532455</c:v>
                </c:pt>
                <c:pt idx="1642">
                  <c:v>125.564995</c:v>
                </c:pt>
                <c:pt idx="1643">
                  <c:v>124.62979</c:v>
                </c:pt>
                <c:pt idx="1644">
                  <c:v>124.65586</c:v>
                </c:pt>
                <c:pt idx="1645">
                  <c:v>125.12056</c:v>
                </c:pt>
                <c:pt idx="1646">
                  <c:v>124.99078</c:v>
                </c:pt>
                <c:pt idx="1647">
                  <c:v>125.37002</c:v>
                </c:pt>
                <c:pt idx="1648">
                  <c:v>125.73072999999999</c:v>
                </c:pt>
                <c:pt idx="1649">
                  <c:v>125.40846999999999</c:v>
                </c:pt>
                <c:pt idx="1650">
                  <c:v>125.81253</c:v>
                </c:pt>
                <c:pt idx="1651">
                  <c:v>126.92635</c:v>
                </c:pt>
                <c:pt idx="1652">
                  <c:v>127.03328</c:v>
                </c:pt>
                <c:pt idx="1653">
                  <c:v>127.18967000000001</c:v>
                </c:pt>
                <c:pt idx="1654">
                  <c:v>127.27458</c:v>
                </c:pt>
                <c:pt idx="1655">
                  <c:v>129.78485000000001</c:v>
                </c:pt>
                <c:pt idx="1656">
                  <c:v>123.047966</c:v>
                </c:pt>
                <c:pt idx="1657">
                  <c:v>120.68736</c:v>
                </c:pt>
                <c:pt idx="1658">
                  <c:v>120.18579</c:v>
                </c:pt>
                <c:pt idx="1659">
                  <c:v>124.16943999999999</c:v>
                </c:pt>
                <c:pt idx="1660">
                  <c:v>126.24983</c:v>
                </c:pt>
                <c:pt idx="1661">
                  <c:v>127.50572</c:v>
                </c:pt>
                <c:pt idx="1662">
                  <c:v>127.87144499999999</c:v>
                </c:pt>
                <c:pt idx="1663">
                  <c:v>127.59408000000001</c:v>
                </c:pt>
                <c:pt idx="1664">
                  <c:v>127.32297</c:v>
                </c:pt>
                <c:pt idx="1665">
                  <c:v>127.29398999999999</c:v>
                </c:pt>
                <c:pt idx="1666">
                  <c:v>127.26546</c:v>
                </c:pt>
                <c:pt idx="1667">
                  <c:v>126.598946</c:v>
                </c:pt>
                <c:pt idx="1668">
                  <c:v>126.391396</c:v>
                </c:pt>
                <c:pt idx="1669">
                  <c:v>126.06657</c:v>
                </c:pt>
                <c:pt idx="1670">
                  <c:v>125.13132</c:v>
                </c:pt>
                <c:pt idx="1671">
                  <c:v>125.955505</c:v>
                </c:pt>
                <c:pt idx="1672">
                  <c:v>126.39006000000001</c:v>
                </c:pt>
                <c:pt idx="1673">
                  <c:v>125.107056</c:v>
                </c:pt>
                <c:pt idx="1674">
                  <c:v>124.926796</c:v>
                </c:pt>
                <c:pt idx="1675">
                  <c:v>125.28419</c:v>
                </c:pt>
                <c:pt idx="1676">
                  <c:v>125.44165</c:v>
                </c:pt>
                <c:pt idx="1677">
                  <c:v>126.23182</c:v>
                </c:pt>
                <c:pt idx="1678">
                  <c:v>126.45961</c:v>
                </c:pt>
                <c:pt idx="1679">
                  <c:v>127.189545</c:v>
                </c:pt>
                <c:pt idx="1680">
                  <c:v>127.25767</c:v>
                </c:pt>
                <c:pt idx="1681">
                  <c:v>127.28274</c:v>
                </c:pt>
                <c:pt idx="1682">
                  <c:v>127.304794</c:v>
                </c:pt>
                <c:pt idx="1683">
                  <c:v>127.46462</c:v>
                </c:pt>
                <c:pt idx="1684">
                  <c:v>127.40895999999999</c:v>
                </c:pt>
                <c:pt idx="1685">
                  <c:v>127.34428</c:v>
                </c:pt>
                <c:pt idx="1686">
                  <c:v>127.40980999999999</c:v>
                </c:pt>
                <c:pt idx="1687">
                  <c:v>127.68316</c:v>
                </c:pt>
                <c:pt idx="1688">
                  <c:v>128.17635000000001</c:v>
                </c:pt>
                <c:pt idx="1689">
                  <c:v>128.19049000000001</c:v>
                </c:pt>
                <c:pt idx="1690">
                  <c:v>128.33882</c:v>
                </c:pt>
                <c:pt idx="1691">
                  <c:v>128.53984</c:v>
                </c:pt>
                <c:pt idx="1692">
                  <c:v>128.78424000000001</c:v>
                </c:pt>
                <c:pt idx="1693">
                  <c:v>129.05591000000001</c:v>
                </c:pt>
                <c:pt idx="1694">
                  <c:v>129.26607000000001</c:v>
                </c:pt>
                <c:pt idx="1695">
                  <c:v>129.22284999999999</c:v>
                </c:pt>
                <c:pt idx="1696">
                  <c:v>129.26220000000001</c:v>
                </c:pt>
                <c:pt idx="1697">
                  <c:v>129.29778999999999</c:v>
                </c:pt>
                <c:pt idx="1698">
                  <c:v>129.33825999999999</c:v>
                </c:pt>
                <c:pt idx="1699">
                  <c:v>129.51509999999999</c:v>
                </c:pt>
                <c:pt idx="1700">
                  <c:v>129.42871</c:v>
                </c:pt>
                <c:pt idx="1701">
                  <c:v>129.29803000000001</c:v>
                </c:pt>
                <c:pt idx="1702">
                  <c:v>129.88320999999999</c:v>
                </c:pt>
                <c:pt idx="1703">
                  <c:v>130.1103</c:v>
                </c:pt>
                <c:pt idx="1704">
                  <c:v>130.02278000000001</c:v>
                </c:pt>
                <c:pt idx="1705">
                  <c:v>129.78792999999999</c:v>
                </c:pt>
                <c:pt idx="1706">
                  <c:v>129.66875999999999</c:v>
                </c:pt>
                <c:pt idx="1707">
                  <c:v>129.66210000000001</c:v>
                </c:pt>
                <c:pt idx="1708">
                  <c:v>130.12709000000001</c:v>
                </c:pt>
                <c:pt idx="1709">
                  <c:v>130.62177</c:v>
                </c:pt>
                <c:pt idx="1710">
                  <c:v>130.55858000000001</c:v>
                </c:pt>
                <c:pt idx="1711">
                  <c:v>130.40505999999999</c:v>
                </c:pt>
                <c:pt idx="1712">
                  <c:v>130.07414</c:v>
                </c:pt>
                <c:pt idx="1713">
                  <c:v>129.79357999999999</c:v>
                </c:pt>
                <c:pt idx="1714">
                  <c:v>129.83967999999999</c:v>
                </c:pt>
                <c:pt idx="1715">
                  <c:v>129.78934000000001</c:v>
                </c:pt>
                <c:pt idx="1716">
                  <c:v>130.21802</c:v>
                </c:pt>
                <c:pt idx="1717">
                  <c:v>130.36105000000001</c:v>
                </c:pt>
                <c:pt idx="1718">
                  <c:v>130.19470000000001</c:v>
                </c:pt>
                <c:pt idx="1719">
                  <c:v>130.3339</c:v>
                </c:pt>
                <c:pt idx="1720">
                  <c:v>130.83311</c:v>
                </c:pt>
                <c:pt idx="1721">
                  <c:v>131.02061</c:v>
                </c:pt>
                <c:pt idx="1722">
                  <c:v>131.58806000000001</c:v>
                </c:pt>
                <c:pt idx="1723">
                  <c:v>131.88638</c:v>
                </c:pt>
                <c:pt idx="1724">
                  <c:v>131.87697</c:v>
                </c:pt>
                <c:pt idx="1725">
                  <c:v>131.75308000000001</c:v>
                </c:pt>
                <c:pt idx="1726">
                  <c:v>132.98917</c:v>
                </c:pt>
                <c:pt idx="1727">
                  <c:v>132.22307000000001</c:v>
                </c:pt>
                <c:pt idx="1728">
                  <c:v>131.61208999999999</c:v>
                </c:pt>
                <c:pt idx="1729">
                  <c:v>132.01555999999999</c:v>
                </c:pt>
                <c:pt idx="1730">
                  <c:v>132.16478000000001</c:v>
                </c:pt>
                <c:pt idx="1731">
                  <c:v>132.01755</c:v>
                </c:pt>
                <c:pt idx="1732">
                  <c:v>132.13740000000001</c:v>
                </c:pt>
                <c:pt idx="1733">
                  <c:v>132.66754</c:v>
                </c:pt>
                <c:pt idx="1734">
                  <c:v>132.52815000000001</c:v>
                </c:pt>
                <c:pt idx="1735">
                  <c:v>132.62459999999999</c:v>
                </c:pt>
                <c:pt idx="1736">
                  <c:v>132.75075000000001</c:v>
                </c:pt>
                <c:pt idx="1737">
                  <c:v>132.67245</c:v>
                </c:pt>
                <c:pt idx="1738">
                  <c:v>132.99252000000001</c:v>
                </c:pt>
                <c:pt idx="1739">
                  <c:v>132.84789000000001</c:v>
                </c:pt>
                <c:pt idx="1740">
                  <c:v>133.44526999999999</c:v>
                </c:pt>
                <c:pt idx="1741">
                  <c:v>133.41274999999999</c:v>
                </c:pt>
                <c:pt idx="1742">
                  <c:v>133.5788</c:v>
                </c:pt>
                <c:pt idx="1743">
                  <c:v>134.01102</c:v>
                </c:pt>
                <c:pt idx="1744">
                  <c:v>134.60004000000001</c:v>
                </c:pt>
                <c:pt idx="1745">
                  <c:v>134.24102999999999</c:v>
                </c:pt>
                <c:pt idx="1746">
                  <c:v>134.22461000000001</c:v>
                </c:pt>
                <c:pt idx="1747">
                  <c:v>134.05466000000001</c:v>
                </c:pt>
                <c:pt idx="1748">
                  <c:v>133.39061000000001</c:v>
                </c:pt>
                <c:pt idx="1749">
                  <c:v>132.60138000000001</c:v>
                </c:pt>
                <c:pt idx="1750">
                  <c:v>132.69730999999999</c:v>
                </c:pt>
                <c:pt idx="1751">
                  <c:v>132.80163999999999</c:v>
                </c:pt>
                <c:pt idx="1752">
                  <c:v>133.15858</c:v>
                </c:pt>
                <c:pt idx="1753">
                  <c:v>132.53112999999999</c:v>
                </c:pt>
                <c:pt idx="1754">
                  <c:v>132.51528999999999</c:v>
                </c:pt>
                <c:pt idx="1755">
                  <c:v>133.16982999999999</c:v>
                </c:pt>
                <c:pt idx="1756">
                  <c:v>133.97577000000001</c:v>
                </c:pt>
                <c:pt idx="1757">
                  <c:v>134.42514</c:v>
                </c:pt>
                <c:pt idx="1758">
                  <c:v>134.22005999999999</c:v>
                </c:pt>
                <c:pt idx="1759">
                  <c:v>134.56327999999999</c:v>
                </c:pt>
                <c:pt idx="1760">
                  <c:v>134.75218000000001</c:v>
                </c:pt>
                <c:pt idx="1761">
                  <c:v>135.14246</c:v>
                </c:pt>
                <c:pt idx="1762">
                  <c:v>135.27744000000001</c:v>
                </c:pt>
                <c:pt idx="1763">
                  <c:v>135.14538999999999</c:v>
                </c:pt>
                <c:pt idx="1764">
                  <c:v>135.13257999999999</c:v>
                </c:pt>
                <c:pt idx="1765">
                  <c:v>135.05591000000001</c:v>
                </c:pt>
                <c:pt idx="1766">
                  <c:v>134.81871000000001</c:v>
                </c:pt>
                <c:pt idx="1767">
                  <c:v>134.47068999999999</c:v>
                </c:pt>
                <c:pt idx="1768">
                  <c:v>132.82225</c:v>
                </c:pt>
                <c:pt idx="1769">
                  <c:v>131.16517999999999</c:v>
                </c:pt>
                <c:pt idx="1770">
                  <c:v>130.17017000000001</c:v>
                </c:pt>
                <c:pt idx="1771">
                  <c:v>128.12963999999999</c:v>
                </c:pt>
                <c:pt idx="1772">
                  <c:v>128.07875000000001</c:v>
                </c:pt>
                <c:pt idx="1773">
                  <c:v>129.20179999999999</c:v>
                </c:pt>
                <c:pt idx="1774">
                  <c:v>128.3484</c:v>
                </c:pt>
                <c:pt idx="1775">
                  <c:v>129.89471</c:v>
                </c:pt>
                <c:pt idx="1776">
                  <c:v>128.69873000000001</c:v>
                </c:pt>
                <c:pt idx="1777">
                  <c:v>127.476906</c:v>
                </c:pt>
                <c:pt idx="1778">
                  <c:v>123.73455</c:v>
                </c:pt>
                <c:pt idx="1779">
                  <c:v>124.43424</c:v>
                </c:pt>
                <c:pt idx="1780">
                  <c:v>122.43554</c:v>
                </c:pt>
                <c:pt idx="1781">
                  <c:v>118.36763000000001</c:v>
                </c:pt>
                <c:pt idx="1782">
                  <c:v>120.43929</c:v>
                </c:pt>
                <c:pt idx="1783">
                  <c:v>115.78539000000001</c:v>
                </c:pt>
                <c:pt idx="1784">
                  <c:v>116.96632</c:v>
                </c:pt>
                <c:pt idx="1785">
                  <c:v>115.69986</c:v>
                </c:pt>
                <c:pt idx="1786">
                  <c:v>114.10186</c:v>
                </c:pt>
                <c:pt idx="1787">
                  <c:v>112.506874</c:v>
                </c:pt>
                <c:pt idx="1788">
                  <c:v>110.871216</c:v>
                </c:pt>
                <c:pt idx="1789">
                  <c:v>113.27167</c:v>
                </c:pt>
                <c:pt idx="1790">
                  <c:v>114.80868</c:v>
                </c:pt>
                <c:pt idx="1791">
                  <c:v>118.54113</c:v>
                </c:pt>
                <c:pt idx="1792">
                  <c:v>118.6571</c:v>
                </c:pt>
                <c:pt idx="1793">
                  <c:v>119.36649</c:v>
                </c:pt>
                <c:pt idx="1794">
                  <c:v>118.90844</c:v>
                </c:pt>
                <c:pt idx="1795">
                  <c:v>116.54769</c:v>
                </c:pt>
                <c:pt idx="1796">
                  <c:v>116.18658000000001</c:v>
                </c:pt>
                <c:pt idx="1797">
                  <c:v>115.29492</c:v>
                </c:pt>
                <c:pt idx="1798">
                  <c:v>118.51212</c:v>
                </c:pt>
                <c:pt idx="1799">
                  <c:v>119.66591</c:v>
                </c:pt>
                <c:pt idx="1800">
                  <c:v>121.38461</c:v>
                </c:pt>
                <c:pt idx="1801">
                  <c:v>122.70086000000001</c:v>
                </c:pt>
                <c:pt idx="1802">
                  <c:v>122.43178</c:v>
                </c:pt>
                <c:pt idx="1803">
                  <c:v>125.24590999999999</c:v>
                </c:pt>
                <c:pt idx="1804">
                  <c:v>138.62586999999999</c:v>
                </c:pt>
                <c:pt idx="1805">
                  <c:v>132.67989</c:v>
                </c:pt>
                <c:pt idx="1806">
                  <c:v>129.22918999999999</c:v>
                </c:pt>
                <c:pt idx="1807">
                  <c:v>125.68661</c:v>
                </c:pt>
                <c:pt idx="1808">
                  <c:v>127.77952999999999</c:v>
                </c:pt>
                <c:pt idx="1809">
                  <c:v>127.36481000000001</c:v>
                </c:pt>
                <c:pt idx="1810">
                  <c:v>127.62929</c:v>
                </c:pt>
                <c:pt idx="1811">
                  <c:v>129.56711000000001</c:v>
                </c:pt>
                <c:pt idx="1812">
                  <c:v>129.2594</c:v>
                </c:pt>
                <c:pt idx="1813">
                  <c:v>128.79723000000001</c:v>
                </c:pt>
                <c:pt idx="1814">
                  <c:v>129.09341000000001</c:v>
                </c:pt>
                <c:pt idx="1815">
                  <c:v>128.36834999999999</c:v>
                </c:pt>
                <c:pt idx="1816">
                  <c:v>125.921234</c:v>
                </c:pt>
                <c:pt idx="1817">
                  <c:v>125.13357000000001</c:v>
                </c:pt>
                <c:pt idx="1818">
                  <c:v>124.98438</c:v>
                </c:pt>
                <c:pt idx="1819">
                  <c:v>124.668205</c:v>
                </c:pt>
                <c:pt idx="1820">
                  <c:v>125.2572</c:v>
                </c:pt>
                <c:pt idx="1821">
                  <c:v>125.97880000000001</c:v>
                </c:pt>
                <c:pt idx="1822">
                  <c:v>126.120834</c:v>
                </c:pt>
                <c:pt idx="1823">
                  <c:v>125.178505</c:v>
                </c:pt>
                <c:pt idx="1824">
                  <c:v>124.081985</c:v>
                </c:pt>
                <c:pt idx="1825">
                  <c:v>124.031944</c:v>
                </c:pt>
                <c:pt idx="1826">
                  <c:v>126.66876999999999</c:v>
                </c:pt>
                <c:pt idx="1827">
                  <c:v>125.92731999999999</c:v>
                </c:pt>
                <c:pt idx="1828">
                  <c:v>124.83244000000001</c:v>
                </c:pt>
                <c:pt idx="1829">
                  <c:v>124.3479</c:v>
                </c:pt>
                <c:pt idx="1830">
                  <c:v>123.37958999999999</c:v>
                </c:pt>
                <c:pt idx="1831">
                  <c:v>123.28342000000001</c:v>
                </c:pt>
                <c:pt idx="1832">
                  <c:v>123.67476000000001</c:v>
                </c:pt>
                <c:pt idx="1833">
                  <c:v>125.592766</c:v>
                </c:pt>
                <c:pt idx="1834">
                  <c:v>124.02789</c:v>
                </c:pt>
                <c:pt idx="1835">
                  <c:v>121.66528</c:v>
                </c:pt>
                <c:pt idx="1836">
                  <c:v>121.67479</c:v>
                </c:pt>
                <c:pt idx="1837">
                  <c:v>121.712456</c:v>
                </c:pt>
                <c:pt idx="1838">
                  <c:v>124.44906</c:v>
                </c:pt>
                <c:pt idx="1839">
                  <c:v>129.62988000000001</c:v>
                </c:pt>
                <c:pt idx="1840">
                  <c:v>133.2457</c:v>
                </c:pt>
                <c:pt idx="1841">
                  <c:v>134.17804000000001</c:v>
                </c:pt>
                <c:pt idx="1842">
                  <c:v>133.73159999999999</c:v>
                </c:pt>
                <c:pt idx="1843">
                  <c:v>133.21849</c:v>
                </c:pt>
                <c:pt idx="1844">
                  <c:v>129.92931999999999</c:v>
                </c:pt>
                <c:pt idx="1845">
                  <c:v>129.00989999999999</c:v>
                </c:pt>
                <c:pt idx="1846">
                  <c:v>128.89751999999999</c:v>
                </c:pt>
                <c:pt idx="1847">
                  <c:v>129.83412000000001</c:v>
                </c:pt>
                <c:pt idx="1848">
                  <c:v>129.76254</c:v>
                </c:pt>
                <c:pt idx="1849">
                  <c:v>129.84386000000001</c:v>
                </c:pt>
                <c:pt idx="1850">
                  <c:v>130.41019</c:v>
                </c:pt>
                <c:pt idx="1851">
                  <c:v>130.00980999999999</c:v>
                </c:pt>
                <c:pt idx="1852">
                  <c:v>130.08081000000001</c:v>
                </c:pt>
                <c:pt idx="1853">
                  <c:v>129.09361000000001</c:v>
                </c:pt>
                <c:pt idx="1854">
                  <c:v>129.15380999999999</c:v>
                </c:pt>
                <c:pt idx="1855">
                  <c:v>128.51979</c:v>
                </c:pt>
                <c:pt idx="1856">
                  <c:v>128.4076</c:v>
                </c:pt>
                <c:pt idx="1857">
                  <c:v>129.2278</c:v>
                </c:pt>
                <c:pt idx="1858">
                  <c:v>129.68039999999999</c:v>
                </c:pt>
                <c:pt idx="1859">
                  <c:v>129.94394</c:v>
                </c:pt>
                <c:pt idx="1860">
                  <c:v>131.05756</c:v>
                </c:pt>
                <c:pt idx="1861">
                  <c:v>130.94475</c:v>
                </c:pt>
                <c:pt idx="1862">
                  <c:v>131.1</c:v>
                </c:pt>
                <c:pt idx="1863">
                  <c:v>130.87862000000001</c:v>
                </c:pt>
                <c:pt idx="1864">
                  <c:v>131.58278000000001</c:v>
                </c:pt>
                <c:pt idx="1865">
                  <c:v>131.81752</c:v>
                </c:pt>
                <c:pt idx="1866">
                  <c:v>132.07463000000001</c:v>
                </c:pt>
                <c:pt idx="1867">
                  <c:v>132.33332999999999</c:v>
                </c:pt>
                <c:pt idx="1868">
                  <c:v>131.96797000000001</c:v>
                </c:pt>
                <c:pt idx="1869">
                  <c:v>131.90324000000001</c:v>
                </c:pt>
                <c:pt idx="1870">
                  <c:v>132.39232000000001</c:v>
                </c:pt>
                <c:pt idx="1871">
                  <c:v>132.95229</c:v>
                </c:pt>
                <c:pt idx="1872">
                  <c:v>133.09528</c:v>
                </c:pt>
                <c:pt idx="1873">
                  <c:v>132.73979</c:v>
                </c:pt>
                <c:pt idx="1874">
                  <c:v>132.02343999999999</c:v>
                </c:pt>
                <c:pt idx="1875">
                  <c:v>132.17465000000001</c:v>
                </c:pt>
                <c:pt idx="1876">
                  <c:v>131.98558</c:v>
                </c:pt>
                <c:pt idx="1877">
                  <c:v>132.43764999999999</c:v>
                </c:pt>
                <c:pt idx="1878">
                  <c:v>132.38758999999999</c:v>
                </c:pt>
                <c:pt idx="1879">
                  <c:v>132.98320000000001</c:v>
                </c:pt>
                <c:pt idx="1880">
                  <c:v>133.30078</c:v>
                </c:pt>
                <c:pt idx="1881">
                  <c:v>133.52856</c:v>
                </c:pt>
                <c:pt idx="1882">
                  <c:v>133.97218000000001</c:v>
                </c:pt>
                <c:pt idx="1883">
                  <c:v>134.38397000000001</c:v>
                </c:pt>
                <c:pt idx="1884">
                  <c:v>134.67068</c:v>
                </c:pt>
                <c:pt idx="1885">
                  <c:v>134.75953999999999</c:v>
                </c:pt>
                <c:pt idx="1886">
                  <c:v>134.39426</c:v>
                </c:pt>
                <c:pt idx="1887">
                  <c:v>135.07990000000001</c:v>
                </c:pt>
                <c:pt idx="1888">
                  <c:v>134.8887</c:v>
                </c:pt>
                <c:pt idx="1889">
                  <c:v>134.80590000000001</c:v>
                </c:pt>
                <c:pt idx="1890">
                  <c:v>134.98150000000001</c:v>
                </c:pt>
                <c:pt idx="1891">
                  <c:v>135.11935</c:v>
                </c:pt>
                <c:pt idx="1892">
                  <c:v>135.09395000000001</c:v>
                </c:pt>
                <c:pt idx="1893">
                  <c:v>135.01157000000001</c:v>
                </c:pt>
                <c:pt idx="1894">
                  <c:v>135.43645000000001</c:v>
                </c:pt>
                <c:pt idx="1895">
                  <c:v>135.88916</c:v>
                </c:pt>
                <c:pt idx="1896">
                  <c:v>136.10023000000001</c:v>
                </c:pt>
                <c:pt idx="1897">
                  <c:v>137.12239</c:v>
                </c:pt>
                <c:pt idx="1898">
                  <c:v>137.21806000000001</c:v>
                </c:pt>
                <c:pt idx="1899">
                  <c:v>137.37538000000001</c:v>
                </c:pt>
                <c:pt idx="1900">
                  <c:v>137.36252999999999</c:v>
                </c:pt>
                <c:pt idx="1901">
                  <c:v>137.64223000000001</c:v>
                </c:pt>
                <c:pt idx="1902">
                  <c:v>138.63775999999999</c:v>
                </c:pt>
                <c:pt idx="1903">
                  <c:v>137.44066000000001</c:v>
                </c:pt>
                <c:pt idx="1904">
                  <c:v>136.35097999999999</c:v>
                </c:pt>
                <c:pt idx="1905">
                  <c:v>134.61985999999999</c:v>
                </c:pt>
                <c:pt idx="1906">
                  <c:v>134.95767000000001</c:v>
                </c:pt>
                <c:pt idx="1907">
                  <c:v>134.5598</c:v>
                </c:pt>
                <c:pt idx="1908">
                  <c:v>134.10026999999999</c:v>
                </c:pt>
                <c:pt idx="1909">
                  <c:v>134.51283000000001</c:v>
                </c:pt>
                <c:pt idx="1910">
                  <c:v>135.19703999999999</c:v>
                </c:pt>
                <c:pt idx="1911">
                  <c:v>135.13454999999999</c:v>
                </c:pt>
                <c:pt idx="1912">
                  <c:v>134.96514999999999</c:v>
                </c:pt>
                <c:pt idx="1913">
                  <c:v>134.83792</c:v>
                </c:pt>
                <c:pt idx="1914">
                  <c:v>133.55681000000001</c:v>
                </c:pt>
                <c:pt idx="1915">
                  <c:v>133.53262000000001</c:v>
                </c:pt>
                <c:pt idx="1916">
                  <c:v>132.75577000000001</c:v>
                </c:pt>
                <c:pt idx="1917">
                  <c:v>132.41629</c:v>
                </c:pt>
                <c:pt idx="1918">
                  <c:v>133.15181000000001</c:v>
                </c:pt>
                <c:pt idx="1919">
                  <c:v>134.69217</c:v>
                </c:pt>
                <c:pt idx="1920">
                  <c:v>134.47716</c:v>
                </c:pt>
                <c:pt idx="1921">
                  <c:v>135.14882</c:v>
                </c:pt>
                <c:pt idx="1922">
                  <c:v>135.51147</c:v>
                </c:pt>
                <c:pt idx="1923">
                  <c:v>134.8973</c:v>
                </c:pt>
                <c:pt idx="1924">
                  <c:v>135.43369000000001</c:v>
                </c:pt>
                <c:pt idx="1925">
                  <c:v>135.02356</c:v>
                </c:pt>
                <c:pt idx="1926">
                  <c:v>135.61652000000001</c:v>
                </c:pt>
                <c:pt idx="1927">
                  <c:v>136.00712999999999</c:v>
                </c:pt>
                <c:pt idx="1928">
                  <c:v>136.60587000000001</c:v>
                </c:pt>
                <c:pt idx="1929">
                  <c:v>137.99486999999999</c:v>
                </c:pt>
                <c:pt idx="1930">
                  <c:v>137.81980999999999</c:v>
                </c:pt>
                <c:pt idx="1931">
                  <c:v>137.26804999999999</c:v>
                </c:pt>
                <c:pt idx="1932">
                  <c:v>136.94927999999999</c:v>
                </c:pt>
                <c:pt idx="1933">
                  <c:v>137.10283999999999</c:v>
                </c:pt>
                <c:pt idx="1934">
                  <c:v>136.09963999999999</c:v>
                </c:pt>
                <c:pt idx="1935">
                  <c:v>135.92310000000001</c:v>
                </c:pt>
                <c:pt idx="1936">
                  <c:v>135.78926000000001</c:v>
                </c:pt>
                <c:pt idx="1937">
                  <c:v>136.09843000000001</c:v>
                </c:pt>
                <c:pt idx="1938">
                  <c:v>136.38096999999999</c:v>
                </c:pt>
                <c:pt idx="1939">
                  <c:v>135.67587</c:v>
                </c:pt>
                <c:pt idx="1940">
                  <c:v>135.28447</c:v>
                </c:pt>
                <c:pt idx="1941">
                  <c:v>133.68880999999999</c:v>
                </c:pt>
                <c:pt idx="1942">
                  <c:v>133.51725999999999</c:v>
                </c:pt>
                <c:pt idx="1943">
                  <c:v>132.98160999999999</c:v>
                </c:pt>
                <c:pt idx="1944">
                  <c:v>133.26898</c:v>
                </c:pt>
                <c:pt idx="1945">
                  <c:v>134.32318000000001</c:v>
                </c:pt>
                <c:pt idx="1946">
                  <c:v>135.9787</c:v>
                </c:pt>
                <c:pt idx="1947">
                  <c:v>137.29884000000001</c:v>
                </c:pt>
                <c:pt idx="1948">
                  <c:v>137.53152</c:v>
                </c:pt>
                <c:pt idx="1949">
                  <c:v>138.52203</c:v>
                </c:pt>
                <c:pt idx="1950">
                  <c:v>138.56482</c:v>
                </c:pt>
                <c:pt idx="1951">
                  <c:v>138.70528999999999</c:v>
                </c:pt>
                <c:pt idx="1952">
                  <c:v>137.97588999999999</c:v>
                </c:pt>
                <c:pt idx="1953">
                  <c:v>138.38024999999999</c:v>
                </c:pt>
                <c:pt idx="1954">
                  <c:v>139.19305</c:v>
                </c:pt>
                <c:pt idx="1955">
                  <c:v>139.15280000000001</c:v>
                </c:pt>
                <c:pt idx="1956">
                  <c:v>138.73939999999999</c:v>
                </c:pt>
                <c:pt idx="1957">
                  <c:v>138.76105000000001</c:v>
                </c:pt>
                <c:pt idx="1958">
                  <c:v>138.30762999999999</c:v>
                </c:pt>
                <c:pt idx="1959">
                  <c:v>138.42479</c:v>
                </c:pt>
                <c:pt idx="1960">
                  <c:v>139.37508</c:v>
                </c:pt>
                <c:pt idx="1961">
                  <c:v>139.30930000000001</c:v>
                </c:pt>
                <c:pt idx="1962">
                  <c:v>139.30243999999999</c:v>
                </c:pt>
                <c:pt idx="1963">
                  <c:v>139.5284</c:v>
                </c:pt>
                <c:pt idx="1964">
                  <c:v>139.99878000000001</c:v>
                </c:pt>
                <c:pt idx="1965">
                  <c:v>140.22484</c:v>
                </c:pt>
                <c:pt idx="1966">
                  <c:v>140.27635000000001</c:v>
                </c:pt>
                <c:pt idx="1967">
                  <c:v>140.50688</c:v>
                </c:pt>
                <c:pt idx="1968">
                  <c:v>140.55653000000001</c:v>
                </c:pt>
                <c:pt idx="1969">
                  <c:v>140.62316999999999</c:v>
                </c:pt>
                <c:pt idx="1970">
                  <c:v>140.27931000000001</c:v>
                </c:pt>
                <c:pt idx="1971">
                  <c:v>140.12935999999999</c:v>
                </c:pt>
                <c:pt idx="1972">
                  <c:v>139.89333999999999</c:v>
                </c:pt>
                <c:pt idx="1973">
                  <c:v>139.74904000000001</c:v>
                </c:pt>
                <c:pt idx="1974">
                  <c:v>140.23106000000001</c:v>
                </c:pt>
                <c:pt idx="1975">
                  <c:v>140.68115</c:v>
                </c:pt>
                <c:pt idx="1976">
                  <c:v>140.88186999999999</c:v>
                </c:pt>
                <c:pt idx="1977">
                  <c:v>141.43471</c:v>
                </c:pt>
                <c:pt idx="1978">
                  <c:v>140.77054000000001</c:v>
                </c:pt>
                <c:pt idx="1979">
                  <c:v>140.22388000000001</c:v>
                </c:pt>
                <c:pt idx="1980">
                  <c:v>140.14080999999999</c:v>
                </c:pt>
                <c:pt idx="1981">
                  <c:v>140.11501999999999</c:v>
                </c:pt>
                <c:pt idx="1982">
                  <c:v>140.76819</c:v>
                </c:pt>
                <c:pt idx="1983">
                  <c:v>140.99141</c:v>
                </c:pt>
                <c:pt idx="1984">
                  <c:v>140.98787999999999</c:v>
                </c:pt>
                <c:pt idx="1985">
                  <c:v>141.25174000000001</c:v>
                </c:pt>
                <c:pt idx="1986">
                  <c:v>141.28644</c:v>
                </c:pt>
                <c:pt idx="1987">
                  <c:v>141.18496999999999</c:v>
                </c:pt>
                <c:pt idx="1988">
                  <c:v>141.42037999999999</c:v>
                </c:pt>
                <c:pt idx="1989">
                  <c:v>142.12924000000001</c:v>
                </c:pt>
                <c:pt idx="1990">
                  <c:v>142.54971</c:v>
                </c:pt>
                <c:pt idx="1991">
                  <c:v>142.30435</c:v>
                </c:pt>
                <c:pt idx="1992">
                  <c:v>142.37827999999999</c:v>
                </c:pt>
                <c:pt idx="1993">
                  <c:v>142.39676</c:v>
                </c:pt>
                <c:pt idx="1994">
                  <c:v>142.24518</c:v>
                </c:pt>
                <c:pt idx="1995">
                  <c:v>141.81563</c:v>
                </c:pt>
                <c:pt idx="1996">
                  <c:v>142.15889000000001</c:v>
                </c:pt>
                <c:pt idx="1997">
                  <c:v>142.87852000000001</c:v>
                </c:pt>
                <c:pt idx="1998">
                  <c:v>143.16153</c:v>
                </c:pt>
                <c:pt idx="1999">
                  <c:v>142.89569</c:v>
                </c:pt>
                <c:pt idx="2000">
                  <c:v>142.93672000000001</c:v>
                </c:pt>
                <c:pt idx="2001">
                  <c:v>142.94003000000001</c:v>
                </c:pt>
                <c:pt idx="2002">
                  <c:v>142.03581</c:v>
                </c:pt>
                <c:pt idx="2003">
                  <c:v>142.08043000000001</c:v>
                </c:pt>
                <c:pt idx="2004">
                  <c:v>141.31498999999999</c:v>
                </c:pt>
                <c:pt idx="2005">
                  <c:v>141.51850999999999</c:v>
                </c:pt>
                <c:pt idx="2006">
                  <c:v>142.14604</c:v>
                </c:pt>
                <c:pt idx="2007">
                  <c:v>142.43385000000001</c:v>
                </c:pt>
                <c:pt idx="2008">
                  <c:v>143.0677</c:v>
                </c:pt>
                <c:pt idx="2009">
                  <c:v>143.4948</c:v>
                </c:pt>
                <c:pt idx="2010">
                  <c:v>143.89613</c:v>
                </c:pt>
                <c:pt idx="2011">
                  <c:v>143.82898</c:v>
                </c:pt>
                <c:pt idx="2012">
                  <c:v>144.19072</c:v>
                </c:pt>
                <c:pt idx="2013">
                  <c:v>144.41927999999999</c:v>
                </c:pt>
                <c:pt idx="2014">
                  <c:v>144.41408000000001</c:v>
                </c:pt>
                <c:pt idx="2015">
                  <c:v>144.28382999999999</c:v>
                </c:pt>
                <c:pt idx="2016">
                  <c:v>144.02736999999999</c:v>
                </c:pt>
                <c:pt idx="2017">
                  <c:v>143.82648</c:v>
                </c:pt>
                <c:pt idx="2018">
                  <c:v>143.88496000000001</c:v>
                </c:pt>
                <c:pt idx="2019">
                  <c:v>143.60335000000001</c:v>
                </c:pt>
                <c:pt idx="2020">
                  <c:v>143.61850000000001</c:v>
                </c:pt>
                <c:pt idx="2021">
                  <c:v>143.9682</c:v>
                </c:pt>
                <c:pt idx="2022">
                  <c:v>143.02376000000001</c:v>
                </c:pt>
                <c:pt idx="2023">
                  <c:v>142.86628999999999</c:v>
                </c:pt>
                <c:pt idx="2024">
                  <c:v>143.52393000000001</c:v>
                </c:pt>
                <c:pt idx="2025">
                  <c:v>143.35059000000001</c:v>
                </c:pt>
                <c:pt idx="2026">
                  <c:v>142.95804999999999</c:v>
                </c:pt>
                <c:pt idx="2027">
                  <c:v>142.43234000000001</c:v>
                </c:pt>
                <c:pt idx="2028">
                  <c:v>143.27357000000001</c:v>
                </c:pt>
                <c:pt idx="2029">
                  <c:v>143.04968</c:v>
                </c:pt>
                <c:pt idx="2030">
                  <c:v>143.62139999999999</c:v>
                </c:pt>
                <c:pt idx="2031">
                  <c:v>143.91512</c:v>
                </c:pt>
                <c:pt idx="2032">
                  <c:v>144.06155000000001</c:v>
                </c:pt>
                <c:pt idx="2033">
                  <c:v>144.24312</c:v>
                </c:pt>
                <c:pt idx="2034">
                  <c:v>144.6431</c:v>
                </c:pt>
                <c:pt idx="2035">
                  <c:v>144.70587</c:v>
                </c:pt>
                <c:pt idx="2036">
                  <c:v>144.91774000000001</c:v>
                </c:pt>
                <c:pt idx="2037">
                  <c:v>144.33784</c:v>
                </c:pt>
                <c:pt idx="2038">
                  <c:v>145.17750000000001</c:v>
                </c:pt>
                <c:pt idx="2039">
                  <c:v>144.82426000000001</c:v>
                </c:pt>
                <c:pt idx="2040">
                  <c:v>144.13121000000001</c:v>
                </c:pt>
                <c:pt idx="2041">
                  <c:v>143.51528999999999</c:v>
                </c:pt>
                <c:pt idx="2042">
                  <c:v>143.69390000000001</c:v>
                </c:pt>
                <c:pt idx="2043">
                  <c:v>144.64586</c:v>
                </c:pt>
                <c:pt idx="2044">
                  <c:v>144.81766999999999</c:v>
                </c:pt>
                <c:pt idx="2045">
                  <c:v>144.52780000000001</c:v>
                </c:pt>
                <c:pt idx="2046">
                  <c:v>144.81458000000001</c:v>
                </c:pt>
                <c:pt idx="2047">
                  <c:v>145.28278</c:v>
                </c:pt>
                <c:pt idx="2048">
                  <c:v>146.13887</c:v>
                </c:pt>
                <c:pt idx="2049">
                  <c:v>146.21074999999999</c:v>
                </c:pt>
                <c:pt idx="2050">
                  <c:v>146.27815000000001</c:v>
                </c:pt>
                <c:pt idx="2051">
                  <c:v>146.66101</c:v>
                </c:pt>
                <c:pt idx="2052">
                  <c:v>146.90584999999999</c:v>
                </c:pt>
                <c:pt idx="2053">
                  <c:v>146.86813000000001</c:v>
                </c:pt>
                <c:pt idx="2054">
                  <c:v>147.08627000000001</c:v>
                </c:pt>
                <c:pt idx="2055">
                  <c:v>146.91489999999999</c:v>
                </c:pt>
                <c:pt idx="2056">
                  <c:v>147.32928000000001</c:v>
                </c:pt>
                <c:pt idx="2057">
                  <c:v>147.75262000000001</c:v>
                </c:pt>
                <c:pt idx="2058">
                  <c:v>147.65253000000001</c:v>
                </c:pt>
                <c:pt idx="2059">
                  <c:v>147.14839000000001</c:v>
                </c:pt>
                <c:pt idx="2060">
                  <c:v>147.50658000000001</c:v>
                </c:pt>
                <c:pt idx="2061">
                  <c:v>147.08652000000001</c:v>
                </c:pt>
                <c:pt idx="2062">
                  <c:v>147.36341999999999</c:v>
                </c:pt>
                <c:pt idx="2063">
                  <c:v>147.66676000000001</c:v>
                </c:pt>
                <c:pt idx="2064">
                  <c:v>147.64867000000001</c:v>
                </c:pt>
                <c:pt idx="2065">
                  <c:v>147.61615</c:v>
                </c:pt>
                <c:pt idx="2066">
                  <c:v>147.87064000000001</c:v>
                </c:pt>
                <c:pt idx="2067">
                  <c:v>147.66708</c:v>
                </c:pt>
                <c:pt idx="2068">
                  <c:v>147.83112</c:v>
                </c:pt>
                <c:pt idx="2069">
                  <c:v>147.63714999999999</c:v>
                </c:pt>
                <c:pt idx="2070">
                  <c:v>147.47364999999999</c:v>
                </c:pt>
                <c:pt idx="2071">
                  <c:v>147.67106999999999</c:v>
                </c:pt>
                <c:pt idx="2072">
                  <c:v>148.01339999999999</c:v>
                </c:pt>
                <c:pt idx="2073">
                  <c:v>147.78679</c:v>
                </c:pt>
                <c:pt idx="2074">
                  <c:v>147.37225000000001</c:v>
                </c:pt>
                <c:pt idx="2075">
                  <c:v>146.35986</c:v>
                </c:pt>
                <c:pt idx="2076">
                  <c:v>146.52379999999999</c:v>
                </c:pt>
                <c:pt idx="2077">
                  <c:v>147.13802000000001</c:v>
                </c:pt>
                <c:pt idx="2078">
                  <c:v>147.17456000000001</c:v>
                </c:pt>
                <c:pt idx="2079">
                  <c:v>146.91767999999999</c:v>
                </c:pt>
                <c:pt idx="2080">
                  <c:v>146.72774000000001</c:v>
                </c:pt>
                <c:pt idx="2081">
                  <c:v>147.07341</c:v>
                </c:pt>
                <c:pt idx="2082">
                  <c:v>147.25801000000001</c:v>
                </c:pt>
                <c:pt idx="2083">
                  <c:v>147.58188000000001</c:v>
                </c:pt>
                <c:pt idx="2084">
                  <c:v>147.66077000000001</c:v>
                </c:pt>
                <c:pt idx="2085">
                  <c:v>147.75498999999999</c:v>
                </c:pt>
                <c:pt idx="2086">
                  <c:v>148.25128000000001</c:v>
                </c:pt>
                <c:pt idx="2087">
                  <c:v>148.01668000000001</c:v>
                </c:pt>
                <c:pt idx="2088">
                  <c:v>147.91263000000001</c:v>
                </c:pt>
                <c:pt idx="2089">
                  <c:v>147.87137999999999</c:v>
                </c:pt>
                <c:pt idx="2090">
                  <c:v>147.71387999999999</c:v>
                </c:pt>
                <c:pt idx="2091">
                  <c:v>148.02992</c:v>
                </c:pt>
                <c:pt idx="2092">
                  <c:v>148.03989000000001</c:v>
                </c:pt>
                <c:pt idx="2093">
                  <c:v>148.20984999999999</c:v>
                </c:pt>
                <c:pt idx="2094">
                  <c:v>148.03313</c:v>
                </c:pt>
                <c:pt idx="2095">
                  <c:v>148.23361</c:v>
                </c:pt>
                <c:pt idx="2096">
                  <c:v>148.34790000000001</c:v>
                </c:pt>
                <c:pt idx="2097">
                  <c:v>148.35203999999999</c:v>
                </c:pt>
                <c:pt idx="2098">
                  <c:v>148.35348999999999</c:v>
                </c:pt>
                <c:pt idx="2099">
                  <c:v>148.25919999999999</c:v>
                </c:pt>
                <c:pt idx="2100">
                  <c:v>148.19723999999999</c:v>
                </c:pt>
                <c:pt idx="2101">
                  <c:v>148.10560000000001</c:v>
                </c:pt>
                <c:pt idx="2102">
                  <c:v>148.12058999999999</c:v>
                </c:pt>
                <c:pt idx="2103">
                  <c:v>148.12314000000001</c:v>
                </c:pt>
                <c:pt idx="2104">
                  <c:v>148.15255999999999</c:v>
                </c:pt>
                <c:pt idx="2105">
                  <c:v>148.43361999999999</c:v>
                </c:pt>
                <c:pt idx="2106">
                  <c:v>148.89024000000001</c:v>
                </c:pt>
                <c:pt idx="2107">
                  <c:v>148.92234999999999</c:v>
                </c:pt>
                <c:pt idx="2108">
                  <c:v>148.80692999999999</c:v>
                </c:pt>
                <c:pt idx="2109">
                  <c:v>148.99643</c:v>
                </c:pt>
              </c:numCache>
            </c:numRef>
          </c:val>
          <c:smooth val="0"/>
          <c:extLst>
            <c:ext xmlns:c16="http://schemas.microsoft.com/office/drawing/2014/chart" uri="{C3380CC4-5D6E-409C-BE32-E72D297353CC}">
              <c16:uniqueId val="{00000001-39F2-104F-8D1D-22D1266C2E0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65"/>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732811210122191E-2"/>
          <c:y val="3.4909703755316636E-2"/>
          <c:w val="0.9282671887898778"/>
          <c:h val="0.9199180263261606"/>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B$2:$B$2111</c:f>
              <c:numCache>
                <c:formatCode>General</c:formatCode>
                <c:ptCount val="2110"/>
                <c:pt idx="0">
                  <c:v>93.213745000000003</c:v>
                </c:pt>
                <c:pt idx="1">
                  <c:v>93.563773999999995</c:v>
                </c:pt>
                <c:pt idx="2">
                  <c:v>93.397514000000001</c:v>
                </c:pt>
                <c:pt idx="3">
                  <c:v>94.613879999999995</c:v>
                </c:pt>
                <c:pt idx="4">
                  <c:v>94.640144000000006</c:v>
                </c:pt>
                <c:pt idx="5">
                  <c:v>95.698989999999995</c:v>
                </c:pt>
                <c:pt idx="6">
                  <c:v>95.742744000000002</c:v>
                </c:pt>
                <c:pt idx="7">
                  <c:v>95.856514000000004</c:v>
                </c:pt>
                <c:pt idx="8">
                  <c:v>96.110275000000001</c:v>
                </c:pt>
                <c:pt idx="9">
                  <c:v>95.620230000000006</c:v>
                </c:pt>
                <c:pt idx="10">
                  <c:v>96.591570000000004</c:v>
                </c:pt>
                <c:pt idx="11">
                  <c:v>96.682334999999995</c:v>
                </c:pt>
                <c:pt idx="12">
                  <c:v>97.017120000000006</c:v>
                </c:pt>
                <c:pt idx="13">
                  <c:v>97.413629999999998</c:v>
                </c:pt>
                <c:pt idx="14">
                  <c:v>96.594210000000004</c:v>
                </c:pt>
                <c:pt idx="15">
                  <c:v>96.321070000000006</c:v>
                </c:pt>
                <c:pt idx="16">
                  <c:v>96.303439999999995</c:v>
                </c:pt>
                <c:pt idx="17">
                  <c:v>96.056749999999994</c:v>
                </c:pt>
                <c:pt idx="18">
                  <c:v>96.558975000000004</c:v>
                </c:pt>
                <c:pt idx="19">
                  <c:v>96.400369999999995</c:v>
                </c:pt>
                <c:pt idx="20">
                  <c:v>96.33869</c:v>
                </c:pt>
                <c:pt idx="21">
                  <c:v>97.898223999999999</c:v>
                </c:pt>
                <c:pt idx="22">
                  <c:v>97.924670000000006</c:v>
                </c:pt>
                <c:pt idx="23">
                  <c:v>98.144936000000001</c:v>
                </c:pt>
                <c:pt idx="24">
                  <c:v>97.933480000000003</c:v>
                </c:pt>
                <c:pt idx="25">
                  <c:v>98.479730000000004</c:v>
                </c:pt>
                <c:pt idx="26">
                  <c:v>98.700040000000001</c:v>
                </c:pt>
                <c:pt idx="27">
                  <c:v>98.488556000000003</c:v>
                </c:pt>
                <c:pt idx="28">
                  <c:v>98.788123999999996</c:v>
                </c:pt>
                <c:pt idx="29">
                  <c:v>98.532619999999994</c:v>
                </c:pt>
                <c:pt idx="30">
                  <c:v>99.078896</c:v>
                </c:pt>
                <c:pt idx="31">
                  <c:v>99.061269999999993</c:v>
                </c:pt>
                <c:pt idx="32">
                  <c:v>98.840990000000005</c:v>
                </c:pt>
                <c:pt idx="33">
                  <c:v>98.559049999999999</c:v>
                </c:pt>
                <c:pt idx="34">
                  <c:v>98.559049999999999</c:v>
                </c:pt>
                <c:pt idx="35">
                  <c:v>98.752883999999995</c:v>
                </c:pt>
                <c:pt idx="36">
                  <c:v>98.629530000000003</c:v>
                </c:pt>
                <c:pt idx="37">
                  <c:v>98.312340000000006</c:v>
                </c:pt>
                <c:pt idx="38">
                  <c:v>98.338775999999996</c:v>
                </c:pt>
                <c:pt idx="39">
                  <c:v>98.700040000000001</c:v>
                </c:pt>
                <c:pt idx="40">
                  <c:v>98.444500000000005</c:v>
                </c:pt>
                <c:pt idx="41">
                  <c:v>100.10095</c:v>
                </c:pt>
                <c:pt idx="42">
                  <c:v>99.281559999999999</c:v>
                </c:pt>
                <c:pt idx="43">
                  <c:v>99.845439999999996</c:v>
                </c:pt>
                <c:pt idx="44">
                  <c:v>100.6913</c:v>
                </c:pt>
                <c:pt idx="45">
                  <c:v>100.10977</c:v>
                </c:pt>
                <c:pt idx="46">
                  <c:v>100.08335</c:v>
                </c:pt>
                <c:pt idx="47">
                  <c:v>99.942374999999998</c:v>
                </c:pt>
                <c:pt idx="48">
                  <c:v>100.72653</c:v>
                </c:pt>
                <c:pt idx="49">
                  <c:v>100.585556</c:v>
                </c:pt>
                <c:pt idx="50">
                  <c:v>99.854259999999996</c:v>
                </c:pt>
                <c:pt idx="51">
                  <c:v>99.246300000000005</c:v>
                </c:pt>
                <c:pt idx="52">
                  <c:v>99.810196000000005</c:v>
                </c:pt>
                <c:pt idx="53">
                  <c:v>98.929100000000005</c:v>
                </c:pt>
                <c:pt idx="54">
                  <c:v>98.937910000000002</c:v>
                </c:pt>
                <c:pt idx="55">
                  <c:v>98.497370000000004</c:v>
                </c:pt>
                <c:pt idx="56">
                  <c:v>99.528260000000003</c:v>
                </c:pt>
                <c:pt idx="57">
                  <c:v>99.757323999999997</c:v>
                </c:pt>
                <c:pt idx="58">
                  <c:v>99.757323999999997</c:v>
                </c:pt>
                <c:pt idx="59">
                  <c:v>99.316779999999994</c:v>
                </c:pt>
                <c:pt idx="60">
                  <c:v>99.422516000000002</c:v>
                </c:pt>
                <c:pt idx="61">
                  <c:v>99.598724000000004</c:v>
                </c:pt>
                <c:pt idx="62">
                  <c:v>99.484189999999998</c:v>
                </c:pt>
                <c:pt idx="63">
                  <c:v>100.39172000000001</c:v>
                </c:pt>
                <c:pt idx="64">
                  <c:v>100.25955999999999</c:v>
                </c:pt>
                <c:pt idx="65">
                  <c:v>100.21549</c:v>
                </c:pt>
                <c:pt idx="66">
                  <c:v>100.47101000000001</c:v>
                </c:pt>
                <c:pt idx="67">
                  <c:v>100.17144</c:v>
                </c:pt>
                <c:pt idx="68">
                  <c:v>101.06135</c:v>
                </c:pt>
                <c:pt idx="69">
                  <c:v>101.36973</c:v>
                </c:pt>
                <c:pt idx="70">
                  <c:v>102.25964</c:v>
                </c:pt>
                <c:pt idx="71">
                  <c:v>103.554855</c:v>
                </c:pt>
                <c:pt idx="72">
                  <c:v>103.889656</c:v>
                </c:pt>
                <c:pt idx="73">
                  <c:v>103.97777600000001</c:v>
                </c:pt>
                <c:pt idx="74">
                  <c:v>103.68057</c:v>
                </c:pt>
                <c:pt idx="75">
                  <c:v>103.99995</c:v>
                </c:pt>
                <c:pt idx="76">
                  <c:v>104.3903</c:v>
                </c:pt>
                <c:pt idx="77">
                  <c:v>104.57658000000001</c:v>
                </c:pt>
                <c:pt idx="78">
                  <c:v>104.41691</c:v>
                </c:pt>
                <c:pt idx="79">
                  <c:v>103.840256</c:v>
                </c:pt>
                <c:pt idx="80">
                  <c:v>102.81119</c:v>
                </c:pt>
                <c:pt idx="81">
                  <c:v>102.85554999999999</c:v>
                </c:pt>
                <c:pt idx="82">
                  <c:v>103.11282</c:v>
                </c:pt>
                <c:pt idx="83">
                  <c:v>103.19264</c:v>
                </c:pt>
                <c:pt idx="84">
                  <c:v>104.124146</c:v>
                </c:pt>
                <c:pt idx="85">
                  <c:v>103.98219</c:v>
                </c:pt>
                <c:pt idx="86">
                  <c:v>103.6717</c:v>
                </c:pt>
                <c:pt idx="87">
                  <c:v>104.05318</c:v>
                </c:pt>
                <c:pt idx="88">
                  <c:v>104.638695</c:v>
                </c:pt>
                <c:pt idx="89">
                  <c:v>104.16849000000001</c:v>
                </c:pt>
                <c:pt idx="90">
                  <c:v>103.04183999999999</c:v>
                </c:pt>
                <c:pt idx="91">
                  <c:v>103.760414</c:v>
                </c:pt>
                <c:pt idx="92">
                  <c:v>103.90236</c:v>
                </c:pt>
                <c:pt idx="93">
                  <c:v>102.85554999999999</c:v>
                </c:pt>
                <c:pt idx="94">
                  <c:v>103.24585</c:v>
                </c:pt>
                <c:pt idx="95">
                  <c:v>102.18129999999999</c:v>
                </c:pt>
                <c:pt idx="96">
                  <c:v>102.45631</c:v>
                </c:pt>
                <c:pt idx="97">
                  <c:v>102.41194</c:v>
                </c:pt>
                <c:pt idx="98">
                  <c:v>102.28776000000001</c:v>
                </c:pt>
                <c:pt idx="99">
                  <c:v>102.13694</c:v>
                </c:pt>
                <c:pt idx="100">
                  <c:v>102.474075</c:v>
                </c:pt>
                <c:pt idx="101">
                  <c:v>101.37399000000001</c:v>
                </c:pt>
                <c:pt idx="102">
                  <c:v>100.9038</c:v>
                </c:pt>
                <c:pt idx="103">
                  <c:v>101.81756</c:v>
                </c:pt>
                <c:pt idx="104">
                  <c:v>101.152214</c:v>
                </c:pt>
                <c:pt idx="105">
                  <c:v>101.95950999999999</c:v>
                </c:pt>
                <c:pt idx="106">
                  <c:v>101.95950999999999</c:v>
                </c:pt>
                <c:pt idx="107">
                  <c:v>102.030495</c:v>
                </c:pt>
                <c:pt idx="108">
                  <c:v>102.323235</c:v>
                </c:pt>
                <c:pt idx="109">
                  <c:v>102.474075</c:v>
                </c:pt>
                <c:pt idx="110">
                  <c:v>103.46766</c:v>
                </c:pt>
                <c:pt idx="111">
                  <c:v>103.02409</c:v>
                </c:pt>
                <c:pt idx="112">
                  <c:v>103.30797</c:v>
                </c:pt>
                <c:pt idx="113">
                  <c:v>103.96447000000001</c:v>
                </c:pt>
                <c:pt idx="114">
                  <c:v>104.097534</c:v>
                </c:pt>
                <c:pt idx="115">
                  <c:v>103.44992000000001</c:v>
                </c:pt>
                <c:pt idx="116">
                  <c:v>103.44992000000001</c:v>
                </c:pt>
                <c:pt idx="117">
                  <c:v>102.83778</c:v>
                </c:pt>
                <c:pt idx="118">
                  <c:v>102.562775</c:v>
                </c:pt>
                <c:pt idx="119">
                  <c:v>103.17491</c:v>
                </c:pt>
                <c:pt idx="120">
                  <c:v>103.237015</c:v>
                </c:pt>
                <c:pt idx="121">
                  <c:v>103.760414</c:v>
                </c:pt>
                <c:pt idx="122">
                  <c:v>103.538635</c:v>
                </c:pt>
                <c:pt idx="123">
                  <c:v>103.46766</c:v>
                </c:pt>
                <c:pt idx="124">
                  <c:v>103.24585</c:v>
                </c:pt>
                <c:pt idx="125">
                  <c:v>103.36121</c:v>
                </c:pt>
                <c:pt idx="126">
                  <c:v>104.54111</c:v>
                </c:pt>
                <c:pt idx="127">
                  <c:v>105.54358999999999</c:v>
                </c:pt>
                <c:pt idx="128">
                  <c:v>105.65891999999999</c:v>
                </c:pt>
                <c:pt idx="129">
                  <c:v>105.02903000000001</c:v>
                </c:pt>
                <c:pt idx="130">
                  <c:v>104.32818</c:v>
                </c:pt>
                <c:pt idx="131">
                  <c:v>104.913704</c:v>
                </c:pt>
                <c:pt idx="132">
                  <c:v>104.6121</c:v>
                </c:pt>
                <c:pt idx="133">
                  <c:v>104.05318</c:v>
                </c:pt>
                <c:pt idx="134">
                  <c:v>103.10393999999999</c:v>
                </c:pt>
                <c:pt idx="135">
                  <c:v>102.775696</c:v>
                </c:pt>
                <c:pt idx="136">
                  <c:v>102.50069000000001</c:v>
                </c:pt>
                <c:pt idx="137">
                  <c:v>102.76681499999999</c:v>
                </c:pt>
                <c:pt idx="138">
                  <c:v>102.869545</c:v>
                </c:pt>
                <c:pt idx="139">
                  <c:v>103.38769499999999</c:v>
                </c:pt>
                <c:pt idx="140">
                  <c:v>103.48596999999999</c:v>
                </c:pt>
                <c:pt idx="141">
                  <c:v>103.51275</c:v>
                </c:pt>
                <c:pt idx="142">
                  <c:v>103.94157</c:v>
                </c:pt>
                <c:pt idx="143">
                  <c:v>104.51331</c:v>
                </c:pt>
                <c:pt idx="144">
                  <c:v>102.77128999999999</c:v>
                </c:pt>
                <c:pt idx="145">
                  <c:v>103.35196000000001</c:v>
                </c:pt>
                <c:pt idx="146">
                  <c:v>102.73555</c:v>
                </c:pt>
                <c:pt idx="147">
                  <c:v>102.24419399999999</c:v>
                </c:pt>
                <c:pt idx="148">
                  <c:v>102.01194</c:v>
                </c:pt>
                <c:pt idx="149">
                  <c:v>102.60156000000001</c:v>
                </c:pt>
                <c:pt idx="150">
                  <c:v>102.72662</c:v>
                </c:pt>
                <c:pt idx="151">
                  <c:v>102.279945</c:v>
                </c:pt>
                <c:pt idx="152">
                  <c:v>101.46699</c:v>
                </c:pt>
                <c:pt idx="153">
                  <c:v>100.77016999999999</c:v>
                </c:pt>
                <c:pt idx="154">
                  <c:v>99.921486000000002</c:v>
                </c:pt>
                <c:pt idx="155">
                  <c:v>100.00189</c:v>
                </c:pt>
                <c:pt idx="156">
                  <c:v>99.885750000000002</c:v>
                </c:pt>
                <c:pt idx="157">
                  <c:v>99.251464999999996</c:v>
                </c:pt>
                <c:pt idx="158">
                  <c:v>99.733890000000002</c:v>
                </c:pt>
                <c:pt idx="159">
                  <c:v>99.546270000000007</c:v>
                </c:pt>
                <c:pt idx="160">
                  <c:v>97.482619999999997</c:v>
                </c:pt>
                <c:pt idx="161">
                  <c:v>97.491553999999994</c:v>
                </c:pt>
                <c:pt idx="162">
                  <c:v>97.679169999999999</c:v>
                </c:pt>
                <c:pt idx="163">
                  <c:v>98.670783999999998</c:v>
                </c:pt>
                <c:pt idx="164">
                  <c:v>98.626130000000003</c:v>
                </c:pt>
                <c:pt idx="165">
                  <c:v>98.277720000000002</c:v>
                </c:pt>
                <c:pt idx="166">
                  <c:v>98.965599999999995</c:v>
                </c:pt>
                <c:pt idx="167">
                  <c:v>99.617750000000001</c:v>
                </c:pt>
                <c:pt idx="168">
                  <c:v>100.457504</c:v>
                </c:pt>
                <c:pt idx="169">
                  <c:v>100.60936</c:v>
                </c:pt>
                <c:pt idx="170">
                  <c:v>101.45805</c:v>
                </c:pt>
                <c:pt idx="171">
                  <c:v>100.22524</c:v>
                </c:pt>
                <c:pt idx="172">
                  <c:v>100.01082</c:v>
                </c:pt>
                <c:pt idx="173">
                  <c:v>100.654045</c:v>
                </c:pt>
                <c:pt idx="174">
                  <c:v>99.707085000000006</c:v>
                </c:pt>
                <c:pt idx="175">
                  <c:v>99.778559999999999</c:v>
                </c:pt>
                <c:pt idx="176">
                  <c:v>98.938820000000007</c:v>
                </c:pt>
                <c:pt idx="177">
                  <c:v>98.331329999999994</c:v>
                </c:pt>
                <c:pt idx="178">
                  <c:v>98.920929999999998</c:v>
                </c:pt>
                <c:pt idx="179">
                  <c:v>98.804789999999997</c:v>
                </c:pt>
                <c:pt idx="180">
                  <c:v>97.956115999999994</c:v>
                </c:pt>
                <c:pt idx="181">
                  <c:v>98.474249999999998</c:v>
                </c:pt>
                <c:pt idx="182">
                  <c:v>98.384919999999994</c:v>
                </c:pt>
                <c:pt idx="183">
                  <c:v>98.313445999999999</c:v>
                </c:pt>
                <c:pt idx="184">
                  <c:v>98.465320000000006</c:v>
                </c:pt>
                <c:pt idx="185">
                  <c:v>97.607709999999997</c:v>
                </c:pt>
                <c:pt idx="186">
                  <c:v>98.688670000000002</c:v>
                </c:pt>
                <c:pt idx="187">
                  <c:v>100.05549999999999</c:v>
                </c:pt>
                <c:pt idx="188">
                  <c:v>99.590940000000003</c:v>
                </c:pt>
                <c:pt idx="189">
                  <c:v>100.72552</c:v>
                </c:pt>
                <c:pt idx="190">
                  <c:v>101.87793000000001</c:v>
                </c:pt>
                <c:pt idx="191">
                  <c:v>103.4145</c:v>
                </c:pt>
                <c:pt idx="192">
                  <c:v>102.82487999999999</c:v>
                </c:pt>
                <c:pt idx="193">
                  <c:v>102.941025</c:v>
                </c:pt>
                <c:pt idx="194">
                  <c:v>102.44965999999999</c:v>
                </c:pt>
                <c:pt idx="195">
                  <c:v>102.65516</c:v>
                </c:pt>
                <c:pt idx="196">
                  <c:v>103.67358</c:v>
                </c:pt>
                <c:pt idx="197">
                  <c:v>102.807014</c:v>
                </c:pt>
                <c:pt idx="198">
                  <c:v>103.53955999999999</c:v>
                </c:pt>
                <c:pt idx="199">
                  <c:v>103.49491</c:v>
                </c:pt>
                <c:pt idx="200">
                  <c:v>104.316765</c:v>
                </c:pt>
                <c:pt idx="201">
                  <c:v>104.3793</c:v>
                </c:pt>
                <c:pt idx="202">
                  <c:v>104.81559</c:v>
                </c:pt>
                <c:pt idx="203">
                  <c:v>105.04947</c:v>
                </c:pt>
                <c:pt idx="204">
                  <c:v>105.66117</c:v>
                </c:pt>
                <c:pt idx="205">
                  <c:v>105.778114</c:v>
                </c:pt>
                <c:pt idx="206">
                  <c:v>106.95653</c:v>
                </c:pt>
                <c:pt idx="207">
                  <c:v>105.00451</c:v>
                </c:pt>
                <c:pt idx="208">
                  <c:v>104.86057</c:v>
                </c:pt>
                <c:pt idx="209">
                  <c:v>105.59820999999999</c:v>
                </c:pt>
                <c:pt idx="210">
                  <c:v>105.60720000000001</c:v>
                </c:pt>
                <c:pt idx="211">
                  <c:v>105.96701</c:v>
                </c:pt>
                <c:pt idx="212">
                  <c:v>106.16492</c:v>
                </c:pt>
                <c:pt idx="213">
                  <c:v>107.2444</c:v>
                </c:pt>
                <c:pt idx="214">
                  <c:v>106.191925</c:v>
                </c:pt>
                <c:pt idx="215">
                  <c:v>106.695656</c:v>
                </c:pt>
                <c:pt idx="216">
                  <c:v>107.06447</c:v>
                </c:pt>
                <c:pt idx="217">
                  <c:v>106.38082</c:v>
                </c:pt>
                <c:pt idx="218">
                  <c:v>106.68666</c:v>
                </c:pt>
                <c:pt idx="219">
                  <c:v>106.94753</c:v>
                </c:pt>
                <c:pt idx="220">
                  <c:v>107.31636</c:v>
                </c:pt>
                <c:pt idx="221">
                  <c:v>107.36133</c:v>
                </c:pt>
                <c:pt idx="222">
                  <c:v>107.874054</c:v>
                </c:pt>
                <c:pt idx="223">
                  <c:v>107.874054</c:v>
                </c:pt>
                <c:pt idx="224">
                  <c:v>106.20090999999999</c:v>
                </c:pt>
                <c:pt idx="225">
                  <c:v>106.20090999999999</c:v>
                </c:pt>
                <c:pt idx="226">
                  <c:v>105.92203499999999</c:v>
                </c:pt>
                <c:pt idx="227">
                  <c:v>106.44378</c:v>
                </c:pt>
                <c:pt idx="228">
                  <c:v>106.74962600000001</c:v>
                </c:pt>
                <c:pt idx="229">
                  <c:v>106.13793</c:v>
                </c:pt>
                <c:pt idx="230">
                  <c:v>106.218895</c:v>
                </c:pt>
                <c:pt idx="231">
                  <c:v>105.67916</c:v>
                </c:pt>
                <c:pt idx="232">
                  <c:v>105.13943</c:v>
                </c:pt>
                <c:pt idx="233">
                  <c:v>105.58922</c:v>
                </c:pt>
                <c:pt idx="234">
                  <c:v>106.02099</c:v>
                </c:pt>
                <c:pt idx="235">
                  <c:v>107.20841</c:v>
                </c:pt>
                <c:pt idx="236">
                  <c:v>107.09147</c:v>
                </c:pt>
                <c:pt idx="237">
                  <c:v>108.09896000000001</c:v>
                </c:pt>
                <c:pt idx="238">
                  <c:v>109.30435</c:v>
                </c:pt>
                <c:pt idx="239">
                  <c:v>109.11545599999999</c:v>
                </c:pt>
                <c:pt idx="240">
                  <c:v>108.97153</c:v>
                </c:pt>
                <c:pt idx="241">
                  <c:v>108.75563</c:v>
                </c:pt>
                <c:pt idx="242">
                  <c:v>109.52924</c:v>
                </c:pt>
                <c:pt idx="243">
                  <c:v>107.649185</c:v>
                </c:pt>
                <c:pt idx="244">
                  <c:v>107.847084</c:v>
                </c:pt>
                <c:pt idx="245">
                  <c:v>108.21590399999999</c:v>
                </c:pt>
                <c:pt idx="246">
                  <c:v>108.21590399999999</c:v>
                </c:pt>
                <c:pt idx="247">
                  <c:v>106.74962600000001</c:v>
                </c:pt>
                <c:pt idx="248">
                  <c:v>102.96253</c:v>
                </c:pt>
                <c:pt idx="249">
                  <c:v>102.15293</c:v>
                </c:pt>
                <c:pt idx="250">
                  <c:v>102.09895</c:v>
                </c:pt>
                <c:pt idx="251">
                  <c:v>99.085459999999998</c:v>
                </c:pt>
                <c:pt idx="252">
                  <c:v>100.01201</c:v>
                </c:pt>
                <c:pt idx="253">
                  <c:v>100.68667000000001</c:v>
                </c:pt>
                <c:pt idx="254">
                  <c:v>100.87558</c:v>
                </c:pt>
                <c:pt idx="255">
                  <c:v>98.149940000000001</c:v>
                </c:pt>
                <c:pt idx="256">
                  <c:v>99.823104999999998</c:v>
                </c:pt>
                <c:pt idx="257">
                  <c:v>99.904049999999998</c:v>
                </c:pt>
                <c:pt idx="258">
                  <c:v>98.482765000000001</c:v>
                </c:pt>
                <c:pt idx="259">
                  <c:v>97.151420000000002</c:v>
                </c:pt>
                <c:pt idx="260">
                  <c:v>98.284874000000002</c:v>
                </c:pt>
                <c:pt idx="261">
                  <c:v>98.662670000000006</c:v>
                </c:pt>
                <c:pt idx="262">
                  <c:v>99.796104</c:v>
                </c:pt>
                <c:pt idx="263">
                  <c:v>99.751140000000007</c:v>
                </c:pt>
                <c:pt idx="264">
                  <c:v>98.707663999999994</c:v>
                </c:pt>
                <c:pt idx="265">
                  <c:v>97.978160000000003</c:v>
                </c:pt>
                <c:pt idx="266">
                  <c:v>98.811859999999996</c:v>
                </c:pt>
                <c:pt idx="267">
                  <c:v>99.165300000000002</c:v>
                </c:pt>
                <c:pt idx="268">
                  <c:v>99.301215999999997</c:v>
                </c:pt>
                <c:pt idx="269">
                  <c:v>99.536829999999995</c:v>
                </c:pt>
                <c:pt idx="270">
                  <c:v>101.56671</c:v>
                </c:pt>
                <c:pt idx="271">
                  <c:v>101.98356</c:v>
                </c:pt>
                <c:pt idx="272">
                  <c:v>102.17385</c:v>
                </c:pt>
                <c:pt idx="273">
                  <c:v>102.94412</c:v>
                </c:pt>
                <c:pt idx="274">
                  <c:v>102.047</c:v>
                </c:pt>
                <c:pt idx="275">
                  <c:v>101.485146</c:v>
                </c:pt>
                <c:pt idx="276">
                  <c:v>101.16799</c:v>
                </c:pt>
                <c:pt idx="277">
                  <c:v>100.00805</c:v>
                </c:pt>
                <c:pt idx="278">
                  <c:v>99.591189999999997</c:v>
                </c:pt>
                <c:pt idx="279">
                  <c:v>98.540009999999995</c:v>
                </c:pt>
                <c:pt idx="280">
                  <c:v>97.815055999999998</c:v>
                </c:pt>
                <c:pt idx="281">
                  <c:v>96.192954999999998</c:v>
                </c:pt>
                <c:pt idx="282">
                  <c:v>96.791039999999995</c:v>
                </c:pt>
                <c:pt idx="283">
                  <c:v>97.543189999999996</c:v>
                </c:pt>
                <c:pt idx="284">
                  <c:v>98.938739999999996</c:v>
                </c:pt>
                <c:pt idx="285">
                  <c:v>98.911545000000004</c:v>
                </c:pt>
                <c:pt idx="286">
                  <c:v>97.008529999999993</c:v>
                </c:pt>
                <c:pt idx="287">
                  <c:v>98.041600000000003</c:v>
                </c:pt>
                <c:pt idx="288">
                  <c:v>99.844939999999994</c:v>
                </c:pt>
                <c:pt idx="289">
                  <c:v>100.19835999999999</c:v>
                </c:pt>
                <c:pt idx="290">
                  <c:v>99.047489999999996</c:v>
                </c:pt>
                <c:pt idx="291">
                  <c:v>99.119969999999995</c:v>
                </c:pt>
                <c:pt idx="292">
                  <c:v>99.138099999999994</c:v>
                </c:pt>
                <c:pt idx="293">
                  <c:v>98.485634000000005</c:v>
                </c:pt>
                <c:pt idx="294">
                  <c:v>98.150319999999994</c:v>
                </c:pt>
                <c:pt idx="295">
                  <c:v>99.011229999999998</c:v>
                </c:pt>
                <c:pt idx="296">
                  <c:v>99.60933</c:v>
                </c:pt>
                <c:pt idx="297">
                  <c:v>98.657820000000001</c:v>
                </c:pt>
                <c:pt idx="298">
                  <c:v>96.94511</c:v>
                </c:pt>
                <c:pt idx="299">
                  <c:v>95.667366000000001</c:v>
                </c:pt>
                <c:pt idx="300">
                  <c:v>92.86721</c:v>
                </c:pt>
                <c:pt idx="301">
                  <c:v>92.957830000000001</c:v>
                </c:pt>
                <c:pt idx="302">
                  <c:v>91.924760000000006</c:v>
                </c:pt>
                <c:pt idx="303">
                  <c:v>91.661969999999997</c:v>
                </c:pt>
                <c:pt idx="304">
                  <c:v>93.574036000000007</c:v>
                </c:pt>
                <c:pt idx="305">
                  <c:v>92.169426000000001</c:v>
                </c:pt>
                <c:pt idx="306">
                  <c:v>91.471664000000004</c:v>
                </c:pt>
                <c:pt idx="307">
                  <c:v>89.831440000000001</c:v>
                </c:pt>
                <c:pt idx="308">
                  <c:v>88.109669999999994</c:v>
                </c:pt>
                <c:pt idx="309">
                  <c:v>88.444940000000003</c:v>
                </c:pt>
                <c:pt idx="310">
                  <c:v>89.704570000000004</c:v>
                </c:pt>
                <c:pt idx="311">
                  <c:v>89.015854000000004</c:v>
                </c:pt>
                <c:pt idx="312">
                  <c:v>87.710939999999994</c:v>
                </c:pt>
                <c:pt idx="313">
                  <c:v>87.140029999999996</c:v>
                </c:pt>
                <c:pt idx="314">
                  <c:v>88.145899999999997</c:v>
                </c:pt>
                <c:pt idx="315">
                  <c:v>88.29092</c:v>
                </c:pt>
                <c:pt idx="316">
                  <c:v>88.037170000000003</c:v>
                </c:pt>
                <c:pt idx="317">
                  <c:v>87.719989999999996</c:v>
                </c:pt>
                <c:pt idx="318">
                  <c:v>88.073419999999999</c:v>
                </c:pt>
                <c:pt idx="319">
                  <c:v>88.734949999999998</c:v>
                </c:pt>
                <c:pt idx="320">
                  <c:v>88.363399999999999</c:v>
                </c:pt>
                <c:pt idx="321">
                  <c:v>90.175803999999999</c:v>
                </c:pt>
                <c:pt idx="322">
                  <c:v>90.556404000000001</c:v>
                </c:pt>
                <c:pt idx="323">
                  <c:v>91.027619999999999</c:v>
                </c:pt>
                <c:pt idx="324">
                  <c:v>90.782960000000003</c:v>
                </c:pt>
                <c:pt idx="325">
                  <c:v>90.900760000000005</c:v>
                </c:pt>
                <c:pt idx="326">
                  <c:v>91.616646000000003</c:v>
                </c:pt>
                <c:pt idx="327">
                  <c:v>92.278175000000005</c:v>
                </c:pt>
                <c:pt idx="328">
                  <c:v>91.681889999999996</c:v>
                </c:pt>
                <c:pt idx="329">
                  <c:v>91.681889999999996</c:v>
                </c:pt>
                <c:pt idx="330">
                  <c:v>91.563000000000002</c:v>
                </c:pt>
                <c:pt idx="331">
                  <c:v>91.645340000000004</c:v>
                </c:pt>
                <c:pt idx="332">
                  <c:v>92.212339999999998</c:v>
                </c:pt>
                <c:pt idx="333">
                  <c:v>92.514139999999998</c:v>
                </c:pt>
                <c:pt idx="334">
                  <c:v>93.730450000000005</c:v>
                </c:pt>
                <c:pt idx="335">
                  <c:v>94.388915999999995</c:v>
                </c:pt>
                <c:pt idx="336">
                  <c:v>95.550380000000004</c:v>
                </c:pt>
                <c:pt idx="337">
                  <c:v>96.272859999999994</c:v>
                </c:pt>
                <c:pt idx="338">
                  <c:v>96.144829999999999</c:v>
                </c:pt>
                <c:pt idx="339">
                  <c:v>98.412864999999996</c:v>
                </c:pt>
                <c:pt idx="340">
                  <c:v>96.373450000000005</c:v>
                </c:pt>
                <c:pt idx="341">
                  <c:v>96.903885000000002</c:v>
                </c:pt>
                <c:pt idx="342">
                  <c:v>96.7667</c:v>
                </c:pt>
                <c:pt idx="343">
                  <c:v>98.074485999999993</c:v>
                </c:pt>
                <c:pt idx="344">
                  <c:v>99.107910000000004</c:v>
                </c:pt>
                <c:pt idx="345">
                  <c:v>99.674930000000003</c:v>
                </c:pt>
                <c:pt idx="346">
                  <c:v>98.815253999999996</c:v>
                </c:pt>
                <c:pt idx="347">
                  <c:v>99.016450000000006</c:v>
                </c:pt>
                <c:pt idx="348">
                  <c:v>99.391425999999996</c:v>
                </c:pt>
                <c:pt idx="349">
                  <c:v>99.565179999999998</c:v>
                </c:pt>
                <c:pt idx="350">
                  <c:v>100.16876000000001</c:v>
                </c:pt>
                <c:pt idx="351">
                  <c:v>99.501159999999999</c:v>
                </c:pt>
                <c:pt idx="352">
                  <c:v>100.18707000000001</c:v>
                </c:pt>
                <c:pt idx="353">
                  <c:v>100.19619</c:v>
                </c:pt>
                <c:pt idx="354">
                  <c:v>98.550060000000002</c:v>
                </c:pt>
                <c:pt idx="355">
                  <c:v>103.24159</c:v>
                </c:pt>
                <c:pt idx="356">
                  <c:v>102.92151</c:v>
                </c:pt>
                <c:pt idx="357">
                  <c:v>101.99784</c:v>
                </c:pt>
                <c:pt idx="358">
                  <c:v>103.058685</c:v>
                </c:pt>
                <c:pt idx="359">
                  <c:v>103.305626</c:v>
                </c:pt>
                <c:pt idx="360">
                  <c:v>105.0615</c:v>
                </c:pt>
                <c:pt idx="361">
                  <c:v>105.01578000000001</c:v>
                </c:pt>
                <c:pt idx="362">
                  <c:v>105.875435</c:v>
                </c:pt>
                <c:pt idx="363">
                  <c:v>106.09492</c:v>
                </c:pt>
                <c:pt idx="364">
                  <c:v>104.61339</c:v>
                </c:pt>
                <c:pt idx="365">
                  <c:v>104.93348</c:v>
                </c:pt>
                <c:pt idx="366">
                  <c:v>105.363304</c:v>
                </c:pt>
                <c:pt idx="367">
                  <c:v>105.17127000000001</c:v>
                </c:pt>
                <c:pt idx="368">
                  <c:v>104.5128</c:v>
                </c:pt>
                <c:pt idx="369">
                  <c:v>104.42135</c:v>
                </c:pt>
                <c:pt idx="370">
                  <c:v>105.17127000000001</c:v>
                </c:pt>
                <c:pt idx="371">
                  <c:v>103.90006</c:v>
                </c:pt>
                <c:pt idx="372">
                  <c:v>104.88775</c:v>
                </c:pt>
                <c:pt idx="373">
                  <c:v>106.36015999999999</c:v>
                </c:pt>
                <c:pt idx="374">
                  <c:v>107.34784999999999</c:v>
                </c:pt>
                <c:pt idx="375">
                  <c:v>104.45792</c:v>
                </c:pt>
                <c:pt idx="376">
                  <c:v>103.79031999999999</c:v>
                </c:pt>
                <c:pt idx="377">
                  <c:v>103.98237</c:v>
                </c:pt>
                <c:pt idx="378">
                  <c:v>103.223305</c:v>
                </c:pt>
                <c:pt idx="379">
                  <c:v>103.36048</c:v>
                </c:pt>
                <c:pt idx="380">
                  <c:v>103.433655</c:v>
                </c:pt>
                <c:pt idx="381">
                  <c:v>103.75373999999999</c:v>
                </c:pt>
                <c:pt idx="382">
                  <c:v>104.48536</c:v>
                </c:pt>
                <c:pt idx="383">
                  <c:v>105.134674</c:v>
                </c:pt>
                <c:pt idx="384">
                  <c:v>105.02493</c:v>
                </c:pt>
                <c:pt idx="385">
                  <c:v>104.00064999999999</c:v>
                </c:pt>
                <c:pt idx="386">
                  <c:v>102.64713999999999</c:v>
                </c:pt>
                <c:pt idx="387">
                  <c:v>102.36364</c:v>
                </c:pt>
                <c:pt idx="388">
                  <c:v>102.564835</c:v>
                </c:pt>
                <c:pt idx="389">
                  <c:v>102.80262</c:v>
                </c:pt>
                <c:pt idx="390">
                  <c:v>101.6686</c:v>
                </c:pt>
                <c:pt idx="391">
                  <c:v>102.47338999999999</c:v>
                </c:pt>
                <c:pt idx="392">
                  <c:v>102.391075</c:v>
                </c:pt>
                <c:pt idx="393">
                  <c:v>102.436806</c:v>
                </c:pt>
                <c:pt idx="394">
                  <c:v>101.51313</c:v>
                </c:pt>
                <c:pt idx="395">
                  <c:v>103.45193999999999</c:v>
                </c:pt>
                <c:pt idx="396">
                  <c:v>104.65806000000001</c:v>
                </c:pt>
                <c:pt idx="397">
                  <c:v>103.95725</c:v>
                </c:pt>
                <c:pt idx="398">
                  <c:v>104.72259</c:v>
                </c:pt>
                <c:pt idx="399">
                  <c:v>104.50129</c:v>
                </c:pt>
                <c:pt idx="400">
                  <c:v>104.98078</c:v>
                </c:pt>
                <c:pt idx="401">
                  <c:v>106.03197</c:v>
                </c:pt>
                <c:pt idx="402">
                  <c:v>105.64467</c:v>
                </c:pt>
                <c:pt idx="403">
                  <c:v>106.41003000000001</c:v>
                </c:pt>
                <c:pt idx="404">
                  <c:v>105.10064</c:v>
                </c:pt>
                <c:pt idx="405">
                  <c:v>104.907</c:v>
                </c:pt>
                <c:pt idx="406">
                  <c:v>106.24405</c:v>
                </c:pt>
                <c:pt idx="407">
                  <c:v>105.95820000000001</c:v>
                </c:pt>
                <c:pt idx="408">
                  <c:v>103.52386</c:v>
                </c:pt>
                <c:pt idx="409">
                  <c:v>103.247246</c:v>
                </c:pt>
                <c:pt idx="410">
                  <c:v>102.81384</c:v>
                </c:pt>
                <c:pt idx="411">
                  <c:v>102.3989</c:v>
                </c:pt>
                <c:pt idx="412">
                  <c:v>103.09048</c:v>
                </c:pt>
                <c:pt idx="413">
                  <c:v>102.08539</c:v>
                </c:pt>
                <c:pt idx="414">
                  <c:v>100.25042000000001</c:v>
                </c:pt>
                <c:pt idx="415">
                  <c:v>99.143900000000002</c:v>
                </c:pt>
                <c:pt idx="416">
                  <c:v>98.3048</c:v>
                </c:pt>
                <c:pt idx="417">
                  <c:v>98.194145000000006</c:v>
                </c:pt>
                <c:pt idx="418">
                  <c:v>99.761696000000001</c:v>
                </c:pt>
                <c:pt idx="419">
                  <c:v>99.697159999999997</c:v>
                </c:pt>
                <c:pt idx="420">
                  <c:v>98.977930000000001</c:v>
                </c:pt>
                <c:pt idx="421">
                  <c:v>96.875540000000001</c:v>
                </c:pt>
                <c:pt idx="422">
                  <c:v>97.078400000000002</c:v>
                </c:pt>
                <c:pt idx="423">
                  <c:v>97.401129999999995</c:v>
                </c:pt>
                <c:pt idx="424">
                  <c:v>99.024024999999995</c:v>
                </c:pt>
                <c:pt idx="425">
                  <c:v>99.872370000000004</c:v>
                </c:pt>
                <c:pt idx="426">
                  <c:v>99.521950000000004</c:v>
                </c:pt>
                <c:pt idx="427">
                  <c:v>101.69813000000001</c:v>
                </c:pt>
                <c:pt idx="428">
                  <c:v>100.87746</c:v>
                </c:pt>
                <c:pt idx="429">
                  <c:v>101.55057499999999</c:v>
                </c:pt>
                <c:pt idx="430">
                  <c:v>104.16011</c:v>
                </c:pt>
                <c:pt idx="431">
                  <c:v>104.05868</c:v>
                </c:pt>
                <c:pt idx="432">
                  <c:v>101.84564</c:v>
                </c:pt>
                <c:pt idx="433">
                  <c:v>104.09556000000001</c:v>
                </c:pt>
                <c:pt idx="434">
                  <c:v>104.907</c:v>
                </c:pt>
                <c:pt idx="435">
                  <c:v>103.62528</c:v>
                </c:pt>
                <c:pt idx="436">
                  <c:v>102.82307400000001</c:v>
                </c:pt>
                <c:pt idx="437">
                  <c:v>102.50957</c:v>
                </c:pt>
                <c:pt idx="438">
                  <c:v>105.47873</c:v>
                </c:pt>
                <c:pt idx="439">
                  <c:v>106.23483</c:v>
                </c:pt>
                <c:pt idx="440">
                  <c:v>106.60366999999999</c:v>
                </c:pt>
                <c:pt idx="441">
                  <c:v>107.01861</c:v>
                </c:pt>
                <c:pt idx="442">
                  <c:v>108.327995</c:v>
                </c:pt>
                <c:pt idx="443">
                  <c:v>107.85773</c:v>
                </c:pt>
                <c:pt idx="444">
                  <c:v>108.01447</c:v>
                </c:pt>
                <c:pt idx="445">
                  <c:v>107.562645</c:v>
                </c:pt>
                <c:pt idx="446">
                  <c:v>107.70096599999999</c:v>
                </c:pt>
                <c:pt idx="447">
                  <c:v>109.13023</c:v>
                </c:pt>
                <c:pt idx="448">
                  <c:v>109.7388</c:v>
                </c:pt>
                <c:pt idx="449">
                  <c:v>106.96328</c:v>
                </c:pt>
                <c:pt idx="450">
                  <c:v>106.29937</c:v>
                </c:pt>
                <c:pt idx="451">
                  <c:v>106.41924</c:v>
                </c:pt>
                <c:pt idx="452">
                  <c:v>106.83419000000001</c:v>
                </c:pt>
                <c:pt idx="453">
                  <c:v>107.36902000000001</c:v>
                </c:pt>
                <c:pt idx="454">
                  <c:v>109.26853</c:v>
                </c:pt>
                <c:pt idx="455">
                  <c:v>109.05645</c:v>
                </c:pt>
                <c:pt idx="456">
                  <c:v>112.440544</c:v>
                </c:pt>
                <c:pt idx="457">
                  <c:v>109.711136</c:v>
                </c:pt>
                <c:pt idx="458">
                  <c:v>108.62308</c:v>
                </c:pt>
                <c:pt idx="459">
                  <c:v>108.593315</c:v>
                </c:pt>
                <c:pt idx="460">
                  <c:v>107.64530000000001</c:v>
                </c:pt>
                <c:pt idx="461">
                  <c:v>107.9892</c:v>
                </c:pt>
                <c:pt idx="462">
                  <c:v>109.011566</c:v>
                </c:pt>
                <c:pt idx="463">
                  <c:v>108.742035</c:v>
                </c:pt>
                <c:pt idx="464">
                  <c:v>109.996735</c:v>
                </c:pt>
                <c:pt idx="465">
                  <c:v>105.90730000000001</c:v>
                </c:pt>
                <c:pt idx="466">
                  <c:v>104.90353399999999</c:v>
                </c:pt>
                <c:pt idx="467">
                  <c:v>103.94623</c:v>
                </c:pt>
                <c:pt idx="468">
                  <c:v>102.27328</c:v>
                </c:pt>
                <c:pt idx="469">
                  <c:v>102.43127</c:v>
                </c:pt>
                <c:pt idx="470">
                  <c:v>101.69703</c:v>
                </c:pt>
                <c:pt idx="471">
                  <c:v>98.546310000000005</c:v>
                </c:pt>
                <c:pt idx="472">
                  <c:v>100.68397</c:v>
                </c:pt>
                <c:pt idx="473">
                  <c:v>101.69703</c:v>
                </c:pt>
                <c:pt idx="474">
                  <c:v>102.57069</c:v>
                </c:pt>
                <c:pt idx="475">
                  <c:v>102.68222</c:v>
                </c:pt>
                <c:pt idx="476">
                  <c:v>102.68222</c:v>
                </c:pt>
                <c:pt idx="477">
                  <c:v>101.5669</c:v>
                </c:pt>
                <c:pt idx="478">
                  <c:v>101.5669</c:v>
                </c:pt>
                <c:pt idx="479">
                  <c:v>100.61892</c:v>
                </c:pt>
                <c:pt idx="480">
                  <c:v>102.68222</c:v>
                </c:pt>
                <c:pt idx="481">
                  <c:v>101.799255</c:v>
                </c:pt>
                <c:pt idx="482">
                  <c:v>102.775154</c:v>
                </c:pt>
                <c:pt idx="483">
                  <c:v>99.903244000000001</c:v>
                </c:pt>
                <c:pt idx="484">
                  <c:v>100.51667</c:v>
                </c:pt>
                <c:pt idx="485">
                  <c:v>100.52596</c:v>
                </c:pt>
                <c:pt idx="486">
                  <c:v>99.745260000000002</c:v>
                </c:pt>
                <c:pt idx="487">
                  <c:v>101.297386</c:v>
                </c:pt>
                <c:pt idx="488">
                  <c:v>100.69326</c:v>
                </c:pt>
                <c:pt idx="489">
                  <c:v>101.51115</c:v>
                </c:pt>
                <c:pt idx="490">
                  <c:v>102.30115499999999</c:v>
                </c:pt>
                <c:pt idx="491">
                  <c:v>102.152435</c:v>
                </c:pt>
                <c:pt idx="492">
                  <c:v>102.91457</c:v>
                </c:pt>
                <c:pt idx="493">
                  <c:v>101.77137999999999</c:v>
                </c:pt>
                <c:pt idx="494">
                  <c:v>101.63197</c:v>
                </c:pt>
                <c:pt idx="495">
                  <c:v>101.13937</c:v>
                </c:pt>
                <c:pt idx="496">
                  <c:v>101.30668</c:v>
                </c:pt>
                <c:pt idx="497">
                  <c:v>102.99822</c:v>
                </c:pt>
                <c:pt idx="498">
                  <c:v>104.71764</c:v>
                </c:pt>
                <c:pt idx="499">
                  <c:v>104.27154</c:v>
                </c:pt>
                <c:pt idx="500">
                  <c:v>105.10799400000001</c:v>
                </c:pt>
                <c:pt idx="501">
                  <c:v>104.93142</c:v>
                </c:pt>
                <c:pt idx="502">
                  <c:v>105.07082</c:v>
                </c:pt>
                <c:pt idx="503">
                  <c:v>105.10799400000001</c:v>
                </c:pt>
                <c:pt idx="504">
                  <c:v>105.04294</c:v>
                </c:pt>
                <c:pt idx="505">
                  <c:v>104.99648000000001</c:v>
                </c:pt>
                <c:pt idx="506">
                  <c:v>105.758606</c:v>
                </c:pt>
                <c:pt idx="507">
                  <c:v>106.065285</c:v>
                </c:pt>
                <c:pt idx="508">
                  <c:v>104.64328</c:v>
                </c:pt>
                <c:pt idx="509">
                  <c:v>107.72896</c:v>
                </c:pt>
                <c:pt idx="510">
                  <c:v>107.74755999999999</c:v>
                </c:pt>
                <c:pt idx="511">
                  <c:v>107.654625</c:v>
                </c:pt>
                <c:pt idx="512">
                  <c:v>107.90555000000001</c:v>
                </c:pt>
                <c:pt idx="513">
                  <c:v>108.518974</c:v>
                </c:pt>
                <c:pt idx="514">
                  <c:v>107.86837</c:v>
                </c:pt>
                <c:pt idx="515">
                  <c:v>107.78471999999999</c:v>
                </c:pt>
                <c:pt idx="516">
                  <c:v>107.22708</c:v>
                </c:pt>
                <c:pt idx="517">
                  <c:v>108.34955600000001</c:v>
                </c:pt>
                <c:pt idx="518">
                  <c:v>108.855515</c:v>
                </c:pt>
                <c:pt idx="519">
                  <c:v>108.84614000000001</c:v>
                </c:pt>
                <c:pt idx="520">
                  <c:v>108.71496</c:v>
                </c:pt>
                <c:pt idx="521">
                  <c:v>109.30524</c:v>
                </c:pt>
                <c:pt idx="522">
                  <c:v>108.78055000000001</c:v>
                </c:pt>
                <c:pt idx="523">
                  <c:v>107.9654</c:v>
                </c:pt>
                <c:pt idx="524">
                  <c:v>109.23965</c:v>
                </c:pt>
                <c:pt idx="525">
                  <c:v>109.22092000000001</c:v>
                </c:pt>
                <c:pt idx="526">
                  <c:v>109.23029</c:v>
                </c:pt>
                <c:pt idx="527">
                  <c:v>108.21838</c:v>
                </c:pt>
                <c:pt idx="528">
                  <c:v>108.368286</c:v>
                </c:pt>
                <c:pt idx="529">
                  <c:v>109.876785</c:v>
                </c:pt>
                <c:pt idx="530">
                  <c:v>110.64509</c:v>
                </c:pt>
                <c:pt idx="531">
                  <c:v>110.860596</c:v>
                </c:pt>
                <c:pt idx="532">
                  <c:v>111.90998</c:v>
                </c:pt>
                <c:pt idx="533">
                  <c:v>113.10928</c:v>
                </c:pt>
                <c:pt idx="534">
                  <c:v>113.231094</c:v>
                </c:pt>
                <c:pt idx="535">
                  <c:v>114.327324</c:v>
                </c:pt>
                <c:pt idx="536">
                  <c:v>114.20553</c:v>
                </c:pt>
                <c:pt idx="537">
                  <c:v>114.158676</c:v>
                </c:pt>
                <c:pt idx="538">
                  <c:v>114.82391</c:v>
                </c:pt>
                <c:pt idx="539">
                  <c:v>114.30858600000001</c:v>
                </c:pt>
                <c:pt idx="540">
                  <c:v>114.00876599999999</c:v>
                </c:pt>
                <c:pt idx="541">
                  <c:v>113.89632400000001</c:v>
                </c:pt>
                <c:pt idx="542">
                  <c:v>113.812004</c:v>
                </c:pt>
                <c:pt idx="543">
                  <c:v>113.95256000000001</c:v>
                </c:pt>
                <c:pt idx="544">
                  <c:v>114.30858600000001</c:v>
                </c:pt>
                <c:pt idx="545">
                  <c:v>114.467865</c:v>
                </c:pt>
                <c:pt idx="546">
                  <c:v>114.34605999999999</c:v>
                </c:pt>
                <c:pt idx="547">
                  <c:v>113.99939999999999</c:v>
                </c:pt>
                <c:pt idx="548">
                  <c:v>114.52408</c:v>
                </c:pt>
                <c:pt idx="549">
                  <c:v>115.863945</c:v>
                </c:pt>
                <c:pt idx="550">
                  <c:v>114.69276000000001</c:v>
                </c:pt>
                <c:pt idx="551">
                  <c:v>119.00274</c:v>
                </c:pt>
                <c:pt idx="552">
                  <c:v>119.07769</c:v>
                </c:pt>
                <c:pt idx="553">
                  <c:v>118.46868000000001</c:v>
                </c:pt>
                <c:pt idx="554">
                  <c:v>119.07769</c:v>
                </c:pt>
                <c:pt idx="555">
                  <c:v>118.91840000000001</c:v>
                </c:pt>
                <c:pt idx="556">
                  <c:v>118.17822</c:v>
                </c:pt>
                <c:pt idx="557">
                  <c:v>118.43119</c:v>
                </c:pt>
                <c:pt idx="558">
                  <c:v>118.70291</c:v>
                </c:pt>
                <c:pt idx="559">
                  <c:v>119.97716</c:v>
                </c:pt>
                <c:pt idx="560">
                  <c:v>119.21823999999999</c:v>
                </c:pt>
                <c:pt idx="561">
                  <c:v>118.83410000000001</c:v>
                </c:pt>
                <c:pt idx="562">
                  <c:v>119.62112399999999</c:v>
                </c:pt>
                <c:pt idx="563">
                  <c:v>119.24634</c:v>
                </c:pt>
                <c:pt idx="564">
                  <c:v>118.037674</c:v>
                </c:pt>
                <c:pt idx="565">
                  <c:v>118.07514</c:v>
                </c:pt>
                <c:pt idx="566">
                  <c:v>118.10326000000001</c:v>
                </c:pt>
                <c:pt idx="567">
                  <c:v>119.93968</c:v>
                </c:pt>
                <c:pt idx="568">
                  <c:v>119.14327</c:v>
                </c:pt>
                <c:pt idx="569">
                  <c:v>119.37752500000001</c:v>
                </c:pt>
                <c:pt idx="570">
                  <c:v>121.19521</c:v>
                </c:pt>
                <c:pt idx="571">
                  <c:v>122.05723999999999</c:v>
                </c:pt>
                <c:pt idx="572">
                  <c:v>122.28206</c:v>
                </c:pt>
                <c:pt idx="573">
                  <c:v>121.79487</c:v>
                </c:pt>
                <c:pt idx="574">
                  <c:v>120.91414</c:v>
                </c:pt>
                <c:pt idx="575">
                  <c:v>121.86982999999999</c:v>
                </c:pt>
                <c:pt idx="576">
                  <c:v>121.77612999999999</c:v>
                </c:pt>
                <c:pt idx="577">
                  <c:v>121.33575399999999</c:v>
                </c:pt>
                <c:pt idx="578">
                  <c:v>119.58365000000001</c:v>
                </c:pt>
                <c:pt idx="579">
                  <c:v>120.08960999999999</c:v>
                </c:pt>
                <c:pt idx="580">
                  <c:v>120.50187</c:v>
                </c:pt>
                <c:pt idx="581">
                  <c:v>119.93031999999999</c:v>
                </c:pt>
                <c:pt idx="582">
                  <c:v>120.84853</c:v>
                </c:pt>
                <c:pt idx="583">
                  <c:v>120.93288</c:v>
                </c:pt>
                <c:pt idx="584">
                  <c:v>123.1066</c:v>
                </c:pt>
                <c:pt idx="585">
                  <c:v>124.56482</c:v>
                </c:pt>
                <c:pt idx="586">
                  <c:v>125.971085</c:v>
                </c:pt>
                <c:pt idx="587">
                  <c:v>126.08432999999999</c:v>
                </c:pt>
                <c:pt idx="588">
                  <c:v>125.71626999999999</c:v>
                </c:pt>
                <c:pt idx="589">
                  <c:v>125.659615</c:v>
                </c:pt>
                <c:pt idx="590">
                  <c:v>125.47084</c:v>
                </c:pt>
                <c:pt idx="591">
                  <c:v>125.27266</c:v>
                </c:pt>
                <c:pt idx="592">
                  <c:v>125.07446</c:v>
                </c:pt>
                <c:pt idx="593">
                  <c:v>124.6403</c:v>
                </c:pt>
                <c:pt idx="594">
                  <c:v>125.38592</c:v>
                </c:pt>
                <c:pt idx="595">
                  <c:v>126.62233999999999</c:v>
                </c:pt>
                <c:pt idx="596">
                  <c:v>126.43356</c:v>
                </c:pt>
                <c:pt idx="597">
                  <c:v>126.60344000000001</c:v>
                </c:pt>
                <c:pt idx="598">
                  <c:v>126.291954</c:v>
                </c:pt>
                <c:pt idx="599">
                  <c:v>124.88572000000001</c:v>
                </c:pt>
                <c:pt idx="600">
                  <c:v>124.2911</c:v>
                </c:pt>
                <c:pt idx="601">
                  <c:v>123.76256600000001</c:v>
                </c:pt>
                <c:pt idx="602">
                  <c:v>124.460976</c:v>
                </c:pt>
                <c:pt idx="603">
                  <c:v>124.98950000000001</c:v>
                </c:pt>
                <c:pt idx="604">
                  <c:v>126.46186</c:v>
                </c:pt>
                <c:pt idx="605">
                  <c:v>125.54638</c:v>
                </c:pt>
                <c:pt idx="606">
                  <c:v>125.11221</c:v>
                </c:pt>
                <c:pt idx="607">
                  <c:v>124.33828</c:v>
                </c:pt>
                <c:pt idx="608">
                  <c:v>126.85826</c:v>
                </c:pt>
                <c:pt idx="609">
                  <c:v>126.801636</c:v>
                </c:pt>
                <c:pt idx="610">
                  <c:v>125.79174</c:v>
                </c:pt>
                <c:pt idx="611">
                  <c:v>126.61286</c:v>
                </c:pt>
                <c:pt idx="612">
                  <c:v>126.28255</c:v>
                </c:pt>
                <c:pt idx="613">
                  <c:v>125.31984</c:v>
                </c:pt>
                <c:pt idx="614">
                  <c:v>125.41422</c:v>
                </c:pt>
                <c:pt idx="615">
                  <c:v>122.78099</c:v>
                </c:pt>
                <c:pt idx="616">
                  <c:v>122.96032</c:v>
                </c:pt>
                <c:pt idx="617">
                  <c:v>123.39446</c:v>
                </c:pt>
                <c:pt idx="618">
                  <c:v>121.95043</c:v>
                </c:pt>
                <c:pt idx="619">
                  <c:v>121.7428</c:v>
                </c:pt>
                <c:pt idx="620">
                  <c:v>123.84751</c:v>
                </c:pt>
                <c:pt idx="621">
                  <c:v>124.14008</c:v>
                </c:pt>
                <c:pt idx="622">
                  <c:v>123.14906000000001</c:v>
                </c:pt>
                <c:pt idx="623">
                  <c:v>120.62909000000001</c:v>
                </c:pt>
                <c:pt idx="624">
                  <c:v>119.996735</c:v>
                </c:pt>
                <c:pt idx="625">
                  <c:v>120.7329</c:v>
                </c:pt>
                <c:pt idx="626">
                  <c:v>117.410675</c:v>
                </c:pt>
                <c:pt idx="627">
                  <c:v>119.3455</c:v>
                </c:pt>
                <c:pt idx="628">
                  <c:v>120.60075999999999</c:v>
                </c:pt>
                <c:pt idx="629">
                  <c:v>122.19582</c:v>
                </c:pt>
                <c:pt idx="630">
                  <c:v>121.3747</c:v>
                </c:pt>
                <c:pt idx="631">
                  <c:v>121.138756</c:v>
                </c:pt>
                <c:pt idx="632">
                  <c:v>122.62994999999999</c:v>
                </c:pt>
                <c:pt idx="633">
                  <c:v>121.865486</c:v>
                </c:pt>
                <c:pt idx="634">
                  <c:v>123.37560000000001</c:v>
                </c:pt>
                <c:pt idx="635">
                  <c:v>124.35715</c:v>
                </c:pt>
                <c:pt idx="636">
                  <c:v>125.12165</c:v>
                </c:pt>
                <c:pt idx="637">
                  <c:v>124.6403</c:v>
                </c:pt>
                <c:pt idx="638">
                  <c:v>124.90459</c:v>
                </c:pt>
                <c:pt idx="639">
                  <c:v>125.20661</c:v>
                </c:pt>
                <c:pt idx="640">
                  <c:v>122.95088</c:v>
                </c:pt>
                <c:pt idx="641">
                  <c:v>126.22592</c:v>
                </c:pt>
                <c:pt idx="642">
                  <c:v>127.18859999999999</c:v>
                </c:pt>
                <c:pt idx="643">
                  <c:v>127.59444999999999</c:v>
                </c:pt>
                <c:pt idx="644">
                  <c:v>128.37782000000001</c:v>
                </c:pt>
                <c:pt idx="645">
                  <c:v>129.04794000000001</c:v>
                </c:pt>
                <c:pt idx="646">
                  <c:v>129.73692</c:v>
                </c:pt>
                <c:pt idx="647">
                  <c:v>131.33194</c:v>
                </c:pt>
                <c:pt idx="648">
                  <c:v>129.22695999999999</c:v>
                </c:pt>
                <c:pt idx="649">
                  <c:v>130.54793000000001</c:v>
                </c:pt>
                <c:pt idx="650">
                  <c:v>129.62610000000001</c:v>
                </c:pt>
                <c:pt idx="651">
                  <c:v>129.11293000000001</c:v>
                </c:pt>
                <c:pt idx="652">
                  <c:v>129.58806999999999</c:v>
                </c:pt>
                <c:pt idx="653">
                  <c:v>130.47190000000001</c:v>
                </c:pt>
                <c:pt idx="654">
                  <c:v>129.66410999999999</c:v>
                </c:pt>
                <c:pt idx="655">
                  <c:v>128.1816</c:v>
                </c:pt>
                <c:pt idx="656">
                  <c:v>128.96089000000001</c:v>
                </c:pt>
                <c:pt idx="657">
                  <c:v>128.77082999999999</c:v>
                </c:pt>
                <c:pt idx="658">
                  <c:v>128.75179</c:v>
                </c:pt>
                <c:pt idx="659">
                  <c:v>128.02001999999999</c:v>
                </c:pt>
                <c:pt idx="660">
                  <c:v>128.71378000000001</c:v>
                </c:pt>
                <c:pt idx="661">
                  <c:v>128.63775999999999</c:v>
                </c:pt>
                <c:pt idx="662">
                  <c:v>128.38114999999999</c:v>
                </c:pt>
                <c:pt idx="663">
                  <c:v>128.97987000000001</c:v>
                </c:pt>
                <c:pt idx="664">
                  <c:v>128.86583999999999</c:v>
                </c:pt>
                <c:pt idx="665">
                  <c:v>130.29134999999999</c:v>
                </c:pt>
                <c:pt idx="666">
                  <c:v>130.54793000000001</c:v>
                </c:pt>
                <c:pt idx="667">
                  <c:v>127.288284</c:v>
                </c:pt>
                <c:pt idx="668">
                  <c:v>131.08011999999999</c:v>
                </c:pt>
                <c:pt idx="669">
                  <c:v>133.31342000000001</c:v>
                </c:pt>
                <c:pt idx="670">
                  <c:v>131.46976000000001</c:v>
                </c:pt>
                <c:pt idx="671">
                  <c:v>130.42438000000001</c:v>
                </c:pt>
                <c:pt idx="672">
                  <c:v>131.00409999999999</c:v>
                </c:pt>
                <c:pt idx="673">
                  <c:v>131.04212999999999</c:v>
                </c:pt>
                <c:pt idx="674">
                  <c:v>130.80449999999999</c:v>
                </c:pt>
                <c:pt idx="675">
                  <c:v>130.62395000000001</c:v>
                </c:pt>
                <c:pt idx="676">
                  <c:v>129.55957000000001</c:v>
                </c:pt>
                <c:pt idx="677">
                  <c:v>129.64510000000001</c:v>
                </c:pt>
                <c:pt idx="678">
                  <c:v>130.15827999999999</c:v>
                </c:pt>
                <c:pt idx="679">
                  <c:v>129.48355000000001</c:v>
                </c:pt>
                <c:pt idx="680">
                  <c:v>129.35999000000001</c:v>
                </c:pt>
                <c:pt idx="681">
                  <c:v>129.87317999999999</c:v>
                </c:pt>
                <c:pt idx="682">
                  <c:v>130.62395000000001</c:v>
                </c:pt>
                <c:pt idx="683">
                  <c:v>131.04212999999999</c:v>
                </c:pt>
                <c:pt idx="684">
                  <c:v>129.85418999999999</c:v>
                </c:pt>
                <c:pt idx="685">
                  <c:v>129.78764000000001</c:v>
                </c:pt>
                <c:pt idx="686">
                  <c:v>129.32198</c:v>
                </c:pt>
                <c:pt idx="687">
                  <c:v>130.10126</c:v>
                </c:pt>
                <c:pt idx="688">
                  <c:v>130.35785999999999</c:v>
                </c:pt>
                <c:pt idx="689">
                  <c:v>130.12978000000001</c:v>
                </c:pt>
                <c:pt idx="690">
                  <c:v>128.4477</c:v>
                </c:pt>
                <c:pt idx="691">
                  <c:v>127.3548</c:v>
                </c:pt>
                <c:pt idx="692">
                  <c:v>127.76342</c:v>
                </c:pt>
                <c:pt idx="693">
                  <c:v>126.699066</c:v>
                </c:pt>
                <c:pt idx="694">
                  <c:v>126.51849</c:v>
                </c:pt>
                <c:pt idx="695">
                  <c:v>125.81524</c:v>
                </c:pt>
                <c:pt idx="696">
                  <c:v>125.42562</c:v>
                </c:pt>
                <c:pt idx="697">
                  <c:v>126.67054</c:v>
                </c:pt>
                <c:pt idx="698">
                  <c:v>126.70859</c:v>
                </c:pt>
                <c:pt idx="699">
                  <c:v>127.16471</c:v>
                </c:pt>
                <c:pt idx="700">
                  <c:v>127.40228999999999</c:v>
                </c:pt>
                <c:pt idx="701">
                  <c:v>127.88699</c:v>
                </c:pt>
                <c:pt idx="702">
                  <c:v>127.098206</c:v>
                </c:pt>
                <c:pt idx="703">
                  <c:v>127.259766</c:v>
                </c:pt>
                <c:pt idx="704">
                  <c:v>127.41182999999999</c:v>
                </c:pt>
                <c:pt idx="705">
                  <c:v>127.18374</c:v>
                </c:pt>
                <c:pt idx="706">
                  <c:v>128.96089000000001</c:v>
                </c:pt>
                <c:pt idx="707">
                  <c:v>129.16046</c:v>
                </c:pt>
                <c:pt idx="708">
                  <c:v>129.08439999999999</c:v>
                </c:pt>
                <c:pt idx="709">
                  <c:v>129.13195999999999</c:v>
                </c:pt>
                <c:pt idx="710">
                  <c:v>128.73278999999999</c:v>
                </c:pt>
                <c:pt idx="711">
                  <c:v>130.48140000000001</c:v>
                </c:pt>
                <c:pt idx="712">
                  <c:v>130.47662</c:v>
                </c:pt>
                <c:pt idx="713">
                  <c:v>131.45276000000001</c:v>
                </c:pt>
                <c:pt idx="714">
                  <c:v>131.26138</c:v>
                </c:pt>
                <c:pt idx="715">
                  <c:v>130.40961999999999</c:v>
                </c:pt>
                <c:pt idx="716">
                  <c:v>131.20394999999999</c:v>
                </c:pt>
                <c:pt idx="717">
                  <c:v>131.28049999999999</c:v>
                </c:pt>
                <c:pt idx="718">
                  <c:v>132.00783000000001</c:v>
                </c:pt>
                <c:pt idx="719">
                  <c:v>131.16565</c:v>
                </c:pt>
                <c:pt idx="720">
                  <c:v>130.31393</c:v>
                </c:pt>
                <c:pt idx="721">
                  <c:v>130.12253000000001</c:v>
                </c:pt>
                <c:pt idx="722">
                  <c:v>130.60104000000001</c:v>
                </c:pt>
                <c:pt idx="723">
                  <c:v>131.98867999999999</c:v>
                </c:pt>
                <c:pt idx="724">
                  <c:v>131.1465</c:v>
                </c:pt>
                <c:pt idx="725">
                  <c:v>131.00296</c:v>
                </c:pt>
                <c:pt idx="726">
                  <c:v>130.81156999999999</c:v>
                </c:pt>
                <c:pt idx="727">
                  <c:v>131.62503000000001</c:v>
                </c:pt>
                <c:pt idx="728">
                  <c:v>130.92642000000001</c:v>
                </c:pt>
                <c:pt idx="729">
                  <c:v>130.92642000000001</c:v>
                </c:pt>
                <c:pt idx="730">
                  <c:v>130.79243</c:v>
                </c:pt>
                <c:pt idx="731">
                  <c:v>130.79243</c:v>
                </c:pt>
                <c:pt idx="732">
                  <c:v>129.97899000000001</c:v>
                </c:pt>
                <c:pt idx="733">
                  <c:v>129.97899000000001</c:v>
                </c:pt>
                <c:pt idx="734">
                  <c:v>129.79714999999999</c:v>
                </c:pt>
                <c:pt idx="735">
                  <c:v>130.29478</c:v>
                </c:pt>
                <c:pt idx="736">
                  <c:v>128.24682999999999</c:v>
                </c:pt>
                <c:pt idx="737">
                  <c:v>128.90715</c:v>
                </c:pt>
                <c:pt idx="738">
                  <c:v>128.99327</c:v>
                </c:pt>
                <c:pt idx="739">
                  <c:v>128.74446</c:v>
                </c:pt>
                <c:pt idx="740">
                  <c:v>130.65844999999999</c:v>
                </c:pt>
                <c:pt idx="741">
                  <c:v>130.96467999999999</c:v>
                </c:pt>
                <c:pt idx="742">
                  <c:v>133.21364</c:v>
                </c:pt>
                <c:pt idx="743">
                  <c:v>133.60598999999999</c:v>
                </c:pt>
                <c:pt idx="744">
                  <c:v>135.18503999999999</c:v>
                </c:pt>
                <c:pt idx="745">
                  <c:v>135.75923</c:v>
                </c:pt>
                <c:pt idx="746">
                  <c:v>137.21385000000001</c:v>
                </c:pt>
                <c:pt idx="747">
                  <c:v>137.47226000000001</c:v>
                </c:pt>
                <c:pt idx="748">
                  <c:v>136.77365</c:v>
                </c:pt>
                <c:pt idx="749">
                  <c:v>136.02719999999999</c:v>
                </c:pt>
                <c:pt idx="750">
                  <c:v>136.31432000000001</c:v>
                </c:pt>
                <c:pt idx="751">
                  <c:v>135.63480999999999</c:v>
                </c:pt>
                <c:pt idx="752">
                  <c:v>137.64449999999999</c:v>
                </c:pt>
                <c:pt idx="753">
                  <c:v>135.91237000000001</c:v>
                </c:pt>
                <c:pt idx="754">
                  <c:v>136.38127</c:v>
                </c:pt>
                <c:pt idx="755">
                  <c:v>137.06073000000001</c:v>
                </c:pt>
                <c:pt idx="756">
                  <c:v>138.0943</c:v>
                </c:pt>
                <c:pt idx="757">
                  <c:v>138.12302</c:v>
                </c:pt>
                <c:pt idx="758">
                  <c:v>139.11829</c:v>
                </c:pt>
                <c:pt idx="759">
                  <c:v>139.39581000000001</c:v>
                </c:pt>
                <c:pt idx="760">
                  <c:v>139.79774</c:v>
                </c:pt>
                <c:pt idx="761">
                  <c:v>139.79774</c:v>
                </c:pt>
                <c:pt idx="762">
                  <c:v>140.17097000000001</c:v>
                </c:pt>
                <c:pt idx="763">
                  <c:v>140.66861</c:v>
                </c:pt>
                <c:pt idx="764">
                  <c:v>139.33840000000001</c:v>
                </c:pt>
                <c:pt idx="765">
                  <c:v>139.2714</c:v>
                </c:pt>
                <c:pt idx="766">
                  <c:v>138.91730999999999</c:v>
                </c:pt>
                <c:pt idx="767">
                  <c:v>139.57764</c:v>
                </c:pt>
                <c:pt idx="768">
                  <c:v>136.50568999999999</c:v>
                </c:pt>
                <c:pt idx="769">
                  <c:v>135.03190000000001</c:v>
                </c:pt>
                <c:pt idx="770">
                  <c:v>135.87406999999999</c:v>
                </c:pt>
                <c:pt idx="771">
                  <c:v>130.50532999999999</c:v>
                </c:pt>
                <c:pt idx="772">
                  <c:v>126.35198</c:v>
                </c:pt>
                <c:pt idx="773">
                  <c:v>131.66329999999999</c:v>
                </c:pt>
                <c:pt idx="774">
                  <c:v>129.74932999999999</c:v>
                </c:pt>
                <c:pt idx="775">
                  <c:v>136.26644999999999</c:v>
                </c:pt>
                <c:pt idx="776">
                  <c:v>133.05331000000001</c:v>
                </c:pt>
                <c:pt idx="777">
                  <c:v>132.244</c:v>
                </c:pt>
                <c:pt idx="778">
                  <c:v>125.40348</c:v>
                </c:pt>
                <c:pt idx="779">
                  <c:v>129.23802000000001</c:v>
                </c:pt>
                <c:pt idx="780">
                  <c:v>125.00846</c:v>
                </c:pt>
                <c:pt idx="781">
                  <c:v>111.125046</c:v>
                </c:pt>
                <c:pt idx="782">
                  <c:v>122.7925</c:v>
                </c:pt>
                <c:pt idx="783">
                  <c:v>108.95726999999999</c:v>
                </c:pt>
                <c:pt idx="784">
                  <c:v>123.05264</c:v>
                </c:pt>
                <c:pt idx="785">
                  <c:v>116.50112</c:v>
                </c:pt>
                <c:pt idx="786">
                  <c:v>113.051956</c:v>
                </c:pt>
                <c:pt idx="787">
                  <c:v>100.13200000000001</c:v>
                </c:pt>
                <c:pt idx="788">
                  <c:v>101.33633</c:v>
                </c:pt>
                <c:pt idx="789">
                  <c:v>109.67986000000001</c:v>
                </c:pt>
                <c:pt idx="790">
                  <c:v>108.38884</c:v>
                </c:pt>
                <c:pt idx="791">
                  <c:v>115.86526000000001</c:v>
                </c:pt>
                <c:pt idx="792">
                  <c:v>116.05794</c:v>
                </c:pt>
                <c:pt idx="793">
                  <c:v>120.89449999999999</c:v>
                </c:pt>
                <c:pt idx="794">
                  <c:v>115.7111</c:v>
                </c:pt>
                <c:pt idx="795">
                  <c:v>113.80345</c:v>
                </c:pt>
                <c:pt idx="796">
                  <c:v>119.33369999999999</c:v>
                </c:pt>
                <c:pt idx="797">
                  <c:v>120.03702</c:v>
                </c:pt>
                <c:pt idx="798">
                  <c:v>126.36693</c:v>
                </c:pt>
                <c:pt idx="799">
                  <c:v>125.71178</c:v>
                </c:pt>
                <c:pt idx="800">
                  <c:v>127.76394999999999</c:v>
                </c:pt>
                <c:pt idx="801">
                  <c:v>128.74665999999999</c:v>
                </c:pt>
                <c:pt idx="802">
                  <c:v>126.10678</c:v>
                </c:pt>
                <c:pt idx="803">
                  <c:v>133.34233</c:v>
                </c:pt>
                <c:pt idx="804">
                  <c:v>130.09547000000001</c:v>
                </c:pt>
                <c:pt idx="805">
                  <c:v>130.68321</c:v>
                </c:pt>
                <c:pt idx="806">
                  <c:v>132.52341999999999</c:v>
                </c:pt>
                <c:pt idx="807">
                  <c:v>129.63302999999999</c:v>
                </c:pt>
                <c:pt idx="808">
                  <c:v>126.15496</c:v>
                </c:pt>
                <c:pt idx="809">
                  <c:v>127.77357000000001</c:v>
                </c:pt>
                <c:pt idx="810">
                  <c:v>125.49979399999999</c:v>
                </c:pt>
                <c:pt idx="811">
                  <c:v>129.44998000000001</c:v>
                </c:pt>
                <c:pt idx="812">
                  <c:v>129.54633999999999</c:v>
                </c:pt>
                <c:pt idx="813">
                  <c:v>131.33838</c:v>
                </c:pt>
                <c:pt idx="814">
                  <c:v>128.48652999999999</c:v>
                </c:pt>
                <c:pt idx="815">
                  <c:v>127.45563</c:v>
                </c:pt>
                <c:pt idx="816">
                  <c:v>125.38419</c:v>
                </c:pt>
                <c:pt idx="817">
                  <c:v>126.1357</c:v>
                </c:pt>
                <c:pt idx="818">
                  <c:v>126.85829</c:v>
                </c:pt>
                <c:pt idx="819">
                  <c:v>126.00082</c:v>
                </c:pt>
                <c:pt idx="820">
                  <c:v>126.74267999999999</c:v>
                </c:pt>
                <c:pt idx="821">
                  <c:v>129.32472000000001</c:v>
                </c:pt>
                <c:pt idx="822">
                  <c:v>129.46924999999999</c:v>
                </c:pt>
                <c:pt idx="823">
                  <c:v>128.08186000000001</c:v>
                </c:pt>
                <c:pt idx="824">
                  <c:v>128.10114999999999</c:v>
                </c:pt>
                <c:pt idx="825">
                  <c:v>128.21677</c:v>
                </c:pt>
                <c:pt idx="826">
                  <c:v>130.98186999999999</c:v>
                </c:pt>
                <c:pt idx="827">
                  <c:v>130.5676</c:v>
                </c:pt>
                <c:pt idx="828">
                  <c:v>126.916084</c:v>
                </c:pt>
                <c:pt idx="829">
                  <c:v>126.46326999999999</c:v>
                </c:pt>
                <c:pt idx="830">
                  <c:v>125.451645</c:v>
                </c:pt>
                <c:pt idx="831">
                  <c:v>125.71178</c:v>
                </c:pt>
                <c:pt idx="832">
                  <c:v>125.00846</c:v>
                </c:pt>
                <c:pt idx="833">
                  <c:v>126.02972</c:v>
                </c:pt>
                <c:pt idx="834">
                  <c:v>127.45563</c:v>
                </c:pt>
                <c:pt idx="835">
                  <c:v>126.74267999999999</c:v>
                </c:pt>
                <c:pt idx="836">
                  <c:v>128.13005000000001</c:v>
                </c:pt>
                <c:pt idx="837">
                  <c:v>127.78321</c:v>
                </c:pt>
                <c:pt idx="838">
                  <c:v>127.966255</c:v>
                </c:pt>
                <c:pt idx="839">
                  <c:v>126.774925</c:v>
                </c:pt>
                <c:pt idx="840">
                  <c:v>128.59058999999999</c:v>
                </c:pt>
                <c:pt idx="841">
                  <c:v>128.36725999999999</c:v>
                </c:pt>
                <c:pt idx="842">
                  <c:v>129.10517999999999</c:v>
                </c:pt>
                <c:pt idx="843">
                  <c:v>130.23146</c:v>
                </c:pt>
                <c:pt idx="844">
                  <c:v>124.12427</c:v>
                </c:pt>
                <c:pt idx="845">
                  <c:v>125.25055999999999</c:v>
                </c:pt>
                <c:pt idx="846">
                  <c:v>126.68754</c:v>
                </c:pt>
                <c:pt idx="847">
                  <c:v>127.84295</c:v>
                </c:pt>
                <c:pt idx="848">
                  <c:v>127.93031999999999</c:v>
                </c:pt>
                <c:pt idx="849">
                  <c:v>128.92068</c:v>
                </c:pt>
                <c:pt idx="850">
                  <c:v>127.46429000000001</c:v>
                </c:pt>
                <c:pt idx="851">
                  <c:v>127.24097999999999</c:v>
                </c:pt>
                <c:pt idx="852">
                  <c:v>127.54195</c:v>
                </c:pt>
                <c:pt idx="853">
                  <c:v>125.79429</c:v>
                </c:pt>
                <c:pt idx="854">
                  <c:v>127.59050999999999</c:v>
                </c:pt>
                <c:pt idx="855">
                  <c:v>125.18259</c:v>
                </c:pt>
                <c:pt idx="856">
                  <c:v>127.27012000000001</c:v>
                </c:pt>
                <c:pt idx="857">
                  <c:v>128.41579999999999</c:v>
                </c:pt>
                <c:pt idx="858">
                  <c:v>128.5129</c:v>
                </c:pt>
                <c:pt idx="859">
                  <c:v>128.98866000000001</c:v>
                </c:pt>
                <c:pt idx="860">
                  <c:v>129.4256</c:v>
                </c:pt>
                <c:pt idx="861">
                  <c:v>129.68773999999999</c:v>
                </c:pt>
                <c:pt idx="862">
                  <c:v>130.31882999999999</c:v>
                </c:pt>
                <c:pt idx="863">
                  <c:v>128.85274000000001</c:v>
                </c:pt>
                <c:pt idx="864">
                  <c:v>130.55188000000001</c:v>
                </c:pt>
                <c:pt idx="865">
                  <c:v>130.98877999999999</c:v>
                </c:pt>
                <c:pt idx="866">
                  <c:v>131.58105</c:v>
                </c:pt>
                <c:pt idx="867">
                  <c:v>129.80426</c:v>
                </c:pt>
                <c:pt idx="868">
                  <c:v>129.98874000000001</c:v>
                </c:pt>
                <c:pt idx="869">
                  <c:v>130.74605</c:v>
                </c:pt>
                <c:pt idx="870">
                  <c:v>129.24109999999999</c:v>
                </c:pt>
                <c:pt idx="871">
                  <c:v>130.52271999999999</c:v>
                </c:pt>
                <c:pt idx="872">
                  <c:v>132.05680000000001</c:v>
                </c:pt>
                <c:pt idx="873">
                  <c:v>133.09572</c:v>
                </c:pt>
                <c:pt idx="874">
                  <c:v>132.10535999999999</c:v>
                </c:pt>
                <c:pt idx="875">
                  <c:v>133.66856000000001</c:v>
                </c:pt>
                <c:pt idx="876">
                  <c:v>133.387</c:v>
                </c:pt>
                <c:pt idx="877">
                  <c:v>133.92098999999999</c:v>
                </c:pt>
                <c:pt idx="878">
                  <c:v>133.68799000000001</c:v>
                </c:pt>
                <c:pt idx="879">
                  <c:v>133.65886</c:v>
                </c:pt>
                <c:pt idx="880">
                  <c:v>132.72675000000001</c:v>
                </c:pt>
                <c:pt idx="881">
                  <c:v>133.47438</c:v>
                </c:pt>
                <c:pt idx="882">
                  <c:v>132.28984</c:v>
                </c:pt>
                <c:pt idx="883">
                  <c:v>131.91118</c:v>
                </c:pt>
                <c:pt idx="884">
                  <c:v>132.76560000000001</c:v>
                </c:pt>
                <c:pt idx="885">
                  <c:v>132.02766</c:v>
                </c:pt>
                <c:pt idx="886">
                  <c:v>131.19266999999999</c:v>
                </c:pt>
                <c:pt idx="887">
                  <c:v>133.79477</c:v>
                </c:pt>
                <c:pt idx="888">
                  <c:v>134.08606</c:v>
                </c:pt>
                <c:pt idx="889">
                  <c:v>133.56173999999999</c:v>
                </c:pt>
                <c:pt idx="890">
                  <c:v>133.91130000000001</c:v>
                </c:pt>
                <c:pt idx="891">
                  <c:v>134.09577999999999</c:v>
                </c:pt>
                <c:pt idx="892">
                  <c:v>132.48401000000001</c:v>
                </c:pt>
                <c:pt idx="893">
                  <c:v>132.74617000000001</c:v>
                </c:pt>
                <c:pt idx="894">
                  <c:v>132.49373</c:v>
                </c:pt>
                <c:pt idx="895">
                  <c:v>133.63943</c:v>
                </c:pt>
                <c:pt idx="896">
                  <c:v>133.30932999999999</c:v>
                </c:pt>
                <c:pt idx="897">
                  <c:v>134.44531000000001</c:v>
                </c:pt>
                <c:pt idx="898">
                  <c:v>134.37733</c:v>
                </c:pt>
                <c:pt idx="899">
                  <c:v>135.87259</c:v>
                </c:pt>
                <c:pt idx="900">
                  <c:v>135.98909</c:v>
                </c:pt>
                <c:pt idx="901">
                  <c:v>135.14438000000001</c:v>
                </c:pt>
                <c:pt idx="902">
                  <c:v>139.12521000000001</c:v>
                </c:pt>
                <c:pt idx="903">
                  <c:v>136.29219000000001</c:v>
                </c:pt>
                <c:pt idx="904">
                  <c:v>135.69566</c:v>
                </c:pt>
                <c:pt idx="905">
                  <c:v>132.55654999999999</c:v>
                </c:pt>
                <c:pt idx="906">
                  <c:v>134.08208999999999</c:v>
                </c:pt>
                <c:pt idx="907">
                  <c:v>131.78399999999999</c:v>
                </c:pt>
                <c:pt idx="908">
                  <c:v>132.81082000000001</c:v>
                </c:pt>
                <c:pt idx="909">
                  <c:v>133.65181999999999</c:v>
                </c:pt>
                <c:pt idx="910">
                  <c:v>132.62502000000001</c:v>
                </c:pt>
                <c:pt idx="911">
                  <c:v>131.99914999999999</c:v>
                </c:pt>
                <c:pt idx="912">
                  <c:v>130.25845000000001</c:v>
                </c:pt>
                <c:pt idx="913">
                  <c:v>128.56665000000001</c:v>
                </c:pt>
                <c:pt idx="914">
                  <c:v>128.34173999999999</c:v>
                </c:pt>
                <c:pt idx="915">
                  <c:v>129.23163</c:v>
                </c:pt>
                <c:pt idx="916">
                  <c:v>128.10704000000001</c:v>
                </c:pt>
                <c:pt idx="917">
                  <c:v>128.67421999999999</c:v>
                </c:pt>
                <c:pt idx="918">
                  <c:v>130.60072</c:v>
                </c:pt>
                <c:pt idx="919">
                  <c:v>134.92311000000001</c:v>
                </c:pt>
                <c:pt idx="920">
                  <c:v>134.13101</c:v>
                </c:pt>
                <c:pt idx="921">
                  <c:v>135.53922</c:v>
                </c:pt>
                <c:pt idx="922">
                  <c:v>137.69060999999999</c:v>
                </c:pt>
                <c:pt idx="923">
                  <c:v>135.01112000000001</c:v>
                </c:pt>
                <c:pt idx="924">
                  <c:v>134.88399999999999</c:v>
                </c:pt>
                <c:pt idx="925">
                  <c:v>132.70325</c:v>
                </c:pt>
                <c:pt idx="926">
                  <c:v>133.98429999999999</c:v>
                </c:pt>
                <c:pt idx="927">
                  <c:v>134.80577</c:v>
                </c:pt>
                <c:pt idx="928">
                  <c:v>135.38274000000001</c:v>
                </c:pt>
                <c:pt idx="929">
                  <c:v>138.99124</c:v>
                </c:pt>
                <c:pt idx="930">
                  <c:v>140.37010000000001</c:v>
                </c:pt>
                <c:pt idx="931">
                  <c:v>139.37262999999999</c:v>
                </c:pt>
                <c:pt idx="932">
                  <c:v>138.30669</c:v>
                </c:pt>
                <c:pt idx="933">
                  <c:v>138.60006999999999</c:v>
                </c:pt>
                <c:pt idx="934">
                  <c:v>136.59535</c:v>
                </c:pt>
                <c:pt idx="935">
                  <c:v>136.62470999999999</c:v>
                </c:pt>
                <c:pt idx="936">
                  <c:v>136.51712000000001</c:v>
                </c:pt>
                <c:pt idx="937">
                  <c:v>136.52690000000001</c:v>
                </c:pt>
                <c:pt idx="938">
                  <c:v>136.47801000000001</c:v>
                </c:pt>
                <c:pt idx="939">
                  <c:v>135.01112000000001</c:v>
                </c:pt>
                <c:pt idx="940">
                  <c:v>136.04771</c:v>
                </c:pt>
                <c:pt idx="941">
                  <c:v>131.20703</c:v>
                </c:pt>
                <c:pt idx="942">
                  <c:v>131.03100000000001</c:v>
                </c:pt>
                <c:pt idx="943">
                  <c:v>130.34645</c:v>
                </c:pt>
                <c:pt idx="944">
                  <c:v>132.16537</c:v>
                </c:pt>
                <c:pt idx="945">
                  <c:v>134.01364000000001</c:v>
                </c:pt>
                <c:pt idx="946">
                  <c:v>134.81554</c:v>
                </c:pt>
                <c:pt idx="947">
                  <c:v>135.00136000000001</c:v>
                </c:pt>
                <c:pt idx="948">
                  <c:v>135.32408000000001</c:v>
                </c:pt>
                <c:pt idx="949">
                  <c:v>135.39250000000001</c:v>
                </c:pt>
                <c:pt idx="950">
                  <c:v>138.59030000000001</c:v>
                </c:pt>
                <c:pt idx="951">
                  <c:v>140.72214</c:v>
                </c:pt>
                <c:pt idx="952">
                  <c:v>140.66346999999999</c:v>
                </c:pt>
                <c:pt idx="953">
                  <c:v>141.51428000000001</c:v>
                </c:pt>
                <c:pt idx="954">
                  <c:v>142.54107999999999</c:v>
                </c:pt>
                <c:pt idx="955">
                  <c:v>142.03258</c:v>
                </c:pt>
                <c:pt idx="956">
                  <c:v>140.21367000000001</c:v>
                </c:pt>
                <c:pt idx="957">
                  <c:v>140.15496999999999</c:v>
                </c:pt>
                <c:pt idx="958">
                  <c:v>140.25274999999999</c:v>
                </c:pt>
                <c:pt idx="959">
                  <c:v>139.86159000000001</c:v>
                </c:pt>
                <c:pt idx="960">
                  <c:v>140.84929</c:v>
                </c:pt>
                <c:pt idx="961">
                  <c:v>140.97640999999999</c:v>
                </c:pt>
                <c:pt idx="962">
                  <c:v>141.4067</c:v>
                </c:pt>
                <c:pt idx="963">
                  <c:v>141.04488000000001</c:v>
                </c:pt>
                <c:pt idx="964">
                  <c:v>142.84424999999999</c:v>
                </c:pt>
                <c:pt idx="965">
                  <c:v>141.42625000000001</c:v>
                </c:pt>
                <c:pt idx="966">
                  <c:v>142.26635999999999</c:v>
                </c:pt>
                <c:pt idx="967">
                  <c:v>143.64519999999999</c:v>
                </c:pt>
                <c:pt idx="968">
                  <c:v>143.17243999999999</c:v>
                </c:pt>
                <c:pt idx="969">
                  <c:v>143.3202</c:v>
                </c:pt>
                <c:pt idx="970">
                  <c:v>143.48760999999999</c:v>
                </c:pt>
                <c:pt idx="971">
                  <c:v>142.48303000000001</c:v>
                </c:pt>
                <c:pt idx="972">
                  <c:v>142.77849000000001</c:v>
                </c:pt>
                <c:pt idx="973">
                  <c:v>142.04968</c:v>
                </c:pt>
                <c:pt idx="974">
                  <c:v>142.58151000000001</c:v>
                </c:pt>
                <c:pt idx="975">
                  <c:v>142.69970000000001</c:v>
                </c:pt>
                <c:pt idx="976">
                  <c:v>143.50734</c:v>
                </c:pt>
                <c:pt idx="977">
                  <c:v>144.70885999999999</c:v>
                </c:pt>
                <c:pt idx="978">
                  <c:v>143.202</c:v>
                </c:pt>
                <c:pt idx="979">
                  <c:v>141.84286</c:v>
                </c:pt>
                <c:pt idx="980">
                  <c:v>142.22696999999999</c:v>
                </c:pt>
                <c:pt idx="981">
                  <c:v>142.86714000000001</c:v>
                </c:pt>
                <c:pt idx="982">
                  <c:v>144.68915999999999</c:v>
                </c:pt>
                <c:pt idx="983">
                  <c:v>145.19147000000001</c:v>
                </c:pt>
                <c:pt idx="984">
                  <c:v>145.19147000000001</c:v>
                </c:pt>
                <c:pt idx="985">
                  <c:v>145.08313000000001</c:v>
                </c:pt>
                <c:pt idx="986">
                  <c:v>145.08313000000001</c:v>
                </c:pt>
                <c:pt idx="987">
                  <c:v>146.05816999999999</c:v>
                </c:pt>
                <c:pt idx="988">
                  <c:v>146.05816999999999</c:v>
                </c:pt>
                <c:pt idx="989">
                  <c:v>142.08908</c:v>
                </c:pt>
                <c:pt idx="990">
                  <c:v>142.51257000000001</c:v>
                </c:pt>
                <c:pt idx="991">
                  <c:v>140.76933</c:v>
                </c:pt>
                <c:pt idx="992">
                  <c:v>140.31630000000001</c:v>
                </c:pt>
                <c:pt idx="993">
                  <c:v>142.00042999999999</c:v>
                </c:pt>
                <c:pt idx="994">
                  <c:v>139.94202999999999</c:v>
                </c:pt>
                <c:pt idx="995">
                  <c:v>139.292</c:v>
                </c:pt>
                <c:pt idx="996">
                  <c:v>140.43450000000001</c:v>
                </c:pt>
                <c:pt idx="997">
                  <c:v>139.61702</c:v>
                </c:pt>
                <c:pt idx="998">
                  <c:v>139.25261</c:v>
                </c:pt>
                <c:pt idx="999">
                  <c:v>139.91248999999999</c:v>
                </c:pt>
                <c:pt idx="1000">
                  <c:v>139.19353000000001</c:v>
                </c:pt>
                <c:pt idx="1001">
                  <c:v>137.49952999999999</c:v>
                </c:pt>
                <c:pt idx="1002">
                  <c:v>136.49494999999999</c:v>
                </c:pt>
                <c:pt idx="1003">
                  <c:v>138.0609</c:v>
                </c:pt>
                <c:pt idx="1004">
                  <c:v>139.65642</c:v>
                </c:pt>
                <c:pt idx="1005">
                  <c:v>135.95325</c:v>
                </c:pt>
                <c:pt idx="1006">
                  <c:v>137.08588</c:v>
                </c:pt>
                <c:pt idx="1007">
                  <c:v>134.50550000000001</c:v>
                </c:pt>
                <c:pt idx="1008">
                  <c:v>134.90926999999999</c:v>
                </c:pt>
                <c:pt idx="1009">
                  <c:v>136.28813</c:v>
                </c:pt>
                <c:pt idx="1010">
                  <c:v>135.93356</c:v>
                </c:pt>
                <c:pt idx="1011">
                  <c:v>137.56846999999999</c:v>
                </c:pt>
                <c:pt idx="1012">
                  <c:v>138.82911999999999</c:v>
                </c:pt>
                <c:pt idx="1013">
                  <c:v>138.27759</c:v>
                </c:pt>
                <c:pt idx="1014">
                  <c:v>137.48969</c:v>
                </c:pt>
                <c:pt idx="1015">
                  <c:v>135.61840000000001</c:v>
                </c:pt>
                <c:pt idx="1016">
                  <c:v>132.92966999999999</c:v>
                </c:pt>
                <c:pt idx="1017">
                  <c:v>131.84628000000001</c:v>
                </c:pt>
                <c:pt idx="1018">
                  <c:v>132.34859</c:v>
                </c:pt>
                <c:pt idx="1019">
                  <c:v>132.42740000000001</c:v>
                </c:pt>
                <c:pt idx="1020">
                  <c:v>133.32361</c:v>
                </c:pt>
                <c:pt idx="1021">
                  <c:v>130.50684999999999</c:v>
                </c:pt>
                <c:pt idx="1022">
                  <c:v>129.99472</c:v>
                </c:pt>
                <c:pt idx="1023">
                  <c:v>130.77277000000001</c:v>
                </c:pt>
                <c:pt idx="1024">
                  <c:v>130.0932</c:v>
                </c:pt>
                <c:pt idx="1025">
                  <c:v>128.03479999999999</c:v>
                </c:pt>
                <c:pt idx="1026">
                  <c:v>127.23704499999999</c:v>
                </c:pt>
                <c:pt idx="1027">
                  <c:v>128.64542</c:v>
                </c:pt>
                <c:pt idx="1028">
                  <c:v>129.08861999999999</c:v>
                </c:pt>
                <c:pt idx="1029">
                  <c:v>127.187805</c:v>
                </c:pt>
                <c:pt idx="1030">
                  <c:v>127.89564</c:v>
                </c:pt>
                <c:pt idx="1031">
                  <c:v>132.06516999999999</c:v>
                </c:pt>
                <c:pt idx="1032">
                  <c:v>131.17169000000001</c:v>
                </c:pt>
                <c:pt idx="1033">
                  <c:v>131.29082</c:v>
                </c:pt>
                <c:pt idx="1034">
                  <c:v>132.61117999999999</c:v>
                </c:pt>
                <c:pt idx="1035">
                  <c:v>132.25378000000001</c:v>
                </c:pt>
                <c:pt idx="1036">
                  <c:v>132.07509999999999</c:v>
                </c:pt>
                <c:pt idx="1037">
                  <c:v>132.06516999999999</c:v>
                </c:pt>
                <c:pt idx="1038">
                  <c:v>133.03806</c:v>
                </c:pt>
                <c:pt idx="1039">
                  <c:v>132.65088</c:v>
                </c:pt>
                <c:pt idx="1040">
                  <c:v>131.56879000000001</c:v>
                </c:pt>
                <c:pt idx="1041">
                  <c:v>133.52449999999999</c:v>
                </c:pt>
                <c:pt idx="1042">
                  <c:v>136.80056999999999</c:v>
                </c:pt>
                <c:pt idx="1043">
                  <c:v>138.44853000000001</c:v>
                </c:pt>
                <c:pt idx="1044">
                  <c:v>137.80323999999999</c:v>
                </c:pt>
                <c:pt idx="1045">
                  <c:v>138.61731</c:v>
                </c:pt>
                <c:pt idx="1046">
                  <c:v>141.66502</c:v>
                </c:pt>
                <c:pt idx="1047">
                  <c:v>143.75971999999999</c:v>
                </c:pt>
                <c:pt idx="1048">
                  <c:v>141.50618</c:v>
                </c:pt>
                <c:pt idx="1049">
                  <c:v>140.42409000000001</c:v>
                </c:pt>
                <c:pt idx="1050">
                  <c:v>140.25532999999999</c:v>
                </c:pt>
                <c:pt idx="1051">
                  <c:v>142.1217</c:v>
                </c:pt>
                <c:pt idx="1052">
                  <c:v>142.62799000000001</c:v>
                </c:pt>
                <c:pt idx="1053">
                  <c:v>142.3699</c:v>
                </c:pt>
                <c:pt idx="1054">
                  <c:v>141.50618</c:v>
                </c:pt>
                <c:pt idx="1055">
                  <c:v>141.53598</c:v>
                </c:pt>
                <c:pt idx="1056">
                  <c:v>141.98271</c:v>
                </c:pt>
                <c:pt idx="1057">
                  <c:v>142.01249999999999</c:v>
                </c:pt>
                <c:pt idx="1058">
                  <c:v>141.07932</c:v>
                </c:pt>
                <c:pt idx="1059">
                  <c:v>141.27788000000001</c:v>
                </c:pt>
                <c:pt idx="1060">
                  <c:v>143.11444</c:v>
                </c:pt>
                <c:pt idx="1061">
                  <c:v>143.70016000000001</c:v>
                </c:pt>
                <c:pt idx="1062">
                  <c:v>144.65321</c:v>
                </c:pt>
                <c:pt idx="1063">
                  <c:v>145.91399000000001</c:v>
                </c:pt>
                <c:pt idx="1064">
                  <c:v>145.01061999999999</c:v>
                </c:pt>
                <c:pt idx="1065">
                  <c:v>144.77234000000001</c:v>
                </c:pt>
                <c:pt idx="1066">
                  <c:v>142.32024999999999</c:v>
                </c:pt>
                <c:pt idx="1067">
                  <c:v>141.85364999999999</c:v>
                </c:pt>
                <c:pt idx="1068">
                  <c:v>140.80135000000001</c:v>
                </c:pt>
                <c:pt idx="1069">
                  <c:v>142.89604</c:v>
                </c:pt>
                <c:pt idx="1070">
                  <c:v>143.11444</c:v>
                </c:pt>
                <c:pt idx="1071">
                  <c:v>144.73262</c:v>
                </c:pt>
                <c:pt idx="1072">
                  <c:v>142.91591</c:v>
                </c:pt>
                <c:pt idx="1073">
                  <c:v>142.84639999999999</c:v>
                </c:pt>
                <c:pt idx="1074">
                  <c:v>144.50429</c:v>
                </c:pt>
                <c:pt idx="1075">
                  <c:v>144.50429</c:v>
                </c:pt>
                <c:pt idx="1076">
                  <c:v>145.65588</c:v>
                </c:pt>
                <c:pt idx="1077">
                  <c:v>144.59362999999999</c:v>
                </c:pt>
                <c:pt idx="1078">
                  <c:v>143.18393</c:v>
                </c:pt>
                <c:pt idx="1079">
                  <c:v>145.30841000000001</c:v>
                </c:pt>
                <c:pt idx="1080">
                  <c:v>145.52681000000001</c:v>
                </c:pt>
                <c:pt idx="1081">
                  <c:v>145.10986</c:v>
                </c:pt>
                <c:pt idx="1082">
                  <c:v>144.45464999999999</c:v>
                </c:pt>
                <c:pt idx="1083">
                  <c:v>144.37523999999999</c:v>
                </c:pt>
                <c:pt idx="1084">
                  <c:v>146.16217</c:v>
                </c:pt>
                <c:pt idx="1085">
                  <c:v>146.03313</c:v>
                </c:pt>
                <c:pt idx="1086">
                  <c:v>146.77768</c:v>
                </c:pt>
                <c:pt idx="1087">
                  <c:v>147.22443000000001</c:v>
                </c:pt>
                <c:pt idx="1088">
                  <c:v>147.22443000000001</c:v>
                </c:pt>
                <c:pt idx="1089">
                  <c:v>145.44739000000001</c:v>
                </c:pt>
                <c:pt idx="1090">
                  <c:v>146.86703</c:v>
                </c:pt>
                <c:pt idx="1091">
                  <c:v>146.55928</c:v>
                </c:pt>
                <c:pt idx="1092">
                  <c:v>147.14500000000001</c:v>
                </c:pt>
                <c:pt idx="1093">
                  <c:v>147.67000999999999</c:v>
                </c:pt>
                <c:pt idx="1094">
                  <c:v>147.84</c:v>
                </c:pt>
                <c:pt idx="1095">
                  <c:v>147.75</c:v>
                </c:pt>
                <c:pt idx="1096">
                  <c:v>146.37</c:v>
                </c:pt>
                <c:pt idx="1097">
                  <c:v>146.1</c:v>
                </c:pt>
                <c:pt idx="1098">
                  <c:v>147.6</c:v>
                </c:pt>
                <c:pt idx="1099">
                  <c:v>147.69</c:v>
                </c:pt>
                <c:pt idx="1100">
                  <c:v>148.57</c:v>
                </c:pt>
                <c:pt idx="1101">
                  <c:v>148.58000000000001</c:v>
                </c:pt>
                <c:pt idx="1102">
                  <c:v>147.1</c:v>
                </c:pt>
                <c:pt idx="1103">
                  <c:v>148.51999000000001</c:v>
                </c:pt>
                <c:pt idx="1104">
                  <c:v>145.42000999999999</c:v>
                </c:pt>
                <c:pt idx="1105">
                  <c:v>146.56001000000001</c:v>
                </c:pt>
                <c:pt idx="1106">
                  <c:v>146.78</c:v>
                </c:pt>
                <c:pt idx="1107">
                  <c:v>144.85</c:v>
                </c:pt>
                <c:pt idx="1108">
                  <c:v>145.66999999999999</c:v>
                </c:pt>
                <c:pt idx="1109">
                  <c:v>146.41</c:v>
                </c:pt>
                <c:pt idx="1110">
                  <c:v>147.04001</c:v>
                </c:pt>
                <c:pt idx="1111">
                  <c:v>146.94</c:v>
                </c:pt>
                <c:pt idx="1112">
                  <c:v>148.16999999999999</c:v>
                </c:pt>
                <c:pt idx="1113">
                  <c:v>148.19999999999999</c:v>
                </c:pt>
              </c:numCache>
            </c:numRef>
          </c:val>
          <c:smooth val="0"/>
          <c:extLst>
            <c:ext xmlns:c16="http://schemas.microsoft.com/office/drawing/2014/chart" uri="{C3380CC4-5D6E-409C-BE32-E72D297353CC}">
              <c16:uniqueId val="{00000000-460D-6F4E-9400-DC4F135CD3A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2778</c:v>
                </c:pt>
                <c:pt idx="1">
                  <c:v>42779</c:v>
                </c:pt>
                <c:pt idx="2">
                  <c:v>42780</c:v>
                </c:pt>
                <c:pt idx="3">
                  <c:v>42781</c:v>
                </c:pt>
                <c:pt idx="4">
                  <c:v>42782</c:v>
                </c:pt>
                <c:pt idx="5">
                  <c:v>42783</c:v>
                </c:pt>
                <c:pt idx="6">
                  <c:v>42787</c:v>
                </c:pt>
                <c:pt idx="7">
                  <c:v>42788</c:v>
                </c:pt>
                <c:pt idx="8">
                  <c:v>42789</c:v>
                </c:pt>
                <c:pt idx="9">
                  <c:v>42790</c:v>
                </c:pt>
                <c:pt idx="10">
                  <c:v>42793</c:v>
                </c:pt>
                <c:pt idx="11">
                  <c:v>42794</c:v>
                </c:pt>
                <c:pt idx="12">
                  <c:v>42795</c:v>
                </c:pt>
                <c:pt idx="13">
                  <c:v>42796</c:v>
                </c:pt>
                <c:pt idx="14">
                  <c:v>42797</c:v>
                </c:pt>
                <c:pt idx="15">
                  <c:v>42800</c:v>
                </c:pt>
                <c:pt idx="16">
                  <c:v>42801</c:v>
                </c:pt>
                <c:pt idx="17">
                  <c:v>42802</c:v>
                </c:pt>
                <c:pt idx="18">
                  <c:v>42803</c:v>
                </c:pt>
                <c:pt idx="19">
                  <c:v>42804</c:v>
                </c:pt>
                <c:pt idx="20">
                  <c:v>42807</c:v>
                </c:pt>
                <c:pt idx="21">
                  <c:v>42808</c:v>
                </c:pt>
                <c:pt idx="22">
                  <c:v>42809</c:v>
                </c:pt>
                <c:pt idx="23">
                  <c:v>42810</c:v>
                </c:pt>
                <c:pt idx="24">
                  <c:v>42811</c:v>
                </c:pt>
                <c:pt idx="25">
                  <c:v>42814</c:v>
                </c:pt>
                <c:pt idx="26">
                  <c:v>42815</c:v>
                </c:pt>
                <c:pt idx="27">
                  <c:v>42816</c:v>
                </c:pt>
                <c:pt idx="28">
                  <c:v>42817</c:v>
                </c:pt>
                <c:pt idx="29">
                  <c:v>42818</c:v>
                </c:pt>
                <c:pt idx="30">
                  <c:v>42821</c:v>
                </c:pt>
                <c:pt idx="31">
                  <c:v>42822</c:v>
                </c:pt>
                <c:pt idx="32">
                  <c:v>42823</c:v>
                </c:pt>
                <c:pt idx="33">
                  <c:v>42824</c:v>
                </c:pt>
                <c:pt idx="34">
                  <c:v>42825</c:v>
                </c:pt>
                <c:pt idx="35">
                  <c:v>42828</c:v>
                </c:pt>
                <c:pt idx="36">
                  <c:v>42829</c:v>
                </c:pt>
                <c:pt idx="37">
                  <c:v>42830</c:v>
                </c:pt>
                <c:pt idx="38">
                  <c:v>42831</c:v>
                </c:pt>
                <c:pt idx="39">
                  <c:v>42832</c:v>
                </c:pt>
                <c:pt idx="40">
                  <c:v>42835</c:v>
                </c:pt>
                <c:pt idx="41">
                  <c:v>42836</c:v>
                </c:pt>
                <c:pt idx="42">
                  <c:v>42837</c:v>
                </c:pt>
                <c:pt idx="43">
                  <c:v>42838</c:v>
                </c:pt>
                <c:pt idx="44">
                  <c:v>42842</c:v>
                </c:pt>
                <c:pt idx="45">
                  <c:v>42843</c:v>
                </c:pt>
                <c:pt idx="46">
                  <c:v>42844</c:v>
                </c:pt>
                <c:pt idx="47">
                  <c:v>42845</c:v>
                </c:pt>
                <c:pt idx="48">
                  <c:v>42846</c:v>
                </c:pt>
                <c:pt idx="49">
                  <c:v>42849</c:v>
                </c:pt>
                <c:pt idx="50">
                  <c:v>42850</c:v>
                </c:pt>
                <c:pt idx="51">
                  <c:v>42851</c:v>
                </c:pt>
                <c:pt idx="52">
                  <c:v>42852</c:v>
                </c:pt>
                <c:pt idx="53">
                  <c:v>42853</c:v>
                </c:pt>
                <c:pt idx="54">
                  <c:v>42856</c:v>
                </c:pt>
                <c:pt idx="55">
                  <c:v>42857</c:v>
                </c:pt>
                <c:pt idx="56">
                  <c:v>42858</c:v>
                </c:pt>
                <c:pt idx="57">
                  <c:v>42859</c:v>
                </c:pt>
                <c:pt idx="58">
                  <c:v>42860</c:v>
                </c:pt>
                <c:pt idx="59">
                  <c:v>42863</c:v>
                </c:pt>
                <c:pt idx="60">
                  <c:v>42864</c:v>
                </c:pt>
                <c:pt idx="61">
                  <c:v>42865</c:v>
                </c:pt>
                <c:pt idx="62">
                  <c:v>42866</c:v>
                </c:pt>
                <c:pt idx="63">
                  <c:v>42867</c:v>
                </c:pt>
                <c:pt idx="64">
                  <c:v>42870</c:v>
                </c:pt>
                <c:pt idx="65">
                  <c:v>42871</c:v>
                </c:pt>
                <c:pt idx="66">
                  <c:v>42872</c:v>
                </c:pt>
                <c:pt idx="67">
                  <c:v>42873</c:v>
                </c:pt>
                <c:pt idx="68">
                  <c:v>42874</c:v>
                </c:pt>
                <c:pt idx="69">
                  <c:v>42877</c:v>
                </c:pt>
                <c:pt idx="70">
                  <c:v>42878</c:v>
                </c:pt>
                <c:pt idx="71">
                  <c:v>42879</c:v>
                </c:pt>
                <c:pt idx="72">
                  <c:v>42880</c:v>
                </c:pt>
                <c:pt idx="73">
                  <c:v>42881</c:v>
                </c:pt>
                <c:pt idx="74">
                  <c:v>42885</c:v>
                </c:pt>
                <c:pt idx="75">
                  <c:v>42886</c:v>
                </c:pt>
                <c:pt idx="76">
                  <c:v>42887</c:v>
                </c:pt>
                <c:pt idx="77">
                  <c:v>42888</c:v>
                </c:pt>
                <c:pt idx="78">
                  <c:v>42891</c:v>
                </c:pt>
                <c:pt idx="79">
                  <c:v>42892</c:v>
                </c:pt>
                <c:pt idx="80">
                  <c:v>42893</c:v>
                </c:pt>
                <c:pt idx="81">
                  <c:v>42894</c:v>
                </c:pt>
                <c:pt idx="82">
                  <c:v>42895</c:v>
                </c:pt>
                <c:pt idx="83">
                  <c:v>42898</c:v>
                </c:pt>
                <c:pt idx="84">
                  <c:v>42899</c:v>
                </c:pt>
                <c:pt idx="85">
                  <c:v>42900</c:v>
                </c:pt>
                <c:pt idx="86">
                  <c:v>42901</c:v>
                </c:pt>
                <c:pt idx="87">
                  <c:v>42902</c:v>
                </c:pt>
                <c:pt idx="88">
                  <c:v>42905</c:v>
                </c:pt>
                <c:pt idx="89">
                  <c:v>42906</c:v>
                </c:pt>
                <c:pt idx="90">
                  <c:v>42907</c:v>
                </c:pt>
                <c:pt idx="91">
                  <c:v>42908</c:v>
                </c:pt>
                <c:pt idx="92">
                  <c:v>42909</c:v>
                </c:pt>
                <c:pt idx="93">
                  <c:v>42912</c:v>
                </c:pt>
                <c:pt idx="94">
                  <c:v>42913</c:v>
                </c:pt>
                <c:pt idx="95">
                  <c:v>42914</c:v>
                </c:pt>
                <c:pt idx="96">
                  <c:v>42915</c:v>
                </c:pt>
                <c:pt idx="97">
                  <c:v>42916</c:v>
                </c:pt>
                <c:pt idx="98">
                  <c:v>42919</c:v>
                </c:pt>
                <c:pt idx="99">
                  <c:v>42921</c:v>
                </c:pt>
                <c:pt idx="100">
                  <c:v>42922</c:v>
                </c:pt>
                <c:pt idx="101">
                  <c:v>42923</c:v>
                </c:pt>
                <c:pt idx="102">
                  <c:v>42926</c:v>
                </c:pt>
                <c:pt idx="103">
                  <c:v>42927</c:v>
                </c:pt>
                <c:pt idx="104">
                  <c:v>42928</c:v>
                </c:pt>
                <c:pt idx="105">
                  <c:v>42929</c:v>
                </c:pt>
                <c:pt idx="106">
                  <c:v>42930</c:v>
                </c:pt>
                <c:pt idx="107">
                  <c:v>42933</c:v>
                </c:pt>
                <c:pt idx="108">
                  <c:v>42934</c:v>
                </c:pt>
                <c:pt idx="109">
                  <c:v>42935</c:v>
                </c:pt>
                <c:pt idx="110">
                  <c:v>42936</c:v>
                </c:pt>
                <c:pt idx="111">
                  <c:v>42937</c:v>
                </c:pt>
                <c:pt idx="112">
                  <c:v>42940</c:v>
                </c:pt>
                <c:pt idx="113">
                  <c:v>42941</c:v>
                </c:pt>
                <c:pt idx="114">
                  <c:v>42942</c:v>
                </c:pt>
                <c:pt idx="115">
                  <c:v>42943</c:v>
                </c:pt>
                <c:pt idx="116">
                  <c:v>42944</c:v>
                </c:pt>
                <c:pt idx="117">
                  <c:v>42947</c:v>
                </c:pt>
                <c:pt idx="118">
                  <c:v>42948</c:v>
                </c:pt>
                <c:pt idx="119">
                  <c:v>42949</c:v>
                </c:pt>
                <c:pt idx="120">
                  <c:v>42950</c:v>
                </c:pt>
                <c:pt idx="121">
                  <c:v>42951</c:v>
                </c:pt>
                <c:pt idx="122">
                  <c:v>42954</c:v>
                </c:pt>
                <c:pt idx="123">
                  <c:v>42955</c:v>
                </c:pt>
                <c:pt idx="124">
                  <c:v>42956</c:v>
                </c:pt>
                <c:pt idx="125">
                  <c:v>42957</c:v>
                </c:pt>
                <c:pt idx="126">
                  <c:v>42958</c:v>
                </c:pt>
                <c:pt idx="127">
                  <c:v>42961</c:v>
                </c:pt>
                <c:pt idx="128">
                  <c:v>42962</c:v>
                </c:pt>
                <c:pt idx="129">
                  <c:v>42963</c:v>
                </c:pt>
                <c:pt idx="130">
                  <c:v>42964</c:v>
                </c:pt>
                <c:pt idx="131">
                  <c:v>42965</c:v>
                </c:pt>
                <c:pt idx="132">
                  <c:v>42968</c:v>
                </c:pt>
                <c:pt idx="133">
                  <c:v>42969</c:v>
                </c:pt>
                <c:pt idx="134">
                  <c:v>42970</c:v>
                </c:pt>
                <c:pt idx="135">
                  <c:v>42971</c:v>
                </c:pt>
                <c:pt idx="136">
                  <c:v>42972</c:v>
                </c:pt>
                <c:pt idx="137">
                  <c:v>42975</c:v>
                </c:pt>
                <c:pt idx="138">
                  <c:v>42976</c:v>
                </c:pt>
                <c:pt idx="139">
                  <c:v>42977</c:v>
                </c:pt>
                <c:pt idx="140">
                  <c:v>42978</c:v>
                </c:pt>
                <c:pt idx="141">
                  <c:v>42979</c:v>
                </c:pt>
                <c:pt idx="142">
                  <c:v>42983</c:v>
                </c:pt>
                <c:pt idx="143">
                  <c:v>42984</c:v>
                </c:pt>
                <c:pt idx="144">
                  <c:v>42985</c:v>
                </c:pt>
                <c:pt idx="145">
                  <c:v>42986</c:v>
                </c:pt>
                <c:pt idx="146">
                  <c:v>42989</c:v>
                </c:pt>
                <c:pt idx="147">
                  <c:v>42990</c:v>
                </c:pt>
                <c:pt idx="148">
                  <c:v>42991</c:v>
                </c:pt>
                <c:pt idx="149">
                  <c:v>42992</c:v>
                </c:pt>
                <c:pt idx="150">
                  <c:v>42993</c:v>
                </c:pt>
                <c:pt idx="151">
                  <c:v>42996</c:v>
                </c:pt>
                <c:pt idx="152">
                  <c:v>42997</c:v>
                </c:pt>
                <c:pt idx="153">
                  <c:v>42998</c:v>
                </c:pt>
                <c:pt idx="154">
                  <c:v>42999</c:v>
                </c:pt>
                <c:pt idx="155">
                  <c:v>43000</c:v>
                </c:pt>
                <c:pt idx="156">
                  <c:v>43003</c:v>
                </c:pt>
                <c:pt idx="157">
                  <c:v>43004</c:v>
                </c:pt>
                <c:pt idx="158">
                  <c:v>43005</c:v>
                </c:pt>
                <c:pt idx="159">
                  <c:v>43006</c:v>
                </c:pt>
                <c:pt idx="160">
                  <c:v>43007</c:v>
                </c:pt>
                <c:pt idx="161">
                  <c:v>43010</c:v>
                </c:pt>
                <c:pt idx="162">
                  <c:v>43011</c:v>
                </c:pt>
                <c:pt idx="163">
                  <c:v>43012</c:v>
                </c:pt>
                <c:pt idx="164">
                  <c:v>43013</c:v>
                </c:pt>
                <c:pt idx="165">
                  <c:v>43014</c:v>
                </c:pt>
                <c:pt idx="166">
                  <c:v>43017</c:v>
                </c:pt>
                <c:pt idx="167">
                  <c:v>43018</c:v>
                </c:pt>
                <c:pt idx="168">
                  <c:v>43019</c:v>
                </c:pt>
                <c:pt idx="169">
                  <c:v>43020</c:v>
                </c:pt>
                <c:pt idx="170">
                  <c:v>43021</c:v>
                </c:pt>
                <c:pt idx="171">
                  <c:v>43024</c:v>
                </c:pt>
                <c:pt idx="172">
                  <c:v>43025</c:v>
                </c:pt>
                <c:pt idx="173">
                  <c:v>43026</c:v>
                </c:pt>
                <c:pt idx="174">
                  <c:v>43027</c:v>
                </c:pt>
                <c:pt idx="175">
                  <c:v>43028</c:v>
                </c:pt>
                <c:pt idx="176">
                  <c:v>43031</c:v>
                </c:pt>
                <c:pt idx="177">
                  <c:v>43032</c:v>
                </c:pt>
                <c:pt idx="178">
                  <c:v>43033</c:v>
                </c:pt>
                <c:pt idx="179">
                  <c:v>43034</c:v>
                </c:pt>
                <c:pt idx="180">
                  <c:v>43035</c:v>
                </c:pt>
                <c:pt idx="181">
                  <c:v>43038</c:v>
                </c:pt>
                <c:pt idx="182">
                  <c:v>43039</c:v>
                </c:pt>
                <c:pt idx="183">
                  <c:v>43040</c:v>
                </c:pt>
                <c:pt idx="184">
                  <c:v>43041</c:v>
                </c:pt>
                <c:pt idx="185">
                  <c:v>43042</c:v>
                </c:pt>
                <c:pt idx="186">
                  <c:v>43045</c:v>
                </c:pt>
                <c:pt idx="187">
                  <c:v>43046</c:v>
                </c:pt>
                <c:pt idx="188">
                  <c:v>43047</c:v>
                </c:pt>
                <c:pt idx="189">
                  <c:v>43048</c:v>
                </c:pt>
                <c:pt idx="190">
                  <c:v>43049</c:v>
                </c:pt>
                <c:pt idx="191">
                  <c:v>43052</c:v>
                </c:pt>
                <c:pt idx="192">
                  <c:v>43053</c:v>
                </c:pt>
                <c:pt idx="193">
                  <c:v>43054</c:v>
                </c:pt>
                <c:pt idx="194">
                  <c:v>43055</c:v>
                </c:pt>
                <c:pt idx="195">
                  <c:v>43056</c:v>
                </c:pt>
                <c:pt idx="196">
                  <c:v>43059</c:v>
                </c:pt>
                <c:pt idx="197">
                  <c:v>43060</c:v>
                </c:pt>
                <c:pt idx="198">
                  <c:v>43061</c:v>
                </c:pt>
                <c:pt idx="199">
                  <c:v>43063</c:v>
                </c:pt>
                <c:pt idx="200">
                  <c:v>43066</c:v>
                </c:pt>
                <c:pt idx="201">
                  <c:v>43067</c:v>
                </c:pt>
                <c:pt idx="202">
                  <c:v>43068</c:v>
                </c:pt>
                <c:pt idx="203">
                  <c:v>43069</c:v>
                </c:pt>
                <c:pt idx="204">
                  <c:v>43070</c:v>
                </c:pt>
                <c:pt idx="205">
                  <c:v>43073</c:v>
                </c:pt>
                <c:pt idx="206">
                  <c:v>43074</c:v>
                </c:pt>
                <c:pt idx="207">
                  <c:v>43075</c:v>
                </c:pt>
                <c:pt idx="208">
                  <c:v>43076</c:v>
                </c:pt>
                <c:pt idx="209">
                  <c:v>43077</c:v>
                </c:pt>
                <c:pt idx="210">
                  <c:v>43080</c:v>
                </c:pt>
                <c:pt idx="211">
                  <c:v>43081</c:v>
                </c:pt>
                <c:pt idx="212">
                  <c:v>43082</c:v>
                </c:pt>
                <c:pt idx="213">
                  <c:v>43083</c:v>
                </c:pt>
                <c:pt idx="214">
                  <c:v>43084</c:v>
                </c:pt>
                <c:pt idx="215">
                  <c:v>43087</c:v>
                </c:pt>
                <c:pt idx="216">
                  <c:v>43088</c:v>
                </c:pt>
                <c:pt idx="217">
                  <c:v>43089</c:v>
                </c:pt>
                <c:pt idx="218">
                  <c:v>43090</c:v>
                </c:pt>
                <c:pt idx="219">
                  <c:v>43091</c:v>
                </c:pt>
                <c:pt idx="220">
                  <c:v>43095</c:v>
                </c:pt>
                <c:pt idx="221">
                  <c:v>43096</c:v>
                </c:pt>
                <c:pt idx="222">
                  <c:v>43097</c:v>
                </c:pt>
                <c:pt idx="223">
                  <c:v>43098</c:v>
                </c:pt>
                <c:pt idx="224">
                  <c:v>43098</c:v>
                </c:pt>
                <c:pt idx="225">
                  <c:v>43102</c:v>
                </c:pt>
                <c:pt idx="226">
                  <c:v>43102</c:v>
                </c:pt>
                <c:pt idx="227">
                  <c:v>43103</c:v>
                </c:pt>
                <c:pt idx="228">
                  <c:v>43104</c:v>
                </c:pt>
                <c:pt idx="229">
                  <c:v>43105</c:v>
                </c:pt>
                <c:pt idx="230">
                  <c:v>43108</c:v>
                </c:pt>
                <c:pt idx="231">
                  <c:v>43109</c:v>
                </c:pt>
                <c:pt idx="232">
                  <c:v>43110</c:v>
                </c:pt>
                <c:pt idx="233">
                  <c:v>43111</c:v>
                </c:pt>
                <c:pt idx="234">
                  <c:v>43112</c:v>
                </c:pt>
                <c:pt idx="235">
                  <c:v>43116</c:v>
                </c:pt>
                <c:pt idx="236">
                  <c:v>43117</c:v>
                </c:pt>
                <c:pt idx="237">
                  <c:v>43118</c:v>
                </c:pt>
                <c:pt idx="238">
                  <c:v>43119</c:v>
                </c:pt>
                <c:pt idx="239">
                  <c:v>43122</c:v>
                </c:pt>
                <c:pt idx="240">
                  <c:v>43123</c:v>
                </c:pt>
                <c:pt idx="241">
                  <c:v>43124</c:v>
                </c:pt>
                <c:pt idx="242">
                  <c:v>43125</c:v>
                </c:pt>
                <c:pt idx="243">
                  <c:v>43126</c:v>
                </c:pt>
                <c:pt idx="244">
                  <c:v>43129</c:v>
                </c:pt>
                <c:pt idx="245">
                  <c:v>43130</c:v>
                </c:pt>
                <c:pt idx="246">
                  <c:v>43131</c:v>
                </c:pt>
                <c:pt idx="247">
                  <c:v>43132</c:v>
                </c:pt>
                <c:pt idx="248">
                  <c:v>43133</c:v>
                </c:pt>
                <c:pt idx="249">
                  <c:v>43136</c:v>
                </c:pt>
                <c:pt idx="250">
                  <c:v>43137</c:v>
                </c:pt>
                <c:pt idx="251">
                  <c:v>43138</c:v>
                </c:pt>
                <c:pt idx="252">
                  <c:v>43139</c:v>
                </c:pt>
                <c:pt idx="253">
                  <c:v>43140</c:v>
                </c:pt>
                <c:pt idx="254">
                  <c:v>43143</c:v>
                </c:pt>
                <c:pt idx="255">
                  <c:v>43144</c:v>
                </c:pt>
                <c:pt idx="256">
                  <c:v>43145</c:v>
                </c:pt>
                <c:pt idx="257">
                  <c:v>43146</c:v>
                </c:pt>
                <c:pt idx="258">
                  <c:v>43147</c:v>
                </c:pt>
                <c:pt idx="259">
                  <c:v>43151</c:v>
                </c:pt>
                <c:pt idx="260">
                  <c:v>43152</c:v>
                </c:pt>
                <c:pt idx="261">
                  <c:v>43153</c:v>
                </c:pt>
                <c:pt idx="262">
                  <c:v>43154</c:v>
                </c:pt>
                <c:pt idx="263">
                  <c:v>43157</c:v>
                </c:pt>
                <c:pt idx="264">
                  <c:v>43158</c:v>
                </c:pt>
                <c:pt idx="265">
                  <c:v>43159</c:v>
                </c:pt>
                <c:pt idx="266">
                  <c:v>43160</c:v>
                </c:pt>
                <c:pt idx="267">
                  <c:v>43161</c:v>
                </c:pt>
                <c:pt idx="268">
                  <c:v>43164</c:v>
                </c:pt>
                <c:pt idx="269">
                  <c:v>43165</c:v>
                </c:pt>
                <c:pt idx="270">
                  <c:v>43166</c:v>
                </c:pt>
                <c:pt idx="271">
                  <c:v>43167</c:v>
                </c:pt>
                <c:pt idx="272">
                  <c:v>43168</c:v>
                </c:pt>
                <c:pt idx="273">
                  <c:v>43171</c:v>
                </c:pt>
                <c:pt idx="274">
                  <c:v>43172</c:v>
                </c:pt>
                <c:pt idx="275">
                  <c:v>43173</c:v>
                </c:pt>
                <c:pt idx="276">
                  <c:v>43174</c:v>
                </c:pt>
                <c:pt idx="277">
                  <c:v>43175</c:v>
                </c:pt>
                <c:pt idx="278">
                  <c:v>43178</c:v>
                </c:pt>
                <c:pt idx="279">
                  <c:v>43179</c:v>
                </c:pt>
                <c:pt idx="280">
                  <c:v>43180</c:v>
                </c:pt>
                <c:pt idx="281">
                  <c:v>43181</c:v>
                </c:pt>
                <c:pt idx="282">
                  <c:v>43182</c:v>
                </c:pt>
                <c:pt idx="283">
                  <c:v>43185</c:v>
                </c:pt>
                <c:pt idx="284">
                  <c:v>43186</c:v>
                </c:pt>
                <c:pt idx="285">
                  <c:v>43187</c:v>
                </c:pt>
                <c:pt idx="286">
                  <c:v>43188</c:v>
                </c:pt>
                <c:pt idx="287">
                  <c:v>43192</c:v>
                </c:pt>
                <c:pt idx="288">
                  <c:v>43193</c:v>
                </c:pt>
                <c:pt idx="289">
                  <c:v>43194</c:v>
                </c:pt>
                <c:pt idx="290">
                  <c:v>43195</c:v>
                </c:pt>
                <c:pt idx="291">
                  <c:v>43196</c:v>
                </c:pt>
                <c:pt idx="292">
                  <c:v>43199</c:v>
                </c:pt>
                <c:pt idx="293">
                  <c:v>43200</c:v>
                </c:pt>
                <c:pt idx="294">
                  <c:v>43201</c:v>
                </c:pt>
                <c:pt idx="295">
                  <c:v>43202</c:v>
                </c:pt>
                <c:pt idx="296">
                  <c:v>43203</c:v>
                </c:pt>
                <c:pt idx="297">
                  <c:v>43206</c:v>
                </c:pt>
                <c:pt idx="298">
                  <c:v>43207</c:v>
                </c:pt>
                <c:pt idx="299">
                  <c:v>43208</c:v>
                </c:pt>
                <c:pt idx="300">
                  <c:v>43209</c:v>
                </c:pt>
                <c:pt idx="301">
                  <c:v>43210</c:v>
                </c:pt>
                <c:pt idx="302">
                  <c:v>43213</c:v>
                </c:pt>
                <c:pt idx="303">
                  <c:v>43214</c:v>
                </c:pt>
                <c:pt idx="304">
                  <c:v>43215</c:v>
                </c:pt>
                <c:pt idx="305">
                  <c:v>43216</c:v>
                </c:pt>
                <c:pt idx="306">
                  <c:v>43217</c:v>
                </c:pt>
                <c:pt idx="307">
                  <c:v>43220</c:v>
                </c:pt>
                <c:pt idx="308">
                  <c:v>43221</c:v>
                </c:pt>
                <c:pt idx="309">
                  <c:v>43222</c:v>
                </c:pt>
                <c:pt idx="310">
                  <c:v>43223</c:v>
                </c:pt>
                <c:pt idx="311">
                  <c:v>43224</c:v>
                </c:pt>
                <c:pt idx="312">
                  <c:v>43227</c:v>
                </c:pt>
                <c:pt idx="313">
                  <c:v>43228</c:v>
                </c:pt>
                <c:pt idx="314">
                  <c:v>43229</c:v>
                </c:pt>
                <c:pt idx="315">
                  <c:v>43230</c:v>
                </c:pt>
                <c:pt idx="316">
                  <c:v>43231</c:v>
                </c:pt>
                <c:pt idx="317">
                  <c:v>43234</c:v>
                </c:pt>
                <c:pt idx="318">
                  <c:v>43235</c:v>
                </c:pt>
                <c:pt idx="319">
                  <c:v>43236</c:v>
                </c:pt>
                <c:pt idx="320">
                  <c:v>43237</c:v>
                </c:pt>
                <c:pt idx="321">
                  <c:v>43238</c:v>
                </c:pt>
                <c:pt idx="322">
                  <c:v>43241</c:v>
                </c:pt>
                <c:pt idx="323">
                  <c:v>43242</c:v>
                </c:pt>
                <c:pt idx="324">
                  <c:v>43243</c:v>
                </c:pt>
                <c:pt idx="325">
                  <c:v>43244</c:v>
                </c:pt>
                <c:pt idx="326">
                  <c:v>43245</c:v>
                </c:pt>
                <c:pt idx="327">
                  <c:v>43249</c:v>
                </c:pt>
                <c:pt idx="328">
                  <c:v>43250</c:v>
                </c:pt>
                <c:pt idx="329">
                  <c:v>43251</c:v>
                </c:pt>
                <c:pt idx="330">
                  <c:v>43252</c:v>
                </c:pt>
                <c:pt idx="331">
                  <c:v>43255</c:v>
                </c:pt>
                <c:pt idx="332">
                  <c:v>43256</c:v>
                </c:pt>
                <c:pt idx="333">
                  <c:v>43257</c:v>
                </c:pt>
                <c:pt idx="334">
                  <c:v>43258</c:v>
                </c:pt>
                <c:pt idx="335">
                  <c:v>43259</c:v>
                </c:pt>
                <c:pt idx="336">
                  <c:v>43262</c:v>
                </c:pt>
                <c:pt idx="337">
                  <c:v>43263</c:v>
                </c:pt>
                <c:pt idx="338">
                  <c:v>43264</c:v>
                </c:pt>
                <c:pt idx="339">
                  <c:v>43265</c:v>
                </c:pt>
                <c:pt idx="340">
                  <c:v>43266</c:v>
                </c:pt>
                <c:pt idx="341">
                  <c:v>43269</c:v>
                </c:pt>
                <c:pt idx="342">
                  <c:v>43270</c:v>
                </c:pt>
                <c:pt idx="343">
                  <c:v>43271</c:v>
                </c:pt>
                <c:pt idx="344">
                  <c:v>43272</c:v>
                </c:pt>
                <c:pt idx="345">
                  <c:v>43273</c:v>
                </c:pt>
                <c:pt idx="346">
                  <c:v>43276</c:v>
                </c:pt>
                <c:pt idx="347">
                  <c:v>43277</c:v>
                </c:pt>
                <c:pt idx="348">
                  <c:v>43278</c:v>
                </c:pt>
                <c:pt idx="349">
                  <c:v>43279</c:v>
                </c:pt>
                <c:pt idx="350">
                  <c:v>43280</c:v>
                </c:pt>
                <c:pt idx="351">
                  <c:v>43283</c:v>
                </c:pt>
                <c:pt idx="352">
                  <c:v>43284</c:v>
                </c:pt>
                <c:pt idx="353">
                  <c:v>43286</c:v>
                </c:pt>
                <c:pt idx="354">
                  <c:v>43287</c:v>
                </c:pt>
                <c:pt idx="355">
                  <c:v>43290</c:v>
                </c:pt>
                <c:pt idx="356">
                  <c:v>43291</c:v>
                </c:pt>
                <c:pt idx="357">
                  <c:v>43292</c:v>
                </c:pt>
                <c:pt idx="358">
                  <c:v>43293</c:v>
                </c:pt>
                <c:pt idx="359">
                  <c:v>43294</c:v>
                </c:pt>
                <c:pt idx="360">
                  <c:v>43297</c:v>
                </c:pt>
                <c:pt idx="361">
                  <c:v>43298</c:v>
                </c:pt>
                <c:pt idx="362">
                  <c:v>43299</c:v>
                </c:pt>
                <c:pt idx="363">
                  <c:v>43300</c:v>
                </c:pt>
                <c:pt idx="364">
                  <c:v>43301</c:v>
                </c:pt>
                <c:pt idx="365">
                  <c:v>43304</c:v>
                </c:pt>
                <c:pt idx="366">
                  <c:v>43305</c:v>
                </c:pt>
                <c:pt idx="367">
                  <c:v>43306</c:v>
                </c:pt>
                <c:pt idx="368">
                  <c:v>43307</c:v>
                </c:pt>
                <c:pt idx="369">
                  <c:v>43308</c:v>
                </c:pt>
                <c:pt idx="370">
                  <c:v>43311</c:v>
                </c:pt>
                <c:pt idx="371">
                  <c:v>43312</c:v>
                </c:pt>
                <c:pt idx="372">
                  <c:v>43313</c:v>
                </c:pt>
                <c:pt idx="373">
                  <c:v>43314</c:v>
                </c:pt>
                <c:pt idx="374">
                  <c:v>43315</c:v>
                </c:pt>
                <c:pt idx="375">
                  <c:v>43318</c:v>
                </c:pt>
                <c:pt idx="376">
                  <c:v>43319</c:v>
                </c:pt>
                <c:pt idx="377">
                  <c:v>43320</c:v>
                </c:pt>
                <c:pt idx="378">
                  <c:v>43321</c:v>
                </c:pt>
                <c:pt idx="379">
                  <c:v>43322</c:v>
                </c:pt>
                <c:pt idx="380">
                  <c:v>43325</c:v>
                </c:pt>
                <c:pt idx="381">
                  <c:v>43326</c:v>
                </c:pt>
                <c:pt idx="382">
                  <c:v>43327</c:v>
                </c:pt>
                <c:pt idx="383">
                  <c:v>43328</c:v>
                </c:pt>
                <c:pt idx="384">
                  <c:v>43329</c:v>
                </c:pt>
                <c:pt idx="385">
                  <c:v>43332</c:v>
                </c:pt>
                <c:pt idx="386">
                  <c:v>43333</c:v>
                </c:pt>
                <c:pt idx="387">
                  <c:v>43334</c:v>
                </c:pt>
                <c:pt idx="388">
                  <c:v>43335</c:v>
                </c:pt>
                <c:pt idx="389">
                  <c:v>43336</c:v>
                </c:pt>
                <c:pt idx="390">
                  <c:v>43339</c:v>
                </c:pt>
                <c:pt idx="391">
                  <c:v>43340</c:v>
                </c:pt>
                <c:pt idx="392">
                  <c:v>43341</c:v>
                </c:pt>
                <c:pt idx="393">
                  <c:v>43342</c:v>
                </c:pt>
                <c:pt idx="394">
                  <c:v>43343</c:v>
                </c:pt>
                <c:pt idx="395">
                  <c:v>43347</c:v>
                </c:pt>
                <c:pt idx="396">
                  <c:v>43348</c:v>
                </c:pt>
                <c:pt idx="397">
                  <c:v>43349</c:v>
                </c:pt>
                <c:pt idx="398">
                  <c:v>43350</c:v>
                </c:pt>
                <c:pt idx="399">
                  <c:v>43353</c:v>
                </c:pt>
                <c:pt idx="400">
                  <c:v>43354</c:v>
                </c:pt>
                <c:pt idx="401">
                  <c:v>43355</c:v>
                </c:pt>
                <c:pt idx="402">
                  <c:v>43356</c:v>
                </c:pt>
                <c:pt idx="403">
                  <c:v>43357</c:v>
                </c:pt>
                <c:pt idx="404">
                  <c:v>43360</c:v>
                </c:pt>
                <c:pt idx="405">
                  <c:v>43361</c:v>
                </c:pt>
                <c:pt idx="406">
                  <c:v>43362</c:v>
                </c:pt>
                <c:pt idx="407">
                  <c:v>43363</c:v>
                </c:pt>
                <c:pt idx="408">
                  <c:v>43364</c:v>
                </c:pt>
                <c:pt idx="409">
                  <c:v>43367</c:v>
                </c:pt>
                <c:pt idx="410">
                  <c:v>43368</c:v>
                </c:pt>
                <c:pt idx="411">
                  <c:v>43369</c:v>
                </c:pt>
                <c:pt idx="412">
                  <c:v>43370</c:v>
                </c:pt>
                <c:pt idx="413">
                  <c:v>43371</c:v>
                </c:pt>
                <c:pt idx="414">
                  <c:v>43374</c:v>
                </c:pt>
                <c:pt idx="415">
                  <c:v>43375</c:v>
                </c:pt>
                <c:pt idx="416">
                  <c:v>43376</c:v>
                </c:pt>
                <c:pt idx="417">
                  <c:v>43377</c:v>
                </c:pt>
                <c:pt idx="418">
                  <c:v>43378</c:v>
                </c:pt>
                <c:pt idx="419">
                  <c:v>43381</c:v>
                </c:pt>
                <c:pt idx="420">
                  <c:v>43382</c:v>
                </c:pt>
                <c:pt idx="421">
                  <c:v>43383</c:v>
                </c:pt>
                <c:pt idx="422">
                  <c:v>43384</c:v>
                </c:pt>
                <c:pt idx="423">
                  <c:v>43385</c:v>
                </c:pt>
                <c:pt idx="424">
                  <c:v>43388</c:v>
                </c:pt>
                <c:pt idx="425">
                  <c:v>43389</c:v>
                </c:pt>
                <c:pt idx="426">
                  <c:v>43390</c:v>
                </c:pt>
                <c:pt idx="427">
                  <c:v>43391</c:v>
                </c:pt>
                <c:pt idx="428">
                  <c:v>43392</c:v>
                </c:pt>
                <c:pt idx="429">
                  <c:v>43395</c:v>
                </c:pt>
                <c:pt idx="430">
                  <c:v>43396</c:v>
                </c:pt>
                <c:pt idx="431">
                  <c:v>43397</c:v>
                </c:pt>
                <c:pt idx="432">
                  <c:v>43398</c:v>
                </c:pt>
                <c:pt idx="433">
                  <c:v>43399</c:v>
                </c:pt>
                <c:pt idx="434">
                  <c:v>43402</c:v>
                </c:pt>
                <c:pt idx="435">
                  <c:v>43403</c:v>
                </c:pt>
                <c:pt idx="436">
                  <c:v>43404</c:v>
                </c:pt>
                <c:pt idx="437">
                  <c:v>43405</c:v>
                </c:pt>
                <c:pt idx="438">
                  <c:v>43406</c:v>
                </c:pt>
                <c:pt idx="439">
                  <c:v>43409</c:v>
                </c:pt>
                <c:pt idx="440">
                  <c:v>43410</c:v>
                </c:pt>
                <c:pt idx="441">
                  <c:v>43411</c:v>
                </c:pt>
                <c:pt idx="442">
                  <c:v>43412</c:v>
                </c:pt>
                <c:pt idx="443">
                  <c:v>43413</c:v>
                </c:pt>
                <c:pt idx="444">
                  <c:v>43416</c:v>
                </c:pt>
                <c:pt idx="445">
                  <c:v>43417</c:v>
                </c:pt>
                <c:pt idx="446">
                  <c:v>43418</c:v>
                </c:pt>
                <c:pt idx="447">
                  <c:v>43419</c:v>
                </c:pt>
                <c:pt idx="448">
                  <c:v>43420</c:v>
                </c:pt>
                <c:pt idx="449">
                  <c:v>43423</c:v>
                </c:pt>
                <c:pt idx="450">
                  <c:v>43424</c:v>
                </c:pt>
                <c:pt idx="451">
                  <c:v>43425</c:v>
                </c:pt>
                <c:pt idx="452">
                  <c:v>43427</c:v>
                </c:pt>
                <c:pt idx="453">
                  <c:v>43430</c:v>
                </c:pt>
                <c:pt idx="454">
                  <c:v>43431</c:v>
                </c:pt>
                <c:pt idx="455">
                  <c:v>43432</c:v>
                </c:pt>
                <c:pt idx="456">
                  <c:v>43433</c:v>
                </c:pt>
                <c:pt idx="457">
                  <c:v>43434</c:v>
                </c:pt>
                <c:pt idx="458">
                  <c:v>43437</c:v>
                </c:pt>
                <c:pt idx="459">
                  <c:v>43438</c:v>
                </c:pt>
                <c:pt idx="460">
                  <c:v>43440</c:v>
                </c:pt>
                <c:pt idx="461">
                  <c:v>43441</c:v>
                </c:pt>
                <c:pt idx="462">
                  <c:v>43444</c:v>
                </c:pt>
                <c:pt idx="463">
                  <c:v>43445</c:v>
                </c:pt>
                <c:pt idx="464">
                  <c:v>43446</c:v>
                </c:pt>
                <c:pt idx="465">
                  <c:v>43447</c:v>
                </c:pt>
                <c:pt idx="466">
                  <c:v>43448</c:v>
                </c:pt>
                <c:pt idx="467">
                  <c:v>43451</c:v>
                </c:pt>
                <c:pt idx="468">
                  <c:v>43452</c:v>
                </c:pt>
                <c:pt idx="469">
                  <c:v>43453</c:v>
                </c:pt>
                <c:pt idx="470">
                  <c:v>43454</c:v>
                </c:pt>
                <c:pt idx="471">
                  <c:v>43455</c:v>
                </c:pt>
                <c:pt idx="472">
                  <c:v>43458</c:v>
                </c:pt>
                <c:pt idx="473">
                  <c:v>43460</c:v>
                </c:pt>
                <c:pt idx="474">
                  <c:v>43461</c:v>
                </c:pt>
                <c:pt idx="475">
                  <c:v>43462</c:v>
                </c:pt>
                <c:pt idx="476">
                  <c:v>43465</c:v>
                </c:pt>
                <c:pt idx="477">
                  <c:v>43465</c:v>
                </c:pt>
                <c:pt idx="478">
                  <c:v>43467</c:v>
                </c:pt>
                <c:pt idx="479">
                  <c:v>43467</c:v>
                </c:pt>
                <c:pt idx="480">
                  <c:v>43468</c:v>
                </c:pt>
                <c:pt idx="481">
                  <c:v>43469</c:v>
                </c:pt>
                <c:pt idx="482">
                  <c:v>43472</c:v>
                </c:pt>
                <c:pt idx="483">
                  <c:v>43473</c:v>
                </c:pt>
                <c:pt idx="484">
                  <c:v>43474</c:v>
                </c:pt>
                <c:pt idx="485">
                  <c:v>43475</c:v>
                </c:pt>
                <c:pt idx="486">
                  <c:v>43476</c:v>
                </c:pt>
                <c:pt idx="487">
                  <c:v>43479</c:v>
                </c:pt>
                <c:pt idx="488">
                  <c:v>43480</c:v>
                </c:pt>
                <c:pt idx="489">
                  <c:v>43481</c:v>
                </c:pt>
                <c:pt idx="490">
                  <c:v>43482</c:v>
                </c:pt>
                <c:pt idx="491">
                  <c:v>43483</c:v>
                </c:pt>
                <c:pt idx="492">
                  <c:v>43487</c:v>
                </c:pt>
                <c:pt idx="493">
                  <c:v>43488</c:v>
                </c:pt>
                <c:pt idx="494">
                  <c:v>43489</c:v>
                </c:pt>
                <c:pt idx="495">
                  <c:v>43490</c:v>
                </c:pt>
                <c:pt idx="496">
                  <c:v>43493</c:v>
                </c:pt>
                <c:pt idx="497">
                  <c:v>43494</c:v>
                </c:pt>
                <c:pt idx="498">
                  <c:v>43495</c:v>
                </c:pt>
                <c:pt idx="499">
                  <c:v>43496</c:v>
                </c:pt>
                <c:pt idx="500">
                  <c:v>43497</c:v>
                </c:pt>
                <c:pt idx="501">
                  <c:v>43500</c:v>
                </c:pt>
                <c:pt idx="502">
                  <c:v>43501</c:v>
                </c:pt>
                <c:pt idx="503">
                  <c:v>43502</c:v>
                </c:pt>
                <c:pt idx="504">
                  <c:v>43503</c:v>
                </c:pt>
                <c:pt idx="505">
                  <c:v>43504</c:v>
                </c:pt>
                <c:pt idx="506">
                  <c:v>43507</c:v>
                </c:pt>
                <c:pt idx="507">
                  <c:v>43508</c:v>
                </c:pt>
                <c:pt idx="508">
                  <c:v>43509</c:v>
                </c:pt>
                <c:pt idx="509">
                  <c:v>43510</c:v>
                </c:pt>
                <c:pt idx="510">
                  <c:v>43511</c:v>
                </c:pt>
                <c:pt idx="511">
                  <c:v>43515</c:v>
                </c:pt>
                <c:pt idx="512">
                  <c:v>43516</c:v>
                </c:pt>
                <c:pt idx="513">
                  <c:v>43517</c:v>
                </c:pt>
                <c:pt idx="514">
                  <c:v>43518</c:v>
                </c:pt>
                <c:pt idx="515">
                  <c:v>43521</c:v>
                </c:pt>
                <c:pt idx="516">
                  <c:v>43522</c:v>
                </c:pt>
                <c:pt idx="517">
                  <c:v>43523</c:v>
                </c:pt>
                <c:pt idx="518">
                  <c:v>43524</c:v>
                </c:pt>
                <c:pt idx="519">
                  <c:v>43525</c:v>
                </c:pt>
                <c:pt idx="520">
                  <c:v>43528</c:v>
                </c:pt>
                <c:pt idx="521">
                  <c:v>43529</c:v>
                </c:pt>
                <c:pt idx="522">
                  <c:v>43530</c:v>
                </c:pt>
                <c:pt idx="523">
                  <c:v>43531</c:v>
                </c:pt>
                <c:pt idx="524">
                  <c:v>43532</c:v>
                </c:pt>
                <c:pt idx="525">
                  <c:v>43535</c:v>
                </c:pt>
                <c:pt idx="526">
                  <c:v>43536</c:v>
                </c:pt>
                <c:pt idx="527">
                  <c:v>43537</c:v>
                </c:pt>
                <c:pt idx="528">
                  <c:v>43538</c:v>
                </c:pt>
                <c:pt idx="529">
                  <c:v>43539</c:v>
                </c:pt>
                <c:pt idx="530">
                  <c:v>43542</c:v>
                </c:pt>
                <c:pt idx="531">
                  <c:v>43543</c:v>
                </c:pt>
                <c:pt idx="532">
                  <c:v>43544</c:v>
                </c:pt>
                <c:pt idx="533">
                  <c:v>43545</c:v>
                </c:pt>
                <c:pt idx="534">
                  <c:v>43546</c:v>
                </c:pt>
                <c:pt idx="535">
                  <c:v>43549</c:v>
                </c:pt>
                <c:pt idx="536">
                  <c:v>43550</c:v>
                </c:pt>
                <c:pt idx="537">
                  <c:v>43551</c:v>
                </c:pt>
                <c:pt idx="538">
                  <c:v>43552</c:v>
                </c:pt>
                <c:pt idx="539">
                  <c:v>43553</c:v>
                </c:pt>
                <c:pt idx="540">
                  <c:v>43556</c:v>
                </c:pt>
                <c:pt idx="541">
                  <c:v>43557</c:v>
                </c:pt>
                <c:pt idx="542">
                  <c:v>43558</c:v>
                </c:pt>
                <c:pt idx="543">
                  <c:v>43559</c:v>
                </c:pt>
                <c:pt idx="544">
                  <c:v>43560</c:v>
                </c:pt>
                <c:pt idx="545">
                  <c:v>43563</c:v>
                </c:pt>
                <c:pt idx="546">
                  <c:v>43564</c:v>
                </c:pt>
                <c:pt idx="547">
                  <c:v>43565</c:v>
                </c:pt>
                <c:pt idx="548">
                  <c:v>43566</c:v>
                </c:pt>
                <c:pt idx="549">
                  <c:v>43567</c:v>
                </c:pt>
                <c:pt idx="550">
                  <c:v>43570</c:v>
                </c:pt>
                <c:pt idx="551">
                  <c:v>43571</c:v>
                </c:pt>
                <c:pt idx="552">
                  <c:v>43572</c:v>
                </c:pt>
                <c:pt idx="553">
                  <c:v>43573</c:v>
                </c:pt>
                <c:pt idx="554">
                  <c:v>43577</c:v>
                </c:pt>
                <c:pt idx="555">
                  <c:v>43578</c:v>
                </c:pt>
                <c:pt idx="556">
                  <c:v>43579</c:v>
                </c:pt>
                <c:pt idx="557">
                  <c:v>43580</c:v>
                </c:pt>
                <c:pt idx="558">
                  <c:v>43581</c:v>
                </c:pt>
                <c:pt idx="559">
                  <c:v>43584</c:v>
                </c:pt>
                <c:pt idx="560">
                  <c:v>43585</c:v>
                </c:pt>
                <c:pt idx="561">
                  <c:v>43586</c:v>
                </c:pt>
                <c:pt idx="562">
                  <c:v>43587</c:v>
                </c:pt>
                <c:pt idx="563">
                  <c:v>43588</c:v>
                </c:pt>
                <c:pt idx="564">
                  <c:v>43591</c:v>
                </c:pt>
                <c:pt idx="565">
                  <c:v>43592</c:v>
                </c:pt>
                <c:pt idx="566">
                  <c:v>43593</c:v>
                </c:pt>
                <c:pt idx="567">
                  <c:v>43594</c:v>
                </c:pt>
                <c:pt idx="568">
                  <c:v>43595</c:v>
                </c:pt>
                <c:pt idx="569">
                  <c:v>43598</c:v>
                </c:pt>
                <c:pt idx="570">
                  <c:v>43599</c:v>
                </c:pt>
                <c:pt idx="571">
                  <c:v>43600</c:v>
                </c:pt>
                <c:pt idx="572">
                  <c:v>43601</c:v>
                </c:pt>
                <c:pt idx="573">
                  <c:v>43602</c:v>
                </c:pt>
                <c:pt idx="574">
                  <c:v>43605</c:v>
                </c:pt>
                <c:pt idx="575">
                  <c:v>43606</c:v>
                </c:pt>
                <c:pt idx="576">
                  <c:v>43607</c:v>
                </c:pt>
                <c:pt idx="577">
                  <c:v>43608</c:v>
                </c:pt>
                <c:pt idx="578">
                  <c:v>43609</c:v>
                </c:pt>
                <c:pt idx="579">
                  <c:v>43613</c:v>
                </c:pt>
                <c:pt idx="580">
                  <c:v>43614</c:v>
                </c:pt>
                <c:pt idx="581">
                  <c:v>43615</c:v>
                </c:pt>
                <c:pt idx="582">
                  <c:v>43616</c:v>
                </c:pt>
                <c:pt idx="583">
                  <c:v>43619</c:v>
                </c:pt>
                <c:pt idx="584">
                  <c:v>43620</c:v>
                </c:pt>
                <c:pt idx="585">
                  <c:v>43621</c:v>
                </c:pt>
                <c:pt idx="586">
                  <c:v>43622</c:v>
                </c:pt>
                <c:pt idx="587">
                  <c:v>43623</c:v>
                </c:pt>
                <c:pt idx="588">
                  <c:v>43626</c:v>
                </c:pt>
                <c:pt idx="589">
                  <c:v>43627</c:v>
                </c:pt>
                <c:pt idx="590">
                  <c:v>43628</c:v>
                </c:pt>
                <c:pt idx="591">
                  <c:v>43629</c:v>
                </c:pt>
                <c:pt idx="592">
                  <c:v>43630</c:v>
                </c:pt>
                <c:pt idx="593">
                  <c:v>43633</c:v>
                </c:pt>
                <c:pt idx="594">
                  <c:v>43634</c:v>
                </c:pt>
                <c:pt idx="595">
                  <c:v>43635</c:v>
                </c:pt>
                <c:pt idx="596">
                  <c:v>43636</c:v>
                </c:pt>
                <c:pt idx="597">
                  <c:v>43637</c:v>
                </c:pt>
                <c:pt idx="598">
                  <c:v>43640</c:v>
                </c:pt>
                <c:pt idx="599">
                  <c:v>43641</c:v>
                </c:pt>
                <c:pt idx="600">
                  <c:v>43642</c:v>
                </c:pt>
                <c:pt idx="601">
                  <c:v>43643</c:v>
                </c:pt>
                <c:pt idx="602">
                  <c:v>43644</c:v>
                </c:pt>
                <c:pt idx="603">
                  <c:v>43647</c:v>
                </c:pt>
                <c:pt idx="604">
                  <c:v>43648</c:v>
                </c:pt>
                <c:pt idx="605">
                  <c:v>43649</c:v>
                </c:pt>
                <c:pt idx="606">
                  <c:v>43651</c:v>
                </c:pt>
                <c:pt idx="607">
                  <c:v>43654</c:v>
                </c:pt>
                <c:pt idx="608">
                  <c:v>43655</c:v>
                </c:pt>
                <c:pt idx="609">
                  <c:v>43656</c:v>
                </c:pt>
                <c:pt idx="610">
                  <c:v>43657</c:v>
                </c:pt>
                <c:pt idx="611">
                  <c:v>43658</c:v>
                </c:pt>
                <c:pt idx="612">
                  <c:v>43661</c:v>
                </c:pt>
                <c:pt idx="613">
                  <c:v>43662</c:v>
                </c:pt>
                <c:pt idx="614">
                  <c:v>43663</c:v>
                </c:pt>
                <c:pt idx="615">
                  <c:v>43664</c:v>
                </c:pt>
                <c:pt idx="616">
                  <c:v>43665</c:v>
                </c:pt>
                <c:pt idx="617">
                  <c:v>43668</c:v>
                </c:pt>
                <c:pt idx="618">
                  <c:v>43669</c:v>
                </c:pt>
                <c:pt idx="619">
                  <c:v>43670</c:v>
                </c:pt>
                <c:pt idx="620">
                  <c:v>43671</c:v>
                </c:pt>
                <c:pt idx="621">
                  <c:v>43672</c:v>
                </c:pt>
                <c:pt idx="622">
                  <c:v>43675</c:v>
                </c:pt>
                <c:pt idx="623">
                  <c:v>43676</c:v>
                </c:pt>
                <c:pt idx="624">
                  <c:v>43677</c:v>
                </c:pt>
                <c:pt idx="625">
                  <c:v>43678</c:v>
                </c:pt>
                <c:pt idx="626">
                  <c:v>43679</c:v>
                </c:pt>
                <c:pt idx="627">
                  <c:v>43682</c:v>
                </c:pt>
                <c:pt idx="628">
                  <c:v>43683</c:v>
                </c:pt>
                <c:pt idx="629">
                  <c:v>43684</c:v>
                </c:pt>
                <c:pt idx="630">
                  <c:v>43685</c:v>
                </c:pt>
                <c:pt idx="631">
                  <c:v>43686</c:v>
                </c:pt>
                <c:pt idx="632">
                  <c:v>43689</c:v>
                </c:pt>
                <c:pt idx="633">
                  <c:v>43690</c:v>
                </c:pt>
                <c:pt idx="634">
                  <c:v>43691</c:v>
                </c:pt>
                <c:pt idx="635">
                  <c:v>43692</c:v>
                </c:pt>
                <c:pt idx="636">
                  <c:v>43693</c:v>
                </c:pt>
                <c:pt idx="637">
                  <c:v>43696</c:v>
                </c:pt>
                <c:pt idx="638">
                  <c:v>43697</c:v>
                </c:pt>
                <c:pt idx="639">
                  <c:v>43698</c:v>
                </c:pt>
                <c:pt idx="640">
                  <c:v>43699</c:v>
                </c:pt>
                <c:pt idx="641">
                  <c:v>43700</c:v>
                </c:pt>
                <c:pt idx="642">
                  <c:v>43703</c:v>
                </c:pt>
                <c:pt idx="643">
                  <c:v>43704</c:v>
                </c:pt>
                <c:pt idx="644">
                  <c:v>43705</c:v>
                </c:pt>
                <c:pt idx="645">
                  <c:v>43706</c:v>
                </c:pt>
                <c:pt idx="646">
                  <c:v>43707</c:v>
                </c:pt>
                <c:pt idx="647">
                  <c:v>43711</c:v>
                </c:pt>
                <c:pt idx="648">
                  <c:v>43712</c:v>
                </c:pt>
                <c:pt idx="649">
                  <c:v>43713</c:v>
                </c:pt>
                <c:pt idx="650">
                  <c:v>43714</c:v>
                </c:pt>
                <c:pt idx="651">
                  <c:v>43717</c:v>
                </c:pt>
                <c:pt idx="652">
                  <c:v>43718</c:v>
                </c:pt>
                <c:pt idx="653">
                  <c:v>43719</c:v>
                </c:pt>
                <c:pt idx="654">
                  <c:v>43720</c:v>
                </c:pt>
                <c:pt idx="655">
                  <c:v>43721</c:v>
                </c:pt>
                <c:pt idx="656">
                  <c:v>43724</c:v>
                </c:pt>
                <c:pt idx="657">
                  <c:v>43725</c:v>
                </c:pt>
                <c:pt idx="658">
                  <c:v>43726</c:v>
                </c:pt>
                <c:pt idx="659">
                  <c:v>43727</c:v>
                </c:pt>
                <c:pt idx="660">
                  <c:v>43728</c:v>
                </c:pt>
                <c:pt idx="661">
                  <c:v>43731</c:v>
                </c:pt>
                <c:pt idx="662">
                  <c:v>43732</c:v>
                </c:pt>
                <c:pt idx="663">
                  <c:v>43733</c:v>
                </c:pt>
                <c:pt idx="664">
                  <c:v>43734</c:v>
                </c:pt>
                <c:pt idx="665">
                  <c:v>43735</c:v>
                </c:pt>
                <c:pt idx="666">
                  <c:v>43738</c:v>
                </c:pt>
                <c:pt idx="667">
                  <c:v>43739</c:v>
                </c:pt>
                <c:pt idx="668">
                  <c:v>43740</c:v>
                </c:pt>
                <c:pt idx="669">
                  <c:v>43741</c:v>
                </c:pt>
                <c:pt idx="670">
                  <c:v>43742</c:v>
                </c:pt>
                <c:pt idx="671">
                  <c:v>43745</c:v>
                </c:pt>
                <c:pt idx="672">
                  <c:v>43746</c:v>
                </c:pt>
                <c:pt idx="673">
                  <c:v>43747</c:v>
                </c:pt>
                <c:pt idx="674">
                  <c:v>43748</c:v>
                </c:pt>
                <c:pt idx="675">
                  <c:v>43749</c:v>
                </c:pt>
                <c:pt idx="676">
                  <c:v>43752</c:v>
                </c:pt>
                <c:pt idx="677">
                  <c:v>43753</c:v>
                </c:pt>
                <c:pt idx="678">
                  <c:v>43754</c:v>
                </c:pt>
                <c:pt idx="679">
                  <c:v>43755</c:v>
                </c:pt>
                <c:pt idx="680">
                  <c:v>43756</c:v>
                </c:pt>
                <c:pt idx="681">
                  <c:v>43759</c:v>
                </c:pt>
                <c:pt idx="682">
                  <c:v>43760</c:v>
                </c:pt>
                <c:pt idx="683">
                  <c:v>43761</c:v>
                </c:pt>
                <c:pt idx="684">
                  <c:v>43762</c:v>
                </c:pt>
                <c:pt idx="685">
                  <c:v>43763</c:v>
                </c:pt>
                <c:pt idx="686">
                  <c:v>43766</c:v>
                </c:pt>
                <c:pt idx="687">
                  <c:v>43767</c:v>
                </c:pt>
                <c:pt idx="688">
                  <c:v>43768</c:v>
                </c:pt>
                <c:pt idx="689">
                  <c:v>43769</c:v>
                </c:pt>
                <c:pt idx="690">
                  <c:v>43770</c:v>
                </c:pt>
                <c:pt idx="691">
                  <c:v>43773</c:v>
                </c:pt>
                <c:pt idx="692">
                  <c:v>43774</c:v>
                </c:pt>
                <c:pt idx="693">
                  <c:v>43775</c:v>
                </c:pt>
                <c:pt idx="694">
                  <c:v>43776</c:v>
                </c:pt>
                <c:pt idx="695">
                  <c:v>43777</c:v>
                </c:pt>
                <c:pt idx="696">
                  <c:v>43780</c:v>
                </c:pt>
                <c:pt idx="697">
                  <c:v>43781</c:v>
                </c:pt>
                <c:pt idx="698">
                  <c:v>43782</c:v>
                </c:pt>
                <c:pt idx="699">
                  <c:v>43783</c:v>
                </c:pt>
                <c:pt idx="700">
                  <c:v>43784</c:v>
                </c:pt>
                <c:pt idx="701">
                  <c:v>43787</c:v>
                </c:pt>
                <c:pt idx="702">
                  <c:v>43788</c:v>
                </c:pt>
                <c:pt idx="703">
                  <c:v>43789</c:v>
                </c:pt>
                <c:pt idx="704">
                  <c:v>43790</c:v>
                </c:pt>
                <c:pt idx="705">
                  <c:v>43791</c:v>
                </c:pt>
                <c:pt idx="706">
                  <c:v>43794</c:v>
                </c:pt>
                <c:pt idx="707">
                  <c:v>43795</c:v>
                </c:pt>
                <c:pt idx="708">
                  <c:v>43796</c:v>
                </c:pt>
                <c:pt idx="709">
                  <c:v>43798</c:v>
                </c:pt>
                <c:pt idx="710">
                  <c:v>43801</c:v>
                </c:pt>
                <c:pt idx="711">
                  <c:v>43802</c:v>
                </c:pt>
                <c:pt idx="712">
                  <c:v>43803</c:v>
                </c:pt>
                <c:pt idx="713">
                  <c:v>43804</c:v>
                </c:pt>
                <c:pt idx="714">
                  <c:v>43805</c:v>
                </c:pt>
                <c:pt idx="715">
                  <c:v>43808</c:v>
                </c:pt>
                <c:pt idx="716">
                  <c:v>43809</c:v>
                </c:pt>
                <c:pt idx="717">
                  <c:v>43810</c:v>
                </c:pt>
                <c:pt idx="718">
                  <c:v>43811</c:v>
                </c:pt>
                <c:pt idx="719">
                  <c:v>43812</c:v>
                </c:pt>
                <c:pt idx="720">
                  <c:v>43815</c:v>
                </c:pt>
                <c:pt idx="721">
                  <c:v>43816</c:v>
                </c:pt>
                <c:pt idx="722">
                  <c:v>43817</c:v>
                </c:pt>
                <c:pt idx="723">
                  <c:v>43818</c:v>
                </c:pt>
                <c:pt idx="724">
                  <c:v>43819</c:v>
                </c:pt>
                <c:pt idx="725">
                  <c:v>43822</c:v>
                </c:pt>
                <c:pt idx="726">
                  <c:v>43823</c:v>
                </c:pt>
                <c:pt idx="727">
                  <c:v>43825</c:v>
                </c:pt>
                <c:pt idx="728">
                  <c:v>43826</c:v>
                </c:pt>
                <c:pt idx="729">
                  <c:v>43829</c:v>
                </c:pt>
                <c:pt idx="730">
                  <c:v>43829</c:v>
                </c:pt>
                <c:pt idx="731">
                  <c:v>43830</c:v>
                </c:pt>
                <c:pt idx="732">
                  <c:v>43830</c:v>
                </c:pt>
                <c:pt idx="733">
                  <c:v>43832</c:v>
                </c:pt>
                <c:pt idx="734">
                  <c:v>43832</c:v>
                </c:pt>
                <c:pt idx="735">
                  <c:v>43833</c:v>
                </c:pt>
                <c:pt idx="736">
                  <c:v>43836</c:v>
                </c:pt>
                <c:pt idx="737">
                  <c:v>43837</c:v>
                </c:pt>
                <c:pt idx="738">
                  <c:v>43838</c:v>
                </c:pt>
                <c:pt idx="739">
                  <c:v>43839</c:v>
                </c:pt>
                <c:pt idx="740">
                  <c:v>43840</c:v>
                </c:pt>
                <c:pt idx="741">
                  <c:v>43843</c:v>
                </c:pt>
                <c:pt idx="742">
                  <c:v>43844</c:v>
                </c:pt>
                <c:pt idx="743">
                  <c:v>43845</c:v>
                </c:pt>
                <c:pt idx="744">
                  <c:v>43846</c:v>
                </c:pt>
                <c:pt idx="745">
                  <c:v>43847</c:v>
                </c:pt>
                <c:pt idx="746">
                  <c:v>43851</c:v>
                </c:pt>
                <c:pt idx="747">
                  <c:v>43852</c:v>
                </c:pt>
                <c:pt idx="748">
                  <c:v>43853</c:v>
                </c:pt>
                <c:pt idx="749">
                  <c:v>43854</c:v>
                </c:pt>
                <c:pt idx="750">
                  <c:v>43857</c:v>
                </c:pt>
                <c:pt idx="751">
                  <c:v>43858</c:v>
                </c:pt>
                <c:pt idx="752">
                  <c:v>43859</c:v>
                </c:pt>
                <c:pt idx="753">
                  <c:v>43860</c:v>
                </c:pt>
                <c:pt idx="754">
                  <c:v>43861</c:v>
                </c:pt>
                <c:pt idx="755">
                  <c:v>43864</c:v>
                </c:pt>
                <c:pt idx="756">
                  <c:v>43865</c:v>
                </c:pt>
                <c:pt idx="757">
                  <c:v>43866</c:v>
                </c:pt>
                <c:pt idx="758">
                  <c:v>43867</c:v>
                </c:pt>
                <c:pt idx="759">
                  <c:v>43868</c:v>
                </c:pt>
                <c:pt idx="760">
                  <c:v>43871</c:v>
                </c:pt>
                <c:pt idx="761">
                  <c:v>43872</c:v>
                </c:pt>
                <c:pt idx="762">
                  <c:v>43873</c:v>
                </c:pt>
                <c:pt idx="763">
                  <c:v>43874</c:v>
                </c:pt>
                <c:pt idx="764">
                  <c:v>43875</c:v>
                </c:pt>
                <c:pt idx="765">
                  <c:v>43879</c:v>
                </c:pt>
                <c:pt idx="766">
                  <c:v>43880</c:v>
                </c:pt>
                <c:pt idx="767">
                  <c:v>43881</c:v>
                </c:pt>
                <c:pt idx="768">
                  <c:v>43882</c:v>
                </c:pt>
                <c:pt idx="769">
                  <c:v>43885</c:v>
                </c:pt>
                <c:pt idx="770">
                  <c:v>43886</c:v>
                </c:pt>
                <c:pt idx="771">
                  <c:v>43887</c:v>
                </c:pt>
                <c:pt idx="772">
                  <c:v>43888</c:v>
                </c:pt>
                <c:pt idx="773">
                  <c:v>43889</c:v>
                </c:pt>
                <c:pt idx="774">
                  <c:v>43892</c:v>
                </c:pt>
                <c:pt idx="775">
                  <c:v>43893</c:v>
                </c:pt>
                <c:pt idx="776">
                  <c:v>43894</c:v>
                </c:pt>
                <c:pt idx="777">
                  <c:v>43895</c:v>
                </c:pt>
                <c:pt idx="778">
                  <c:v>43896</c:v>
                </c:pt>
                <c:pt idx="779">
                  <c:v>43899</c:v>
                </c:pt>
                <c:pt idx="780">
                  <c:v>43900</c:v>
                </c:pt>
                <c:pt idx="781">
                  <c:v>43901</c:v>
                </c:pt>
                <c:pt idx="782">
                  <c:v>43902</c:v>
                </c:pt>
                <c:pt idx="783">
                  <c:v>43903</c:v>
                </c:pt>
                <c:pt idx="784">
                  <c:v>43906</c:v>
                </c:pt>
                <c:pt idx="785">
                  <c:v>43907</c:v>
                </c:pt>
                <c:pt idx="786">
                  <c:v>43908</c:v>
                </c:pt>
                <c:pt idx="787">
                  <c:v>43909</c:v>
                </c:pt>
                <c:pt idx="788">
                  <c:v>43910</c:v>
                </c:pt>
                <c:pt idx="789">
                  <c:v>43913</c:v>
                </c:pt>
                <c:pt idx="790">
                  <c:v>43914</c:v>
                </c:pt>
                <c:pt idx="791">
                  <c:v>43915</c:v>
                </c:pt>
                <c:pt idx="792">
                  <c:v>43916</c:v>
                </c:pt>
                <c:pt idx="793">
                  <c:v>43917</c:v>
                </c:pt>
                <c:pt idx="794">
                  <c:v>43920</c:v>
                </c:pt>
                <c:pt idx="795">
                  <c:v>43921</c:v>
                </c:pt>
                <c:pt idx="796">
                  <c:v>43922</c:v>
                </c:pt>
                <c:pt idx="797">
                  <c:v>43923</c:v>
                </c:pt>
                <c:pt idx="798">
                  <c:v>43924</c:v>
                </c:pt>
                <c:pt idx="799">
                  <c:v>43927</c:v>
                </c:pt>
                <c:pt idx="800">
                  <c:v>43928</c:v>
                </c:pt>
                <c:pt idx="801">
                  <c:v>43929</c:v>
                </c:pt>
                <c:pt idx="802">
                  <c:v>43930</c:v>
                </c:pt>
                <c:pt idx="803">
                  <c:v>43934</c:v>
                </c:pt>
                <c:pt idx="804">
                  <c:v>43935</c:v>
                </c:pt>
                <c:pt idx="805">
                  <c:v>43936</c:v>
                </c:pt>
                <c:pt idx="806">
                  <c:v>43937</c:v>
                </c:pt>
                <c:pt idx="807">
                  <c:v>43938</c:v>
                </c:pt>
                <c:pt idx="808">
                  <c:v>43941</c:v>
                </c:pt>
                <c:pt idx="809">
                  <c:v>43942</c:v>
                </c:pt>
                <c:pt idx="810">
                  <c:v>43943</c:v>
                </c:pt>
                <c:pt idx="811">
                  <c:v>43944</c:v>
                </c:pt>
                <c:pt idx="812">
                  <c:v>43945</c:v>
                </c:pt>
                <c:pt idx="813">
                  <c:v>43948</c:v>
                </c:pt>
                <c:pt idx="814">
                  <c:v>43949</c:v>
                </c:pt>
                <c:pt idx="815">
                  <c:v>43950</c:v>
                </c:pt>
                <c:pt idx="816">
                  <c:v>43951</c:v>
                </c:pt>
                <c:pt idx="817">
                  <c:v>43952</c:v>
                </c:pt>
                <c:pt idx="818">
                  <c:v>43955</c:v>
                </c:pt>
                <c:pt idx="819">
                  <c:v>43956</c:v>
                </c:pt>
                <c:pt idx="820">
                  <c:v>43957</c:v>
                </c:pt>
                <c:pt idx="821">
                  <c:v>43958</c:v>
                </c:pt>
                <c:pt idx="822">
                  <c:v>43959</c:v>
                </c:pt>
                <c:pt idx="823">
                  <c:v>43962</c:v>
                </c:pt>
                <c:pt idx="824">
                  <c:v>43963</c:v>
                </c:pt>
                <c:pt idx="825">
                  <c:v>43964</c:v>
                </c:pt>
                <c:pt idx="826">
                  <c:v>43965</c:v>
                </c:pt>
                <c:pt idx="827">
                  <c:v>43966</c:v>
                </c:pt>
                <c:pt idx="828">
                  <c:v>43969</c:v>
                </c:pt>
                <c:pt idx="829">
                  <c:v>43970</c:v>
                </c:pt>
                <c:pt idx="830">
                  <c:v>43971</c:v>
                </c:pt>
                <c:pt idx="831">
                  <c:v>43972</c:v>
                </c:pt>
                <c:pt idx="832">
                  <c:v>43973</c:v>
                </c:pt>
                <c:pt idx="833">
                  <c:v>43977</c:v>
                </c:pt>
                <c:pt idx="834">
                  <c:v>43978</c:v>
                </c:pt>
                <c:pt idx="835">
                  <c:v>43979</c:v>
                </c:pt>
                <c:pt idx="836">
                  <c:v>43980</c:v>
                </c:pt>
                <c:pt idx="837">
                  <c:v>43983</c:v>
                </c:pt>
                <c:pt idx="838">
                  <c:v>43984</c:v>
                </c:pt>
                <c:pt idx="839">
                  <c:v>43985</c:v>
                </c:pt>
                <c:pt idx="840">
                  <c:v>43986</c:v>
                </c:pt>
                <c:pt idx="841">
                  <c:v>43987</c:v>
                </c:pt>
                <c:pt idx="842">
                  <c:v>43990</c:v>
                </c:pt>
                <c:pt idx="843">
                  <c:v>43991</c:v>
                </c:pt>
                <c:pt idx="844">
                  <c:v>43992</c:v>
                </c:pt>
                <c:pt idx="845">
                  <c:v>43993</c:v>
                </c:pt>
                <c:pt idx="846">
                  <c:v>43994</c:v>
                </c:pt>
                <c:pt idx="847">
                  <c:v>43997</c:v>
                </c:pt>
                <c:pt idx="848">
                  <c:v>43998</c:v>
                </c:pt>
                <c:pt idx="849">
                  <c:v>43999</c:v>
                </c:pt>
                <c:pt idx="850">
                  <c:v>44000</c:v>
                </c:pt>
                <c:pt idx="851">
                  <c:v>44001</c:v>
                </c:pt>
                <c:pt idx="852">
                  <c:v>44004</c:v>
                </c:pt>
                <c:pt idx="853">
                  <c:v>44005</c:v>
                </c:pt>
                <c:pt idx="854">
                  <c:v>44006</c:v>
                </c:pt>
                <c:pt idx="855">
                  <c:v>44007</c:v>
                </c:pt>
                <c:pt idx="856">
                  <c:v>44008</c:v>
                </c:pt>
                <c:pt idx="857">
                  <c:v>44011</c:v>
                </c:pt>
                <c:pt idx="858">
                  <c:v>44012</c:v>
                </c:pt>
                <c:pt idx="859">
                  <c:v>44013</c:v>
                </c:pt>
                <c:pt idx="860">
                  <c:v>44014</c:v>
                </c:pt>
                <c:pt idx="861">
                  <c:v>44018</c:v>
                </c:pt>
                <c:pt idx="862">
                  <c:v>44019</c:v>
                </c:pt>
                <c:pt idx="863">
                  <c:v>44020</c:v>
                </c:pt>
                <c:pt idx="864">
                  <c:v>44021</c:v>
                </c:pt>
                <c:pt idx="865">
                  <c:v>44022</c:v>
                </c:pt>
                <c:pt idx="866">
                  <c:v>44025</c:v>
                </c:pt>
                <c:pt idx="867">
                  <c:v>44026</c:v>
                </c:pt>
                <c:pt idx="868">
                  <c:v>44027</c:v>
                </c:pt>
                <c:pt idx="869">
                  <c:v>44028</c:v>
                </c:pt>
                <c:pt idx="870">
                  <c:v>44029</c:v>
                </c:pt>
                <c:pt idx="871">
                  <c:v>44032</c:v>
                </c:pt>
                <c:pt idx="872">
                  <c:v>44033</c:v>
                </c:pt>
                <c:pt idx="873">
                  <c:v>44034</c:v>
                </c:pt>
                <c:pt idx="874">
                  <c:v>44035</c:v>
                </c:pt>
                <c:pt idx="875">
                  <c:v>44036</c:v>
                </c:pt>
                <c:pt idx="876">
                  <c:v>44039</c:v>
                </c:pt>
                <c:pt idx="877">
                  <c:v>44040</c:v>
                </c:pt>
                <c:pt idx="878">
                  <c:v>44041</c:v>
                </c:pt>
                <c:pt idx="879">
                  <c:v>44042</c:v>
                </c:pt>
                <c:pt idx="880">
                  <c:v>44043</c:v>
                </c:pt>
                <c:pt idx="881">
                  <c:v>44046</c:v>
                </c:pt>
                <c:pt idx="882">
                  <c:v>44047</c:v>
                </c:pt>
                <c:pt idx="883">
                  <c:v>44048</c:v>
                </c:pt>
                <c:pt idx="884">
                  <c:v>44049</c:v>
                </c:pt>
                <c:pt idx="885">
                  <c:v>44050</c:v>
                </c:pt>
                <c:pt idx="886">
                  <c:v>44053</c:v>
                </c:pt>
                <c:pt idx="887">
                  <c:v>44054</c:v>
                </c:pt>
                <c:pt idx="888">
                  <c:v>44055</c:v>
                </c:pt>
                <c:pt idx="889">
                  <c:v>44056</c:v>
                </c:pt>
                <c:pt idx="890">
                  <c:v>44057</c:v>
                </c:pt>
                <c:pt idx="891">
                  <c:v>44060</c:v>
                </c:pt>
                <c:pt idx="892">
                  <c:v>44061</c:v>
                </c:pt>
                <c:pt idx="893">
                  <c:v>44062</c:v>
                </c:pt>
                <c:pt idx="894">
                  <c:v>44063</c:v>
                </c:pt>
                <c:pt idx="895">
                  <c:v>44064</c:v>
                </c:pt>
                <c:pt idx="896">
                  <c:v>44067</c:v>
                </c:pt>
                <c:pt idx="897">
                  <c:v>44068</c:v>
                </c:pt>
                <c:pt idx="898">
                  <c:v>44069</c:v>
                </c:pt>
                <c:pt idx="899">
                  <c:v>44070</c:v>
                </c:pt>
                <c:pt idx="900">
                  <c:v>44071</c:v>
                </c:pt>
                <c:pt idx="901">
                  <c:v>44074</c:v>
                </c:pt>
                <c:pt idx="902">
                  <c:v>44075</c:v>
                </c:pt>
                <c:pt idx="903">
                  <c:v>44076</c:v>
                </c:pt>
                <c:pt idx="904">
                  <c:v>44077</c:v>
                </c:pt>
                <c:pt idx="905">
                  <c:v>44078</c:v>
                </c:pt>
                <c:pt idx="906">
                  <c:v>44082</c:v>
                </c:pt>
                <c:pt idx="907">
                  <c:v>44083</c:v>
                </c:pt>
                <c:pt idx="908">
                  <c:v>44084</c:v>
                </c:pt>
                <c:pt idx="909">
                  <c:v>44085</c:v>
                </c:pt>
                <c:pt idx="910">
                  <c:v>44088</c:v>
                </c:pt>
                <c:pt idx="911">
                  <c:v>44089</c:v>
                </c:pt>
                <c:pt idx="912">
                  <c:v>44090</c:v>
                </c:pt>
                <c:pt idx="913">
                  <c:v>44091</c:v>
                </c:pt>
                <c:pt idx="914">
                  <c:v>44092</c:v>
                </c:pt>
                <c:pt idx="915">
                  <c:v>44095</c:v>
                </c:pt>
                <c:pt idx="916">
                  <c:v>44096</c:v>
                </c:pt>
                <c:pt idx="917">
                  <c:v>44097</c:v>
                </c:pt>
                <c:pt idx="918">
                  <c:v>44098</c:v>
                </c:pt>
                <c:pt idx="919">
                  <c:v>44099</c:v>
                </c:pt>
                <c:pt idx="920">
                  <c:v>44102</c:v>
                </c:pt>
                <c:pt idx="921">
                  <c:v>44103</c:v>
                </c:pt>
                <c:pt idx="922">
                  <c:v>44104</c:v>
                </c:pt>
                <c:pt idx="923">
                  <c:v>44105</c:v>
                </c:pt>
                <c:pt idx="924">
                  <c:v>44106</c:v>
                </c:pt>
                <c:pt idx="925">
                  <c:v>44109</c:v>
                </c:pt>
                <c:pt idx="926">
                  <c:v>44110</c:v>
                </c:pt>
                <c:pt idx="927">
                  <c:v>44111</c:v>
                </c:pt>
                <c:pt idx="928">
                  <c:v>44112</c:v>
                </c:pt>
                <c:pt idx="929">
                  <c:v>44113</c:v>
                </c:pt>
                <c:pt idx="930">
                  <c:v>44116</c:v>
                </c:pt>
                <c:pt idx="931">
                  <c:v>44117</c:v>
                </c:pt>
                <c:pt idx="932">
                  <c:v>44118</c:v>
                </c:pt>
                <c:pt idx="933">
                  <c:v>44119</c:v>
                </c:pt>
                <c:pt idx="934">
                  <c:v>44120</c:v>
                </c:pt>
                <c:pt idx="935">
                  <c:v>44123</c:v>
                </c:pt>
                <c:pt idx="936">
                  <c:v>44124</c:v>
                </c:pt>
                <c:pt idx="937">
                  <c:v>44125</c:v>
                </c:pt>
                <c:pt idx="938">
                  <c:v>44126</c:v>
                </c:pt>
                <c:pt idx="939">
                  <c:v>44127</c:v>
                </c:pt>
                <c:pt idx="940">
                  <c:v>44130</c:v>
                </c:pt>
                <c:pt idx="941">
                  <c:v>44131</c:v>
                </c:pt>
                <c:pt idx="942">
                  <c:v>44132</c:v>
                </c:pt>
                <c:pt idx="943">
                  <c:v>44133</c:v>
                </c:pt>
                <c:pt idx="944">
                  <c:v>44134</c:v>
                </c:pt>
                <c:pt idx="945">
                  <c:v>44137</c:v>
                </c:pt>
                <c:pt idx="946">
                  <c:v>44138</c:v>
                </c:pt>
                <c:pt idx="947">
                  <c:v>44139</c:v>
                </c:pt>
                <c:pt idx="948">
                  <c:v>44140</c:v>
                </c:pt>
                <c:pt idx="949">
                  <c:v>44141</c:v>
                </c:pt>
                <c:pt idx="950">
                  <c:v>44144</c:v>
                </c:pt>
                <c:pt idx="951">
                  <c:v>44145</c:v>
                </c:pt>
                <c:pt idx="952">
                  <c:v>44146</c:v>
                </c:pt>
                <c:pt idx="953">
                  <c:v>44147</c:v>
                </c:pt>
                <c:pt idx="954">
                  <c:v>44148</c:v>
                </c:pt>
                <c:pt idx="955">
                  <c:v>44151</c:v>
                </c:pt>
                <c:pt idx="956">
                  <c:v>44152</c:v>
                </c:pt>
                <c:pt idx="957">
                  <c:v>44153</c:v>
                </c:pt>
                <c:pt idx="958">
                  <c:v>44154</c:v>
                </c:pt>
                <c:pt idx="959">
                  <c:v>44155</c:v>
                </c:pt>
                <c:pt idx="960">
                  <c:v>44158</c:v>
                </c:pt>
                <c:pt idx="961">
                  <c:v>44159</c:v>
                </c:pt>
                <c:pt idx="962">
                  <c:v>44160</c:v>
                </c:pt>
                <c:pt idx="963">
                  <c:v>44162</c:v>
                </c:pt>
                <c:pt idx="964">
                  <c:v>44165</c:v>
                </c:pt>
                <c:pt idx="965">
                  <c:v>44166</c:v>
                </c:pt>
                <c:pt idx="966">
                  <c:v>44167</c:v>
                </c:pt>
                <c:pt idx="967">
                  <c:v>44168</c:v>
                </c:pt>
                <c:pt idx="968">
                  <c:v>44169</c:v>
                </c:pt>
                <c:pt idx="969">
                  <c:v>44172</c:v>
                </c:pt>
                <c:pt idx="970">
                  <c:v>44173</c:v>
                </c:pt>
                <c:pt idx="971">
                  <c:v>44174</c:v>
                </c:pt>
                <c:pt idx="972">
                  <c:v>44175</c:v>
                </c:pt>
                <c:pt idx="973">
                  <c:v>44176</c:v>
                </c:pt>
                <c:pt idx="974">
                  <c:v>44179</c:v>
                </c:pt>
                <c:pt idx="975">
                  <c:v>44180</c:v>
                </c:pt>
                <c:pt idx="976">
                  <c:v>44181</c:v>
                </c:pt>
                <c:pt idx="977">
                  <c:v>44182</c:v>
                </c:pt>
                <c:pt idx="978">
                  <c:v>44183</c:v>
                </c:pt>
                <c:pt idx="979">
                  <c:v>44186</c:v>
                </c:pt>
                <c:pt idx="980">
                  <c:v>44187</c:v>
                </c:pt>
                <c:pt idx="981">
                  <c:v>44188</c:v>
                </c:pt>
                <c:pt idx="982">
                  <c:v>44189</c:v>
                </c:pt>
                <c:pt idx="983">
                  <c:v>44193</c:v>
                </c:pt>
                <c:pt idx="984">
                  <c:v>44194</c:v>
                </c:pt>
                <c:pt idx="985">
                  <c:v>44194</c:v>
                </c:pt>
                <c:pt idx="986">
                  <c:v>44195</c:v>
                </c:pt>
                <c:pt idx="987">
                  <c:v>44195</c:v>
                </c:pt>
                <c:pt idx="988">
                  <c:v>44196</c:v>
                </c:pt>
                <c:pt idx="989">
                  <c:v>44196</c:v>
                </c:pt>
                <c:pt idx="990">
                  <c:v>44200</c:v>
                </c:pt>
                <c:pt idx="991">
                  <c:v>44201</c:v>
                </c:pt>
                <c:pt idx="992">
                  <c:v>44202</c:v>
                </c:pt>
                <c:pt idx="993">
                  <c:v>44203</c:v>
                </c:pt>
                <c:pt idx="994">
                  <c:v>44204</c:v>
                </c:pt>
                <c:pt idx="995">
                  <c:v>44207</c:v>
                </c:pt>
                <c:pt idx="996">
                  <c:v>44208</c:v>
                </c:pt>
                <c:pt idx="997">
                  <c:v>44209</c:v>
                </c:pt>
                <c:pt idx="998">
                  <c:v>44210</c:v>
                </c:pt>
                <c:pt idx="999">
                  <c:v>44211</c:v>
                </c:pt>
                <c:pt idx="1000">
                  <c:v>44215</c:v>
                </c:pt>
                <c:pt idx="1001">
                  <c:v>44216</c:v>
                </c:pt>
                <c:pt idx="1002">
                  <c:v>44217</c:v>
                </c:pt>
                <c:pt idx="1003">
                  <c:v>44218</c:v>
                </c:pt>
                <c:pt idx="1004">
                  <c:v>44221</c:v>
                </c:pt>
                <c:pt idx="1005">
                  <c:v>44222</c:v>
                </c:pt>
                <c:pt idx="1006">
                  <c:v>44223</c:v>
                </c:pt>
                <c:pt idx="1007">
                  <c:v>44224</c:v>
                </c:pt>
                <c:pt idx="1008">
                  <c:v>44225</c:v>
                </c:pt>
                <c:pt idx="1009">
                  <c:v>44228</c:v>
                </c:pt>
                <c:pt idx="1010">
                  <c:v>44229</c:v>
                </c:pt>
                <c:pt idx="1011">
                  <c:v>44230</c:v>
                </c:pt>
                <c:pt idx="1012">
                  <c:v>44231</c:v>
                </c:pt>
                <c:pt idx="1013">
                  <c:v>44232</c:v>
                </c:pt>
                <c:pt idx="1014">
                  <c:v>44235</c:v>
                </c:pt>
                <c:pt idx="1015">
                  <c:v>44236</c:v>
                </c:pt>
                <c:pt idx="1016">
                  <c:v>44237</c:v>
                </c:pt>
                <c:pt idx="1017">
                  <c:v>44238</c:v>
                </c:pt>
                <c:pt idx="1018">
                  <c:v>44239</c:v>
                </c:pt>
                <c:pt idx="1019">
                  <c:v>44243</c:v>
                </c:pt>
                <c:pt idx="1020">
                  <c:v>44244</c:v>
                </c:pt>
                <c:pt idx="1021">
                  <c:v>44245</c:v>
                </c:pt>
                <c:pt idx="1022">
                  <c:v>44246</c:v>
                </c:pt>
                <c:pt idx="1023">
                  <c:v>44249</c:v>
                </c:pt>
                <c:pt idx="1024">
                  <c:v>44250</c:v>
                </c:pt>
                <c:pt idx="1025">
                  <c:v>44251</c:v>
                </c:pt>
                <c:pt idx="1026">
                  <c:v>44252</c:v>
                </c:pt>
                <c:pt idx="1027">
                  <c:v>44253</c:v>
                </c:pt>
                <c:pt idx="1028">
                  <c:v>44256</c:v>
                </c:pt>
                <c:pt idx="1029">
                  <c:v>44257</c:v>
                </c:pt>
                <c:pt idx="1030">
                  <c:v>44258</c:v>
                </c:pt>
                <c:pt idx="1031">
                  <c:v>44259</c:v>
                </c:pt>
                <c:pt idx="1032">
                  <c:v>44260</c:v>
                </c:pt>
                <c:pt idx="1033">
                  <c:v>44263</c:v>
                </c:pt>
                <c:pt idx="1034">
                  <c:v>44264</c:v>
                </c:pt>
                <c:pt idx="1035">
                  <c:v>44265</c:v>
                </c:pt>
                <c:pt idx="1036">
                  <c:v>44266</c:v>
                </c:pt>
                <c:pt idx="1037">
                  <c:v>44267</c:v>
                </c:pt>
                <c:pt idx="1038">
                  <c:v>44270</c:v>
                </c:pt>
                <c:pt idx="1039">
                  <c:v>44271</c:v>
                </c:pt>
                <c:pt idx="1040">
                  <c:v>44272</c:v>
                </c:pt>
                <c:pt idx="1041">
                  <c:v>44273</c:v>
                </c:pt>
                <c:pt idx="1042">
                  <c:v>44274</c:v>
                </c:pt>
                <c:pt idx="1043">
                  <c:v>44277</c:v>
                </c:pt>
                <c:pt idx="1044">
                  <c:v>44278</c:v>
                </c:pt>
                <c:pt idx="1045">
                  <c:v>44279</c:v>
                </c:pt>
                <c:pt idx="1046">
                  <c:v>44280</c:v>
                </c:pt>
                <c:pt idx="1047">
                  <c:v>44281</c:v>
                </c:pt>
                <c:pt idx="1048">
                  <c:v>44284</c:v>
                </c:pt>
                <c:pt idx="1049">
                  <c:v>44285</c:v>
                </c:pt>
                <c:pt idx="1050">
                  <c:v>44286</c:v>
                </c:pt>
                <c:pt idx="1051">
                  <c:v>44287</c:v>
                </c:pt>
                <c:pt idx="1052">
                  <c:v>44291</c:v>
                </c:pt>
                <c:pt idx="1053">
                  <c:v>44292</c:v>
                </c:pt>
                <c:pt idx="1054">
                  <c:v>44293</c:v>
                </c:pt>
                <c:pt idx="1055">
                  <c:v>44294</c:v>
                </c:pt>
                <c:pt idx="1056">
                  <c:v>44295</c:v>
                </c:pt>
                <c:pt idx="1057">
                  <c:v>44298</c:v>
                </c:pt>
                <c:pt idx="1058">
                  <c:v>44299</c:v>
                </c:pt>
                <c:pt idx="1059">
                  <c:v>44300</c:v>
                </c:pt>
                <c:pt idx="1060">
                  <c:v>44301</c:v>
                </c:pt>
                <c:pt idx="1061">
                  <c:v>44302</c:v>
                </c:pt>
                <c:pt idx="1062">
                  <c:v>44305</c:v>
                </c:pt>
                <c:pt idx="1063">
                  <c:v>44306</c:v>
                </c:pt>
                <c:pt idx="1064">
                  <c:v>44307</c:v>
                </c:pt>
                <c:pt idx="1065">
                  <c:v>44308</c:v>
                </c:pt>
                <c:pt idx="1066">
                  <c:v>44309</c:v>
                </c:pt>
                <c:pt idx="1067">
                  <c:v>44312</c:v>
                </c:pt>
                <c:pt idx="1068">
                  <c:v>44313</c:v>
                </c:pt>
                <c:pt idx="1069">
                  <c:v>44314</c:v>
                </c:pt>
                <c:pt idx="1070">
                  <c:v>44315</c:v>
                </c:pt>
                <c:pt idx="1071">
                  <c:v>44316</c:v>
                </c:pt>
                <c:pt idx="1072">
                  <c:v>44319</c:v>
                </c:pt>
                <c:pt idx="1073">
                  <c:v>44320</c:v>
                </c:pt>
                <c:pt idx="1074">
                  <c:v>44321</c:v>
                </c:pt>
                <c:pt idx="1075">
                  <c:v>44322</c:v>
                </c:pt>
                <c:pt idx="1076">
                  <c:v>44323</c:v>
                </c:pt>
                <c:pt idx="1077">
                  <c:v>44326</c:v>
                </c:pt>
                <c:pt idx="1078">
                  <c:v>44327</c:v>
                </c:pt>
                <c:pt idx="1079">
                  <c:v>44328</c:v>
                </c:pt>
                <c:pt idx="1080">
                  <c:v>44329</c:v>
                </c:pt>
                <c:pt idx="1081">
                  <c:v>44330</c:v>
                </c:pt>
                <c:pt idx="1082">
                  <c:v>44333</c:v>
                </c:pt>
                <c:pt idx="1083">
                  <c:v>44334</c:v>
                </c:pt>
                <c:pt idx="1084">
                  <c:v>44335</c:v>
                </c:pt>
                <c:pt idx="1085">
                  <c:v>44336</c:v>
                </c:pt>
                <c:pt idx="1086">
                  <c:v>44337</c:v>
                </c:pt>
                <c:pt idx="1087">
                  <c:v>44340</c:v>
                </c:pt>
                <c:pt idx="1088">
                  <c:v>44341</c:v>
                </c:pt>
                <c:pt idx="1089">
                  <c:v>44342</c:v>
                </c:pt>
                <c:pt idx="1090">
                  <c:v>44343</c:v>
                </c:pt>
                <c:pt idx="1091">
                  <c:v>44344</c:v>
                </c:pt>
                <c:pt idx="1092">
                  <c:v>44348</c:v>
                </c:pt>
                <c:pt idx="1093">
                  <c:v>44349</c:v>
                </c:pt>
                <c:pt idx="1094">
                  <c:v>44350</c:v>
                </c:pt>
                <c:pt idx="1095">
                  <c:v>44351</c:v>
                </c:pt>
                <c:pt idx="1096">
                  <c:v>44354</c:v>
                </c:pt>
                <c:pt idx="1097">
                  <c:v>44355</c:v>
                </c:pt>
                <c:pt idx="1098">
                  <c:v>44356</c:v>
                </c:pt>
                <c:pt idx="1099">
                  <c:v>44357</c:v>
                </c:pt>
                <c:pt idx="1100">
                  <c:v>44358</c:v>
                </c:pt>
                <c:pt idx="1101">
                  <c:v>44361</c:v>
                </c:pt>
                <c:pt idx="1102">
                  <c:v>44362</c:v>
                </c:pt>
                <c:pt idx="1103">
                  <c:v>44363</c:v>
                </c:pt>
                <c:pt idx="1104">
                  <c:v>44364</c:v>
                </c:pt>
                <c:pt idx="1105">
                  <c:v>44365</c:v>
                </c:pt>
                <c:pt idx="1106">
                  <c:v>44368</c:v>
                </c:pt>
                <c:pt idx="1107">
                  <c:v>44369</c:v>
                </c:pt>
                <c:pt idx="1108">
                  <c:v>44370</c:v>
                </c:pt>
                <c:pt idx="1109">
                  <c:v>44371</c:v>
                </c:pt>
                <c:pt idx="1110">
                  <c:v>44372</c:v>
                </c:pt>
                <c:pt idx="1111">
                  <c:v>44375</c:v>
                </c:pt>
                <c:pt idx="1112">
                  <c:v>44376</c:v>
                </c:pt>
                <c:pt idx="1113">
                  <c:v>44377</c:v>
                </c:pt>
              </c:numCache>
            </c:numRef>
          </c:cat>
          <c:val>
            <c:numRef>
              <c:f>Sheet1!$C$2:$C$2111</c:f>
              <c:numCache>
                <c:formatCode>General</c:formatCode>
                <c:ptCount val="2110"/>
                <c:pt idx="0">
                  <c:v>99.576989999999995</c:v>
                </c:pt>
                <c:pt idx="1">
                  <c:v>98.12321</c:v>
                </c:pt>
                <c:pt idx="2">
                  <c:v>99.560119999999998</c:v>
                </c:pt>
                <c:pt idx="3">
                  <c:v>97.15813</c:v>
                </c:pt>
                <c:pt idx="4">
                  <c:v>99.169426000000001</c:v>
                </c:pt>
                <c:pt idx="5">
                  <c:v>98.370840000000001</c:v>
                </c:pt>
                <c:pt idx="6">
                  <c:v>98.86412</c:v>
                </c:pt>
                <c:pt idx="7">
                  <c:v>98.749369999999999</c:v>
                </c:pt>
                <c:pt idx="8">
                  <c:v>99.836510000000004</c:v>
                </c:pt>
                <c:pt idx="9">
                  <c:v>100.13016500000001</c:v>
                </c:pt>
                <c:pt idx="10">
                  <c:v>97.929379999999995</c:v>
                </c:pt>
                <c:pt idx="11">
                  <c:v>99.914810000000003</c:v>
                </c:pt>
                <c:pt idx="12">
                  <c:v>100.18393</c:v>
                </c:pt>
                <c:pt idx="13">
                  <c:v>99.954210000000003</c:v>
                </c:pt>
                <c:pt idx="14">
                  <c:v>99.985669999999999</c:v>
                </c:pt>
                <c:pt idx="15">
                  <c:v>100.22073</c:v>
                </c:pt>
                <c:pt idx="16">
                  <c:v>99.931790000000007</c:v>
                </c:pt>
                <c:pt idx="17">
                  <c:v>98.767653999999993</c:v>
                </c:pt>
                <c:pt idx="18">
                  <c:v>100.11830999999999</c:v>
                </c:pt>
                <c:pt idx="19">
                  <c:v>100.0441</c:v>
                </c:pt>
                <c:pt idx="20">
                  <c:v>100.124985</c:v>
                </c:pt>
                <c:pt idx="21">
                  <c:v>100.37253</c:v>
                </c:pt>
                <c:pt idx="22">
                  <c:v>99.58811</c:v>
                </c:pt>
                <c:pt idx="23">
                  <c:v>99.757835</c:v>
                </c:pt>
                <c:pt idx="24">
                  <c:v>98.714290000000005</c:v>
                </c:pt>
                <c:pt idx="25">
                  <c:v>100.81538399999999</c:v>
                </c:pt>
                <c:pt idx="26">
                  <c:v>96.099884000000003</c:v>
                </c:pt>
                <c:pt idx="27">
                  <c:v>100.75566999999999</c:v>
                </c:pt>
                <c:pt idx="28">
                  <c:v>100.26549</c:v>
                </c:pt>
                <c:pt idx="29">
                  <c:v>98.466120000000004</c:v>
                </c:pt>
                <c:pt idx="30">
                  <c:v>97.357510000000005</c:v>
                </c:pt>
                <c:pt idx="31">
                  <c:v>96.46414</c:v>
                </c:pt>
                <c:pt idx="32">
                  <c:v>97.668210000000002</c:v>
                </c:pt>
                <c:pt idx="33">
                  <c:v>97.756805</c:v>
                </c:pt>
                <c:pt idx="34">
                  <c:v>97.917969999999997</c:v>
                </c:pt>
                <c:pt idx="35">
                  <c:v>97.891463999999999</c:v>
                </c:pt>
                <c:pt idx="36">
                  <c:v>97.68338</c:v>
                </c:pt>
                <c:pt idx="37">
                  <c:v>97.582989999999995</c:v>
                </c:pt>
                <c:pt idx="38">
                  <c:v>97.516090000000005</c:v>
                </c:pt>
                <c:pt idx="39">
                  <c:v>99.311719999999994</c:v>
                </c:pt>
                <c:pt idx="40">
                  <c:v>98.735420000000005</c:v>
                </c:pt>
                <c:pt idx="41">
                  <c:v>98.196709999999996</c:v>
                </c:pt>
                <c:pt idx="42">
                  <c:v>97.8613</c:v>
                </c:pt>
                <c:pt idx="43">
                  <c:v>97.920235000000005</c:v>
                </c:pt>
                <c:pt idx="44">
                  <c:v>100.344055</c:v>
                </c:pt>
                <c:pt idx="45">
                  <c:v>97.739500000000007</c:v>
                </c:pt>
                <c:pt idx="46">
                  <c:v>98.659096000000005</c:v>
                </c:pt>
                <c:pt idx="47">
                  <c:v>99.444879999999998</c:v>
                </c:pt>
                <c:pt idx="48">
                  <c:v>96.144130000000004</c:v>
                </c:pt>
                <c:pt idx="49">
                  <c:v>97.996049999999997</c:v>
                </c:pt>
                <c:pt idx="50">
                  <c:v>98.59487</c:v>
                </c:pt>
                <c:pt idx="51">
                  <c:v>97.651949999999999</c:v>
                </c:pt>
                <c:pt idx="52">
                  <c:v>98.61054</c:v>
                </c:pt>
                <c:pt idx="53">
                  <c:v>98.752883999999995</c:v>
                </c:pt>
                <c:pt idx="54">
                  <c:v>97.931489999999997</c:v>
                </c:pt>
                <c:pt idx="55">
                  <c:v>99.676349999999999</c:v>
                </c:pt>
                <c:pt idx="56">
                  <c:v>98.90231</c:v>
                </c:pt>
                <c:pt idx="57">
                  <c:v>98.517660000000006</c:v>
                </c:pt>
                <c:pt idx="58">
                  <c:v>98.689064000000002</c:v>
                </c:pt>
                <c:pt idx="59">
                  <c:v>98.719380000000001</c:v>
                </c:pt>
                <c:pt idx="60">
                  <c:v>99.110110000000006</c:v>
                </c:pt>
                <c:pt idx="61">
                  <c:v>99.318534999999997</c:v>
                </c:pt>
                <c:pt idx="62">
                  <c:v>98.762360000000001</c:v>
                </c:pt>
                <c:pt idx="63">
                  <c:v>99.232569999999996</c:v>
                </c:pt>
                <c:pt idx="64">
                  <c:v>99.475239999999999</c:v>
                </c:pt>
                <c:pt idx="65">
                  <c:v>99.338904999999997</c:v>
                </c:pt>
                <c:pt idx="66">
                  <c:v>98.591880000000003</c:v>
                </c:pt>
                <c:pt idx="67">
                  <c:v>98.685789999999997</c:v>
                </c:pt>
                <c:pt idx="68">
                  <c:v>98.181629999999998</c:v>
                </c:pt>
                <c:pt idx="69">
                  <c:v>96.077179999999998</c:v>
                </c:pt>
                <c:pt idx="70">
                  <c:v>98.503550000000004</c:v>
                </c:pt>
                <c:pt idx="71">
                  <c:v>99.413666000000006</c:v>
                </c:pt>
                <c:pt idx="72">
                  <c:v>98.776359999999997</c:v>
                </c:pt>
                <c:pt idx="73">
                  <c:v>98.848349999999996</c:v>
                </c:pt>
                <c:pt idx="74">
                  <c:v>99.551795999999996</c:v>
                </c:pt>
                <c:pt idx="75">
                  <c:v>99.018100000000004</c:v>
                </c:pt>
                <c:pt idx="76">
                  <c:v>99.844589999999997</c:v>
                </c:pt>
                <c:pt idx="77">
                  <c:v>100.67261499999999</c:v>
                </c:pt>
                <c:pt idx="78">
                  <c:v>100.34668000000001</c:v>
                </c:pt>
                <c:pt idx="79">
                  <c:v>101.21124</c:v>
                </c:pt>
                <c:pt idx="80">
                  <c:v>100.51166000000001</c:v>
                </c:pt>
                <c:pt idx="81">
                  <c:v>100.86060999999999</c:v>
                </c:pt>
                <c:pt idx="82">
                  <c:v>100.68547</c:v>
                </c:pt>
                <c:pt idx="83">
                  <c:v>100.46689600000001</c:v>
                </c:pt>
                <c:pt idx="84">
                  <c:v>99.722399999999993</c:v>
                </c:pt>
                <c:pt idx="85">
                  <c:v>99.943770000000001</c:v>
                </c:pt>
                <c:pt idx="86">
                  <c:v>100.41951</c:v>
                </c:pt>
                <c:pt idx="87">
                  <c:v>101.44916499999999</c:v>
                </c:pt>
                <c:pt idx="88">
                  <c:v>100.80437999999999</c:v>
                </c:pt>
                <c:pt idx="89">
                  <c:v>100.48357</c:v>
                </c:pt>
                <c:pt idx="90">
                  <c:v>100.43169</c:v>
                </c:pt>
                <c:pt idx="91">
                  <c:v>100.897705</c:v>
                </c:pt>
                <c:pt idx="92">
                  <c:v>101.07507</c:v>
                </c:pt>
                <c:pt idx="93">
                  <c:v>100.3254</c:v>
                </c:pt>
                <c:pt idx="94">
                  <c:v>100.81307</c:v>
                </c:pt>
                <c:pt idx="95">
                  <c:v>101.18495</c:v>
                </c:pt>
                <c:pt idx="96">
                  <c:v>101.28227</c:v>
                </c:pt>
                <c:pt idx="97">
                  <c:v>101.11002000000001</c:v>
                </c:pt>
                <c:pt idx="98">
                  <c:v>102.69099</c:v>
                </c:pt>
                <c:pt idx="99">
                  <c:v>100.93086</c:v>
                </c:pt>
                <c:pt idx="100">
                  <c:v>100.16559599999999</c:v>
                </c:pt>
                <c:pt idx="101">
                  <c:v>100.63776</c:v>
                </c:pt>
                <c:pt idx="102">
                  <c:v>98.002750000000006</c:v>
                </c:pt>
                <c:pt idx="103">
                  <c:v>98.788480000000007</c:v>
                </c:pt>
                <c:pt idx="104">
                  <c:v>100.23101</c:v>
                </c:pt>
                <c:pt idx="105">
                  <c:v>100.88284</c:v>
                </c:pt>
                <c:pt idx="106">
                  <c:v>101.01439999999999</c:v>
                </c:pt>
                <c:pt idx="107">
                  <c:v>101.52943999999999</c:v>
                </c:pt>
                <c:pt idx="108">
                  <c:v>102.111374</c:v>
                </c:pt>
                <c:pt idx="109">
                  <c:v>102.65044</c:v>
                </c:pt>
                <c:pt idx="110">
                  <c:v>102.7375</c:v>
                </c:pt>
                <c:pt idx="111">
                  <c:v>102.155495</c:v>
                </c:pt>
                <c:pt idx="112">
                  <c:v>102.17339</c:v>
                </c:pt>
                <c:pt idx="113">
                  <c:v>102.29181</c:v>
                </c:pt>
                <c:pt idx="114">
                  <c:v>103.20699999999999</c:v>
                </c:pt>
                <c:pt idx="115">
                  <c:v>101.67536</c:v>
                </c:pt>
                <c:pt idx="116">
                  <c:v>101.92673000000001</c:v>
                </c:pt>
                <c:pt idx="117">
                  <c:v>100.97766</c:v>
                </c:pt>
                <c:pt idx="118">
                  <c:v>101.337326</c:v>
                </c:pt>
                <c:pt idx="119">
                  <c:v>101.37269999999999</c:v>
                </c:pt>
                <c:pt idx="120">
                  <c:v>101.35897</c:v>
                </c:pt>
                <c:pt idx="121">
                  <c:v>101.83761</c:v>
                </c:pt>
                <c:pt idx="122">
                  <c:v>101.49709</c:v>
                </c:pt>
                <c:pt idx="123">
                  <c:v>102.27016999999999</c:v>
                </c:pt>
                <c:pt idx="124">
                  <c:v>102.75067</c:v>
                </c:pt>
                <c:pt idx="125">
                  <c:v>103.24288</c:v>
                </c:pt>
                <c:pt idx="126">
                  <c:v>103.29752999999999</c:v>
                </c:pt>
                <c:pt idx="127">
                  <c:v>102.077805</c:v>
                </c:pt>
                <c:pt idx="128">
                  <c:v>104.71599000000001</c:v>
                </c:pt>
                <c:pt idx="129">
                  <c:v>102.88382</c:v>
                </c:pt>
                <c:pt idx="130">
                  <c:v>100.904976</c:v>
                </c:pt>
                <c:pt idx="131">
                  <c:v>101.99274</c:v>
                </c:pt>
                <c:pt idx="132">
                  <c:v>102.07185</c:v>
                </c:pt>
                <c:pt idx="133">
                  <c:v>102.17055499999999</c:v>
                </c:pt>
                <c:pt idx="134">
                  <c:v>102.31265</c:v>
                </c:pt>
                <c:pt idx="135">
                  <c:v>101.70298</c:v>
                </c:pt>
                <c:pt idx="136">
                  <c:v>103.26008</c:v>
                </c:pt>
                <c:pt idx="137">
                  <c:v>103.2073</c:v>
                </c:pt>
                <c:pt idx="138">
                  <c:v>102.33557</c:v>
                </c:pt>
                <c:pt idx="139">
                  <c:v>102.506744</c:v>
                </c:pt>
                <c:pt idx="140">
                  <c:v>102.28879000000001</c:v>
                </c:pt>
                <c:pt idx="141">
                  <c:v>103.42972</c:v>
                </c:pt>
                <c:pt idx="142">
                  <c:v>104.38567999999999</c:v>
                </c:pt>
                <c:pt idx="143">
                  <c:v>103.29284</c:v>
                </c:pt>
                <c:pt idx="144">
                  <c:v>103.06346000000001</c:v>
                </c:pt>
                <c:pt idx="145">
                  <c:v>102.09144999999999</c:v>
                </c:pt>
                <c:pt idx="146">
                  <c:v>102.20245</c:v>
                </c:pt>
                <c:pt idx="147">
                  <c:v>102.29853</c:v>
                </c:pt>
                <c:pt idx="148">
                  <c:v>101.08107</c:v>
                </c:pt>
                <c:pt idx="149">
                  <c:v>101.74593</c:v>
                </c:pt>
                <c:pt idx="150">
                  <c:v>101.09062</c:v>
                </c:pt>
                <c:pt idx="151">
                  <c:v>101.48532</c:v>
                </c:pt>
                <c:pt idx="152">
                  <c:v>102.009995</c:v>
                </c:pt>
                <c:pt idx="153">
                  <c:v>102.67012</c:v>
                </c:pt>
                <c:pt idx="154">
                  <c:v>101.88122</c:v>
                </c:pt>
                <c:pt idx="155">
                  <c:v>102.98891</c:v>
                </c:pt>
                <c:pt idx="156">
                  <c:v>102.19055</c:v>
                </c:pt>
                <c:pt idx="157">
                  <c:v>102.84496</c:v>
                </c:pt>
                <c:pt idx="158">
                  <c:v>101.53725</c:v>
                </c:pt>
                <c:pt idx="159">
                  <c:v>102.00373999999999</c:v>
                </c:pt>
                <c:pt idx="160">
                  <c:v>99.512060000000005</c:v>
                </c:pt>
                <c:pt idx="161">
                  <c:v>99.984920000000002</c:v>
                </c:pt>
                <c:pt idx="162">
                  <c:v>100.97931</c:v>
                </c:pt>
                <c:pt idx="163">
                  <c:v>100.91688499999999</c:v>
                </c:pt>
                <c:pt idx="164">
                  <c:v>100.36198400000001</c:v>
                </c:pt>
                <c:pt idx="165">
                  <c:v>100.34605000000001</c:v>
                </c:pt>
                <c:pt idx="166">
                  <c:v>101.857185</c:v>
                </c:pt>
                <c:pt idx="167">
                  <c:v>102.46160999999999</c:v>
                </c:pt>
                <c:pt idx="168">
                  <c:v>103.79376999999999</c:v>
                </c:pt>
                <c:pt idx="169">
                  <c:v>103.06249</c:v>
                </c:pt>
                <c:pt idx="170">
                  <c:v>104.5138</c:v>
                </c:pt>
                <c:pt idx="171">
                  <c:v>104.65882000000001</c:v>
                </c:pt>
                <c:pt idx="172">
                  <c:v>104.02630600000001</c:v>
                </c:pt>
                <c:pt idx="173">
                  <c:v>103.35295000000001</c:v>
                </c:pt>
                <c:pt idx="174">
                  <c:v>103.317375</c:v>
                </c:pt>
                <c:pt idx="175">
                  <c:v>102.42113999999999</c:v>
                </c:pt>
                <c:pt idx="176">
                  <c:v>102.20037000000001</c:v>
                </c:pt>
                <c:pt idx="177">
                  <c:v>102.194374</c:v>
                </c:pt>
                <c:pt idx="178">
                  <c:v>100.31856000000001</c:v>
                </c:pt>
                <c:pt idx="179">
                  <c:v>102.53818</c:v>
                </c:pt>
                <c:pt idx="180">
                  <c:v>100.849335</c:v>
                </c:pt>
                <c:pt idx="181">
                  <c:v>102.1692</c:v>
                </c:pt>
                <c:pt idx="182">
                  <c:v>103.80789</c:v>
                </c:pt>
                <c:pt idx="183">
                  <c:v>103.470474</c:v>
                </c:pt>
                <c:pt idx="184">
                  <c:v>103.85972599999999</c:v>
                </c:pt>
                <c:pt idx="185">
                  <c:v>104.55116</c:v>
                </c:pt>
                <c:pt idx="186">
                  <c:v>104.83719000000001</c:v>
                </c:pt>
                <c:pt idx="187">
                  <c:v>105.1863</c:v>
                </c:pt>
                <c:pt idx="188">
                  <c:v>104.173965</c:v>
                </c:pt>
                <c:pt idx="189">
                  <c:v>104.73972000000001</c:v>
                </c:pt>
                <c:pt idx="190">
                  <c:v>105.34426999999999</c:v>
                </c:pt>
                <c:pt idx="191">
                  <c:v>104.220314</c:v>
                </c:pt>
                <c:pt idx="192">
                  <c:v>104.009575</c:v>
                </c:pt>
                <c:pt idx="193">
                  <c:v>102.180786</c:v>
                </c:pt>
                <c:pt idx="194">
                  <c:v>104.618996</c:v>
                </c:pt>
                <c:pt idx="195">
                  <c:v>102.84819</c:v>
                </c:pt>
                <c:pt idx="196">
                  <c:v>104.425186</c:v>
                </c:pt>
                <c:pt idx="197">
                  <c:v>102.29452999999999</c:v>
                </c:pt>
                <c:pt idx="198">
                  <c:v>104.70611599999999</c:v>
                </c:pt>
                <c:pt idx="199">
                  <c:v>105.90443399999999</c:v>
                </c:pt>
                <c:pt idx="200">
                  <c:v>106.46559999999999</c:v>
                </c:pt>
                <c:pt idx="201">
                  <c:v>105.017944</c:v>
                </c:pt>
                <c:pt idx="202">
                  <c:v>106.06180999999999</c:v>
                </c:pt>
                <c:pt idx="203">
                  <c:v>104.88768</c:v>
                </c:pt>
                <c:pt idx="204">
                  <c:v>104.97448</c:v>
                </c:pt>
                <c:pt idx="205">
                  <c:v>105.599335</c:v>
                </c:pt>
                <c:pt idx="206">
                  <c:v>106.42053</c:v>
                </c:pt>
                <c:pt idx="207">
                  <c:v>105.7777</c:v>
                </c:pt>
                <c:pt idx="208">
                  <c:v>104.22024500000001</c:v>
                </c:pt>
                <c:pt idx="209">
                  <c:v>105.42166</c:v>
                </c:pt>
                <c:pt idx="210">
                  <c:v>106.04452499999999</c:v>
                </c:pt>
                <c:pt idx="211">
                  <c:v>106.102234</c:v>
                </c:pt>
                <c:pt idx="212">
                  <c:v>106.51414</c:v>
                </c:pt>
                <c:pt idx="213">
                  <c:v>106.35209999999999</c:v>
                </c:pt>
                <c:pt idx="214">
                  <c:v>106.84910000000001</c:v>
                </c:pt>
                <c:pt idx="215">
                  <c:v>106.77401</c:v>
                </c:pt>
                <c:pt idx="216">
                  <c:v>106.75581</c:v>
                </c:pt>
                <c:pt idx="217">
                  <c:v>106.53613</c:v>
                </c:pt>
                <c:pt idx="218">
                  <c:v>107.20484999999999</c:v>
                </c:pt>
                <c:pt idx="219">
                  <c:v>107.11181999999999</c:v>
                </c:pt>
                <c:pt idx="220">
                  <c:v>107.77366000000001</c:v>
                </c:pt>
                <c:pt idx="221">
                  <c:v>107.59811000000001</c:v>
                </c:pt>
                <c:pt idx="222">
                  <c:v>102.77661000000001</c:v>
                </c:pt>
                <c:pt idx="223">
                  <c:v>107.20650999999999</c:v>
                </c:pt>
                <c:pt idx="224">
                  <c:v>99.267426</c:v>
                </c:pt>
                <c:pt idx="225">
                  <c:v>103.497894</c:v>
                </c:pt>
                <c:pt idx="226">
                  <c:v>98.708910000000003</c:v>
                </c:pt>
                <c:pt idx="227">
                  <c:v>99.697159999999997</c:v>
                </c:pt>
                <c:pt idx="228">
                  <c:v>99.584829999999997</c:v>
                </c:pt>
                <c:pt idx="229">
                  <c:v>101.80107</c:v>
                </c:pt>
                <c:pt idx="230">
                  <c:v>101.376076</c:v>
                </c:pt>
                <c:pt idx="231">
                  <c:v>99.915329999999997</c:v>
                </c:pt>
                <c:pt idx="232">
                  <c:v>101.67512499999999</c:v>
                </c:pt>
                <c:pt idx="233">
                  <c:v>102.417435</c:v>
                </c:pt>
                <c:pt idx="234">
                  <c:v>103.94665999999999</c:v>
                </c:pt>
                <c:pt idx="235">
                  <c:v>105.18532</c:v>
                </c:pt>
                <c:pt idx="236">
                  <c:v>109.92712400000001</c:v>
                </c:pt>
                <c:pt idx="237">
                  <c:v>111.23159</c:v>
                </c:pt>
                <c:pt idx="238">
                  <c:v>108.85813</c:v>
                </c:pt>
                <c:pt idx="239">
                  <c:v>107.61682</c:v>
                </c:pt>
                <c:pt idx="240">
                  <c:v>107.66705</c:v>
                </c:pt>
                <c:pt idx="241">
                  <c:v>108.73633599999999</c:v>
                </c:pt>
                <c:pt idx="242">
                  <c:v>110.09833</c:v>
                </c:pt>
                <c:pt idx="243">
                  <c:v>110.66907</c:v>
                </c:pt>
                <c:pt idx="244">
                  <c:v>110.04568999999999</c:v>
                </c:pt>
                <c:pt idx="245">
                  <c:v>106.84061</c:v>
                </c:pt>
                <c:pt idx="246">
                  <c:v>104.31413999999999</c:v>
                </c:pt>
                <c:pt idx="247">
                  <c:v>102.81062</c:v>
                </c:pt>
                <c:pt idx="248">
                  <c:v>99.919846000000007</c:v>
                </c:pt>
                <c:pt idx="249">
                  <c:v>100.59829000000001</c:v>
                </c:pt>
                <c:pt idx="250">
                  <c:v>99.369286000000002</c:v>
                </c:pt>
                <c:pt idx="251">
                  <c:v>98.008026000000001</c:v>
                </c:pt>
                <c:pt idx="252">
                  <c:v>98.266090000000005</c:v>
                </c:pt>
                <c:pt idx="253">
                  <c:v>97.731309999999993</c:v>
                </c:pt>
                <c:pt idx="254">
                  <c:v>97.857994000000005</c:v>
                </c:pt>
                <c:pt idx="255">
                  <c:v>97.126350000000002</c:v>
                </c:pt>
                <c:pt idx="256">
                  <c:v>96.413409999999999</c:v>
                </c:pt>
                <c:pt idx="257">
                  <c:v>97.708269999999999</c:v>
                </c:pt>
                <c:pt idx="258">
                  <c:v>97.616034999999997</c:v>
                </c:pt>
                <c:pt idx="259">
                  <c:v>99.561629999999994</c:v>
                </c:pt>
                <c:pt idx="260">
                  <c:v>100.20447</c:v>
                </c:pt>
                <c:pt idx="261">
                  <c:v>104.541595</c:v>
                </c:pt>
                <c:pt idx="262">
                  <c:v>107.66374999999999</c:v>
                </c:pt>
                <c:pt idx="263">
                  <c:v>110.62818</c:v>
                </c:pt>
                <c:pt idx="264">
                  <c:v>108.45542</c:v>
                </c:pt>
                <c:pt idx="265">
                  <c:v>103.474</c:v>
                </c:pt>
                <c:pt idx="266">
                  <c:v>100.50664999999999</c:v>
                </c:pt>
                <c:pt idx="267">
                  <c:v>99.901499999999999</c:v>
                </c:pt>
                <c:pt idx="268">
                  <c:v>100.50619500000001</c:v>
                </c:pt>
                <c:pt idx="269">
                  <c:v>99.30686</c:v>
                </c:pt>
                <c:pt idx="270">
                  <c:v>99.205569999999994</c:v>
                </c:pt>
                <c:pt idx="271">
                  <c:v>100.25353</c:v>
                </c:pt>
                <c:pt idx="272">
                  <c:v>100.358345</c:v>
                </c:pt>
                <c:pt idx="273">
                  <c:v>100.89215</c:v>
                </c:pt>
                <c:pt idx="274">
                  <c:v>100.94838</c:v>
                </c:pt>
                <c:pt idx="275">
                  <c:v>98.880240000000001</c:v>
                </c:pt>
                <c:pt idx="276">
                  <c:v>100.18866</c:v>
                </c:pt>
                <c:pt idx="277">
                  <c:v>99.984219999999993</c:v>
                </c:pt>
                <c:pt idx="278">
                  <c:v>99.985560000000007</c:v>
                </c:pt>
                <c:pt idx="279">
                  <c:v>101.158005</c:v>
                </c:pt>
                <c:pt idx="280">
                  <c:v>99.248535000000004</c:v>
                </c:pt>
                <c:pt idx="281">
                  <c:v>99.995400000000004</c:v>
                </c:pt>
                <c:pt idx="282">
                  <c:v>97.062269999999998</c:v>
                </c:pt>
                <c:pt idx="283">
                  <c:v>98.069760000000002</c:v>
                </c:pt>
                <c:pt idx="284">
                  <c:v>97.221940000000004</c:v>
                </c:pt>
                <c:pt idx="285">
                  <c:v>96.067154000000002</c:v>
                </c:pt>
                <c:pt idx="286">
                  <c:v>96.891829999999999</c:v>
                </c:pt>
                <c:pt idx="287">
                  <c:v>96.789969999999997</c:v>
                </c:pt>
                <c:pt idx="288">
                  <c:v>96.390649999999994</c:v>
                </c:pt>
                <c:pt idx="289">
                  <c:v>97.554590000000005</c:v>
                </c:pt>
                <c:pt idx="290">
                  <c:v>97.361680000000007</c:v>
                </c:pt>
                <c:pt idx="291">
                  <c:v>97.539214999999999</c:v>
                </c:pt>
                <c:pt idx="292">
                  <c:v>98.012739999999994</c:v>
                </c:pt>
                <c:pt idx="293">
                  <c:v>99.496499999999997</c:v>
                </c:pt>
                <c:pt idx="294">
                  <c:v>99.476179999999999</c:v>
                </c:pt>
                <c:pt idx="295">
                  <c:v>100.63834</c:v>
                </c:pt>
                <c:pt idx="296">
                  <c:v>101.01972000000001</c:v>
                </c:pt>
                <c:pt idx="297">
                  <c:v>101.36274</c:v>
                </c:pt>
                <c:pt idx="298">
                  <c:v>98.326350000000005</c:v>
                </c:pt>
                <c:pt idx="299">
                  <c:v>98.277050000000003</c:v>
                </c:pt>
                <c:pt idx="300">
                  <c:v>97.27807</c:v>
                </c:pt>
                <c:pt idx="301">
                  <c:v>96.173370000000006</c:v>
                </c:pt>
                <c:pt idx="302">
                  <c:v>96.399730000000005</c:v>
                </c:pt>
                <c:pt idx="303">
                  <c:v>93.20111</c:v>
                </c:pt>
                <c:pt idx="304">
                  <c:v>96.902969999999996</c:v>
                </c:pt>
                <c:pt idx="305">
                  <c:v>97.86251</c:v>
                </c:pt>
                <c:pt idx="306">
                  <c:v>97.699449999999999</c:v>
                </c:pt>
                <c:pt idx="307">
                  <c:v>96.625209999999996</c:v>
                </c:pt>
                <c:pt idx="308">
                  <c:v>97.904529999999994</c:v>
                </c:pt>
                <c:pt idx="309">
                  <c:v>99.031840000000003</c:v>
                </c:pt>
                <c:pt idx="310">
                  <c:v>96.023219999999995</c:v>
                </c:pt>
                <c:pt idx="311">
                  <c:v>97.428809999999999</c:v>
                </c:pt>
                <c:pt idx="312">
                  <c:v>99.357640000000004</c:v>
                </c:pt>
                <c:pt idx="313">
                  <c:v>98.566209999999998</c:v>
                </c:pt>
                <c:pt idx="314">
                  <c:v>99.460719999999995</c:v>
                </c:pt>
                <c:pt idx="315">
                  <c:v>100.16025</c:v>
                </c:pt>
                <c:pt idx="316">
                  <c:v>100.16428000000001</c:v>
                </c:pt>
                <c:pt idx="317">
                  <c:v>99.407589999999999</c:v>
                </c:pt>
                <c:pt idx="318">
                  <c:v>99.526984999999996</c:v>
                </c:pt>
                <c:pt idx="319">
                  <c:v>98.872733999999994</c:v>
                </c:pt>
                <c:pt idx="320">
                  <c:v>96.008965000000003</c:v>
                </c:pt>
                <c:pt idx="321">
                  <c:v>97.260634999999994</c:v>
                </c:pt>
                <c:pt idx="322">
                  <c:v>97.030159999999995</c:v>
                </c:pt>
                <c:pt idx="323">
                  <c:v>95.110634000000005</c:v>
                </c:pt>
                <c:pt idx="324">
                  <c:v>98.725040000000007</c:v>
                </c:pt>
                <c:pt idx="325">
                  <c:v>98.645939999999996</c:v>
                </c:pt>
                <c:pt idx="326">
                  <c:v>95.746200000000002</c:v>
                </c:pt>
                <c:pt idx="327">
                  <c:v>96.523780000000002</c:v>
                </c:pt>
                <c:pt idx="328">
                  <c:v>98.003919999999994</c:v>
                </c:pt>
                <c:pt idx="329">
                  <c:v>97.797179999999997</c:v>
                </c:pt>
                <c:pt idx="330">
                  <c:v>99.059905999999998</c:v>
                </c:pt>
                <c:pt idx="331">
                  <c:v>98.256255999999993</c:v>
                </c:pt>
                <c:pt idx="332">
                  <c:v>99.687269999999998</c:v>
                </c:pt>
                <c:pt idx="333">
                  <c:v>101.57966</c:v>
                </c:pt>
                <c:pt idx="334">
                  <c:v>101.18472</c:v>
                </c:pt>
                <c:pt idx="335">
                  <c:v>102.5569</c:v>
                </c:pt>
                <c:pt idx="336">
                  <c:v>103.05747</c:v>
                </c:pt>
                <c:pt idx="337">
                  <c:v>102.97233</c:v>
                </c:pt>
                <c:pt idx="338">
                  <c:v>102.53386</c:v>
                </c:pt>
                <c:pt idx="339">
                  <c:v>101.29492</c:v>
                </c:pt>
                <c:pt idx="340">
                  <c:v>100.84936999999999</c:v>
                </c:pt>
                <c:pt idx="341">
                  <c:v>101.90555000000001</c:v>
                </c:pt>
                <c:pt idx="342">
                  <c:v>102.69902</c:v>
                </c:pt>
                <c:pt idx="343">
                  <c:v>103.48569999999999</c:v>
                </c:pt>
                <c:pt idx="344">
                  <c:v>103.17610000000001</c:v>
                </c:pt>
                <c:pt idx="345">
                  <c:v>100.91819</c:v>
                </c:pt>
                <c:pt idx="346">
                  <c:v>101.38923</c:v>
                </c:pt>
                <c:pt idx="347">
                  <c:v>99.852189999999993</c:v>
                </c:pt>
                <c:pt idx="348">
                  <c:v>100.0162</c:v>
                </c:pt>
                <c:pt idx="349">
                  <c:v>100.11259</c:v>
                </c:pt>
                <c:pt idx="350">
                  <c:v>100.665436</c:v>
                </c:pt>
                <c:pt idx="351">
                  <c:v>100.25266999999999</c:v>
                </c:pt>
                <c:pt idx="352">
                  <c:v>101.946884</c:v>
                </c:pt>
                <c:pt idx="353">
                  <c:v>101.4359</c:v>
                </c:pt>
                <c:pt idx="354">
                  <c:v>97.355930000000001</c:v>
                </c:pt>
                <c:pt idx="355">
                  <c:v>101.436295</c:v>
                </c:pt>
                <c:pt idx="356">
                  <c:v>99.452160000000006</c:v>
                </c:pt>
                <c:pt idx="357">
                  <c:v>101.21469</c:v>
                </c:pt>
                <c:pt idx="358">
                  <c:v>100.77377</c:v>
                </c:pt>
                <c:pt idx="359">
                  <c:v>101.90264000000001</c:v>
                </c:pt>
                <c:pt idx="360">
                  <c:v>103.753044</c:v>
                </c:pt>
                <c:pt idx="361">
                  <c:v>102.39551</c:v>
                </c:pt>
                <c:pt idx="362">
                  <c:v>103.57017</c:v>
                </c:pt>
                <c:pt idx="363">
                  <c:v>104.00409000000001</c:v>
                </c:pt>
                <c:pt idx="364">
                  <c:v>101.34953</c:v>
                </c:pt>
                <c:pt idx="365">
                  <c:v>102.10691</c:v>
                </c:pt>
                <c:pt idx="366">
                  <c:v>102.38872000000001</c:v>
                </c:pt>
                <c:pt idx="367">
                  <c:v>104.080505</c:v>
                </c:pt>
                <c:pt idx="368">
                  <c:v>103.94639599999999</c:v>
                </c:pt>
                <c:pt idx="369">
                  <c:v>106.06179</c:v>
                </c:pt>
                <c:pt idx="370">
                  <c:v>107.8699</c:v>
                </c:pt>
                <c:pt idx="371">
                  <c:v>105.93997</c:v>
                </c:pt>
                <c:pt idx="372">
                  <c:v>106.97817000000001</c:v>
                </c:pt>
                <c:pt idx="373">
                  <c:v>106.685616</c:v>
                </c:pt>
                <c:pt idx="374">
                  <c:v>107.22347000000001</c:v>
                </c:pt>
                <c:pt idx="375">
                  <c:v>103.67932999999999</c:v>
                </c:pt>
                <c:pt idx="376">
                  <c:v>104.42789</c:v>
                </c:pt>
                <c:pt idx="377">
                  <c:v>104.26239</c:v>
                </c:pt>
                <c:pt idx="378">
                  <c:v>103.83902999999999</c:v>
                </c:pt>
                <c:pt idx="379">
                  <c:v>105.87662</c:v>
                </c:pt>
                <c:pt idx="380">
                  <c:v>106.415825</c:v>
                </c:pt>
                <c:pt idx="381">
                  <c:v>102.57178</c:v>
                </c:pt>
                <c:pt idx="382">
                  <c:v>103.57231</c:v>
                </c:pt>
                <c:pt idx="383">
                  <c:v>101.52673</c:v>
                </c:pt>
                <c:pt idx="384">
                  <c:v>103.61869</c:v>
                </c:pt>
                <c:pt idx="385">
                  <c:v>104.886475</c:v>
                </c:pt>
                <c:pt idx="386">
                  <c:v>106.08611000000001</c:v>
                </c:pt>
                <c:pt idx="387">
                  <c:v>106.46711999999999</c:v>
                </c:pt>
                <c:pt idx="388">
                  <c:v>106.57106</c:v>
                </c:pt>
                <c:pt idx="389">
                  <c:v>107.83835000000001</c:v>
                </c:pt>
                <c:pt idx="390">
                  <c:v>108.2848</c:v>
                </c:pt>
                <c:pt idx="391">
                  <c:v>109.55709</c:v>
                </c:pt>
                <c:pt idx="392">
                  <c:v>114.501625</c:v>
                </c:pt>
                <c:pt idx="393">
                  <c:v>114.55755600000001</c:v>
                </c:pt>
                <c:pt idx="394">
                  <c:v>110.623795</c:v>
                </c:pt>
                <c:pt idx="395">
                  <c:v>108.28691000000001</c:v>
                </c:pt>
                <c:pt idx="396">
                  <c:v>106.46868000000001</c:v>
                </c:pt>
                <c:pt idx="397">
                  <c:v>104.53034</c:v>
                </c:pt>
                <c:pt idx="398">
                  <c:v>103.92068999999999</c:v>
                </c:pt>
                <c:pt idx="399">
                  <c:v>104.48247000000001</c:v>
                </c:pt>
                <c:pt idx="400">
                  <c:v>104.9057</c:v>
                </c:pt>
                <c:pt idx="401">
                  <c:v>105.399124</c:v>
                </c:pt>
                <c:pt idx="402">
                  <c:v>107.35845999999999</c:v>
                </c:pt>
                <c:pt idx="403">
                  <c:v>107.67774</c:v>
                </c:pt>
                <c:pt idx="404">
                  <c:v>107.22095</c:v>
                </c:pt>
                <c:pt idx="405">
                  <c:v>107.80265</c:v>
                </c:pt>
                <c:pt idx="406">
                  <c:v>108.79061</c:v>
                </c:pt>
                <c:pt idx="407">
                  <c:v>109.41677</c:v>
                </c:pt>
                <c:pt idx="408">
                  <c:v>107.62439000000001</c:v>
                </c:pt>
                <c:pt idx="409">
                  <c:v>105.83222000000001</c:v>
                </c:pt>
                <c:pt idx="410">
                  <c:v>106.13731</c:v>
                </c:pt>
                <c:pt idx="411">
                  <c:v>105.92796</c:v>
                </c:pt>
                <c:pt idx="412">
                  <c:v>105.29782</c:v>
                </c:pt>
                <c:pt idx="413">
                  <c:v>104.91179</c:v>
                </c:pt>
                <c:pt idx="414">
                  <c:v>105.78036</c:v>
                </c:pt>
                <c:pt idx="415">
                  <c:v>104.10028</c:v>
                </c:pt>
                <c:pt idx="416">
                  <c:v>98.685109999999995</c:v>
                </c:pt>
                <c:pt idx="417">
                  <c:v>105.930595</c:v>
                </c:pt>
                <c:pt idx="418">
                  <c:v>109.45191</c:v>
                </c:pt>
                <c:pt idx="419">
                  <c:v>112.08466</c:v>
                </c:pt>
                <c:pt idx="420">
                  <c:v>111.78415</c:v>
                </c:pt>
                <c:pt idx="421">
                  <c:v>107.90179999999999</c:v>
                </c:pt>
                <c:pt idx="422">
                  <c:v>99.793909999999997</c:v>
                </c:pt>
                <c:pt idx="423">
                  <c:v>98.743160000000003</c:v>
                </c:pt>
                <c:pt idx="424">
                  <c:v>100.12777</c:v>
                </c:pt>
                <c:pt idx="425">
                  <c:v>102.161125</c:v>
                </c:pt>
                <c:pt idx="426">
                  <c:v>103.78297999999999</c:v>
                </c:pt>
                <c:pt idx="427">
                  <c:v>104.617</c:v>
                </c:pt>
                <c:pt idx="428">
                  <c:v>104.63084000000001</c:v>
                </c:pt>
                <c:pt idx="429">
                  <c:v>104.77394</c:v>
                </c:pt>
                <c:pt idx="430">
                  <c:v>105.314156</c:v>
                </c:pt>
                <c:pt idx="431">
                  <c:v>104.13892</c:v>
                </c:pt>
                <c:pt idx="432">
                  <c:v>104.18481</c:v>
                </c:pt>
                <c:pt idx="433">
                  <c:v>104.182076</c:v>
                </c:pt>
                <c:pt idx="434">
                  <c:v>104.49266</c:v>
                </c:pt>
                <c:pt idx="435">
                  <c:v>105.37668600000001</c:v>
                </c:pt>
                <c:pt idx="436">
                  <c:v>105.47763999999999</c:v>
                </c:pt>
                <c:pt idx="437">
                  <c:v>108.47149</c:v>
                </c:pt>
                <c:pt idx="438">
                  <c:v>108.5847</c:v>
                </c:pt>
                <c:pt idx="439">
                  <c:v>111.77337</c:v>
                </c:pt>
                <c:pt idx="440">
                  <c:v>113.61923</c:v>
                </c:pt>
                <c:pt idx="441">
                  <c:v>117.10601</c:v>
                </c:pt>
                <c:pt idx="442">
                  <c:v>118.87912</c:v>
                </c:pt>
                <c:pt idx="443">
                  <c:v>119.4748</c:v>
                </c:pt>
                <c:pt idx="444">
                  <c:v>116.898056</c:v>
                </c:pt>
                <c:pt idx="445">
                  <c:v>111.10367599999999</c:v>
                </c:pt>
                <c:pt idx="446">
                  <c:v>105.41160000000001</c:v>
                </c:pt>
                <c:pt idx="447">
                  <c:v>104.17886</c:v>
                </c:pt>
                <c:pt idx="448">
                  <c:v>103.48034</c:v>
                </c:pt>
                <c:pt idx="449">
                  <c:v>102.783134</c:v>
                </c:pt>
                <c:pt idx="450">
                  <c:v>100.748924</c:v>
                </c:pt>
                <c:pt idx="451">
                  <c:v>102.31133</c:v>
                </c:pt>
                <c:pt idx="452">
                  <c:v>102.51531</c:v>
                </c:pt>
                <c:pt idx="453">
                  <c:v>101.16866</c:v>
                </c:pt>
                <c:pt idx="454">
                  <c:v>101.98787</c:v>
                </c:pt>
                <c:pt idx="455">
                  <c:v>102.81950999999999</c:v>
                </c:pt>
                <c:pt idx="456">
                  <c:v>102.78551</c:v>
                </c:pt>
                <c:pt idx="457">
                  <c:v>103.1679</c:v>
                </c:pt>
                <c:pt idx="458">
                  <c:v>103.038994</c:v>
                </c:pt>
                <c:pt idx="459">
                  <c:v>103.03643</c:v>
                </c:pt>
                <c:pt idx="460">
                  <c:v>105.18071999999999</c:v>
                </c:pt>
                <c:pt idx="461">
                  <c:v>103.24678</c:v>
                </c:pt>
                <c:pt idx="462">
                  <c:v>102.93289</c:v>
                </c:pt>
                <c:pt idx="463">
                  <c:v>102.74669</c:v>
                </c:pt>
                <c:pt idx="464">
                  <c:v>101.46223000000001</c:v>
                </c:pt>
                <c:pt idx="465">
                  <c:v>101.71579</c:v>
                </c:pt>
                <c:pt idx="466">
                  <c:v>100.60372</c:v>
                </c:pt>
                <c:pt idx="467">
                  <c:v>99.933809999999994</c:v>
                </c:pt>
                <c:pt idx="468">
                  <c:v>98.411709999999999</c:v>
                </c:pt>
                <c:pt idx="469">
                  <c:v>98.698493999999997</c:v>
                </c:pt>
                <c:pt idx="470">
                  <c:v>97.558250000000001</c:v>
                </c:pt>
                <c:pt idx="471">
                  <c:v>96.331509999999994</c:v>
                </c:pt>
                <c:pt idx="472">
                  <c:v>98.31353</c:v>
                </c:pt>
                <c:pt idx="473">
                  <c:v>98.863169999999997</c:v>
                </c:pt>
                <c:pt idx="474">
                  <c:v>99.421584999999993</c:v>
                </c:pt>
                <c:pt idx="475">
                  <c:v>100.05538</c:v>
                </c:pt>
                <c:pt idx="476">
                  <c:v>100.24642</c:v>
                </c:pt>
                <c:pt idx="477">
                  <c:v>100.59336999999999</c:v>
                </c:pt>
                <c:pt idx="478">
                  <c:v>101.15654000000001</c:v>
                </c:pt>
                <c:pt idx="479">
                  <c:v>101.72848999999999</c:v>
                </c:pt>
                <c:pt idx="480">
                  <c:v>103.1713</c:v>
                </c:pt>
                <c:pt idx="481">
                  <c:v>103.00514</c:v>
                </c:pt>
                <c:pt idx="482">
                  <c:v>102.75311000000001</c:v>
                </c:pt>
                <c:pt idx="483">
                  <c:v>101.51533499999999</c:v>
                </c:pt>
                <c:pt idx="484">
                  <c:v>101.57213</c:v>
                </c:pt>
                <c:pt idx="485">
                  <c:v>100.57983</c:v>
                </c:pt>
                <c:pt idx="486">
                  <c:v>101.32026999999999</c:v>
                </c:pt>
                <c:pt idx="487">
                  <c:v>101.15871</c:v>
                </c:pt>
                <c:pt idx="488">
                  <c:v>102.11139</c:v>
                </c:pt>
                <c:pt idx="489">
                  <c:v>101.0759</c:v>
                </c:pt>
                <c:pt idx="490">
                  <c:v>101.23345</c:v>
                </c:pt>
                <c:pt idx="491">
                  <c:v>102.774506</c:v>
                </c:pt>
                <c:pt idx="492">
                  <c:v>102.736565</c:v>
                </c:pt>
                <c:pt idx="493">
                  <c:v>102.71626000000001</c:v>
                </c:pt>
                <c:pt idx="494">
                  <c:v>102.491646</c:v>
                </c:pt>
                <c:pt idx="495">
                  <c:v>104.03394</c:v>
                </c:pt>
                <c:pt idx="496">
                  <c:v>103.33888</c:v>
                </c:pt>
                <c:pt idx="497">
                  <c:v>104.41164999999999</c:v>
                </c:pt>
                <c:pt idx="498">
                  <c:v>104.02507</c:v>
                </c:pt>
                <c:pt idx="499">
                  <c:v>102.9421</c:v>
                </c:pt>
                <c:pt idx="500">
                  <c:v>104.34799</c:v>
                </c:pt>
                <c:pt idx="501">
                  <c:v>105.44637</c:v>
                </c:pt>
                <c:pt idx="502">
                  <c:v>105.73546</c:v>
                </c:pt>
                <c:pt idx="503">
                  <c:v>102.59331</c:v>
                </c:pt>
                <c:pt idx="504">
                  <c:v>104.726776</c:v>
                </c:pt>
                <c:pt idx="505">
                  <c:v>105.32185</c:v>
                </c:pt>
                <c:pt idx="506">
                  <c:v>106.52956399999999</c:v>
                </c:pt>
                <c:pt idx="507">
                  <c:v>108.19029999999999</c:v>
                </c:pt>
                <c:pt idx="508">
                  <c:v>103.95175</c:v>
                </c:pt>
                <c:pt idx="509">
                  <c:v>106.568184</c:v>
                </c:pt>
                <c:pt idx="510">
                  <c:v>105.20658</c:v>
                </c:pt>
                <c:pt idx="511">
                  <c:v>105.80186500000001</c:v>
                </c:pt>
                <c:pt idx="512">
                  <c:v>106.09112500000001</c:v>
                </c:pt>
                <c:pt idx="513">
                  <c:v>106.94051</c:v>
                </c:pt>
                <c:pt idx="514">
                  <c:v>108.01974</c:v>
                </c:pt>
                <c:pt idx="515">
                  <c:v>108.33614</c:v>
                </c:pt>
                <c:pt idx="516">
                  <c:v>108.8977</c:v>
                </c:pt>
                <c:pt idx="517">
                  <c:v>109.98457999999999</c:v>
                </c:pt>
                <c:pt idx="518">
                  <c:v>112.983025</c:v>
                </c:pt>
                <c:pt idx="519">
                  <c:v>108.51666</c:v>
                </c:pt>
                <c:pt idx="520">
                  <c:v>109.97351</c:v>
                </c:pt>
                <c:pt idx="521">
                  <c:v>110.049065</c:v>
                </c:pt>
                <c:pt idx="522">
                  <c:v>108.35115</c:v>
                </c:pt>
                <c:pt idx="523">
                  <c:v>108.19206</c:v>
                </c:pt>
                <c:pt idx="524">
                  <c:v>109.890305</c:v>
                </c:pt>
                <c:pt idx="525">
                  <c:v>109.60189</c:v>
                </c:pt>
                <c:pt idx="526">
                  <c:v>110.39321</c:v>
                </c:pt>
                <c:pt idx="527">
                  <c:v>109.65944</c:v>
                </c:pt>
                <c:pt idx="528">
                  <c:v>108.71129999999999</c:v>
                </c:pt>
                <c:pt idx="529">
                  <c:v>109.94242</c:v>
                </c:pt>
                <c:pt idx="530">
                  <c:v>105.44880999999999</c:v>
                </c:pt>
                <c:pt idx="531">
                  <c:v>108.18246000000001</c:v>
                </c:pt>
                <c:pt idx="532">
                  <c:v>108.486664</c:v>
                </c:pt>
                <c:pt idx="533">
                  <c:v>109.48871</c:v>
                </c:pt>
                <c:pt idx="534">
                  <c:v>106.50413500000001</c:v>
                </c:pt>
                <c:pt idx="535">
                  <c:v>107.79555000000001</c:v>
                </c:pt>
                <c:pt idx="536">
                  <c:v>108.649376</c:v>
                </c:pt>
                <c:pt idx="537">
                  <c:v>109.79846999999999</c:v>
                </c:pt>
                <c:pt idx="538">
                  <c:v>109.72548999999999</c:v>
                </c:pt>
                <c:pt idx="539">
                  <c:v>108.93553</c:v>
                </c:pt>
                <c:pt idx="540">
                  <c:v>107.51129</c:v>
                </c:pt>
                <c:pt idx="541">
                  <c:v>109.25212000000001</c:v>
                </c:pt>
                <c:pt idx="542">
                  <c:v>110.129</c:v>
                </c:pt>
                <c:pt idx="543">
                  <c:v>112.79179999999999</c:v>
                </c:pt>
                <c:pt idx="544">
                  <c:v>116.83538</c:v>
                </c:pt>
                <c:pt idx="545">
                  <c:v>117.34658</c:v>
                </c:pt>
                <c:pt idx="546">
                  <c:v>118.44539</c:v>
                </c:pt>
                <c:pt idx="547">
                  <c:v>120.69213000000001</c:v>
                </c:pt>
                <c:pt idx="548">
                  <c:v>121.4662</c:v>
                </c:pt>
                <c:pt idx="549">
                  <c:v>123.0342</c:v>
                </c:pt>
                <c:pt idx="550">
                  <c:v>122.35583</c:v>
                </c:pt>
                <c:pt idx="551">
                  <c:v>122.19135</c:v>
                </c:pt>
                <c:pt idx="552">
                  <c:v>120.91665</c:v>
                </c:pt>
                <c:pt idx="553">
                  <c:v>120.74065400000001</c:v>
                </c:pt>
                <c:pt idx="554">
                  <c:v>121.03145000000001</c:v>
                </c:pt>
                <c:pt idx="555">
                  <c:v>120.17512000000001</c:v>
                </c:pt>
                <c:pt idx="556">
                  <c:v>116.60423</c:v>
                </c:pt>
                <c:pt idx="557">
                  <c:v>117.17802</c:v>
                </c:pt>
                <c:pt idx="558">
                  <c:v>115.72911999999999</c:v>
                </c:pt>
                <c:pt idx="559">
                  <c:v>120.181725</c:v>
                </c:pt>
                <c:pt idx="560">
                  <c:v>119.09466999999999</c:v>
                </c:pt>
                <c:pt idx="561">
                  <c:v>120.445656</c:v>
                </c:pt>
                <c:pt idx="562">
                  <c:v>117.81668999999999</c:v>
                </c:pt>
                <c:pt idx="563">
                  <c:v>118.42731000000001</c:v>
                </c:pt>
                <c:pt idx="564">
                  <c:v>119.20122000000001</c:v>
                </c:pt>
                <c:pt idx="565">
                  <c:v>117.83933</c:v>
                </c:pt>
                <c:pt idx="566">
                  <c:v>117.90028</c:v>
                </c:pt>
                <c:pt idx="567">
                  <c:v>118.74747000000001</c:v>
                </c:pt>
                <c:pt idx="568">
                  <c:v>119.7807</c:v>
                </c:pt>
                <c:pt idx="569">
                  <c:v>116.61462</c:v>
                </c:pt>
                <c:pt idx="570">
                  <c:v>111.34945</c:v>
                </c:pt>
                <c:pt idx="571">
                  <c:v>108.73936</c:v>
                </c:pt>
                <c:pt idx="572">
                  <c:v>111.12820000000001</c:v>
                </c:pt>
                <c:pt idx="573">
                  <c:v>106.57146</c:v>
                </c:pt>
                <c:pt idx="574">
                  <c:v>107.629074</c:v>
                </c:pt>
                <c:pt idx="575">
                  <c:v>110.35708</c:v>
                </c:pt>
                <c:pt idx="576">
                  <c:v>113.6347</c:v>
                </c:pt>
                <c:pt idx="577">
                  <c:v>116.26506999999999</c:v>
                </c:pt>
                <c:pt idx="578">
                  <c:v>120.56973000000001</c:v>
                </c:pt>
                <c:pt idx="579">
                  <c:v>120.76308400000001</c:v>
                </c:pt>
                <c:pt idx="580">
                  <c:v>121.06395999999999</c:v>
                </c:pt>
                <c:pt idx="581">
                  <c:v>120.894424</c:v>
                </c:pt>
                <c:pt idx="582">
                  <c:v>120.57415</c:v>
                </c:pt>
                <c:pt idx="583">
                  <c:v>120.11584999999999</c:v>
                </c:pt>
                <c:pt idx="584">
                  <c:v>120.938675</c:v>
                </c:pt>
                <c:pt idx="585">
                  <c:v>124.05016999999999</c:v>
                </c:pt>
                <c:pt idx="586">
                  <c:v>122.21156999999999</c:v>
                </c:pt>
                <c:pt idx="587">
                  <c:v>123.586494</c:v>
                </c:pt>
                <c:pt idx="588">
                  <c:v>124.908936</c:v>
                </c:pt>
                <c:pt idx="589">
                  <c:v>125.00556</c:v>
                </c:pt>
                <c:pt idx="590">
                  <c:v>124.09464</c:v>
                </c:pt>
                <c:pt idx="591">
                  <c:v>124.93633</c:v>
                </c:pt>
                <c:pt idx="592">
                  <c:v>125.800354</c:v>
                </c:pt>
                <c:pt idx="593">
                  <c:v>126.26428</c:v>
                </c:pt>
                <c:pt idx="594">
                  <c:v>125.13038</c:v>
                </c:pt>
                <c:pt idx="595">
                  <c:v>125.48532</c:v>
                </c:pt>
                <c:pt idx="596">
                  <c:v>125.20112</c:v>
                </c:pt>
                <c:pt idx="597">
                  <c:v>126.18716999999999</c:v>
                </c:pt>
                <c:pt idx="598">
                  <c:v>123.603165</c:v>
                </c:pt>
                <c:pt idx="599">
                  <c:v>125.28726</c:v>
                </c:pt>
                <c:pt idx="600">
                  <c:v>124.54781</c:v>
                </c:pt>
                <c:pt idx="601">
                  <c:v>123.13037</c:v>
                </c:pt>
                <c:pt idx="602">
                  <c:v>124.94929500000001</c:v>
                </c:pt>
                <c:pt idx="603">
                  <c:v>124.831856</c:v>
                </c:pt>
                <c:pt idx="604">
                  <c:v>124.97665000000001</c:v>
                </c:pt>
                <c:pt idx="605">
                  <c:v>125.40098999999999</c:v>
                </c:pt>
                <c:pt idx="606">
                  <c:v>126.60637</c:v>
                </c:pt>
                <c:pt idx="607">
                  <c:v>124.753265</c:v>
                </c:pt>
                <c:pt idx="608">
                  <c:v>123.69477000000001</c:v>
                </c:pt>
                <c:pt idx="609">
                  <c:v>123.61342</c:v>
                </c:pt>
                <c:pt idx="610">
                  <c:v>125.312836</c:v>
                </c:pt>
                <c:pt idx="611">
                  <c:v>125.45228</c:v>
                </c:pt>
                <c:pt idx="612">
                  <c:v>125.33565</c:v>
                </c:pt>
                <c:pt idx="613">
                  <c:v>125.98466999999999</c:v>
                </c:pt>
                <c:pt idx="614">
                  <c:v>125.176445</c:v>
                </c:pt>
                <c:pt idx="615">
                  <c:v>125.36609</c:v>
                </c:pt>
                <c:pt idx="616">
                  <c:v>125.55894499999999</c:v>
                </c:pt>
                <c:pt idx="617">
                  <c:v>124.27176</c:v>
                </c:pt>
                <c:pt idx="618">
                  <c:v>125.08073400000001</c:v>
                </c:pt>
                <c:pt idx="619">
                  <c:v>124.01065</c:v>
                </c:pt>
                <c:pt idx="620">
                  <c:v>124.46811</c:v>
                </c:pt>
                <c:pt idx="621">
                  <c:v>125.83911000000001</c:v>
                </c:pt>
                <c:pt idx="622">
                  <c:v>126.598946</c:v>
                </c:pt>
                <c:pt idx="623">
                  <c:v>123.432976</c:v>
                </c:pt>
                <c:pt idx="624">
                  <c:v>126.89743</c:v>
                </c:pt>
                <c:pt idx="625">
                  <c:v>126.04627000000001</c:v>
                </c:pt>
                <c:pt idx="626">
                  <c:v>125.420135</c:v>
                </c:pt>
                <c:pt idx="627">
                  <c:v>124.01211499999999</c:v>
                </c:pt>
                <c:pt idx="628">
                  <c:v>125.657166</c:v>
                </c:pt>
                <c:pt idx="629">
                  <c:v>125.54586999999999</c:v>
                </c:pt>
                <c:pt idx="630">
                  <c:v>126.33981</c:v>
                </c:pt>
                <c:pt idx="631">
                  <c:v>126.70313</c:v>
                </c:pt>
                <c:pt idx="632">
                  <c:v>126.30512</c:v>
                </c:pt>
                <c:pt idx="633">
                  <c:v>127.18992</c:v>
                </c:pt>
                <c:pt idx="634">
                  <c:v>126.00578</c:v>
                </c:pt>
                <c:pt idx="635">
                  <c:v>125.79484600000001</c:v>
                </c:pt>
                <c:pt idx="636">
                  <c:v>126.37553</c:v>
                </c:pt>
                <c:pt idx="637">
                  <c:v>127.19987</c:v>
                </c:pt>
                <c:pt idx="638">
                  <c:v>127.15505</c:v>
                </c:pt>
                <c:pt idx="639">
                  <c:v>127.22329000000001</c:v>
                </c:pt>
                <c:pt idx="640">
                  <c:v>127.49693000000001</c:v>
                </c:pt>
                <c:pt idx="641">
                  <c:v>126.49081</c:v>
                </c:pt>
                <c:pt idx="642">
                  <c:v>125.23617</c:v>
                </c:pt>
                <c:pt idx="643">
                  <c:v>124.26273</c:v>
                </c:pt>
                <c:pt idx="644">
                  <c:v>126.584236</c:v>
                </c:pt>
                <c:pt idx="645">
                  <c:v>131.22989999999999</c:v>
                </c:pt>
                <c:pt idx="646">
                  <c:v>125.77106999999999</c:v>
                </c:pt>
                <c:pt idx="647">
                  <c:v>125.17561000000001</c:v>
                </c:pt>
                <c:pt idx="648">
                  <c:v>126.0641</c:v>
                </c:pt>
                <c:pt idx="649">
                  <c:v>128.01850999999999</c:v>
                </c:pt>
                <c:pt idx="650">
                  <c:v>126.81291</c:v>
                </c:pt>
                <c:pt idx="651">
                  <c:v>127.23694999999999</c:v>
                </c:pt>
                <c:pt idx="652">
                  <c:v>130.53954999999999</c:v>
                </c:pt>
                <c:pt idx="653">
                  <c:v>127.439384</c:v>
                </c:pt>
                <c:pt idx="654">
                  <c:v>127.18038</c:v>
                </c:pt>
                <c:pt idx="655">
                  <c:v>125.94763</c:v>
                </c:pt>
                <c:pt idx="656">
                  <c:v>126.20256999999999</c:v>
                </c:pt>
                <c:pt idx="657">
                  <c:v>126.4029</c:v>
                </c:pt>
                <c:pt idx="658">
                  <c:v>130.1634</c:v>
                </c:pt>
                <c:pt idx="659">
                  <c:v>129.46718000000001</c:v>
                </c:pt>
                <c:pt idx="660">
                  <c:v>125.44884999999999</c:v>
                </c:pt>
                <c:pt idx="661">
                  <c:v>125.85978</c:v>
                </c:pt>
                <c:pt idx="662">
                  <c:v>124.34959000000001</c:v>
                </c:pt>
                <c:pt idx="663">
                  <c:v>124.963356</c:v>
                </c:pt>
                <c:pt idx="664">
                  <c:v>125.42965</c:v>
                </c:pt>
                <c:pt idx="665">
                  <c:v>124.85026000000001</c:v>
                </c:pt>
                <c:pt idx="666">
                  <c:v>125.85934399999999</c:v>
                </c:pt>
                <c:pt idx="667">
                  <c:v>124.99986</c:v>
                </c:pt>
                <c:pt idx="668">
                  <c:v>123.81502500000001</c:v>
                </c:pt>
                <c:pt idx="669">
                  <c:v>122.94467</c:v>
                </c:pt>
                <c:pt idx="670">
                  <c:v>125.33302</c:v>
                </c:pt>
                <c:pt idx="671">
                  <c:v>125.74374</c:v>
                </c:pt>
                <c:pt idx="672">
                  <c:v>126.28802</c:v>
                </c:pt>
                <c:pt idx="673">
                  <c:v>126.60630999999999</c:v>
                </c:pt>
                <c:pt idx="674">
                  <c:v>127.492</c:v>
                </c:pt>
                <c:pt idx="675">
                  <c:v>127.83197</c:v>
                </c:pt>
                <c:pt idx="676">
                  <c:v>127.68808</c:v>
                </c:pt>
                <c:pt idx="677">
                  <c:v>128.95878999999999</c:v>
                </c:pt>
                <c:pt idx="678">
                  <c:v>126.69458</c:v>
                </c:pt>
                <c:pt idx="679">
                  <c:v>129.07443000000001</c:v>
                </c:pt>
                <c:pt idx="680">
                  <c:v>130.30655999999999</c:v>
                </c:pt>
                <c:pt idx="681">
                  <c:v>128.08816999999999</c:v>
                </c:pt>
                <c:pt idx="682">
                  <c:v>127.66566</c:v>
                </c:pt>
                <c:pt idx="683">
                  <c:v>128.49852000000001</c:v>
                </c:pt>
                <c:pt idx="684">
                  <c:v>129.30139</c:v>
                </c:pt>
                <c:pt idx="685">
                  <c:v>129.99218999999999</c:v>
                </c:pt>
                <c:pt idx="686">
                  <c:v>129.46870000000001</c:v>
                </c:pt>
                <c:pt idx="687">
                  <c:v>128.67632</c:v>
                </c:pt>
                <c:pt idx="688">
                  <c:v>128.78704999999999</c:v>
                </c:pt>
                <c:pt idx="689">
                  <c:v>129.85839999999999</c:v>
                </c:pt>
                <c:pt idx="690">
                  <c:v>129.0881</c:v>
                </c:pt>
                <c:pt idx="691">
                  <c:v>129.50156999999999</c:v>
                </c:pt>
                <c:pt idx="692">
                  <c:v>129.10245</c:v>
                </c:pt>
                <c:pt idx="693">
                  <c:v>129.17438000000001</c:v>
                </c:pt>
                <c:pt idx="694">
                  <c:v>128.54697999999999</c:v>
                </c:pt>
                <c:pt idx="695">
                  <c:v>131.31559999999999</c:v>
                </c:pt>
                <c:pt idx="696">
                  <c:v>128.91150999999999</c:v>
                </c:pt>
                <c:pt idx="697">
                  <c:v>129.49945</c:v>
                </c:pt>
                <c:pt idx="698">
                  <c:v>129.88068999999999</c:v>
                </c:pt>
                <c:pt idx="699">
                  <c:v>130.54787999999999</c:v>
                </c:pt>
                <c:pt idx="700">
                  <c:v>130.37723</c:v>
                </c:pt>
                <c:pt idx="701">
                  <c:v>130.63651999999999</c:v>
                </c:pt>
                <c:pt idx="702">
                  <c:v>129.97153</c:v>
                </c:pt>
                <c:pt idx="703">
                  <c:v>129.12225000000001</c:v>
                </c:pt>
                <c:pt idx="704">
                  <c:v>130.56854000000001</c:v>
                </c:pt>
                <c:pt idx="705">
                  <c:v>130.89214000000001</c:v>
                </c:pt>
                <c:pt idx="706">
                  <c:v>129.53558000000001</c:v>
                </c:pt>
                <c:pt idx="707">
                  <c:v>129.94049000000001</c:v>
                </c:pt>
                <c:pt idx="708">
                  <c:v>132.06358</c:v>
                </c:pt>
                <c:pt idx="709">
                  <c:v>132.39885000000001</c:v>
                </c:pt>
                <c:pt idx="710">
                  <c:v>131.21115</c:v>
                </c:pt>
                <c:pt idx="711">
                  <c:v>130.82749999999999</c:v>
                </c:pt>
                <c:pt idx="712">
                  <c:v>130.11523</c:v>
                </c:pt>
                <c:pt idx="713">
                  <c:v>129.95366000000001</c:v>
                </c:pt>
                <c:pt idx="714">
                  <c:v>131.36186000000001</c:v>
                </c:pt>
                <c:pt idx="715">
                  <c:v>131.56992</c:v>
                </c:pt>
                <c:pt idx="716">
                  <c:v>130.6258</c:v>
                </c:pt>
                <c:pt idx="717">
                  <c:v>128.92723000000001</c:v>
                </c:pt>
                <c:pt idx="718">
                  <c:v>131.15948</c:v>
                </c:pt>
                <c:pt idx="719">
                  <c:v>131.60368</c:v>
                </c:pt>
                <c:pt idx="720">
                  <c:v>130.77137999999999</c:v>
                </c:pt>
                <c:pt idx="721">
                  <c:v>130.96588</c:v>
                </c:pt>
                <c:pt idx="722">
                  <c:v>131.3493</c:v>
                </c:pt>
                <c:pt idx="723">
                  <c:v>130.99449999999999</c:v>
                </c:pt>
                <c:pt idx="724">
                  <c:v>129.80023</c:v>
                </c:pt>
                <c:pt idx="725">
                  <c:v>130.92674</c:v>
                </c:pt>
                <c:pt idx="726">
                  <c:v>133.11124000000001</c:v>
                </c:pt>
                <c:pt idx="727">
                  <c:v>132.77805000000001</c:v>
                </c:pt>
                <c:pt idx="728">
                  <c:v>132.76636999999999</c:v>
                </c:pt>
                <c:pt idx="729">
                  <c:v>132.42672999999999</c:v>
                </c:pt>
                <c:pt idx="730">
                  <c:v>130.96509</c:v>
                </c:pt>
                <c:pt idx="731">
                  <c:v>130.95927</c:v>
                </c:pt>
                <c:pt idx="732">
                  <c:v>133.7123</c:v>
                </c:pt>
                <c:pt idx="733">
                  <c:v>133.74095</c:v>
                </c:pt>
                <c:pt idx="734">
                  <c:v>133.05054000000001</c:v>
                </c:pt>
                <c:pt idx="735">
                  <c:v>133.06447</c:v>
                </c:pt>
                <c:pt idx="736">
                  <c:v>131.68086</c:v>
                </c:pt>
                <c:pt idx="737">
                  <c:v>133.06</c:v>
                </c:pt>
                <c:pt idx="738">
                  <c:v>134.30229</c:v>
                </c:pt>
                <c:pt idx="739">
                  <c:v>132.81675999999999</c:v>
                </c:pt>
                <c:pt idx="740">
                  <c:v>132.52699999999999</c:v>
                </c:pt>
                <c:pt idx="741">
                  <c:v>133.17268000000001</c:v>
                </c:pt>
                <c:pt idx="742">
                  <c:v>132.57159999999999</c:v>
                </c:pt>
                <c:pt idx="743">
                  <c:v>132.87195</c:v>
                </c:pt>
                <c:pt idx="744">
                  <c:v>132.67081999999999</c:v>
                </c:pt>
                <c:pt idx="745">
                  <c:v>133.71811</c:v>
                </c:pt>
                <c:pt idx="746">
                  <c:v>132.44015999999999</c:v>
                </c:pt>
                <c:pt idx="747">
                  <c:v>133.47336999999999</c:v>
                </c:pt>
                <c:pt idx="748">
                  <c:v>133.52663999999999</c:v>
                </c:pt>
                <c:pt idx="749">
                  <c:v>134.02250000000001</c:v>
                </c:pt>
                <c:pt idx="750">
                  <c:v>132.5445</c:v>
                </c:pt>
                <c:pt idx="751">
                  <c:v>134.3023</c:v>
                </c:pt>
                <c:pt idx="752">
                  <c:v>133.71459999999999</c:v>
                </c:pt>
                <c:pt idx="753">
                  <c:v>134.25586999999999</c:v>
                </c:pt>
                <c:pt idx="754">
                  <c:v>133.05724000000001</c:v>
                </c:pt>
                <c:pt idx="755">
                  <c:v>133.67241000000001</c:v>
                </c:pt>
                <c:pt idx="756">
                  <c:v>133.24347</c:v>
                </c:pt>
                <c:pt idx="757">
                  <c:v>134.48473000000001</c:v>
                </c:pt>
                <c:pt idx="758">
                  <c:v>135.10559000000001</c:v>
                </c:pt>
                <c:pt idx="759">
                  <c:v>134.34780000000001</c:v>
                </c:pt>
                <c:pt idx="760">
                  <c:v>135.46463</c:v>
                </c:pt>
                <c:pt idx="761">
                  <c:v>136.4238</c:v>
                </c:pt>
                <c:pt idx="762">
                  <c:v>137.25073</c:v>
                </c:pt>
                <c:pt idx="763">
                  <c:v>135.83986999999999</c:v>
                </c:pt>
                <c:pt idx="764">
                  <c:v>136.91211999999999</c:v>
                </c:pt>
                <c:pt idx="765">
                  <c:v>136.01035999999999</c:v>
                </c:pt>
                <c:pt idx="766">
                  <c:v>136.08011999999999</c:v>
                </c:pt>
                <c:pt idx="767">
                  <c:v>135.77599000000001</c:v>
                </c:pt>
                <c:pt idx="768">
                  <c:v>137.53335999999999</c:v>
                </c:pt>
                <c:pt idx="769">
                  <c:v>133.16200000000001</c:v>
                </c:pt>
                <c:pt idx="770">
                  <c:v>130.83147</c:v>
                </c:pt>
                <c:pt idx="771">
                  <c:v>131.08694</c:v>
                </c:pt>
                <c:pt idx="772">
                  <c:v>127.97425</c:v>
                </c:pt>
                <c:pt idx="773">
                  <c:v>125.92795599999999</c:v>
                </c:pt>
                <c:pt idx="774">
                  <c:v>128.62141</c:v>
                </c:pt>
                <c:pt idx="775">
                  <c:v>128.4504</c:v>
                </c:pt>
                <c:pt idx="776">
                  <c:v>129.95661999999999</c:v>
                </c:pt>
                <c:pt idx="777">
                  <c:v>128.95840000000001</c:v>
                </c:pt>
                <c:pt idx="778">
                  <c:v>129.69336999999999</c:v>
                </c:pt>
                <c:pt idx="779">
                  <c:v>126.83449</c:v>
                </c:pt>
                <c:pt idx="780">
                  <c:v>127.08946</c:v>
                </c:pt>
                <c:pt idx="781">
                  <c:v>124.66706000000001</c:v>
                </c:pt>
                <c:pt idx="782">
                  <c:v>122.80083999999999</c:v>
                </c:pt>
                <c:pt idx="783">
                  <c:v>123.29116999999999</c:v>
                </c:pt>
                <c:pt idx="784">
                  <c:v>120.913376</c:v>
                </c:pt>
                <c:pt idx="785">
                  <c:v>121.06111</c:v>
                </c:pt>
                <c:pt idx="786">
                  <c:v>119.90282000000001</c:v>
                </c:pt>
                <c:pt idx="787">
                  <c:v>119.79053500000001</c:v>
                </c:pt>
                <c:pt idx="788">
                  <c:v>114.02086</c:v>
                </c:pt>
                <c:pt idx="789">
                  <c:v>115.98138400000001</c:v>
                </c:pt>
                <c:pt idx="790">
                  <c:v>116.2931</c:v>
                </c:pt>
                <c:pt idx="791">
                  <c:v>117.41276999999999</c:v>
                </c:pt>
                <c:pt idx="792">
                  <c:v>117.78985</c:v>
                </c:pt>
                <c:pt idx="793">
                  <c:v>118.40767</c:v>
                </c:pt>
                <c:pt idx="794">
                  <c:v>120.05588</c:v>
                </c:pt>
                <c:pt idx="795">
                  <c:v>120.08086400000001</c:v>
                </c:pt>
                <c:pt idx="796">
                  <c:v>119.09645</c:v>
                </c:pt>
                <c:pt idx="797">
                  <c:v>119.253334</c:v>
                </c:pt>
                <c:pt idx="798">
                  <c:v>119.97006</c:v>
                </c:pt>
                <c:pt idx="799">
                  <c:v>120.18832</c:v>
                </c:pt>
                <c:pt idx="800">
                  <c:v>121.06793</c:v>
                </c:pt>
                <c:pt idx="801">
                  <c:v>113.60536999999999</c:v>
                </c:pt>
                <c:pt idx="802">
                  <c:v>121.26779999999999</c:v>
                </c:pt>
                <c:pt idx="803">
                  <c:v>127.2003</c:v>
                </c:pt>
                <c:pt idx="804">
                  <c:v>129.03224</c:v>
                </c:pt>
                <c:pt idx="805">
                  <c:v>126.15889</c:v>
                </c:pt>
                <c:pt idx="806">
                  <c:v>124.46080000000001</c:v>
                </c:pt>
                <c:pt idx="807">
                  <c:v>126.776</c:v>
                </c:pt>
                <c:pt idx="808">
                  <c:v>125.96265</c:v>
                </c:pt>
                <c:pt idx="809">
                  <c:v>124.12891999999999</c:v>
                </c:pt>
                <c:pt idx="810">
                  <c:v>125.06713999999999</c:v>
                </c:pt>
                <c:pt idx="811">
                  <c:v>124.22244999999999</c:v>
                </c:pt>
                <c:pt idx="812">
                  <c:v>128.02121</c:v>
                </c:pt>
                <c:pt idx="813">
                  <c:v>126.27791000000001</c:v>
                </c:pt>
                <c:pt idx="814">
                  <c:v>124.62618000000001</c:v>
                </c:pt>
                <c:pt idx="815">
                  <c:v>125.2522</c:v>
                </c:pt>
                <c:pt idx="816">
                  <c:v>124.62297</c:v>
                </c:pt>
                <c:pt idx="817">
                  <c:v>124.74017000000001</c:v>
                </c:pt>
                <c:pt idx="818">
                  <c:v>125.68598</c:v>
                </c:pt>
                <c:pt idx="819">
                  <c:v>124.900604</c:v>
                </c:pt>
                <c:pt idx="820">
                  <c:v>124.4344</c:v>
                </c:pt>
                <c:pt idx="821">
                  <c:v>123.56733</c:v>
                </c:pt>
                <c:pt idx="822">
                  <c:v>125.74496499999999</c:v>
                </c:pt>
                <c:pt idx="823">
                  <c:v>126.41164000000001</c:v>
                </c:pt>
                <c:pt idx="824">
                  <c:v>125.68992</c:v>
                </c:pt>
                <c:pt idx="825">
                  <c:v>124.21213</c:v>
                </c:pt>
                <c:pt idx="826">
                  <c:v>123.71279</c:v>
                </c:pt>
                <c:pt idx="827">
                  <c:v>121.22252</c:v>
                </c:pt>
                <c:pt idx="828">
                  <c:v>119.61557000000001</c:v>
                </c:pt>
                <c:pt idx="829">
                  <c:v>121.94535999999999</c:v>
                </c:pt>
                <c:pt idx="830">
                  <c:v>119.97063</c:v>
                </c:pt>
                <c:pt idx="831">
                  <c:v>120.882195</c:v>
                </c:pt>
                <c:pt idx="832">
                  <c:v>125.01681000000001</c:v>
                </c:pt>
                <c:pt idx="833">
                  <c:v>125.8946</c:v>
                </c:pt>
                <c:pt idx="834">
                  <c:v>126.82933</c:v>
                </c:pt>
                <c:pt idx="835">
                  <c:v>128.61902000000001</c:v>
                </c:pt>
                <c:pt idx="836">
                  <c:v>126.93655</c:v>
                </c:pt>
                <c:pt idx="837">
                  <c:v>127.61017</c:v>
                </c:pt>
                <c:pt idx="838">
                  <c:v>128.31674000000001</c:v>
                </c:pt>
                <c:pt idx="839">
                  <c:v>129.40119999999999</c:v>
                </c:pt>
                <c:pt idx="840">
                  <c:v>130.34016</c:v>
                </c:pt>
                <c:pt idx="841">
                  <c:v>131.38618</c:v>
                </c:pt>
                <c:pt idx="842">
                  <c:v>131.98349999999999</c:v>
                </c:pt>
                <c:pt idx="843">
                  <c:v>130.98643000000001</c:v>
                </c:pt>
                <c:pt idx="844">
                  <c:v>129.92175</c:v>
                </c:pt>
                <c:pt idx="845">
                  <c:v>127.39521999999999</c:v>
                </c:pt>
                <c:pt idx="846">
                  <c:v>125.994354</c:v>
                </c:pt>
                <c:pt idx="847">
                  <c:v>128.00803999999999</c:v>
                </c:pt>
                <c:pt idx="848">
                  <c:v>125.55522999999999</c:v>
                </c:pt>
                <c:pt idx="849">
                  <c:v>126.47880000000001</c:v>
                </c:pt>
                <c:pt idx="850">
                  <c:v>126.279854</c:v>
                </c:pt>
                <c:pt idx="851">
                  <c:v>128.09270000000001</c:v>
                </c:pt>
                <c:pt idx="852">
                  <c:v>130.64497</c:v>
                </c:pt>
                <c:pt idx="853">
                  <c:v>129.94327999999999</c:v>
                </c:pt>
                <c:pt idx="854">
                  <c:v>129.74115</c:v>
                </c:pt>
                <c:pt idx="855">
                  <c:v>129.45065</c:v>
                </c:pt>
                <c:pt idx="856">
                  <c:v>128.82605000000001</c:v>
                </c:pt>
                <c:pt idx="857">
                  <c:v>128.90063000000001</c:v>
                </c:pt>
                <c:pt idx="858">
                  <c:v>130.43073999999999</c:v>
                </c:pt>
                <c:pt idx="859">
                  <c:v>128.98436000000001</c:v>
                </c:pt>
                <c:pt idx="860">
                  <c:v>131.00800000000001</c:v>
                </c:pt>
                <c:pt idx="861">
                  <c:v>129.12665000000001</c:v>
                </c:pt>
                <c:pt idx="862">
                  <c:v>130.78121999999999</c:v>
                </c:pt>
                <c:pt idx="863">
                  <c:v>130.49666999999999</c:v>
                </c:pt>
                <c:pt idx="864">
                  <c:v>130.66397000000001</c:v>
                </c:pt>
                <c:pt idx="865">
                  <c:v>131.37192999999999</c:v>
                </c:pt>
                <c:pt idx="866">
                  <c:v>128.16197</c:v>
                </c:pt>
                <c:pt idx="867">
                  <c:v>130.57778999999999</c:v>
                </c:pt>
                <c:pt idx="868">
                  <c:v>130.15625</c:v>
                </c:pt>
                <c:pt idx="869">
                  <c:v>131.58694</c:v>
                </c:pt>
                <c:pt idx="870">
                  <c:v>132.67766</c:v>
                </c:pt>
                <c:pt idx="871">
                  <c:v>132.99426</c:v>
                </c:pt>
                <c:pt idx="872">
                  <c:v>132.84529000000001</c:v>
                </c:pt>
                <c:pt idx="873">
                  <c:v>133.40952999999999</c:v>
                </c:pt>
                <c:pt idx="874">
                  <c:v>132.58751000000001</c:v>
                </c:pt>
                <c:pt idx="875">
                  <c:v>132.76459</c:v>
                </c:pt>
                <c:pt idx="876">
                  <c:v>135.01067</c:v>
                </c:pt>
                <c:pt idx="877">
                  <c:v>131.85625999999999</c:v>
                </c:pt>
                <c:pt idx="878">
                  <c:v>132.60037</c:v>
                </c:pt>
                <c:pt idx="879">
                  <c:v>132.67021</c:v>
                </c:pt>
                <c:pt idx="880">
                  <c:v>133.20528999999999</c:v>
                </c:pt>
                <c:pt idx="881">
                  <c:v>134.22229999999999</c:v>
                </c:pt>
                <c:pt idx="882">
                  <c:v>134.53130999999999</c:v>
                </c:pt>
                <c:pt idx="883">
                  <c:v>134.78989999999999</c:v>
                </c:pt>
                <c:pt idx="884">
                  <c:v>135.97101000000001</c:v>
                </c:pt>
                <c:pt idx="885">
                  <c:v>134.35898</c:v>
                </c:pt>
                <c:pt idx="886">
                  <c:v>133.74440000000001</c:v>
                </c:pt>
                <c:pt idx="887">
                  <c:v>135.78091000000001</c:v>
                </c:pt>
                <c:pt idx="888">
                  <c:v>134.59384</c:v>
                </c:pt>
                <c:pt idx="889">
                  <c:v>134.03946999999999</c:v>
                </c:pt>
                <c:pt idx="890">
                  <c:v>136.1019</c:v>
                </c:pt>
                <c:pt idx="891">
                  <c:v>137.56549999999999</c:v>
                </c:pt>
                <c:pt idx="892">
                  <c:v>135.49408</c:v>
                </c:pt>
                <c:pt idx="893">
                  <c:v>136.06397999999999</c:v>
                </c:pt>
                <c:pt idx="894">
                  <c:v>136.31253000000001</c:v>
                </c:pt>
                <c:pt idx="895">
                  <c:v>136.66252</c:v>
                </c:pt>
                <c:pt idx="896">
                  <c:v>136.24119999999999</c:v>
                </c:pt>
                <c:pt idx="897">
                  <c:v>137.50667999999999</c:v>
                </c:pt>
                <c:pt idx="898">
                  <c:v>137.11385000000001</c:v>
                </c:pt>
                <c:pt idx="899">
                  <c:v>136.7688</c:v>
                </c:pt>
                <c:pt idx="900">
                  <c:v>138.48824999999999</c:v>
                </c:pt>
                <c:pt idx="901">
                  <c:v>138.32971000000001</c:v>
                </c:pt>
                <c:pt idx="902">
                  <c:v>138.82933</c:v>
                </c:pt>
                <c:pt idx="903">
                  <c:v>139.34424000000001</c:v>
                </c:pt>
                <c:pt idx="904">
                  <c:v>135.35375999999999</c:v>
                </c:pt>
                <c:pt idx="905">
                  <c:v>135.541</c:v>
                </c:pt>
                <c:pt idx="906">
                  <c:v>134.74203</c:v>
                </c:pt>
                <c:pt idx="907">
                  <c:v>136.30190999999999</c:v>
                </c:pt>
                <c:pt idx="908">
                  <c:v>134.07117</c:v>
                </c:pt>
                <c:pt idx="909">
                  <c:v>134.24619999999999</c:v>
                </c:pt>
                <c:pt idx="910">
                  <c:v>135.63094000000001</c:v>
                </c:pt>
                <c:pt idx="911">
                  <c:v>136.30109999999999</c:v>
                </c:pt>
                <c:pt idx="912">
                  <c:v>136.50640999999999</c:v>
                </c:pt>
                <c:pt idx="913">
                  <c:v>133.63050999999999</c:v>
                </c:pt>
                <c:pt idx="914">
                  <c:v>132.01329000000001</c:v>
                </c:pt>
                <c:pt idx="915">
                  <c:v>134.41040000000001</c:v>
                </c:pt>
                <c:pt idx="916">
                  <c:v>134.36959999999999</c:v>
                </c:pt>
                <c:pt idx="917">
                  <c:v>132.53308000000001</c:v>
                </c:pt>
                <c:pt idx="918">
                  <c:v>134.40991</c:v>
                </c:pt>
                <c:pt idx="919">
                  <c:v>133.62755000000001</c:v>
                </c:pt>
                <c:pt idx="920">
                  <c:v>133.00511</c:v>
                </c:pt>
                <c:pt idx="921">
                  <c:v>134.71010999999999</c:v>
                </c:pt>
                <c:pt idx="922">
                  <c:v>134.36234999999999</c:v>
                </c:pt>
                <c:pt idx="923">
                  <c:v>134.19093000000001</c:v>
                </c:pt>
                <c:pt idx="924">
                  <c:v>134.28494000000001</c:v>
                </c:pt>
                <c:pt idx="925">
                  <c:v>135.64718999999999</c:v>
                </c:pt>
                <c:pt idx="926">
                  <c:v>134.67169000000001</c:v>
                </c:pt>
                <c:pt idx="927">
                  <c:v>136.87075999999999</c:v>
                </c:pt>
                <c:pt idx="928">
                  <c:v>137.17845</c:v>
                </c:pt>
                <c:pt idx="929">
                  <c:v>137.4316</c:v>
                </c:pt>
                <c:pt idx="930">
                  <c:v>137.55159</c:v>
                </c:pt>
                <c:pt idx="931">
                  <c:v>137.61247</c:v>
                </c:pt>
                <c:pt idx="932">
                  <c:v>137.25757999999999</c:v>
                </c:pt>
                <c:pt idx="933">
                  <c:v>138.1165</c:v>
                </c:pt>
                <c:pt idx="934">
                  <c:v>138.09222</c:v>
                </c:pt>
                <c:pt idx="935">
                  <c:v>137.3443</c:v>
                </c:pt>
                <c:pt idx="936">
                  <c:v>129.85408000000001</c:v>
                </c:pt>
                <c:pt idx="937">
                  <c:v>137.50129999999999</c:v>
                </c:pt>
                <c:pt idx="938">
                  <c:v>137.19936000000001</c:v>
                </c:pt>
                <c:pt idx="939">
                  <c:v>139.21940000000001</c:v>
                </c:pt>
                <c:pt idx="940">
                  <c:v>136.9853</c:v>
                </c:pt>
                <c:pt idx="941">
                  <c:v>137.50790000000001</c:v>
                </c:pt>
                <c:pt idx="942">
                  <c:v>134.72022999999999</c:v>
                </c:pt>
                <c:pt idx="943">
                  <c:v>133.65810999999999</c:v>
                </c:pt>
                <c:pt idx="944">
                  <c:v>137.40047999999999</c:v>
                </c:pt>
                <c:pt idx="945">
                  <c:v>135.97859</c:v>
                </c:pt>
                <c:pt idx="946">
                  <c:v>135.07458</c:v>
                </c:pt>
                <c:pt idx="947">
                  <c:v>136.31971999999999</c:v>
                </c:pt>
                <c:pt idx="948">
                  <c:v>139.15868</c:v>
                </c:pt>
                <c:pt idx="949">
                  <c:v>139.03971999999999</c:v>
                </c:pt>
                <c:pt idx="950">
                  <c:v>138.53491</c:v>
                </c:pt>
                <c:pt idx="951">
                  <c:v>138.84447</c:v>
                </c:pt>
                <c:pt idx="952">
                  <c:v>139.44750999999999</c:v>
                </c:pt>
                <c:pt idx="953">
                  <c:v>140.31241</c:v>
                </c:pt>
                <c:pt idx="954">
                  <c:v>140.95681999999999</c:v>
                </c:pt>
                <c:pt idx="955">
                  <c:v>141.42778000000001</c:v>
                </c:pt>
                <c:pt idx="956">
                  <c:v>143.61313000000001</c:v>
                </c:pt>
                <c:pt idx="957">
                  <c:v>140.51778999999999</c:v>
                </c:pt>
                <c:pt idx="958">
                  <c:v>140.41515999999999</c:v>
                </c:pt>
                <c:pt idx="959">
                  <c:v>139.5102</c:v>
                </c:pt>
                <c:pt idx="960">
                  <c:v>140.30950000000001</c:v>
                </c:pt>
                <c:pt idx="961">
                  <c:v>140.40167</c:v>
                </c:pt>
                <c:pt idx="962">
                  <c:v>142.34137999999999</c:v>
                </c:pt>
                <c:pt idx="963">
                  <c:v>141.94130999999999</c:v>
                </c:pt>
                <c:pt idx="964">
                  <c:v>141.79839999999999</c:v>
                </c:pt>
                <c:pt idx="965">
                  <c:v>141.02744000000001</c:v>
                </c:pt>
                <c:pt idx="966">
                  <c:v>140.18858</c:v>
                </c:pt>
                <c:pt idx="967">
                  <c:v>141.81572</c:v>
                </c:pt>
                <c:pt idx="968">
                  <c:v>142.68629999999999</c:v>
                </c:pt>
                <c:pt idx="969">
                  <c:v>143.35239999999999</c:v>
                </c:pt>
                <c:pt idx="970">
                  <c:v>144.03515999999999</c:v>
                </c:pt>
                <c:pt idx="971">
                  <c:v>142.21340000000001</c:v>
                </c:pt>
                <c:pt idx="972">
                  <c:v>142.25077999999999</c:v>
                </c:pt>
                <c:pt idx="973">
                  <c:v>143.30018999999999</c:v>
                </c:pt>
                <c:pt idx="974">
                  <c:v>143.01971</c:v>
                </c:pt>
                <c:pt idx="975">
                  <c:v>142.70067</c:v>
                </c:pt>
                <c:pt idx="976">
                  <c:v>142.50211999999999</c:v>
                </c:pt>
                <c:pt idx="977">
                  <c:v>143.25717</c:v>
                </c:pt>
                <c:pt idx="978">
                  <c:v>140.88188</c:v>
                </c:pt>
                <c:pt idx="979">
                  <c:v>141.22662</c:v>
                </c:pt>
                <c:pt idx="980">
                  <c:v>142.8312</c:v>
                </c:pt>
                <c:pt idx="981">
                  <c:v>143.34533999999999</c:v>
                </c:pt>
                <c:pt idx="982">
                  <c:v>143.74762999999999</c:v>
                </c:pt>
                <c:pt idx="983">
                  <c:v>143.70359999999999</c:v>
                </c:pt>
                <c:pt idx="984">
                  <c:v>143.57026999999999</c:v>
                </c:pt>
                <c:pt idx="985">
                  <c:v>142.50014999999999</c:v>
                </c:pt>
                <c:pt idx="986">
                  <c:v>142.75488000000001</c:v>
                </c:pt>
                <c:pt idx="987">
                  <c:v>142.78413</c:v>
                </c:pt>
                <c:pt idx="988">
                  <c:v>143.1183</c:v>
                </c:pt>
                <c:pt idx="989">
                  <c:v>142.93270000000001</c:v>
                </c:pt>
                <c:pt idx="990">
                  <c:v>141.00993</c:v>
                </c:pt>
                <c:pt idx="991">
                  <c:v>142.78224</c:v>
                </c:pt>
                <c:pt idx="992">
                  <c:v>143.52802</c:v>
                </c:pt>
                <c:pt idx="993">
                  <c:v>144.36332999999999</c:v>
                </c:pt>
                <c:pt idx="994">
                  <c:v>146.02216000000001</c:v>
                </c:pt>
                <c:pt idx="995">
                  <c:v>145.54494</c:v>
                </c:pt>
                <c:pt idx="996">
                  <c:v>142.87982</c:v>
                </c:pt>
                <c:pt idx="997">
                  <c:v>145.0633</c:v>
                </c:pt>
                <c:pt idx="998">
                  <c:v>142.31754000000001</c:v>
                </c:pt>
                <c:pt idx="999">
                  <c:v>143.87422000000001</c:v>
                </c:pt>
                <c:pt idx="1000">
                  <c:v>144.47797</c:v>
                </c:pt>
                <c:pt idx="1001">
                  <c:v>145.45160999999999</c:v>
                </c:pt>
                <c:pt idx="1002">
                  <c:v>144.35207</c:v>
                </c:pt>
                <c:pt idx="1003">
                  <c:v>145.45613</c:v>
                </c:pt>
                <c:pt idx="1004">
                  <c:v>146.32239999999999</c:v>
                </c:pt>
                <c:pt idx="1005">
                  <c:v>142.80056999999999</c:v>
                </c:pt>
                <c:pt idx="1006">
                  <c:v>142.91394</c:v>
                </c:pt>
                <c:pt idx="1007">
                  <c:v>143.06487999999999</c:v>
                </c:pt>
                <c:pt idx="1008">
                  <c:v>143.4392</c:v>
                </c:pt>
                <c:pt idx="1009">
                  <c:v>144.48858999999999</c:v>
                </c:pt>
                <c:pt idx="1010">
                  <c:v>141.51936000000001</c:v>
                </c:pt>
                <c:pt idx="1011">
                  <c:v>145.35063</c:v>
                </c:pt>
                <c:pt idx="1012">
                  <c:v>146.08941999999999</c:v>
                </c:pt>
                <c:pt idx="1013">
                  <c:v>146.10371000000001</c:v>
                </c:pt>
                <c:pt idx="1014">
                  <c:v>146.97675000000001</c:v>
                </c:pt>
                <c:pt idx="1015">
                  <c:v>146.24965</c:v>
                </c:pt>
                <c:pt idx="1016">
                  <c:v>146.22458</c:v>
                </c:pt>
                <c:pt idx="1017">
                  <c:v>145.49932999999999</c:v>
                </c:pt>
                <c:pt idx="1018">
                  <c:v>145.11462</c:v>
                </c:pt>
                <c:pt idx="1019">
                  <c:v>145.90190000000001</c:v>
                </c:pt>
                <c:pt idx="1020">
                  <c:v>147.66852</c:v>
                </c:pt>
                <c:pt idx="1021">
                  <c:v>146.98657</c:v>
                </c:pt>
                <c:pt idx="1022">
                  <c:v>145.93950000000001</c:v>
                </c:pt>
                <c:pt idx="1023">
                  <c:v>145.85812000000001</c:v>
                </c:pt>
                <c:pt idx="1024">
                  <c:v>144.71155999999999</c:v>
                </c:pt>
                <c:pt idx="1025">
                  <c:v>147.57149999999999</c:v>
                </c:pt>
                <c:pt idx="1026">
                  <c:v>145.08356000000001</c:v>
                </c:pt>
                <c:pt idx="1027">
                  <c:v>143.48793000000001</c:v>
                </c:pt>
                <c:pt idx="1028">
                  <c:v>145.18595999999999</c:v>
                </c:pt>
                <c:pt idx="1029">
                  <c:v>145.67293000000001</c:v>
                </c:pt>
                <c:pt idx="1030">
                  <c:v>143.75734</c:v>
                </c:pt>
                <c:pt idx="1031">
                  <c:v>142.59196</c:v>
                </c:pt>
                <c:pt idx="1032">
                  <c:v>142.00644</c:v>
                </c:pt>
                <c:pt idx="1033">
                  <c:v>143.08617000000001</c:v>
                </c:pt>
                <c:pt idx="1034">
                  <c:v>142.20600999999999</c:v>
                </c:pt>
                <c:pt idx="1035">
                  <c:v>143.42912000000001</c:v>
                </c:pt>
                <c:pt idx="1036">
                  <c:v>145.72038000000001</c:v>
                </c:pt>
                <c:pt idx="1037">
                  <c:v>146.49701999999999</c:v>
                </c:pt>
                <c:pt idx="1038">
                  <c:v>147.1215</c:v>
                </c:pt>
                <c:pt idx="1039">
                  <c:v>145.10498000000001</c:v>
                </c:pt>
                <c:pt idx="1040">
                  <c:v>147.80376999999999</c:v>
                </c:pt>
                <c:pt idx="1041">
                  <c:v>146.41237000000001</c:v>
                </c:pt>
                <c:pt idx="1042">
                  <c:v>140.71547000000001</c:v>
                </c:pt>
                <c:pt idx="1043">
                  <c:v>142.55323999999999</c:v>
                </c:pt>
                <c:pt idx="1044">
                  <c:v>143.01140000000001</c:v>
                </c:pt>
                <c:pt idx="1045">
                  <c:v>146.2525</c:v>
                </c:pt>
                <c:pt idx="1046">
                  <c:v>142.45248000000001</c:v>
                </c:pt>
                <c:pt idx="1047">
                  <c:v>143.28452999999999</c:v>
                </c:pt>
                <c:pt idx="1048">
                  <c:v>143.9205</c:v>
                </c:pt>
                <c:pt idx="1049">
                  <c:v>144.18152000000001</c:v>
                </c:pt>
                <c:pt idx="1050">
                  <c:v>144.53192000000001</c:v>
                </c:pt>
                <c:pt idx="1051">
                  <c:v>146.08572000000001</c:v>
                </c:pt>
                <c:pt idx="1052">
                  <c:v>145.14015000000001</c:v>
                </c:pt>
                <c:pt idx="1053">
                  <c:v>146.46358000000001</c:v>
                </c:pt>
                <c:pt idx="1054">
                  <c:v>145.93709000000001</c:v>
                </c:pt>
                <c:pt idx="1055">
                  <c:v>146.49772999999999</c:v>
                </c:pt>
                <c:pt idx="1056">
                  <c:v>148.16632000000001</c:v>
                </c:pt>
                <c:pt idx="1057">
                  <c:v>147.44954999999999</c:v>
                </c:pt>
                <c:pt idx="1058">
                  <c:v>147.89856</c:v>
                </c:pt>
                <c:pt idx="1059">
                  <c:v>145.09038000000001</c:v>
                </c:pt>
                <c:pt idx="1060">
                  <c:v>147.94316000000001</c:v>
                </c:pt>
                <c:pt idx="1061">
                  <c:v>148.39758</c:v>
                </c:pt>
                <c:pt idx="1062">
                  <c:v>147.62737000000001</c:v>
                </c:pt>
                <c:pt idx="1063">
                  <c:v>147.84406000000001</c:v>
                </c:pt>
                <c:pt idx="1064">
                  <c:v>148.65613999999999</c:v>
                </c:pt>
                <c:pt idx="1065">
                  <c:v>144.36195000000001</c:v>
                </c:pt>
                <c:pt idx="1066">
                  <c:v>147.64175</c:v>
                </c:pt>
                <c:pt idx="1067">
                  <c:v>149.18808000000001</c:v>
                </c:pt>
                <c:pt idx="1068">
                  <c:v>147.71571</c:v>
                </c:pt>
                <c:pt idx="1069">
                  <c:v>146.96033</c:v>
                </c:pt>
                <c:pt idx="1070">
                  <c:v>148.69263000000001</c:v>
                </c:pt>
                <c:pt idx="1071">
                  <c:v>148.67142000000001</c:v>
                </c:pt>
                <c:pt idx="1072">
                  <c:v>147.80279999999999</c:v>
                </c:pt>
                <c:pt idx="1073">
                  <c:v>148.51922999999999</c:v>
                </c:pt>
                <c:pt idx="1074">
                  <c:v>147.53263999999999</c:v>
                </c:pt>
                <c:pt idx="1075">
                  <c:v>147.68915999999999</c:v>
                </c:pt>
                <c:pt idx="1076">
                  <c:v>148.30417</c:v>
                </c:pt>
                <c:pt idx="1077">
                  <c:v>148.78353999999999</c:v>
                </c:pt>
                <c:pt idx="1078">
                  <c:v>147.93134000000001</c:v>
                </c:pt>
                <c:pt idx="1079">
                  <c:v>147.87371999999999</c:v>
                </c:pt>
                <c:pt idx="1080">
                  <c:v>147.74576999999999</c:v>
                </c:pt>
                <c:pt idx="1081">
                  <c:v>147.38637</c:v>
                </c:pt>
                <c:pt idx="1082">
                  <c:v>146.41723999999999</c:v>
                </c:pt>
                <c:pt idx="1083">
                  <c:v>147.45714000000001</c:v>
                </c:pt>
                <c:pt idx="1084">
                  <c:v>147.72772000000001</c:v>
                </c:pt>
                <c:pt idx="1085">
                  <c:v>147.95479</c:v>
                </c:pt>
                <c:pt idx="1086">
                  <c:v>147.71935999999999</c:v>
                </c:pt>
                <c:pt idx="1087">
                  <c:v>148.72103999999999</c:v>
                </c:pt>
                <c:pt idx="1088">
                  <c:v>148.43181999999999</c:v>
                </c:pt>
                <c:pt idx="1089">
                  <c:v>149.09105</c:v>
                </c:pt>
                <c:pt idx="1090">
                  <c:v>149.2723</c:v>
                </c:pt>
                <c:pt idx="1091">
                  <c:v>148.61829</c:v>
                </c:pt>
                <c:pt idx="1092">
                  <c:v>148.73038</c:v>
                </c:pt>
                <c:pt idx="1093">
                  <c:v>148.86635000000001</c:v>
                </c:pt>
                <c:pt idx="1094">
                  <c:v>147.89358999999999</c:v>
                </c:pt>
                <c:pt idx="1095">
                  <c:v>148.72368</c:v>
                </c:pt>
                <c:pt idx="1096">
                  <c:v>148.48343</c:v>
                </c:pt>
                <c:pt idx="1097">
                  <c:v>148.29666</c:v>
                </c:pt>
                <c:pt idx="1098">
                  <c:v>149.34810999999999</c:v>
                </c:pt>
                <c:pt idx="1099">
                  <c:v>149.45624000000001</c:v>
                </c:pt>
                <c:pt idx="1100">
                  <c:v>150.05179999999999</c:v>
                </c:pt>
                <c:pt idx="1101">
                  <c:v>149.39401000000001</c:v>
                </c:pt>
                <c:pt idx="1102">
                  <c:v>149.90242000000001</c:v>
                </c:pt>
                <c:pt idx="1103">
                  <c:v>149.87137999999999</c:v>
                </c:pt>
                <c:pt idx="1104">
                  <c:v>149.35054</c:v>
                </c:pt>
                <c:pt idx="1105">
                  <c:v>148.92321999999999</c:v>
                </c:pt>
                <c:pt idx="1106">
                  <c:v>149.38306</c:v>
                </c:pt>
                <c:pt idx="1107">
                  <c:v>150.01679999999999</c:v>
                </c:pt>
                <c:pt idx="1108">
                  <c:v>149.91643999999999</c:v>
                </c:pt>
                <c:pt idx="1109">
                  <c:v>151.01257000000001</c:v>
                </c:pt>
                <c:pt idx="1110">
                  <c:v>149.20473000000001</c:v>
                </c:pt>
                <c:pt idx="1111">
                  <c:v>150.54512</c:v>
                </c:pt>
                <c:pt idx="1112">
                  <c:v>150.19759999999999</c:v>
                </c:pt>
                <c:pt idx="1113">
                  <c:v>151.38686000000001</c:v>
                </c:pt>
              </c:numCache>
            </c:numRef>
          </c:val>
          <c:smooth val="0"/>
          <c:extLst>
            <c:ext xmlns:c16="http://schemas.microsoft.com/office/drawing/2014/chart" uri="{C3380CC4-5D6E-409C-BE32-E72D297353CC}">
              <c16:uniqueId val="{00000001-460D-6F4E-9400-DC4F135CD3A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65"/>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26477981025568E-2"/>
          <c:y val="3.9286234984628063E-2"/>
          <c:w val="0.95403901905410082"/>
          <c:h val="0.92142753003074385"/>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56.440886999999996</c:v>
                </c:pt>
                <c:pt idx="1">
                  <c:v>57.534115</c:v>
                </c:pt>
                <c:pt idx="2">
                  <c:v>58.955257000000003</c:v>
                </c:pt>
                <c:pt idx="3">
                  <c:v>58.89282</c:v>
                </c:pt>
                <c:pt idx="4">
                  <c:v>58.845936000000002</c:v>
                </c:pt>
                <c:pt idx="5">
                  <c:v>59.009950000000003</c:v>
                </c:pt>
                <c:pt idx="6">
                  <c:v>58.713222999999999</c:v>
                </c:pt>
                <c:pt idx="7">
                  <c:v>59.048985000000002</c:v>
                </c:pt>
                <c:pt idx="8">
                  <c:v>59.361199999999997</c:v>
                </c:pt>
                <c:pt idx="9">
                  <c:v>59.589269999999999</c:v>
                </c:pt>
                <c:pt idx="10">
                  <c:v>59.715107000000003</c:v>
                </c:pt>
                <c:pt idx="11">
                  <c:v>60.241999999999997</c:v>
                </c:pt>
                <c:pt idx="12">
                  <c:v>60.477961999999998</c:v>
                </c:pt>
                <c:pt idx="13">
                  <c:v>60.399303000000003</c:v>
                </c:pt>
                <c:pt idx="14">
                  <c:v>60.666699999999999</c:v>
                </c:pt>
                <c:pt idx="15">
                  <c:v>60.713898</c:v>
                </c:pt>
                <c:pt idx="16">
                  <c:v>60.438617999999998</c:v>
                </c:pt>
                <c:pt idx="17">
                  <c:v>60.470084999999997</c:v>
                </c:pt>
                <c:pt idx="18">
                  <c:v>60.517277</c:v>
                </c:pt>
                <c:pt idx="19">
                  <c:v>60.706023999999999</c:v>
                </c:pt>
                <c:pt idx="20">
                  <c:v>60.588062000000001</c:v>
                </c:pt>
                <c:pt idx="21">
                  <c:v>60.304929999999999</c:v>
                </c:pt>
                <c:pt idx="22">
                  <c:v>60.297072999999997</c:v>
                </c:pt>
                <c:pt idx="23">
                  <c:v>60.021819999999998</c:v>
                </c:pt>
                <c:pt idx="24">
                  <c:v>59.888137999999998</c:v>
                </c:pt>
                <c:pt idx="25">
                  <c:v>61.84637</c:v>
                </c:pt>
                <c:pt idx="26">
                  <c:v>61.209350000000001</c:v>
                </c:pt>
                <c:pt idx="27">
                  <c:v>62.066574000000003</c:v>
                </c:pt>
                <c:pt idx="28">
                  <c:v>61.571129999999997</c:v>
                </c:pt>
                <c:pt idx="29">
                  <c:v>62.216009999999997</c:v>
                </c:pt>
                <c:pt idx="30">
                  <c:v>62.208150000000003</c:v>
                </c:pt>
                <c:pt idx="31">
                  <c:v>62.711468000000004</c:v>
                </c:pt>
                <c:pt idx="32">
                  <c:v>62.098053</c:v>
                </c:pt>
                <c:pt idx="33">
                  <c:v>62.546332999999997</c:v>
                </c:pt>
                <c:pt idx="34">
                  <c:v>61.807049999999997</c:v>
                </c:pt>
                <c:pt idx="35">
                  <c:v>62.522730000000003</c:v>
                </c:pt>
                <c:pt idx="36">
                  <c:v>62.294649999999997</c:v>
                </c:pt>
                <c:pt idx="37">
                  <c:v>62.963127</c:v>
                </c:pt>
                <c:pt idx="38">
                  <c:v>62.884506000000002</c:v>
                </c:pt>
                <c:pt idx="39">
                  <c:v>62.908096</c:v>
                </c:pt>
                <c:pt idx="40">
                  <c:v>62.066574000000003</c:v>
                </c:pt>
                <c:pt idx="41">
                  <c:v>62.915976999999998</c:v>
                </c:pt>
                <c:pt idx="42">
                  <c:v>62.011543000000003</c:v>
                </c:pt>
                <c:pt idx="43">
                  <c:v>63.899014000000001</c:v>
                </c:pt>
                <c:pt idx="44">
                  <c:v>65.094406000000006</c:v>
                </c:pt>
                <c:pt idx="45">
                  <c:v>65.574160000000006</c:v>
                </c:pt>
                <c:pt idx="46">
                  <c:v>66.140379999999993</c:v>
                </c:pt>
                <c:pt idx="47">
                  <c:v>64.756230000000002</c:v>
                </c:pt>
                <c:pt idx="48">
                  <c:v>65.133765999999994</c:v>
                </c:pt>
                <c:pt idx="49">
                  <c:v>64.889930000000007</c:v>
                </c:pt>
                <c:pt idx="50">
                  <c:v>65.000050000000002</c:v>
                </c:pt>
                <c:pt idx="51">
                  <c:v>64.85848</c:v>
                </c:pt>
                <c:pt idx="52">
                  <c:v>64.653999999999996</c:v>
                </c:pt>
                <c:pt idx="53">
                  <c:v>64.929249999999996</c:v>
                </c:pt>
                <c:pt idx="54">
                  <c:v>65.14161</c:v>
                </c:pt>
                <c:pt idx="55">
                  <c:v>64.882059999999996</c:v>
                </c:pt>
                <c:pt idx="56">
                  <c:v>65.54271</c:v>
                </c:pt>
                <c:pt idx="57">
                  <c:v>65.471924000000001</c:v>
                </c:pt>
                <c:pt idx="58">
                  <c:v>65.157300000000006</c:v>
                </c:pt>
                <c:pt idx="59">
                  <c:v>65.275300000000001</c:v>
                </c:pt>
                <c:pt idx="60">
                  <c:v>65.298900000000003</c:v>
                </c:pt>
                <c:pt idx="61">
                  <c:v>65.668520000000001</c:v>
                </c:pt>
                <c:pt idx="62">
                  <c:v>66.258359999999996</c:v>
                </c:pt>
                <c:pt idx="63">
                  <c:v>65.85727</c:v>
                </c:pt>
                <c:pt idx="64">
                  <c:v>65.904470000000003</c:v>
                </c:pt>
                <c:pt idx="65">
                  <c:v>64.952834999999993</c:v>
                </c:pt>
                <c:pt idx="66">
                  <c:v>64.984313999999998</c:v>
                </c:pt>
                <c:pt idx="67">
                  <c:v>65.251720000000006</c:v>
                </c:pt>
                <c:pt idx="68">
                  <c:v>64.58323</c:v>
                </c:pt>
                <c:pt idx="69">
                  <c:v>64.944990000000004</c:v>
                </c:pt>
                <c:pt idx="70">
                  <c:v>64.827020000000005</c:v>
                </c:pt>
                <c:pt idx="71">
                  <c:v>63.796787000000002</c:v>
                </c:pt>
                <c:pt idx="72">
                  <c:v>63.875399999999999</c:v>
                </c:pt>
                <c:pt idx="73">
                  <c:v>63.521495999999999</c:v>
                </c:pt>
                <c:pt idx="74">
                  <c:v>64.016970000000001</c:v>
                </c:pt>
                <c:pt idx="75">
                  <c:v>64.197845000000001</c:v>
                </c:pt>
                <c:pt idx="76">
                  <c:v>64.307159999999996</c:v>
                </c:pt>
                <c:pt idx="77">
                  <c:v>64.671449999999993</c:v>
                </c:pt>
                <c:pt idx="78">
                  <c:v>65.344629999999995</c:v>
                </c:pt>
                <c:pt idx="79">
                  <c:v>65.613860000000003</c:v>
                </c:pt>
                <c:pt idx="80">
                  <c:v>65.360466000000002</c:v>
                </c:pt>
                <c:pt idx="81">
                  <c:v>65.027855000000002</c:v>
                </c:pt>
                <c:pt idx="82">
                  <c:v>64.924909999999997</c:v>
                </c:pt>
                <c:pt idx="83">
                  <c:v>65.043670000000006</c:v>
                </c:pt>
                <c:pt idx="84">
                  <c:v>65.376305000000002</c:v>
                </c:pt>
                <c:pt idx="85">
                  <c:v>65.392135999999994</c:v>
                </c:pt>
                <c:pt idx="86">
                  <c:v>64.061629999999994</c:v>
                </c:pt>
                <c:pt idx="87">
                  <c:v>62.493560000000002</c:v>
                </c:pt>
                <c:pt idx="88">
                  <c:v>63.459760000000003</c:v>
                </c:pt>
                <c:pt idx="89">
                  <c:v>63.459760000000003</c:v>
                </c:pt>
                <c:pt idx="90">
                  <c:v>63.388492999999997</c:v>
                </c:pt>
                <c:pt idx="91">
                  <c:v>64.386340000000004</c:v>
                </c:pt>
                <c:pt idx="92">
                  <c:v>64.734809999999996</c:v>
                </c:pt>
                <c:pt idx="93">
                  <c:v>64.774389999999997</c:v>
                </c:pt>
                <c:pt idx="94">
                  <c:v>64.972390000000004</c:v>
                </c:pt>
                <c:pt idx="95">
                  <c:v>64.687293999999994</c:v>
                </c:pt>
                <c:pt idx="96">
                  <c:v>63.934919999999998</c:v>
                </c:pt>
                <c:pt idx="97">
                  <c:v>63.990364</c:v>
                </c:pt>
                <c:pt idx="98">
                  <c:v>64.766495000000006</c:v>
                </c:pt>
                <c:pt idx="99">
                  <c:v>65.550529999999995</c:v>
                </c:pt>
                <c:pt idx="100">
                  <c:v>65.724760000000003</c:v>
                </c:pt>
                <c:pt idx="101">
                  <c:v>66.960205000000002</c:v>
                </c:pt>
                <c:pt idx="102">
                  <c:v>66.778059999999996</c:v>
                </c:pt>
                <c:pt idx="103">
                  <c:v>67.094864000000001</c:v>
                </c:pt>
                <c:pt idx="104">
                  <c:v>66.540474000000003</c:v>
                </c:pt>
                <c:pt idx="105">
                  <c:v>67.506675999999999</c:v>
                </c:pt>
                <c:pt idx="106">
                  <c:v>68.742130000000003</c:v>
                </c:pt>
                <c:pt idx="107">
                  <c:v>68.433266000000003</c:v>
                </c:pt>
                <c:pt idx="108">
                  <c:v>68.425353999999999</c:v>
                </c:pt>
                <c:pt idx="109">
                  <c:v>68.266945000000007</c:v>
                </c:pt>
                <c:pt idx="110">
                  <c:v>67.823440000000005</c:v>
                </c:pt>
                <c:pt idx="111">
                  <c:v>67.752173999999997</c:v>
                </c:pt>
                <c:pt idx="112">
                  <c:v>67.562119999999993</c:v>
                </c:pt>
                <c:pt idx="113">
                  <c:v>67.514589999999998</c:v>
                </c:pt>
                <c:pt idx="114">
                  <c:v>67.403720000000007</c:v>
                </c:pt>
                <c:pt idx="115">
                  <c:v>66.160324000000003</c:v>
                </c:pt>
                <c:pt idx="116">
                  <c:v>66.683043999999995</c:v>
                </c:pt>
                <c:pt idx="117">
                  <c:v>66.754329999999996</c:v>
                </c:pt>
                <c:pt idx="118">
                  <c:v>66.904780000000002</c:v>
                </c:pt>
                <c:pt idx="119">
                  <c:v>67.356189999999998</c:v>
                </c:pt>
                <c:pt idx="120">
                  <c:v>67.126540000000006</c:v>
                </c:pt>
                <c:pt idx="121">
                  <c:v>67.06317</c:v>
                </c:pt>
                <c:pt idx="122">
                  <c:v>66.793914999999998</c:v>
                </c:pt>
                <c:pt idx="123">
                  <c:v>66.374170000000007</c:v>
                </c:pt>
                <c:pt idx="124">
                  <c:v>66.041533999999999</c:v>
                </c:pt>
                <c:pt idx="125">
                  <c:v>65.534689999999998</c:v>
                </c:pt>
                <c:pt idx="126">
                  <c:v>64.077489999999997</c:v>
                </c:pt>
                <c:pt idx="127">
                  <c:v>63.499374000000003</c:v>
                </c:pt>
                <c:pt idx="128">
                  <c:v>64.053700000000006</c:v>
                </c:pt>
                <c:pt idx="129">
                  <c:v>63.586468000000004</c:v>
                </c:pt>
                <c:pt idx="130">
                  <c:v>62.628189999999996</c:v>
                </c:pt>
                <c:pt idx="131">
                  <c:v>62.762824999999999</c:v>
                </c:pt>
                <c:pt idx="132">
                  <c:v>63.238</c:v>
                </c:pt>
                <c:pt idx="133">
                  <c:v>63.111282000000003</c:v>
                </c:pt>
                <c:pt idx="134">
                  <c:v>62.612354000000003</c:v>
                </c:pt>
                <c:pt idx="135">
                  <c:v>62.857849999999999</c:v>
                </c:pt>
                <c:pt idx="136">
                  <c:v>62.826189999999997</c:v>
                </c:pt>
                <c:pt idx="137">
                  <c:v>63.142975</c:v>
                </c:pt>
                <c:pt idx="138">
                  <c:v>63.515189999999997</c:v>
                </c:pt>
                <c:pt idx="139">
                  <c:v>63.433852999999999</c:v>
                </c:pt>
                <c:pt idx="140">
                  <c:v>63.066932999999999</c:v>
                </c:pt>
                <c:pt idx="141">
                  <c:v>63.218502000000001</c:v>
                </c:pt>
                <c:pt idx="142">
                  <c:v>63.314190000000004</c:v>
                </c:pt>
                <c:pt idx="143">
                  <c:v>63.354075999999999</c:v>
                </c:pt>
                <c:pt idx="144">
                  <c:v>63.689059999999998</c:v>
                </c:pt>
                <c:pt idx="145">
                  <c:v>63.704998000000003</c:v>
                </c:pt>
                <c:pt idx="146">
                  <c:v>64.063950000000006</c:v>
                </c:pt>
                <c:pt idx="147">
                  <c:v>64.622283999999993</c:v>
                </c:pt>
                <c:pt idx="148">
                  <c:v>65.132750000000001</c:v>
                </c:pt>
                <c:pt idx="149">
                  <c:v>66.105819999999994</c:v>
                </c:pt>
                <c:pt idx="150">
                  <c:v>65.260350000000003</c:v>
                </c:pt>
                <c:pt idx="151">
                  <c:v>65.196560000000005</c:v>
                </c:pt>
                <c:pt idx="152">
                  <c:v>64.622283999999993</c:v>
                </c:pt>
                <c:pt idx="153">
                  <c:v>64.239410000000007</c:v>
                </c:pt>
                <c:pt idx="154">
                  <c:v>63.976210000000002</c:v>
                </c:pt>
                <c:pt idx="155">
                  <c:v>64.239410000000007</c:v>
                </c:pt>
                <c:pt idx="156">
                  <c:v>63.968246000000001</c:v>
                </c:pt>
                <c:pt idx="157">
                  <c:v>63.4099</c:v>
                </c:pt>
                <c:pt idx="158">
                  <c:v>63.665140000000001</c:v>
                </c:pt>
                <c:pt idx="159">
                  <c:v>63.457766999999997</c:v>
                </c:pt>
                <c:pt idx="160">
                  <c:v>63.36204</c:v>
                </c:pt>
                <c:pt idx="161">
                  <c:v>63.505623</c:v>
                </c:pt>
                <c:pt idx="162">
                  <c:v>63.058951999999998</c:v>
                </c:pt>
                <c:pt idx="163">
                  <c:v>62.955269999999999</c:v>
                </c:pt>
                <c:pt idx="164">
                  <c:v>63.4099</c:v>
                </c:pt>
                <c:pt idx="165">
                  <c:v>64.359054999999998</c:v>
                </c:pt>
                <c:pt idx="166">
                  <c:v>64.470730000000003</c:v>
                </c:pt>
                <c:pt idx="167">
                  <c:v>64.678100000000001</c:v>
                </c:pt>
                <c:pt idx="168">
                  <c:v>64.287260000000003</c:v>
                </c:pt>
                <c:pt idx="169">
                  <c:v>65.619280000000003</c:v>
                </c:pt>
                <c:pt idx="170">
                  <c:v>65.866550000000004</c:v>
                </c:pt>
                <c:pt idx="171">
                  <c:v>66.209530000000001</c:v>
                </c:pt>
                <c:pt idx="172">
                  <c:v>65.69905</c:v>
                </c:pt>
                <c:pt idx="173">
                  <c:v>66.552475000000001</c:v>
                </c:pt>
                <c:pt idx="174">
                  <c:v>66.464759999999998</c:v>
                </c:pt>
                <c:pt idx="175">
                  <c:v>65.834620000000001</c:v>
                </c:pt>
                <c:pt idx="176">
                  <c:v>66.480705</c:v>
                </c:pt>
                <c:pt idx="177">
                  <c:v>67.485699999999994</c:v>
                </c:pt>
                <c:pt idx="178">
                  <c:v>68.187600000000003</c:v>
                </c:pt>
                <c:pt idx="179">
                  <c:v>67.573425</c:v>
                </c:pt>
                <c:pt idx="180">
                  <c:v>67.070946000000006</c:v>
                </c:pt>
                <c:pt idx="181">
                  <c:v>67.445815999999994</c:v>
                </c:pt>
                <c:pt idx="182">
                  <c:v>67.294265999999993</c:v>
                </c:pt>
                <c:pt idx="183">
                  <c:v>67.493669999999995</c:v>
                </c:pt>
                <c:pt idx="184">
                  <c:v>69.136750000000006</c:v>
                </c:pt>
                <c:pt idx="185">
                  <c:v>68.036026000000007</c:v>
                </c:pt>
                <c:pt idx="186">
                  <c:v>68.474723999999995</c:v>
                </c:pt>
                <c:pt idx="187">
                  <c:v>68.155690000000007</c:v>
                </c:pt>
                <c:pt idx="188">
                  <c:v>68.307236000000003</c:v>
                </c:pt>
                <c:pt idx="189">
                  <c:v>68.554490000000001</c:v>
                </c:pt>
                <c:pt idx="190">
                  <c:v>68.905429999999996</c:v>
                </c:pt>
                <c:pt idx="191">
                  <c:v>68.618290000000002</c:v>
                </c:pt>
                <c:pt idx="192">
                  <c:v>68.482699999999994</c:v>
                </c:pt>
                <c:pt idx="193">
                  <c:v>68.028049999999993</c:v>
                </c:pt>
                <c:pt idx="194">
                  <c:v>67.900440000000003</c:v>
                </c:pt>
                <c:pt idx="195">
                  <c:v>68.29128</c:v>
                </c:pt>
                <c:pt idx="196">
                  <c:v>68.386985999999993</c:v>
                </c:pt>
                <c:pt idx="197">
                  <c:v>68.091865999999996</c:v>
                </c:pt>
                <c:pt idx="198">
                  <c:v>67.310249999999996</c:v>
                </c:pt>
                <c:pt idx="199">
                  <c:v>67.334140000000005</c:v>
                </c:pt>
                <c:pt idx="200">
                  <c:v>67.366050000000001</c:v>
                </c:pt>
                <c:pt idx="201">
                  <c:v>66.759860000000003</c:v>
                </c:pt>
                <c:pt idx="202">
                  <c:v>66.839619999999996</c:v>
                </c:pt>
                <c:pt idx="203">
                  <c:v>66.372249999999994</c:v>
                </c:pt>
                <c:pt idx="204">
                  <c:v>65.769970000000001</c:v>
                </c:pt>
                <c:pt idx="205">
                  <c:v>66.773796000000004</c:v>
                </c:pt>
                <c:pt idx="206">
                  <c:v>66.404380000000003</c:v>
                </c:pt>
                <c:pt idx="207">
                  <c:v>66.171499999999995</c:v>
                </c:pt>
                <c:pt idx="208">
                  <c:v>66.388310000000004</c:v>
                </c:pt>
                <c:pt idx="209">
                  <c:v>65.272059999999996</c:v>
                </c:pt>
                <c:pt idx="210">
                  <c:v>64.991005000000001</c:v>
                </c:pt>
                <c:pt idx="211">
                  <c:v>65.047225999999995</c:v>
                </c:pt>
                <c:pt idx="212">
                  <c:v>64.613556000000003</c:v>
                </c:pt>
                <c:pt idx="213">
                  <c:v>65.384500000000003</c:v>
                </c:pt>
                <c:pt idx="214">
                  <c:v>65.577240000000003</c:v>
                </c:pt>
                <c:pt idx="215">
                  <c:v>65.697710000000001</c:v>
                </c:pt>
                <c:pt idx="216">
                  <c:v>65.737830000000002</c:v>
                </c:pt>
                <c:pt idx="217">
                  <c:v>65.882384999999999</c:v>
                </c:pt>
                <c:pt idx="218">
                  <c:v>66.211659999999995</c:v>
                </c:pt>
                <c:pt idx="219">
                  <c:v>66.420439999999999</c:v>
                </c:pt>
                <c:pt idx="220">
                  <c:v>66.581055000000006</c:v>
                </c:pt>
                <c:pt idx="221">
                  <c:v>66.605140000000006</c:v>
                </c:pt>
                <c:pt idx="222">
                  <c:v>65.930565000000001</c:v>
                </c:pt>
                <c:pt idx="223">
                  <c:v>66.042990000000003</c:v>
                </c:pt>
                <c:pt idx="224">
                  <c:v>66.075109999999995</c:v>
                </c:pt>
                <c:pt idx="225">
                  <c:v>67.038780000000003</c:v>
                </c:pt>
                <c:pt idx="226">
                  <c:v>66.846059999999994</c:v>
                </c:pt>
                <c:pt idx="227">
                  <c:v>66.532830000000004</c:v>
                </c:pt>
                <c:pt idx="228">
                  <c:v>67.054839999999999</c:v>
                </c:pt>
                <c:pt idx="229">
                  <c:v>66.147400000000005</c:v>
                </c:pt>
                <c:pt idx="230">
                  <c:v>66.147400000000005</c:v>
                </c:pt>
                <c:pt idx="231">
                  <c:v>66.564994999999996</c:v>
                </c:pt>
                <c:pt idx="232">
                  <c:v>66.540909999999997</c:v>
                </c:pt>
                <c:pt idx="233">
                  <c:v>66.010863999999998</c:v>
                </c:pt>
                <c:pt idx="234">
                  <c:v>66.589060000000003</c:v>
                </c:pt>
                <c:pt idx="235">
                  <c:v>66.532830000000004</c:v>
                </c:pt>
                <c:pt idx="236">
                  <c:v>66.195570000000004</c:v>
                </c:pt>
                <c:pt idx="237">
                  <c:v>65.392539999999997</c:v>
                </c:pt>
                <c:pt idx="238">
                  <c:v>65.89846</c:v>
                </c:pt>
                <c:pt idx="239">
                  <c:v>66.107230000000001</c:v>
                </c:pt>
                <c:pt idx="240">
                  <c:v>64.420820000000006</c:v>
                </c:pt>
                <c:pt idx="241">
                  <c:v>65.111450000000005</c:v>
                </c:pt>
                <c:pt idx="242">
                  <c:v>64.533264000000003</c:v>
                </c:pt>
                <c:pt idx="243">
                  <c:v>63.095779999999998</c:v>
                </c:pt>
                <c:pt idx="244">
                  <c:v>63.296562000000002</c:v>
                </c:pt>
                <c:pt idx="245">
                  <c:v>63.778393000000001</c:v>
                </c:pt>
                <c:pt idx="246">
                  <c:v>63.754300000000001</c:v>
                </c:pt>
                <c:pt idx="247">
                  <c:v>64.420820000000006</c:v>
                </c:pt>
                <c:pt idx="248">
                  <c:v>64.725975000000005</c:v>
                </c:pt>
                <c:pt idx="249">
                  <c:v>65.247979999999998</c:v>
                </c:pt>
                <c:pt idx="250">
                  <c:v>65.440700000000007</c:v>
                </c:pt>
                <c:pt idx="251">
                  <c:v>63.995215999999999</c:v>
                </c:pt>
                <c:pt idx="252">
                  <c:v>62.710341999999997</c:v>
                </c:pt>
                <c:pt idx="253">
                  <c:v>62.782600000000002</c:v>
                </c:pt>
                <c:pt idx="254">
                  <c:v>61.915317999999999</c:v>
                </c:pt>
                <c:pt idx="255">
                  <c:v>62.646090000000001</c:v>
                </c:pt>
                <c:pt idx="256">
                  <c:v>62.814743</c:v>
                </c:pt>
                <c:pt idx="257">
                  <c:v>63.344749999999998</c:v>
                </c:pt>
                <c:pt idx="258">
                  <c:v>63.625813000000001</c:v>
                </c:pt>
                <c:pt idx="259">
                  <c:v>63.160052999999998</c:v>
                </c:pt>
                <c:pt idx="260">
                  <c:v>63.497326000000001</c:v>
                </c:pt>
                <c:pt idx="261">
                  <c:v>64.300389999999993</c:v>
                </c:pt>
                <c:pt idx="262">
                  <c:v>63.858690000000003</c:v>
                </c:pt>
                <c:pt idx="263">
                  <c:v>64.926760000000002</c:v>
                </c:pt>
                <c:pt idx="264">
                  <c:v>65.596374999999995</c:v>
                </c:pt>
                <c:pt idx="265">
                  <c:v>65.77431</c:v>
                </c:pt>
                <c:pt idx="266">
                  <c:v>65.960303999999994</c:v>
                </c:pt>
                <c:pt idx="267">
                  <c:v>66.097819999999999</c:v>
                </c:pt>
                <c:pt idx="268">
                  <c:v>66.971244999999996</c:v>
                </c:pt>
                <c:pt idx="269">
                  <c:v>66.437484999999995</c:v>
                </c:pt>
                <c:pt idx="270">
                  <c:v>66.154420000000002</c:v>
                </c:pt>
                <c:pt idx="271">
                  <c:v>65.507419999999996</c:v>
                </c:pt>
                <c:pt idx="272">
                  <c:v>66.3566</c:v>
                </c:pt>
                <c:pt idx="273">
                  <c:v>66.275729999999996</c:v>
                </c:pt>
                <c:pt idx="274">
                  <c:v>65.806650000000005</c:v>
                </c:pt>
                <c:pt idx="275">
                  <c:v>66.202939999999998</c:v>
                </c:pt>
                <c:pt idx="276">
                  <c:v>66.429389999999998</c:v>
                </c:pt>
                <c:pt idx="277">
                  <c:v>66.227220000000003</c:v>
                </c:pt>
                <c:pt idx="278">
                  <c:v>66.639656000000002</c:v>
                </c:pt>
                <c:pt idx="279">
                  <c:v>67.019739999999999</c:v>
                </c:pt>
                <c:pt idx="280">
                  <c:v>66.752859999999998</c:v>
                </c:pt>
                <c:pt idx="281">
                  <c:v>67.084450000000004</c:v>
                </c:pt>
                <c:pt idx="282">
                  <c:v>67.529250000000005</c:v>
                </c:pt>
                <c:pt idx="283">
                  <c:v>67.027850000000001</c:v>
                </c:pt>
                <c:pt idx="284">
                  <c:v>66.906540000000007</c:v>
                </c:pt>
                <c:pt idx="285">
                  <c:v>67.052109999999999</c:v>
                </c:pt>
                <c:pt idx="286">
                  <c:v>66.793319999999994</c:v>
                </c:pt>
                <c:pt idx="287">
                  <c:v>67.860860000000002</c:v>
                </c:pt>
                <c:pt idx="288">
                  <c:v>67.504999999999995</c:v>
                </c:pt>
                <c:pt idx="289">
                  <c:v>67.860860000000002</c:v>
                </c:pt>
                <c:pt idx="290">
                  <c:v>67.626310000000004</c:v>
                </c:pt>
                <c:pt idx="291">
                  <c:v>67.246210000000005</c:v>
                </c:pt>
                <c:pt idx="292">
                  <c:v>67.569689999999994</c:v>
                </c:pt>
                <c:pt idx="293">
                  <c:v>67.901269999999997</c:v>
                </c:pt>
                <c:pt idx="294">
                  <c:v>68.556335000000004</c:v>
                </c:pt>
                <c:pt idx="295">
                  <c:v>69.187169999999995</c:v>
                </c:pt>
                <c:pt idx="296">
                  <c:v>69.478324999999998</c:v>
                </c:pt>
                <c:pt idx="297">
                  <c:v>68.855590000000007</c:v>
                </c:pt>
                <c:pt idx="298">
                  <c:v>69.073943999999997</c:v>
                </c:pt>
                <c:pt idx="299">
                  <c:v>69.162895000000006</c:v>
                </c:pt>
                <c:pt idx="300">
                  <c:v>68.944564999999997</c:v>
                </c:pt>
                <c:pt idx="301">
                  <c:v>70.214259999999996</c:v>
                </c:pt>
                <c:pt idx="302">
                  <c:v>69.357010000000002</c:v>
                </c:pt>
                <c:pt idx="303">
                  <c:v>69.462119999999999</c:v>
                </c:pt>
                <c:pt idx="304">
                  <c:v>69.203339999999997</c:v>
                </c:pt>
                <c:pt idx="305">
                  <c:v>69.162895000000006</c:v>
                </c:pt>
                <c:pt idx="306">
                  <c:v>69.478324999999998</c:v>
                </c:pt>
                <c:pt idx="307">
                  <c:v>69.041589999999999</c:v>
                </c:pt>
                <c:pt idx="308">
                  <c:v>70.198070000000001</c:v>
                </c:pt>
                <c:pt idx="309">
                  <c:v>70.084869999999995</c:v>
                </c:pt>
                <c:pt idx="310">
                  <c:v>70.497314000000003</c:v>
                </c:pt>
                <c:pt idx="311">
                  <c:v>70.303219999999996</c:v>
                </c:pt>
                <c:pt idx="312">
                  <c:v>70.545829999999995</c:v>
                </c:pt>
                <c:pt idx="313">
                  <c:v>70.230429999999998</c:v>
                </c:pt>
                <c:pt idx="314">
                  <c:v>69.340835999999996</c:v>
                </c:pt>
                <c:pt idx="315">
                  <c:v>69.987809999999996</c:v>
                </c:pt>
                <c:pt idx="316">
                  <c:v>69.631966000000006</c:v>
                </c:pt>
                <c:pt idx="317">
                  <c:v>69.268050000000002</c:v>
                </c:pt>
                <c:pt idx="318">
                  <c:v>69.631966000000006</c:v>
                </c:pt>
                <c:pt idx="319">
                  <c:v>69.211429999999993</c:v>
                </c:pt>
                <c:pt idx="320">
                  <c:v>69.413610000000006</c:v>
                </c:pt>
                <c:pt idx="321">
                  <c:v>69.979730000000004</c:v>
                </c:pt>
                <c:pt idx="322">
                  <c:v>70.416430000000005</c:v>
                </c:pt>
                <c:pt idx="323">
                  <c:v>70.950209999999998</c:v>
                </c:pt>
                <c:pt idx="324">
                  <c:v>71.435455000000005</c:v>
                </c:pt>
                <c:pt idx="325">
                  <c:v>71.063419999999994</c:v>
                </c:pt>
                <c:pt idx="326">
                  <c:v>71.346490000000003</c:v>
                </c:pt>
                <c:pt idx="327">
                  <c:v>71.236490000000003</c:v>
                </c:pt>
                <c:pt idx="328">
                  <c:v>71.505350000000007</c:v>
                </c:pt>
                <c:pt idx="329">
                  <c:v>71.627570000000006</c:v>
                </c:pt>
                <c:pt idx="330">
                  <c:v>71.700919999999996</c:v>
                </c:pt>
                <c:pt idx="331">
                  <c:v>72.043130000000005</c:v>
                </c:pt>
                <c:pt idx="332">
                  <c:v>71.521659999999997</c:v>
                </c:pt>
                <c:pt idx="333">
                  <c:v>71.065383999999995</c:v>
                </c:pt>
                <c:pt idx="334">
                  <c:v>71.040940000000006</c:v>
                </c:pt>
                <c:pt idx="335">
                  <c:v>71.334273999999994</c:v>
                </c:pt>
                <c:pt idx="336">
                  <c:v>71.114279999999994</c:v>
                </c:pt>
                <c:pt idx="337">
                  <c:v>72.434209999999993</c:v>
                </c:pt>
                <c:pt idx="338">
                  <c:v>73.411959999999993</c:v>
                </c:pt>
                <c:pt idx="339">
                  <c:v>72.597170000000006</c:v>
                </c:pt>
                <c:pt idx="340">
                  <c:v>72.018683999999993</c:v>
                </c:pt>
                <c:pt idx="341">
                  <c:v>71.741650000000007</c:v>
                </c:pt>
                <c:pt idx="342">
                  <c:v>72.173500000000004</c:v>
                </c:pt>
                <c:pt idx="343">
                  <c:v>72.197913999999997</c:v>
                </c:pt>
                <c:pt idx="344">
                  <c:v>72.320139999999995</c:v>
                </c:pt>
                <c:pt idx="345">
                  <c:v>72.79271</c:v>
                </c:pt>
                <c:pt idx="346">
                  <c:v>72.621634999999998</c:v>
                </c:pt>
                <c:pt idx="347">
                  <c:v>73.061610000000002</c:v>
                </c:pt>
                <c:pt idx="348">
                  <c:v>73.346770000000006</c:v>
                </c:pt>
                <c:pt idx="349">
                  <c:v>73.216419999999999</c:v>
                </c:pt>
                <c:pt idx="350">
                  <c:v>73.110500000000002</c:v>
                </c:pt>
                <c:pt idx="351">
                  <c:v>73.143060000000006</c:v>
                </c:pt>
                <c:pt idx="352">
                  <c:v>73.411959999999993</c:v>
                </c:pt>
                <c:pt idx="353">
                  <c:v>73.208250000000007</c:v>
                </c:pt>
                <c:pt idx="354">
                  <c:v>74.210459999999998</c:v>
                </c:pt>
                <c:pt idx="355">
                  <c:v>73.607489999999999</c:v>
                </c:pt>
                <c:pt idx="356">
                  <c:v>73.737859999999998</c:v>
                </c:pt>
                <c:pt idx="357">
                  <c:v>73.322339999999997</c:v>
                </c:pt>
                <c:pt idx="358">
                  <c:v>73.403824</c:v>
                </c:pt>
                <c:pt idx="359">
                  <c:v>73.257130000000004</c:v>
                </c:pt>
                <c:pt idx="360">
                  <c:v>72.654210000000006</c:v>
                </c:pt>
                <c:pt idx="361">
                  <c:v>73.998589999999993</c:v>
                </c:pt>
                <c:pt idx="362">
                  <c:v>74.886719999999997</c:v>
                </c:pt>
                <c:pt idx="363">
                  <c:v>74.593379999999996</c:v>
                </c:pt>
                <c:pt idx="364">
                  <c:v>74.120819999999995</c:v>
                </c:pt>
                <c:pt idx="365">
                  <c:v>73.444550000000007</c:v>
                </c:pt>
                <c:pt idx="366">
                  <c:v>72.442350000000005</c:v>
                </c:pt>
                <c:pt idx="367">
                  <c:v>71.782390000000007</c:v>
                </c:pt>
                <c:pt idx="368">
                  <c:v>71.790549999999996</c:v>
                </c:pt>
                <c:pt idx="369">
                  <c:v>73.0779</c:v>
                </c:pt>
                <c:pt idx="370">
                  <c:v>72.678650000000005</c:v>
                </c:pt>
                <c:pt idx="371">
                  <c:v>73.746030000000005</c:v>
                </c:pt>
                <c:pt idx="372">
                  <c:v>73.249020000000002</c:v>
                </c:pt>
                <c:pt idx="373">
                  <c:v>73.566760000000002</c:v>
                </c:pt>
                <c:pt idx="374">
                  <c:v>74.788929999999993</c:v>
                </c:pt>
                <c:pt idx="375">
                  <c:v>74.316376000000005</c:v>
                </c:pt>
                <c:pt idx="376">
                  <c:v>74.748189999999994</c:v>
                </c:pt>
                <c:pt idx="377">
                  <c:v>74.788929999999993</c:v>
                </c:pt>
                <c:pt idx="378">
                  <c:v>74.83784</c:v>
                </c:pt>
                <c:pt idx="379">
                  <c:v>75.082274999999996</c:v>
                </c:pt>
                <c:pt idx="380">
                  <c:v>74.84599</c:v>
                </c:pt>
                <c:pt idx="381">
                  <c:v>75.147469999999998</c:v>
                </c:pt>
                <c:pt idx="382">
                  <c:v>75.000786000000005</c:v>
                </c:pt>
                <c:pt idx="383">
                  <c:v>74.634129999999999</c:v>
                </c:pt>
                <c:pt idx="384">
                  <c:v>75.929640000000006</c:v>
                </c:pt>
                <c:pt idx="385">
                  <c:v>75.448920000000001</c:v>
                </c:pt>
                <c:pt idx="386">
                  <c:v>75.147469999999998</c:v>
                </c:pt>
                <c:pt idx="387">
                  <c:v>75.43262</c:v>
                </c:pt>
                <c:pt idx="388">
                  <c:v>75.359279999999998</c:v>
                </c:pt>
                <c:pt idx="389">
                  <c:v>75.351150000000004</c:v>
                </c:pt>
                <c:pt idx="390">
                  <c:v>76.110209999999995</c:v>
                </c:pt>
                <c:pt idx="391">
                  <c:v>75.371660000000006</c:v>
                </c:pt>
                <c:pt idx="392">
                  <c:v>75.289580000000001</c:v>
                </c:pt>
                <c:pt idx="393">
                  <c:v>75.379890000000003</c:v>
                </c:pt>
                <c:pt idx="394">
                  <c:v>75.018810000000002</c:v>
                </c:pt>
                <c:pt idx="395">
                  <c:v>75.322410000000005</c:v>
                </c:pt>
                <c:pt idx="396">
                  <c:v>75.207534999999993</c:v>
                </c:pt>
                <c:pt idx="397">
                  <c:v>74.567474000000004</c:v>
                </c:pt>
                <c:pt idx="398">
                  <c:v>74.838279999999997</c:v>
                </c:pt>
                <c:pt idx="399">
                  <c:v>75.962494000000007</c:v>
                </c:pt>
                <c:pt idx="400">
                  <c:v>76.192269999999994</c:v>
                </c:pt>
                <c:pt idx="401">
                  <c:v>76.618960000000001</c:v>
                </c:pt>
                <c:pt idx="402">
                  <c:v>76.9636</c:v>
                </c:pt>
                <c:pt idx="403">
                  <c:v>76.791300000000007</c:v>
                </c:pt>
                <c:pt idx="404">
                  <c:v>76.257903999999996</c:v>
                </c:pt>
                <c:pt idx="405">
                  <c:v>76.725655000000003</c:v>
                </c:pt>
                <c:pt idx="406">
                  <c:v>76.044560000000004</c:v>
                </c:pt>
                <c:pt idx="407">
                  <c:v>76.422004999999999</c:v>
                </c:pt>
                <c:pt idx="408">
                  <c:v>76.43844</c:v>
                </c:pt>
                <c:pt idx="409">
                  <c:v>76.389210000000006</c:v>
                </c:pt>
                <c:pt idx="410">
                  <c:v>76.02816</c:v>
                </c:pt>
                <c:pt idx="411">
                  <c:v>75.970695000000006</c:v>
                </c:pt>
                <c:pt idx="412">
                  <c:v>76.725655000000003</c:v>
                </c:pt>
                <c:pt idx="413">
                  <c:v>76.618960000000001</c:v>
                </c:pt>
                <c:pt idx="414">
                  <c:v>76.397390000000001</c:v>
                </c:pt>
                <c:pt idx="415">
                  <c:v>77.086709999999997</c:v>
                </c:pt>
                <c:pt idx="416">
                  <c:v>76.783090000000001</c:v>
                </c:pt>
                <c:pt idx="417">
                  <c:v>77.669330000000002</c:v>
                </c:pt>
                <c:pt idx="418">
                  <c:v>77.086709999999997</c:v>
                </c:pt>
                <c:pt idx="419">
                  <c:v>76.323560000000001</c:v>
                </c:pt>
                <c:pt idx="420">
                  <c:v>75.305999999999997</c:v>
                </c:pt>
                <c:pt idx="421">
                  <c:v>74.501816000000005</c:v>
                </c:pt>
                <c:pt idx="422">
                  <c:v>75.092650000000006</c:v>
                </c:pt>
                <c:pt idx="423">
                  <c:v>76.766660000000002</c:v>
                </c:pt>
                <c:pt idx="424">
                  <c:v>76.914370000000005</c:v>
                </c:pt>
                <c:pt idx="425">
                  <c:v>77.513400000000004</c:v>
                </c:pt>
                <c:pt idx="426">
                  <c:v>76.939009999999996</c:v>
                </c:pt>
                <c:pt idx="427">
                  <c:v>77.628296000000006</c:v>
                </c:pt>
                <c:pt idx="428">
                  <c:v>77.644713999999993</c:v>
                </c:pt>
                <c:pt idx="429">
                  <c:v>78.169889999999995</c:v>
                </c:pt>
                <c:pt idx="430">
                  <c:v>77.702160000000006</c:v>
                </c:pt>
                <c:pt idx="431">
                  <c:v>78.489913999999999</c:v>
                </c:pt>
                <c:pt idx="432">
                  <c:v>78.916640000000001</c:v>
                </c:pt>
                <c:pt idx="433">
                  <c:v>78.637649999999994</c:v>
                </c:pt>
                <c:pt idx="434">
                  <c:v>79.376159999999999</c:v>
                </c:pt>
                <c:pt idx="435">
                  <c:v>79.507469999999998</c:v>
                </c:pt>
                <c:pt idx="436">
                  <c:v>79.441800000000001</c:v>
                </c:pt>
                <c:pt idx="437">
                  <c:v>79.433610000000002</c:v>
                </c:pt>
                <c:pt idx="438">
                  <c:v>79.573099999999997</c:v>
                </c:pt>
                <c:pt idx="439">
                  <c:v>79.35154</c:v>
                </c:pt>
                <c:pt idx="440">
                  <c:v>79.729033999999999</c:v>
                </c:pt>
                <c:pt idx="441">
                  <c:v>80.861450000000005</c:v>
                </c:pt>
                <c:pt idx="442">
                  <c:v>80.188559999999995</c:v>
                </c:pt>
                <c:pt idx="443">
                  <c:v>80.762969999999996</c:v>
                </c:pt>
                <c:pt idx="444">
                  <c:v>80.369079999999997</c:v>
                </c:pt>
                <c:pt idx="445">
                  <c:v>80.754769999999994</c:v>
                </c:pt>
                <c:pt idx="446">
                  <c:v>80.467545000000001</c:v>
                </c:pt>
                <c:pt idx="447">
                  <c:v>81.14864</c:v>
                </c:pt>
                <c:pt idx="448">
                  <c:v>80.976326</c:v>
                </c:pt>
                <c:pt idx="449">
                  <c:v>81.181479999999993</c:v>
                </c:pt>
                <c:pt idx="450">
                  <c:v>81.526110000000003</c:v>
                </c:pt>
                <c:pt idx="451">
                  <c:v>82.141559999999998</c:v>
                </c:pt>
                <c:pt idx="452">
                  <c:v>81.788709999999995</c:v>
                </c:pt>
                <c:pt idx="453">
                  <c:v>82.379549999999995</c:v>
                </c:pt>
                <c:pt idx="454">
                  <c:v>81.210759999999993</c:v>
                </c:pt>
                <c:pt idx="455">
                  <c:v>80.739980000000003</c:v>
                </c:pt>
                <c:pt idx="456">
                  <c:v>80.748230000000007</c:v>
                </c:pt>
                <c:pt idx="457">
                  <c:v>80.764750000000006</c:v>
                </c:pt>
                <c:pt idx="458">
                  <c:v>80.227829999999997</c:v>
                </c:pt>
                <c:pt idx="459">
                  <c:v>79.443160000000006</c:v>
                </c:pt>
                <c:pt idx="460">
                  <c:v>79.534035000000003</c:v>
                </c:pt>
                <c:pt idx="461">
                  <c:v>78.253749999999997</c:v>
                </c:pt>
                <c:pt idx="462">
                  <c:v>77.758160000000004</c:v>
                </c:pt>
                <c:pt idx="463">
                  <c:v>76.477890000000002</c:v>
                </c:pt>
                <c:pt idx="464">
                  <c:v>77.411259999999999</c:v>
                </c:pt>
                <c:pt idx="465">
                  <c:v>78.765860000000004</c:v>
                </c:pt>
                <c:pt idx="466">
                  <c:v>78.831954999999994</c:v>
                </c:pt>
                <c:pt idx="467">
                  <c:v>79.806610000000006</c:v>
                </c:pt>
                <c:pt idx="468">
                  <c:v>80.417839999999998</c:v>
                </c:pt>
                <c:pt idx="469">
                  <c:v>80.194820000000007</c:v>
                </c:pt>
                <c:pt idx="470">
                  <c:v>80.161779999999993</c:v>
                </c:pt>
                <c:pt idx="471">
                  <c:v>79.897469999999998</c:v>
                </c:pt>
                <c:pt idx="472">
                  <c:v>79.261443999999997</c:v>
                </c:pt>
                <c:pt idx="473">
                  <c:v>78.105080000000001</c:v>
                </c:pt>
                <c:pt idx="474">
                  <c:v>78.005936000000005</c:v>
                </c:pt>
                <c:pt idx="475">
                  <c:v>77.419524999999993</c:v>
                </c:pt>
                <c:pt idx="476">
                  <c:v>76.833079999999995</c:v>
                </c:pt>
                <c:pt idx="477">
                  <c:v>79.079729999999998</c:v>
                </c:pt>
                <c:pt idx="478">
                  <c:v>80.516949999999994</c:v>
                </c:pt>
                <c:pt idx="479">
                  <c:v>79.971824999999995</c:v>
                </c:pt>
                <c:pt idx="480">
                  <c:v>79.641409999999993</c:v>
                </c:pt>
                <c:pt idx="481">
                  <c:v>79.583590000000001</c:v>
                </c:pt>
                <c:pt idx="482">
                  <c:v>79.847899999999996</c:v>
                </c:pt>
                <c:pt idx="483">
                  <c:v>79.847899999999996</c:v>
                </c:pt>
                <c:pt idx="484">
                  <c:v>80.360020000000006</c:v>
                </c:pt>
                <c:pt idx="485">
                  <c:v>80.541730000000001</c:v>
                </c:pt>
                <c:pt idx="486">
                  <c:v>80.450873999999999</c:v>
                </c:pt>
                <c:pt idx="487">
                  <c:v>81.689859999999996</c:v>
                </c:pt>
                <c:pt idx="488">
                  <c:v>81.384230000000002</c:v>
                </c:pt>
                <c:pt idx="489">
                  <c:v>81.516400000000004</c:v>
                </c:pt>
                <c:pt idx="490">
                  <c:v>79.889210000000006</c:v>
                </c:pt>
                <c:pt idx="491">
                  <c:v>79.063220000000001</c:v>
                </c:pt>
                <c:pt idx="492">
                  <c:v>79.319243999999998</c:v>
                </c:pt>
                <c:pt idx="493">
                  <c:v>77.460790000000003</c:v>
                </c:pt>
                <c:pt idx="494">
                  <c:v>78.741079999999997</c:v>
                </c:pt>
                <c:pt idx="495">
                  <c:v>79.459670000000003</c:v>
                </c:pt>
                <c:pt idx="496">
                  <c:v>79.79007</c:v>
                </c:pt>
                <c:pt idx="497">
                  <c:v>79.798349999999999</c:v>
                </c:pt>
                <c:pt idx="498">
                  <c:v>79.880949999999999</c:v>
                </c:pt>
                <c:pt idx="499">
                  <c:v>79.269710000000003</c:v>
                </c:pt>
                <c:pt idx="500">
                  <c:v>80.938199999999995</c:v>
                </c:pt>
                <c:pt idx="501">
                  <c:v>82.928825000000003</c:v>
                </c:pt>
                <c:pt idx="502">
                  <c:v>82.821470000000005</c:v>
                </c:pt>
                <c:pt idx="503">
                  <c:v>81.879840000000002</c:v>
                </c:pt>
                <c:pt idx="504">
                  <c:v>81.243799999999993</c:v>
                </c:pt>
                <c:pt idx="505">
                  <c:v>82.04504</c:v>
                </c:pt>
                <c:pt idx="506">
                  <c:v>81.541160000000005</c:v>
                </c:pt>
                <c:pt idx="507">
                  <c:v>81.822000000000003</c:v>
                </c:pt>
                <c:pt idx="508">
                  <c:v>82.144130000000004</c:v>
                </c:pt>
                <c:pt idx="509">
                  <c:v>82.251525999999998</c:v>
                </c:pt>
                <c:pt idx="510">
                  <c:v>82.185450000000003</c:v>
                </c:pt>
                <c:pt idx="511">
                  <c:v>81.830269999999999</c:v>
                </c:pt>
                <c:pt idx="512">
                  <c:v>81.755936000000005</c:v>
                </c:pt>
                <c:pt idx="513">
                  <c:v>81.772450000000006</c:v>
                </c:pt>
                <c:pt idx="514">
                  <c:v>81.276859999999999</c:v>
                </c:pt>
                <c:pt idx="515">
                  <c:v>80.956720000000004</c:v>
                </c:pt>
                <c:pt idx="516">
                  <c:v>80.848619999999997</c:v>
                </c:pt>
                <c:pt idx="517">
                  <c:v>79.967209999999994</c:v>
                </c:pt>
                <c:pt idx="518">
                  <c:v>79.859116</c:v>
                </c:pt>
                <c:pt idx="519">
                  <c:v>78.520359999999997</c:v>
                </c:pt>
                <c:pt idx="520">
                  <c:v>77.855159999999998</c:v>
                </c:pt>
                <c:pt idx="521">
                  <c:v>79.584710000000001</c:v>
                </c:pt>
                <c:pt idx="522">
                  <c:v>78.428925000000007</c:v>
                </c:pt>
                <c:pt idx="523">
                  <c:v>79.368510000000001</c:v>
                </c:pt>
                <c:pt idx="524">
                  <c:v>78.270920000000004</c:v>
                </c:pt>
                <c:pt idx="525">
                  <c:v>78.694999999999993</c:v>
                </c:pt>
                <c:pt idx="526">
                  <c:v>78.24597</c:v>
                </c:pt>
                <c:pt idx="527">
                  <c:v>79.277054000000007</c:v>
                </c:pt>
                <c:pt idx="528">
                  <c:v>79.701130000000006</c:v>
                </c:pt>
                <c:pt idx="529">
                  <c:v>79.709450000000004</c:v>
                </c:pt>
                <c:pt idx="530">
                  <c:v>79.210530000000006</c:v>
                </c:pt>
                <c:pt idx="531">
                  <c:v>79.518196000000003</c:v>
                </c:pt>
                <c:pt idx="532">
                  <c:v>79.784279999999995</c:v>
                </c:pt>
                <c:pt idx="533">
                  <c:v>80.258255000000005</c:v>
                </c:pt>
                <c:pt idx="534">
                  <c:v>79.509870000000006</c:v>
                </c:pt>
                <c:pt idx="535">
                  <c:v>79.069159999999997</c:v>
                </c:pt>
                <c:pt idx="536">
                  <c:v>79.568089999999998</c:v>
                </c:pt>
                <c:pt idx="537">
                  <c:v>80.224980000000002</c:v>
                </c:pt>
                <c:pt idx="538">
                  <c:v>80.000470000000007</c:v>
                </c:pt>
                <c:pt idx="539">
                  <c:v>79.85078</c:v>
                </c:pt>
                <c:pt idx="540">
                  <c:v>80.116900000000001</c:v>
                </c:pt>
                <c:pt idx="541">
                  <c:v>79.992140000000006</c:v>
                </c:pt>
                <c:pt idx="542">
                  <c:v>79.435040000000001</c:v>
                </c:pt>
                <c:pt idx="543">
                  <c:v>80.233283999999998</c:v>
                </c:pt>
                <c:pt idx="544">
                  <c:v>80.349699999999999</c:v>
                </c:pt>
                <c:pt idx="545">
                  <c:v>80.200035</c:v>
                </c:pt>
                <c:pt idx="546">
                  <c:v>79.667860000000005</c:v>
                </c:pt>
                <c:pt idx="547">
                  <c:v>80.241609999999994</c:v>
                </c:pt>
                <c:pt idx="548">
                  <c:v>80.474434000000002</c:v>
                </c:pt>
                <c:pt idx="549">
                  <c:v>80.890204999999995</c:v>
                </c:pt>
                <c:pt idx="550">
                  <c:v>79.601339999999993</c:v>
                </c:pt>
                <c:pt idx="551">
                  <c:v>79.135679999999994</c:v>
                </c:pt>
                <c:pt idx="552">
                  <c:v>78.570279999999997</c:v>
                </c:pt>
                <c:pt idx="553">
                  <c:v>78.512050000000002</c:v>
                </c:pt>
                <c:pt idx="554">
                  <c:v>78.478800000000007</c:v>
                </c:pt>
                <c:pt idx="555">
                  <c:v>79.094130000000007</c:v>
                </c:pt>
                <c:pt idx="556">
                  <c:v>79.459990000000005</c:v>
                </c:pt>
                <c:pt idx="557">
                  <c:v>79.784279999999995</c:v>
                </c:pt>
                <c:pt idx="558">
                  <c:v>79.343580000000003</c:v>
                </c:pt>
                <c:pt idx="559">
                  <c:v>79.393460000000005</c:v>
                </c:pt>
                <c:pt idx="560">
                  <c:v>79.119069999999994</c:v>
                </c:pt>
                <c:pt idx="561">
                  <c:v>80.283209999999997</c:v>
                </c:pt>
                <c:pt idx="562">
                  <c:v>80.116900000000001</c:v>
                </c:pt>
                <c:pt idx="563">
                  <c:v>79.992140000000006</c:v>
                </c:pt>
                <c:pt idx="564">
                  <c:v>80.166780000000003</c:v>
                </c:pt>
                <c:pt idx="565">
                  <c:v>81.488879999999995</c:v>
                </c:pt>
                <c:pt idx="566">
                  <c:v>81.671840000000003</c:v>
                </c:pt>
                <c:pt idx="567">
                  <c:v>81.530469999999994</c:v>
                </c:pt>
                <c:pt idx="568">
                  <c:v>81.447310000000002</c:v>
                </c:pt>
                <c:pt idx="569">
                  <c:v>81.231125000000006</c:v>
                </c:pt>
                <c:pt idx="570">
                  <c:v>80.823684999999998</c:v>
                </c:pt>
                <c:pt idx="571">
                  <c:v>80.042045999999999</c:v>
                </c:pt>
                <c:pt idx="572">
                  <c:v>79.651250000000005</c:v>
                </c:pt>
                <c:pt idx="573">
                  <c:v>80.141840000000002</c:v>
                </c:pt>
                <c:pt idx="574">
                  <c:v>80.707269999999994</c:v>
                </c:pt>
                <c:pt idx="575">
                  <c:v>80.183400000000006</c:v>
                </c:pt>
                <c:pt idx="576">
                  <c:v>79.800895999999995</c:v>
                </c:pt>
                <c:pt idx="577">
                  <c:v>79.867440000000002</c:v>
                </c:pt>
                <c:pt idx="578">
                  <c:v>79.828059999999994</c:v>
                </c:pt>
                <c:pt idx="579">
                  <c:v>78.856384000000006</c:v>
                </c:pt>
                <c:pt idx="580">
                  <c:v>77.943370000000002</c:v>
                </c:pt>
                <c:pt idx="581">
                  <c:v>77.767449999999997</c:v>
                </c:pt>
                <c:pt idx="582">
                  <c:v>77.960099999999997</c:v>
                </c:pt>
                <c:pt idx="583">
                  <c:v>78.479454000000004</c:v>
                </c:pt>
                <c:pt idx="584">
                  <c:v>78.814509999999999</c:v>
                </c:pt>
                <c:pt idx="585">
                  <c:v>78.521339999999995</c:v>
                </c:pt>
                <c:pt idx="586">
                  <c:v>77.599940000000004</c:v>
                </c:pt>
                <c:pt idx="587">
                  <c:v>78.362174999999993</c:v>
                </c:pt>
                <c:pt idx="588">
                  <c:v>78.78098</c:v>
                </c:pt>
                <c:pt idx="589">
                  <c:v>79.769450000000006</c:v>
                </c:pt>
                <c:pt idx="590">
                  <c:v>79.459496000000001</c:v>
                </c:pt>
                <c:pt idx="591">
                  <c:v>80.079346000000001</c:v>
                </c:pt>
                <c:pt idx="592">
                  <c:v>80.079346000000001</c:v>
                </c:pt>
                <c:pt idx="593">
                  <c:v>79.819694999999996</c:v>
                </c:pt>
                <c:pt idx="594">
                  <c:v>79.434364000000002</c:v>
                </c:pt>
                <c:pt idx="595">
                  <c:v>79.501360000000005</c:v>
                </c:pt>
                <c:pt idx="596">
                  <c:v>78.479454000000004</c:v>
                </c:pt>
                <c:pt idx="597">
                  <c:v>78.18629</c:v>
                </c:pt>
                <c:pt idx="598">
                  <c:v>79.174700000000001</c:v>
                </c:pt>
                <c:pt idx="599">
                  <c:v>79.291970000000006</c:v>
                </c:pt>
                <c:pt idx="600">
                  <c:v>79.074179999999998</c:v>
                </c:pt>
                <c:pt idx="601">
                  <c:v>80.749470000000002</c:v>
                </c:pt>
                <c:pt idx="602">
                  <c:v>80.087715000000003</c:v>
                </c:pt>
                <c:pt idx="603">
                  <c:v>79.233329999999995</c:v>
                </c:pt>
                <c:pt idx="604">
                  <c:v>80.037475999999998</c:v>
                </c:pt>
                <c:pt idx="605">
                  <c:v>81.436350000000004</c:v>
                </c:pt>
                <c:pt idx="606">
                  <c:v>81.360939999999999</c:v>
                </c:pt>
                <c:pt idx="607">
                  <c:v>80.707595999999995</c:v>
                </c:pt>
                <c:pt idx="608">
                  <c:v>81.168319999999994</c:v>
                </c:pt>
                <c:pt idx="609">
                  <c:v>81.067769999999996</c:v>
                </c:pt>
                <c:pt idx="610">
                  <c:v>81.511750000000006</c:v>
                </c:pt>
                <c:pt idx="611">
                  <c:v>81.193430000000006</c:v>
                </c:pt>
                <c:pt idx="612">
                  <c:v>81.394459999999995</c:v>
                </c:pt>
                <c:pt idx="613">
                  <c:v>81.143180000000001</c:v>
                </c:pt>
                <c:pt idx="614">
                  <c:v>80.565190000000001</c:v>
                </c:pt>
                <c:pt idx="615">
                  <c:v>80.12961</c:v>
                </c:pt>
                <c:pt idx="616">
                  <c:v>80.506550000000004</c:v>
                </c:pt>
                <c:pt idx="617">
                  <c:v>80.858376000000007</c:v>
                </c:pt>
                <c:pt idx="618">
                  <c:v>80.942120000000003</c:v>
                </c:pt>
                <c:pt idx="619">
                  <c:v>80.707595999999995</c:v>
                </c:pt>
                <c:pt idx="620">
                  <c:v>81.629000000000005</c:v>
                </c:pt>
                <c:pt idx="621">
                  <c:v>81.930570000000003</c:v>
                </c:pt>
                <c:pt idx="622">
                  <c:v>83.086510000000004</c:v>
                </c:pt>
                <c:pt idx="623">
                  <c:v>83.05301</c:v>
                </c:pt>
                <c:pt idx="624">
                  <c:v>83.011139999999997</c:v>
                </c:pt>
                <c:pt idx="625">
                  <c:v>83.002740000000003</c:v>
                </c:pt>
                <c:pt idx="626">
                  <c:v>82.609054999999998</c:v>
                </c:pt>
                <c:pt idx="627">
                  <c:v>82.408029999999997</c:v>
                </c:pt>
                <c:pt idx="628">
                  <c:v>82.751459999999994</c:v>
                </c:pt>
                <c:pt idx="629">
                  <c:v>83.120025999999996</c:v>
                </c:pt>
                <c:pt idx="630">
                  <c:v>83.647739999999999</c:v>
                </c:pt>
                <c:pt idx="631">
                  <c:v>83.57235</c:v>
                </c:pt>
                <c:pt idx="632">
                  <c:v>82.918976000000001</c:v>
                </c:pt>
                <c:pt idx="633">
                  <c:v>82.072980000000001</c:v>
                </c:pt>
                <c:pt idx="634">
                  <c:v>80.623850000000004</c:v>
                </c:pt>
                <c:pt idx="635">
                  <c:v>76.921430000000001</c:v>
                </c:pt>
                <c:pt idx="636">
                  <c:v>75.086945</c:v>
                </c:pt>
                <c:pt idx="637">
                  <c:v>77.474260000000001</c:v>
                </c:pt>
                <c:pt idx="638">
                  <c:v>78.404060000000001</c:v>
                </c:pt>
                <c:pt idx="639">
                  <c:v>78.345429999999993</c:v>
                </c:pt>
                <c:pt idx="640">
                  <c:v>77.842839999999995</c:v>
                </c:pt>
                <c:pt idx="641">
                  <c:v>76.502594000000002</c:v>
                </c:pt>
                <c:pt idx="642">
                  <c:v>77.357709999999997</c:v>
                </c:pt>
                <c:pt idx="643">
                  <c:v>77.771324000000007</c:v>
                </c:pt>
                <c:pt idx="644">
                  <c:v>76.749930000000006</c:v>
                </c:pt>
                <c:pt idx="645">
                  <c:v>77.973960000000005</c:v>
                </c:pt>
                <c:pt idx="646">
                  <c:v>76.673959999999994</c:v>
                </c:pt>
                <c:pt idx="647">
                  <c:v>76.868110000000001</c:v>
                </c:pt>
                <c:pt idx="648">
                  <c:v>77.34084</c:v>
                </c:pt>
                <c:pt idx="649">
                  <c:v>76.986289999999997</c:v>
                </c:pt>
                <c:pt idx="650">
                  <c:v>77.712249999999997</c:v>
                </c:pt>
                <c:pt idx="651">
                  <c:v>78.564840000000004</c:v>
                </c:pt>
                <c:pt idx="652">
                  <c:v>78.818084999999996</c:v>
                </c:pt>
                <c:pt idx="653">
                  <c:v>78.547966000000002</c:v>
                </c:pt>
                <c:pt idx="654">
                  <c:v>79.105099999999993</c:v>
                </c:pt>
                <c:pt idx="655">
                  <c:v>77.973960000000005</c:v>
                </c:pt>
                <c:pt idx="656">
                  <c:v>77.999274999999997</c:v>
                </c:pt>
                <c:pt idx="657">
                  <c:v>78.058350000000004</c:v>
                </c:pt>
                <c:pt idx="658">
                  <c:v>78.902510000000007</c:v>
                </c:pt>
                <c:pt idx="659">
                  <c:v>78.058350000000004</c:v>
                </c:pt>
                <c:pt idx="660">
                  <c:v>78.539505000000005</c:v>
                </c:pt>
                <c:pt idx="661">
                  <c:v>79.603139999999996</c:v>
                </c:pt>
                <c:pt idx="662">
                  <c:v>79.223269999999999</c:v>
                </c:pt>
                <c:pt idx="663">
                  <c:v>79.484979999999993</c:v>
                </c:pt>
                <c:pt idx="664">
                  <c:v>80.877799999999993</c:v>
                </c:pt>
                <c:pt idx="665">
                  <c:v>81.941450000000003</c:v>
                </c:pt>
                <c:pt idx="666">
                  <c:v>83.165450000000007</c:v>
                </c:pt>
                <c:pt idx="667">
                  <c:v>83.545310000000001</c:v>
                </c:pt>
                <c:pt idx="668">
                  <c:v>83.967370000000003</c:v>
                </c:pt>
                <c:pt idx="669">
                  <c:v>83.688820000000007</c:v>
                </c:pt>
                <c:pt idx="670">
                  <c:v>82.658959999999993</c:v>
                </c:pt>
                <c:pt idx="671">
                  <c:v>82.29598</c:v>
                </c:pt>
                <c:pt idx="672">
                  <c:v>82.962845000000002</c:v>
                </c:pt>
                <c:pt idx="673">
                  <c:v>84.161529999999999</c:v>
                </c:pt>
                <c:pt idx="674">
                  <c:v>84.566720000000004</c:v>
                </c:pt>
                <c:pt idx="675">
                  <c:v>84.642709999999994</c:v>
                </c:pt>
                <c:pt idx="676">
                  <c:v>84.625829999999993</c:v>
                </c:pt>
                <c:pt idx="677">
                  <c:v>87.014759999999995</c:v>
                </c:pt>
                <c:pt idx="678">
                  <c:v>86.466080000000005</c:v>
                </c:pt>
                <c:pt idx="679">
                  <c:v>86.558930000000004</c:v>
                </c:pt>
                <c:pt idx="680">
                  <c:v>86.896575999999996</c:v>
                </c:pt>
                <c:pt idx="681">
                  <c:v>86.72775</c:v>
                </c:pt>
                <c:pt idx="682">
                  <c:v>86.778400000000005</c:v>
                </c:pt>
                <c:pt idx="683">
                  <c:v>86.263490000000004</c:v>
                </c:pt>
                <c:pt idx="684">
                  <c:v>85.596596000000005</c:v>
                </c:pt>
                <c:pt idx="685">
                  <c:v>85.191413999999995</c:v>
                </c:pt>
                <c:pt idx="686">
                  <c:v>84.938159999999996</c:v>
                </c:pt>
                <c:pt idx="687">
                  <c:v>84.929726000000002</c:v>
                </c:pt>
                <c:pt idx="688">
                  <c:v>84.178439999999995</c:v>
                </c:pt>
                <c:pt idx="689">
                  <c:v>83.469340000000003</c:v>
                </c:pt>
                <c:pt idx="690">
                  <c:v>83.427139999999994</c:v>
                </c:pt>
                <c:pt idx="691">
                  <c:v>83.933620000000005</c:v>
                </c:pt>
                <c:pt idx="692">
                  <c:v>83.038830000000004</c:v>
                </c:pt>
                <c:pt idx="693">
                  <c:v>82.760283999999999</c:v>
                </c:pt>
                <c:pt idx="694">
                  <c:v>84.043369999999996</c:v>
                </c:pt>
                <c:pt idx="695">
                  <c:v>83.427139999999994</c:v>
                </c:pt>
                <c:pt idx="696">
                  <c:v>84.642709999999994</c:v>
                </c:pt>
                <c:pt idx="697">
                  <c:v>85.199849999999998</c:v>
                </c:pt>
                <c:pt idx="698">
                  <c:v>84.499176000000006</c:v>
                </c:pt>
                <c:pt idx="699">
                  <c:v>85.132300000000001</c:v>
                </c:pt>
                <c:pt idx="700">
                  <c:v>84.946619999999996</c:v>
                </c:pt>
                <c:pt idx="701">
                  <c:v>84.836860000000001</c:v>
                </c:pt>
                <c:pt idx="702">
                  <c:v>85.039469999999994</c:v>
                </c:pt>
                <c:pt idx="703">
                  <c:v>84.549840000000003</c:v>
                </c:pt>
                <c:pt idx="704">
                  <c:v>85.309585999999996</c:v>
                </c:pt>
                <c:pt idx="705">
                  <c:v>84.564099999999996</c:v>
                </c:pt>
                <c:pt idx="706">
                  <c:v>84.232544000000004</c:v>
                </c:pt>
                <c:pt idx="707">
                  <c:v>85.907179999999997</c:v>
                </c:pt>
                <c:pt idx="708">
                  <c:v>85.575659999999999</c:v>
                </c:pt>
                <c:pt idx="709">
                  <c:v>85.150630000000007</c:v>
                </c:pt>
                <c:pt idx="710">
                  <c:v>84.266589999999994</c:v>
                </c:pt>
                <c:pt idx="711">
                  <c:v>84.071039999999996</c:v>
                </c:pt>
                <c:pt idx="712">
                  <c:v>83.118970000000004</c:v>
                </c:pt>
                <c:pt idx="713">
                  <c:v>83.263469999999998</c:v>
                </c:pt>
                <c:pt idx="714">
                  <c:v>84.487570000000005</c:v>
                </c:pt>
                <c:pt idx="715">
                  <c:v>85.924180000000007</c:v>
                </c:pt>
                <c:pt idx="716">
                  <c:v>85.176119999999997</c:v>
                </c:pt>
                <c:pt idx="717">
                  <c:v>83.220979999999997</c:v>
                </c:pt>
                <c:pt idx="718">
                  <c:v>83.833029999999994</c:v>
                </c:pt>
                <c:pt idx="719">
                  <c:v>84.836105000000003</c:v>
                </c:pt>
                <c:pt idx="720">
                  <c:v>85.550139999999999</c:v>
                </c:pt>
                <c:pt idx="721">
                  <c:v>85.465164000000001</c:v>
                </c:pt>
                <c:pt idx="722">
                  <c:v>85.584149999999994</c:v>
                </c:pt>
                <c:pt idx="723">
                  <c:v>86.238690000000005</c:v>
                </c:pt>
                <c:pt idx="724">
                  <c:v>85.983699999999999</c:v>
                </c:pt>
                <c:pt idx="725">
                  <c:v>84.938109999999995</c:v>
                </c:pt>
                <c:pt idx="726">
                  <c:v>83.960530000000006</c:v>
                </c:pt>
                <c:pt idx="727">
                  <c:v>84.538573999999997</c:v>
                </c:pt>
                <c:pt idx="728">
                  <c:v>84.564099999999996</c:v>
                </c:pt>
                <c:pt idx="729">
                  <c:v>82.940470000000005</c:v>
                </c:pt>
                <c:pt idx="730">
                  <c:v>82.634429999999995</c:v>
                </c:pt>
                <c:pt idx="731">
                  <c:v>82.82996</c:v>
                </c:pt>
                <c:pt idx="732">
                  <c:v>82.982979999999998</c:v>
                </c:pt>
                <c:pt idx="733">
                  <c:v>82.030900000000003</c:v>
                </c:pt>
                <c:pt idx="734">
                  <c:v>81.44435</c:v>
                </c:pt>
                <c:pt idx="735">
                  <c:v>79.846260000000001</c:v>
                </c:pt>
                <c:pt idx="736">
                  <c:v>81.41037</c:v>
                </c:pt>
                <c:pt idx="737">
                  <c:v>79.710210000000004</c:v>
                </c:pt>
                <c:pt idx="738">
                  <c:v>80.305279999999996</c:v>
                </c:pt>
                <c:pt idx="739">
                  <c:v>81.478354999999993</c:v>
                </c:pt>
                <c:pt idx="740">
                  <c:v>81.554869999999994</c:v>
                </c:pt>
                <c:pt idx="741">
                  <c:v>81.877883999999995</c:v>
                </c:pt>
                <c:pt idx="742">
                  <c:v>81.554869999999994</c:v>
                </c:pt>
                <c:pt idx="743">
                  <c:v>82.838440000000006</c:v>
                </c:pt>
                <c:pt idx="744">
                  <c:v>84.411069999999995</c:v>
                </c:pt>
                <c:pt idx="745">
                  <c:v>84.181550000000001</c:v>
                </c:pt>
                <c:pt idx="746">
                  <c:v>83.484489999999994</c:v>
                </c:pt>
                <c:pt idx="747">
                  <c:v>83.918019999999999</c:v>
                </c:pt>
                <c:pt idx="748">
                  <c:v>82.787450000000007</c:v>
                </c:pt>
                <c:pt idx="749">
                  <c:v>82.727940000000004</c:v>
                </c:pt>
                <c:pt idx="750">
                  <c:v>82.897964000000002</c:v>
                </c:pt>
                <c:pt idx="751">
                  <c:v>83.543999999999997</c:v>
                </c:pt>
                <c:pt idx="752">
                  <c:v>82.982979999999998</c:v>
                </c:pt>
                <c:pt idx="753">
                  <c:v>82.370925999999997</c:v>
                </c:pt>
                <c:pt idx="754">
                  <c:v>83.722530000000006</c:v>
                </c:pt>
                <c:pt idx="755">
                  <c:v>83.816029999999998</c:v>
                </c:pt>
                <c:pt idx="756">
                  <c:v>84.623580000000004</c:v>
                </c:pt>
                <c:pt idx="757">
                  <c:v>84.683099999999996</c:v>
                </c:pt>
                <c:pt idx="758">
                  <c:v>84.649100000000004</c:v>
                </c:pt>
                <c:pt idx="759">
                  <c:v>84.895600000000002</c:v>
                </c:pt>
                <c:pt idx="760">
                  <c:v>84.615089999999995</c:v>
                </c:pt>
                <c:pt idx="761">
                  <c:v>84.734099999999998</c:v>
                </c:pt>
                <c:pt idx="762">
                  <c:v>85.575659999999999</c:v>
                </c:pt>
                <c:pt idx="763">
                  <c:v>83.612009999999998</c:v>
                </c:pt>
                <c:pt idx="764">
                  <c:v>83.152969999999996</c:v>
                </c:pt>
                <c:pt idx="765">
                  <c:v>84.232544000000004</c:v>
                </c:pt>
                <c:pt idx="766">
                  <c:v>84.183753999999993</c:v>
                </c:pt>
                <c:pt idx="767">
                  <c:v>84.894350000000003</c:v>
                </c:pt>
                <c:pt idx="768">
                  <c:v>85.613510000000005</c:v>
                </c:pt>
                <c:pt idx="769">
                  <c:v>84.971405000000004</c:v>
                </c:pt>
                <c:pt idx="770">
                  <c:v>85.390884</c:v>
                </c:pt>
                <c:pt idx="771">
                  <c:v>85.784739999999999</c:v>
                </c:pt>
                <c:pt idx="772">
                  <c:v>86.281289999999998</c:v>
                </c:pt>
                <c:pt idx="773">
                  <c:v>86.735029999999995</c:v>
                </c:pt>
                <c:pt idx="774">
                  <c:v>86.169989999999999</c:v>
                </c:pt>
                <c:pt idx="775">
                  <c:v>86.598076000000006</c:v>
                </c:pt>
                <c:pt idx="776">
                  <c:v>86.324089999999998</c:v>
                </c:pt>
                <c:pt idx="777">
                  <c:v>87.214479999999995</c:v>
                </c:pt>
                <c:pt idx="778">
                  <c:v>86.717926000000006</c:v>
                </c:pt>
                <c:pt idx="779">
                  <c:v>86.931945999999996</c:v>
                </c:pt>
                <c:pt idx="780">
                  <c:v>86.272710000000004</c:v>
                </c:pt>
                <c:pt idx="781">
                  <c:v>86.306970000000007</c:v>
                </c:pt>
                <c:pt idx="782">
                  <c:v>86.195670000000007</c:v>
                </c:pt>
                <c:pt idx="783">
                  <c:v>86.452510000000004</c:v>
                </c:pt>
                <c:pt idx="784">
                  <c:v>86.786420000000007</c:v>
                </c:pt>
                <c:pt idx="785">
                  <c:v>87.916520000000006</c:v>
                </c:pt>
                <c:pt idx="786">
                  <c:v>87.736725000000007</c:v>
                </c:pt>
                <c:pt idx="787">
                  <c:v>88.849720000000005</c:v>
                </c:pt>
                <c:pt idx="788">
                  <c:v>88.883949999999999</c:v>
                </c:pt>
                <c:pt idx="789">
                  <c:v>88.267520000000005</c:v>
                </c:pt>
                <c:pt idx="790">
                  <c:v>88.969570000000004</c:v>
                </c:pt>
                <c:pt idx="791">
                  <c:v>88.695594999999997</c:v>
                </c:pt>
                <c:pt idx="792">
                  <c:v>89.962680000000006</c:v>
                </c:pt>
                <c:pt idx="793">
                  <c:v>89.294899999999998</c:v>
                </c:pt>
                <c:pt idx="794">
                  <c:v>89.817120000000003</c:v>
                </c:pt>
                <c:pt idx="795">
                  <c:v>89.140789999999996</c:v>
                </c:pt>
                <c:pt idx="796">
                  <c:v>88.318910000000002</c:v>
                </c:pt>
                <c:pt idx="797">
                  <c:v>88.841149999999999</c:v>
                </c:pt>
                <c:pt idx="798">
                  <c:v>88.798330000000007</c:v>
                </c:pt>
                <c:pt idx="799">
                  <c:v>89.312004000000002</c:v>
                </c:pt>
                <c:pt idx="800">
                  <c:v>87.702479999999994</c:v>
                </c:pt>
                <c:pt idx="801">
                  <c:v>86.461070000000007</c:v>
                </c:pt>
                <c:pt idx="802">
                  <c:v>87.308655000000002</c:v>
                </c:pt>
                <c:pt idx="803">
                  <c:v>88.010679999999994</c:v>
                </c:pt>
                <c:pt idx="804">
                  <c:v>87.839455000000001</c:v>
                </c:pt>
                <c:pt idx="805">
                  <c:v>87.865160000000003</c:v>
                </c:pt>
                <c:pt idx="806">
                  <c:v>88.156234999999995</c:v>
                </c:pt>
                <c:pt idx="807">
                  <c:v>88.147675000000007</c:v>
                </c:pt>
                <c:pt idx="808">
                  <c:v>88.550060000000002</c:v>
                </c:pt>
                <c:pt idx="809">
                  <c:v>88.661339999999996</c:v>
                </c:pt>
                <c:pt idx="810">
                  <c:v>89.055170000000004</c:v>
                </c:pt>
                <c:pt idx="811">
                  <c:v>89.217833999999996</c:v>
                </c:pt>
                <c:pt idx="812">
                  <c:v>89.859924000000007</c:v>
                </c:pt>
                <c:pt idx="813">
                  <c:v>90.133889999999994</c:v>
                </c:pt>
                <c:pt idx="814">
                  <c:v>91.238303999999999</c:v>
                </c:pt>
                <c:pt idx="815">
                  <c:v>90.510589999999993</c:v>
                </c:pt>
                <c:pt idx="816">
                  <c:v>90.835920000000002</c:v>
                </c:pt>
                <c:pt idx="817">
                  <c:v>89.192160000000001</c:v>
                </c:pt>
                <c:pt idx="818">
                  <c:v>89.149360000000001</c:v>
                </c:pt>
                <c:pt idx="819">
                  <c:v>87.642525000000006</c:v>
                </c:pt>
                <c:pt idx="820">
                  <c:v>86.392610000000005</c:v>
                </c:pt>
                <c:pt idx="821">
                  <c:v>86.752170000000007</c:v>
                </c:pt>
                <c:pt idx="822">
                  <c:v>85.699100000000001</c:v>
                </c:pt>
                <c:pt idx="823">
                  <c:v>85.973076000000006</c:v>
                </c:pt>
                <c:pt idx="824">
                  <c:v>86.546683999999999</c:v>
                </c:pt>
                <c:pt idx="825">
                  <c:v>86.546683999999999</c:v>
                </c:pt>
                <c:pt idx="826">
                  <c:v>87.240166000000002</c:v>
                </c:pt>
                <c:pt idx="827">
                  <c:v>87.291520000000006</c:v>
                </c:pt>
                <c:pt idx="828">
                  <c:v>86.615200000000002</c:v>
                </c:pt>
                <c:pt idx="829">
                  <c:v>87.609700000000004</c:v>
                </c:pt>
                <c:pt idx="830">
                  <c:v>87.980620000000002</c:v>
                </c:pt>
                <c:pt idx="831">
                  <c:v>88.437775000000002</c:v>
                </c:pt>
                <c:pt idx="832">
                  <c:v>88.584400000000002</c:v>
                </c:pt>
                <c:pt idx="833">
                  <c:v>88.403239999999997</c:v>
                </c:pt>
                <c:pt idx="834">
                  <c:v>88.998419999999996</c:v>
                </c:pt>
                <c:pt idx="835">
                  <c:v>89.412440000000004</c:v>
                </c:pt>
                <c:pt idx="836">
                  <c:v>89.11054</c:v>
                </c:pt>
                <c:pt idx="837">
                  <c:v>88.894930000000002</c:v>
                </c:pt>
                <c:pt idx="838">
                  <c:v>89.041533999999999</c:v>
                </c:pt>
                <c:pt idx="839">
                  <c:v>88.722399999999993</c:v>
                </c:pt>
                <c:pt idx="840">
                  <c:v>89.576329999999999</c:v>
                </c:pt>
                <c:pt idx="841">
                  <c:v>89.196809999999999</c:v>
                </c:pt>
                <c:pt idx="842">
                  <c:v>89.162300000000002</c:v>
                </c:pt>
                <c:pt idx="843">
                  <c:v>89.774730000000005</c:v>
                </c:pt>
                <c:pt idx="844">
                  <c:v>89.481444999999994</c:v>
                </c:pt>
                <c:pt idx="845">
                  <c:v>90.085235999999995</c:v>
                </c:pt>
                <c:pt idx="846">
                  <c:v>87.963356000000005</c:v>
                </c:pt>
                <c:pt idx="847">
                  <c:v>88.092740000000006</c:v>
                </c:pt>
                <c:pt idx="848">
                  <c:v>88.101380000000006</c:v>
                </c:pt>
                <c:pt idx="849">
                  <c:v>88.946655000000007</c:v>
                </c:pt>
                <c:pt idx="850">
                  <c:v>91.379069999999999</c:v>
                </c:pt>
                <c:pt idx="851">
                  <c:v>91.111670000000004</c:v>
                </c:pt>
                <c:pt idx="852">
                  <c:v>91.793075999999999</c:v>
                </c:pt>
                <c:pt idx="853">
                  <c:v>91.361823999999999</c:v>
                </c:pt>
                <c:pt idx="854">
                  <c:v>92.71602</c:v>
                </c:pt>
                <c:pt idx="855">
                  <c:v>93.388810000000007</c:v>
                </c:pt>
                <c:pt idx="856">
                  <c:v>93.940865000000002</c:v>
                </c:pt>
                <c:pt idx="857">
                  <c:v>93.837363999999994</c:v>
                </c:pt>
                <c:pt idx="858">
                  <c:v>94.803430000000006</c:v>
                </c:pt>
                <c:pt idx="859">
                  <c:v>94.846535000000003</c:v>
                </c:pt>
                <c:pt idx="860">
                  <c:v>94.587789999999998</c:v>
                </c:pt>
                <c:pt idx="861">
                  <c:v>94.199614999999994</c:v>
                </c:pt>
                <c:pt idx="862">
                  <c:v>94.475639999999999</c:v>
                </c:pt>
                <c:pt idx="863">
                  <c:v>93.949479999999994</c:v>
                </c:pt>
                <c:pt idx="864">
                  <c:v>93.656229999999994</c:v>
                </c:pt>
                <c:pt idx="865">
                  <c:v>94.182370000000006</c:v>
                </c:pt>
                <c:pt idx="866">
                  <c:v>94.035736</c:v>
                </c:pt>
                <c:pt idx="867">
                  <c:v>93.328429999999997</c:v>
                </c:pt>
                <c:pt idx="868">
                  <c:v>92.707409999999996</c:v>
                </c:pt>
                <c:pt idx="869">
                  <c:v>93.268050000000002</c:v>
                </c:pt>
                <c:pt idx="870">
                  <c:v>93.949479999999994</c:v>
                </c:pt>
                <c:pt idx="871">
                  <c:v>93.958110000000005</c:v>
                </c:pt>
                <c:pt idx="872">
                  <c:v>93.776970000000006</c:v>
                </c:pt>
                <c:pt idx="873">
                  <c:v>93.190444999999997</c:v>
                </c:pt>
                <c:pt idx="874">
                  <c:v>93.518196000000003</c:v>
                </c:pt>
                <c:pt idx="875">
                  <c:v>93.725229999999996</c:v>
                </c:pt>
                <c:pt idx="876">
                  <c:v>93.276690000000002</c:v>
                </c:pt>
                <c:pt idx="877">
                  <c:v>93.397446000000002</c:v>
                </c:pt>
                <c:pt idx="878">
                  <c:v>93.863235000000003</c:v>
                </c:pt>
                <c:pt idx="879">
                  <c:v>93.569969999999998</c:v>
                </c:pt>
                <c:pt idx="880">
                  <c:v>93.664829999999995</c:v>
                </c:pt>
                <c:pt idx="881">
                  <c:v>93.776970000000006</c:v>
                </c:pt>
                <c:pt idx="882">
                  <c:v>93.155945000000003</c:v>
                </c:pt>
                <c:pt idx="883">
                  <c:v>93.561340000000001</c:v>
                </c:pt>
                <c:pt idx="884">
                  <c:v>93.397446000000002</c:v>
                </c:pt>
                <c:pt idx="885">
                  <c:v>93.302574000000007</c:v>
                </c:pt>
                <c:pt idx="886">
                  <c:v>93.121440000000007</c:v>
                </c:pt>
                <c:pt idx="887">
                  <c:v>93.052419999999998</c:v>
                </c:pt>
                <c:pt idx="888">
                  <c:v>93.250820000000004</c:v>
                </c:pt>
                <c:pt idx="889">
                  <c:v>93.052419999999998</c:v>
                </c:pt>
                <c:pt idx="890">
                  <c:v>92.681526000000005</c:v>
                </c:pt>
                <c:pt idx="891">
                  <c:v>93.147316000000004</c:v>
                </c:pt>
                <c:pt idx="892">
                  <c:v>92.474500000000006</c:v>
                </c:pt>
                <c:pt idx="893">
                  <c:v>92.729029999999995</c:v>
                </c:pt>
                <c:pt idx="894">
                  <c:v>93.198104999999998</c:v>
                </c:pt>
                <c:pt idx="895">
                  <c:v>93.701930000000004</c:v>
                </c:pt>
                <c:pt idx="896">
                  <c:v>93.745350000000002</c:v>
                </c:pt>
                <c:pt idx="897">
                  <c:v>93.128609999999995</c:v>
                </c:pt>
                <c:pt idx="898">
                  <c:v>92.84196</c:v>
                </c:pt>
                <c:pt idx="899">
                  <c:v>90.383660000000006</c:v>
                </c:pt>
                <c:pt idx="900">
                  <c:v>92.094899999999996</c:v>
                </c:pt>
                <c:pt idx="901">
                  <c:v>90.852720000000005</c:v>
                </c:pt>
                <c:pt idx="902">
                  <c:v>91.252330000000001</c:v>
                </c:pt>
                <c:pt idx="903">
                  <c:v>91.625839999999997</c:v>
                </c:pt>
                <c:pt idx="904">
                  <c:v>91.452100000000002</c:v>
                </c:pt>
                <c:pt idx="905">
                  <c:v>91.790886</c:v>
                </c:pt>
                <c:pt idx="906">
                  <c:v>92.338130000000007</c:v>
                </c:pt>
                <c:pt idx="907">
                  <c:v>93.059100000000001</c:v>
                </c:pt>
                <c:pt idx="908">
                  <c:v>93.658479999999997</c:v>
                </c:pt>
                <c:pt idx="909">
                  <c:v>93.241529999999997</c:v>
                </c:pt>
                <c:pt idx="910">
                  <c:v>92.972244000000003</c:v>
                </c:pt>
                <c:pt idx="911">
                  <c:v>93.371840000000006</c:v>
                </c:pt>
                <c:pt idx="912">
                  <c:v>93.27628</c:v>
                </c:pt>
                <c:pt idx="913">
                  <c:v>93.606380000000001</c:v>
                </c:pt>
                <c:pt idx="914">
                  <c:v>94.483710000000002</c:v>
                </c:pt>
                <c:pt idx="915">
                  <c:v>94.032030000000006</c:v>
                </c:pt>
                <c:pt idx="916">
                  <c:v>93.033066000000005</c:v>
                </c:pt>
                <c:pt idx="917">
                  <c:v>92.086219999999997</c:v>
                </c:pt>
                <c:pt idx="918">
                  <c:v>92.424999999999997</c:v>
                </c:pt>
                <c:pt idx="919">
                  <c:v>92.068839999999994</c:v>
                </c:pt>
                <c:pt idx="920">
                  <c:v>92.268630000000002</c:v>
                </c:pt>
                <c:pt idx="921">
                  <c:v>91.704009999999997</c:v>
                </c:pt>
                <c:pt idx="922">
                  <c:v>92.147030000000001</c:v>
                </c:pt>
                <c:pt idx="923">
                  <c:v>92.008049999999997</c:v>
                </c:pt>
                <c:pt idx="924">
                  <c:v>92.79853</c:v>
                </c:pt>
                <c:pt idx="925">
                  <c:v>92.815880000000007</c:v>
                </c:pt>
                <c:pt idx="926">
                  <c:v>92.902760000000001</c:v>
                </c:pt>
                <c:pt idx="927">
                  <c:v>92.303389999999993</c:v>
                </c:pt>
                <c:pt idx="928">
                  <c:v>91.964614999999995</c:v>
                </c:pt>
                <c:pt idx="929">
                  <c:v>91.747450000000001</c:v>
                </c:pt>
                <c:pt idx="930">
                  <c:v>93.215479999999999</c:v>
                </c:pt>
                <c:pt idx="931">
                  <c:v>93.145989999999998</c:v>
                </c:pt>
                <c:pt idx="932">
                  <c:v>93.007000000000005</c:v>
                </c:pt>
                <c:pt idx="933">
                  <c:v>92.624793999999994</c:v>
                </c:pt>
                <c:pt idx="934">
                  <c:v>93.007000000000005</c:v>
                </c:pt>
                <c:pt idx="935">
                  <c:v>93.119929999999997</c:v>
                </c:pt>
                <c:pt idx="936">
                  <c:v>92.694280000000006</c:v>
                </c:pt>
                <c:pt idx="937">
                  <c:v>92.694280000000006</c:v>
                </c:pt>
                <c:pt idx="938">
                  <c:v>92.624793999999994</c:v>
                </c:pt>
                <c:pt idx="939">
                  <c:v>91.912499999999994</c:v>
                </c:pt>
                <c:pt idx="940">
                  <c:v>92.911445999999998</c:v>
                </c:pt>
                <c:pt idx="941">
                  <c:v>94.440280000000001</c:v>
                </c:pt>
                <c:pt idx="942">
                  <c:v>93.16337</c:v>
                </c:pt>
                <c:pt idx="943">
                  <c:v>89.688720000000004</c:v>
                </c:pt>
                <c:pt idx="944">
                  <c:v>89.636604000000005</c:v>
                </c:pt>
                <c:pt idx="945">
                  <c:v>88.073030000000003</c:v>
                </c:pt>
                <c:pt idx="946">
                  <c:v>88.472610000000003</c:v>
                </c:pt>
                <c:pt idx="947">
                  <c:v>88.350999999999999</c:v>
                </c:pt>
                <c:pt idx="948">
                  <c:v>88.272819999999996</c:v>
                </c:pt>
                <c:pt idx="949">
                  <c:v>88.003540000000001</c:v>
                </c:pt>
                <c:pt idx="950">
                  <c:v>88.828789999999998</c:v>
                </c:pt>
                <c:pt idx="951">
                  <c:v>89.376014999999995</c:v>
                </c:pt>
                <c:pt idx="952">
                  <c:v>88.194630000000004</c:v>
                </c:pt>
                <c:pt idx="953">
                  <c:v>88.750579999999999</c:v>
                </c:pt>
                <c:pt idx="954">
                  <c:v>89.289150000000006</c:v>
                </c:pt>
                <c:pt idx="955">
                  <c:v>89.071979999999996</c:v>
                </c:pt>
                <c:pt idx="956">
                  <c:v>87.595725999999999</c:v>
                </c:pt>
                <c:pt idx="957">
                  <c:v>86.659409999999994</c:v>
                </c:pt>
                <c:pt idx="958">
                  <c:v>88.033264000000003</c:v>
                </c:pt>
                <c:pt idx="959">
                  <c:v>88.129519999999999</c:v>
                </c:pt>
                <c:pt idx="960">
                  <c:v>88.864586000000003</c:v>
                </c:pt>
                <c:pt idx="961">
                  <c:v>89.967190000000002</c:v>
                </c:pt>
                <c:pt idx="962">
                  <c:v>89.389660000000006</c:v>
                </c:pt>
                <c:pt idx="963">
                  <c:v>90.632249999999999</c:v>
                </c:pt>
                <c:pt idx="964">
                  <c:v>91.638596000000007</c:v>
                </c:pt>
                <c:pt idx="965">
                  <c:v>92.434905999999998</c:v>
                </c:pt>
                <c:pt idx="966">
                  <c:v>91.419849999999997</c:v>
                </c:pt>
                <c:pt idx="967">
                  <c:v>92.146150000000006</c:v>
                </c:pt>
                <c:pt idx="968">
                  <c:v>92.644959999999998</c:v>
                </c:pt>
                <c:pt idx="969">
                  <c:v>92.242410000000007</c:v>
                </c:pt>
                <c:pt idx="970">
                  <c:v>91.796120000000002</c:v>
                </c:pt>
                <c:pt idx="971">
                  <c:v>91.621099999999998</c:v>
                </c:pt>
                <c:pt idx="972">
                  <c:v>92.189920000000001</c:v>
                </c:pt>
                <c:pt idx="973">
                  <c:v>91.962379999999996</c:v>
                </c:pt>
                <c:pt idx="974">
                  <c:v>91.997389999999996</c:v>
                </c:pt>
                <c:pt idx="975">
                  <c:v>91.551094000000006</c:v>
                </c:pt>
                <c:pt idx="976">
                  <c:v>91.874886000000004</c:v>
                </c:pt>
                <c:pt idx="977">
                  <c:v>91.559849999999997</c:v>
                </c:pt>
                <c:pt idx="978">
                  <c:v>91.577354</c:v>
                </c:pt>
                <c:pt idx="979">
                  <c:v>91.752364999999998</c:v>
                </c:pt>
                <c:pt idx="980">
                  <c:v>91.629859999999994</c:v>
                </c:pt>
                <c:pt idx="981">
                  <c:v>91.498580000000004</c:v>
                </c:pt>
                <c:pt idx="982">
                  <c:v>90.536000000000001</c:v>
                </c:pt>
                <c:pt idx="983">
                  <c:v>89.232129999999998</c:v>
                </c:pt>
                <c:pt idx="984">
                  <c:v>89.092110000000005</c:v>
                </c:pt>
                <c:pt idx="985">
                  <c:v>89.118369999999999</c:v>
                </c:pt>
                <c:pt idx="986">
                  <c:v>88.864586000000003</c:v>
                </c:pt>
                <c:pt idx="987">
                  <c:v>89.42465</c:v>
                </c:pt>
                <c:pt idx="988">
                  <c:v>89.905945000000003</c:v>
                </c:pt>
                <c:pt idx="989">
                  <c:v>89.573400000000007</c:v>
                </c:pt>
                <c:pt idx="990">
                  <c:v>90.343500000000006</c:v>
                </c:pt>
                <c:pt idx="991">
                  <c:v>91.017290000000003</c:v>
                </c:pt>
                <c:pt idx="992">
                  <c:v>91.629859999999994</c:v>
                </c:pt>
                <c:pt idx="993">
                  <c:v>91.542336000000006</c:v>
                </c:pt>
                <c:pt idx="994">
                  <c:v>91.131065000000007</c:v>
                </c:pt>
                <c:pt idx="995">
                  <c:v>90.553520000000006</c:v>
                </c:pt>
                <c:pt idx="996">
                  <c:v>90.737269999999995</c:v>
                </c:pt>
                <c:pt idx="997">
                  <c:v>90.816029999999998</c:v>
                </c:pt>
                <c:pt idx="998">
                  <c:v>90.142219999999995</c:v>
                </c:pt>
                <c:pt idx="999">
                  <c:v>91.034800000000004</c:v>
                </c:pt>
                <c:pt idx="1000">
                  <c:v>91.979900000000001</c:v>
                </c:pt>
                <c:pt idx="1001">
                  <c:v>91.507350000000002</c:v>
                </c:pt>
                <c:pt idx="1002">
                  <c:v>92.417434999999998</c:v>
                </c:pt>
                <c:pt idx="1003">
                  <c:v>92.487440000000007</c:v>
                </c:pt>
                <c:pt idx="1004">
                  <c:v>92.732460000000003</c:v>
                </c:pt>
                <c:pt idx="1005">
                  <c:v>92.846209999999999</c:v>
                </c:pt>
                <c:pt idx="1006">
                  <c:v>93.213745000000003</c:v>
                </c:pt>
                <c:pt idx="1007">
                  <c:v>93.563773999999995</c:v>
                </c:pt>
                <c:pt idx="1008">
                  <c:v>93.397514000000001</c:v>
                </c:pt>
                <c:pt idx="1009">
                  <c:v>94.613879999999995</c:v>
                </c:pt>
                <c:pt idx="1010">
                  <c:v>94.640144000000006</c:v>
                </c:pt>
                <c:pt idx="1011">
                  <c:v>95.698989999999995</c:v>
                </c:pt>
                <c:pt idx="1012">
                  <c:v>95.742739999999998</c:v>
                </c:pt>
                <c:pt idx="1013">
                  <c:v>95.856514000000004</c:v>
                </c:pt>
                <c:pt idx="1014">
                  <c:v>96.110275000000001</c:v>
                </c:pt>
                <c:pt idx="1015">
                  <c:v>95.620239999999995</c:v>
                </c:pt>
                <c:pt idx="1016">
                  <c:v>96.591570000000004</c:v>
                </c:pt>
                <c:pt idx="1017">
                  <c:v>96.682334999999995</c:v>
                </c:pt>
                <c:pt idx="1018">
                  <c:v>97.017120000000006</c:v>
                </c:pt>
                <c:pt idx="1019">
                  <c:v>97.413629999999998</c:v>
                </c:pt>
                <c:pt idx="1020">
                  <c:v>96.594210000000004</c:v>
                </c:pt>
                <c:pt idx="1021">
                  <c:v>96.321060000000003</c:v>
                </c:pt>
                <c:pt idx="1022">
                  <c:v>96.303439999999995</c:v>
                </c:pt>
                <c:pt idx="1023">
                  <c:v>96.056749999999994</c:v>
                </c:pt>
                <c:pt idx="1024">
                  <c:v>96.558975000000004</c:v>
                </c:pt>
                <c:pt idx="1025">
                  <c:v>96.400369999999995</c:v>
                </c:pt>
                <c:pt idx="1026">
                  <c:v>96.33869</c:v>
                </c:pt>
                <c:pt idx="1027">
                  <c:v>97.898223999999999</c:v>
                </c:pt>
                <c:pt idx="1028">
                  <c:v>97.924674999999993</c:v>
                </c:pt>
                <c:pt idx="1029">
                  <c:v>98.144930000000002</c:v>
                </c:pt>
                <c:pt idx="1030">
                  <c:v>97.93347</c:v>
                </c:pt>
                <c:pt idx="1031">
                  <c:v>98.47972</c:v>
                </c:pt>
                <c:pt idx="1032">
                  <c:v>98.700040000000001</c:v>
                </c:pt>
                <c:pt idx="1033">
                  <c:v>98.488550000000004</c:v>
                </c:pt>
                <c:pt idx="1034">
                  <c:v>98.788123999999996</c:v>
                </c:pt>
                <c:pt idx="1035">
                  <c:v>98.532629999999997</c:v>
                </c:pt>
                <c:pt idx="1036">
                  <c:v>99.078896</c:v>
                </c:pt>
                <c:pt idx="1037">
                  <c:v>99.061263999999994</c:v>
                </c:pt>
                <c:pt idx="1038">
                  <c:v>98.840990000000005</c:v>
                </c:pt>
                <c:pt idx="1039">
                  <c:v>98.559049999999999</c:v>
                </c:pt>
                <c:pt idx="1040">
                  <c:v>98.559049999999999</c:v>
                </c:pt>
                <c:pt idx="1041">
                  <c:v>98.752883999999995</c:v>
                </c:pt>
                <c:pt idx="1042">
                  <c:v>98.629530000000003</c:v>
                </c:pt>
                <c:pt idx="1043">
                  <c:v>98.312349999999995</c:v>
                </c:pt>
                <c:pt idx="1044">
                  <c:v>98.338775999999996</c:v>
                </c:pt>
                <c:pt idx="1045">
                  <c:v>98.700040000000001</c:v>
                </c:pt>
                <c:pt idx="1046">
                  <c:v>98.444500000000005</c:v>
                </c:pt>
                <c:pt idx="1047">
                  <c:v>100.10095</c:v>
                </c:pt>
                <c:pt idx="1048">
                  <c:v>99.281559999999999</c:v>
                </c:pt>
                <c:pt idx="1049">
                  <c:v>99.845439999999996</c:v>
                </c:pt>
                <c:pt idx="1050">
                  <c:v>100.6913</c:v>
                </c:pt>
                <c:pt idx="1051">
                  <c:v>100.10978</c:v>
                </c:pt>
                <c:pt idx="1052">
                  <c:v>100.08335</c:v>
                </c:pt>
                <c:pt idx="1053">
                  <c:v>99.942374999999998</c:v>
                </c:pt>
                <c:pt idx="1054">
                  <c:v>100.726524</c:v>
                </c:pt>
                <c:pt idx="1055">
                  <c:v>100.585556</c:v>
                </c:pt>
                <c:pt idx="1056">
                  <c:v>99.85427</c:v>
                </c:pt>
                <c:pt idx="1057">
                  <c:v>99.246300000000005</c:v>
                </c:pt>
                <c:pt idx="1058">
                  <c:v>99.810190000000006</c:v>
                </c:pt>
                <c:pt idx="1059">
                  <c:v>98.929109999999994</c:v>
                </c:pt>
                <c:pt idx="1060">
                  <c:v>98.937910000000002</c:v>
                </c:pt>
                <c:pt idx="1061">
                  <c:v>98.497375000000005</c:v>
                </c:pt>
                <c:pt idx="1062">
                  <c:v>99.528260000000003</c:v>
                </c:pt>
                <c:pt idx="1063">
                  <c:v>99.757323999999997</c:v>
                </c:pt>
                <c:pt idx="1064">
                  <c:v>99.757323999999997</c:v>
                </c:pt>
                <c:pt idx="1065">
                  <c:v>99.316779999999994</c:v>
                </c:pt>
                <c:pt idx="1066">
                  <c:v>99.422516000000002</c:v>
                </c:pt>
                <c:pt idx="1067">
                  <c:v>99.598724000000004</c:v>
                </c:pt>
                <c:pt idx="1068">
                  <c:v>99.484189999999998</c:v>
                </c:pt>
                <c:pt idx="1069">
                  <c:v>100.39172000000001</c:v>
                </c:pt>
                <c:pt idx="1070">
                  <c:v>100.25955999999999</c:v>
                </c:pt>
                <c:pt idx="1071">
                  <c:v>100.21549</c:v>
                </c:pt>
                <c:pt idx="1072">
                  <c:v>100.47101000000001</c:v>
                </c:pt>
                <c:pt idx="1073">
                  <c:v>100.17144</c:v>
                </c:pt>
                <c:pt idx="1074">
                  <c:v>101.061356</c:v>
                </c:pt>
                <c:pt idx="1075">
                  <c:v>101.36972</c:v>
                </c:pt>
                <c:pt idx="1076">
                  <c:v>102.25964</c:v>
                </c:pt>
                <c:pt idx="1077">
                  <c:v>103.55485</c:v>
                </c:pt>
                <c:pt idx="1078">
                  <c:v>103.889656</c:v>
                </c:pt>
                <c:pt idx="1079">
                  <c:v>103.97777600000001</c:v>
                </c:pt>
                <c:pt idx="1080">
                  <c:v>103.68057</c:v>
                </c:pt>
                <c:pt idx="1081">
                  <c:v>103.99994</c:v>
                </c:pt>
                <c:pt idx="1082">
                  <c:v>104.3903</c:v>
                </c:pt>
                <c:pt idx="1083">
                  <c:v>104.57657</c:v>
                </c:pt>
                <c:pt idx="1084">
                  <c:v>104.4169</c:v>
                </c:pt>
                <c:pt idx="1085">
                  <c:v>103.84025</c:v>
                </c:pt>
                <c:pt idx="1086">
                  <c:v>102.81119</c:v>
                </c:pt>
                <c:pt idx="1087">
                  <c:v>102.85554999999999</c:v>
                </c:pt>
                <c:pt idx="1088">
                  <c:v>103.11282</c:v>
                </c:pt>
                <c:pt idx="1089">
                  <c:v>103.19264</c:v>
                </c:pt>
                <c:pt idx="1090">
                  <c:v>104.124146</c:v>
                </c:pt>
                <c:pt idx="1091">
                  <c:v>103.982185</c:v>
                </c:pt>
                <c:pt idx="1092">
                  <c:v>103.6717</c:v>
                </c:pt>
                <c:pt idx="1093">
                  <c:v>104.05316999999999</c:v>
                </c:pt>
                <c:pt idx="1094">
                  <c:v>104.63869</c:v>
                </c:pt>
                <c:pt idx="1095">
                  <c:v>104.16849499999999</c:v>
                </c:pt>
                <c:pt idx="1096">
                  <c:v>103.04183999999999</c:v>
                </c:pt>
                <c:pt idx="1097">
                  <c:v>103.76040999999999</c:v>
                </c:pt>
                <c:pt idx="1098">
                  <c:v>103.90235</c:v>
                </c:pt>
                <c:pt idx="1099">
                  <c:v>102.85554999999999</c:v>
                </c:pt>
                <c:pt idx="1100">
                  <c:v>103.24585</c:v>
                </c:pt>
                <c:pt idx="1101">
                  <c:v>102.18129999999999</c:v>
                </c:pt>
                <c:pt idx="1102">
                  <c:v>102.45631</c:v>
                </c:pt>
                <c:pt idx="1103">
                  <c:v>102.41194</c:v>
                </c:pt>
                <c:pt idx="1104">
                  <c:v>102.28776000000001</c:v>
                </c:pt>
                <c:pt idx="1105">
                  <c:v>102.13694</c:v>
                </c:pt>
                <c:pt idx="1106">
                  <c:v>102.474075</c:v>
                </c:pt>
                <c:pt idx="1107">
                  <c:v>101.373985</c:v>
                </c:pt>
                <c:pt idx="1108">
                  <c:v>100.9038</c:v>
                </c:pt>
                <c:pt idx="1109">
                  <c:v>101.81756</c:v>
                </c:pt>
                <c:pt idx="1110">
                  <c:v>101.15221</c:v>
                </c:pt>
                <c:pt idx="1111">
                  <c:v>101.95950000000001</c:v>
                </c:pt>
                <c:pt idx="1112">
                  <c:v>101.95950000000001</c:v>
                </c:pt>
                <c:pt idx="1113">
                  <c:v>102.03049</c:v>
                </c:pt>
                <c:pt idx="1114">
                  <c:v>102.323235</c:v>
                </c:pt>
                <c:pt idx="1115">
                  <c:v>102.474075</c:v>
                </c:pt>
                <c:pt idx="1116">
                  <c:v>103.46765000000001</c:v>
                </c:pt>
                <c:pt idx="1117">
                  <c:v>103.02409</c:v>
                </c:pt>
                <c:pt idx="1118">
                  <c:v>103.30795999999999</c:v>
                </c:pt>
                <c:pt idx="1119">
                  <c:v>103.96446</c:v>
                </c:pt>
                <c:pt idx="1120">
                  <c:v>104.09753000000001</c:v>
                </c:pt>
                <c:pt idx="1121">
                  <c:v>103.44992000000001</c:v>
                </c:pt>
                <c:pt idx="1122">
                  <c:v>103.44992000000001</c:v>
                </c:pt>
                <c:pt idx="1123">
                  <c:v>102.83777600000001</c:v>
                </c:pt>
                <c:pt idx="1124">
                  <c:v>102.56278</c:v>
                </c:pt>
                <c:pt idx="1125">
                  <c:v>103.17491</c:v>
                </c:pt>
                <c:pt idx="1126">
                  <c:v>103.237015</c:v>
                </c:pt>
                <c:pt idx="1127">
                  <c:v>103.76040999999999</c:v>
                </c:pt>
                <c:pt idx="1128">
                  <c:v>103.538635</c:v>
                </c:pt>
                <c:pt idx="1129">
                  <c:v>103.46765000000001</c:v>
                </c:pt>
                <c:pt idx="1130">
                  <c:v>103.24585</c:v>
                </c:pt>
                <c:pt idx="1131">
                  <c:v>103.36121</c:v>
                </c:pt>
                <c:pt idx="1132">
                  <c:v>104.5411</c:v>
                </c:pt>
                <c:pt idx="1133">
                  <c:v>105.54358999999999</c:v>
                </c:pt>
                <c:pt idx="1134">
                  <c:v>105.65891999999999</c:v>
                </c:pt>
                <c:pt idx="1135">
                  <c:v>105.02903000000001</c:v>
                </c:pt>
                <c:pt idx="1136">
                  <c:v>104.32818</c:v>
                </c:pt>
                <c:pt idx="1137">
                  <c:v>104.91370000000001</c:v>
                </c:pt>
                <c:pt idx="1138">
                  <c:v>104.61208000000001</c:v>
                </c:pt>
                <c:pt idx="1139">
                  <c:v>104.05316999999999</c:v>
                </c:pt>
                <c:pt idx="1140">
                  <c:v>103.10393500000001</c:v>
                </c:pt>
                <c:pt idx="1141">
                  <c:v>102.775696</c:v>
                </c:pt>
                <c:pt idx="1142">
                  <c:v>102.50069000000001</c:v>
                </c:pt>
                <c:pt idx="1143">
                  <c:v>102.76681499999999</c:v>
                </c:pt>
                <c:pt idx="1144">
                  <c:v>102.869545</c:v>
                </c:pt>
                <c:pt idx="1145">
                  <c:v>103.38769499999999</c:v>
                </c:pt>
                <c:pt idx="1146">
                  <c:v>103.48596999999999</c:v>
                </c:pt>
                <c:pt idx="1147">
                  <c:v>103.51273999999999</c:v>
                </c:pt>
                <c:pt idx="1148">
                  <c:v>103.94157</c:v>
                </c:pt>
                <c:pt idx="1149">
                  <c:v>104.51331</c:v>
                </c:pt>
                <c:pt idx="1150">
                  <c:v>102.77128999999999</c:v>
                </c:pt>
                <c:pt idx="1151">
                  <c:v>103.35196000000001</c:v>
                </c:pt>
                <c:pt idx="1152">
                  <c:v>102.73555</c:v>
                </c:pt>
                <c:pt idx="1153">
                  <c:v>102.24419</c:v>
                </c:pt>
                <c:pt idx="1154">
                  <c:v>102.01194</c:v>
                </c:pt>
                <c:pt idx="1155">
                  <c:v>102.60156000000001</c:v>
                </c:pt>
                <c:pt idx="1156">
                  <c:v>102.72662</c:v>
                </c:pt>
                <c:pt idx="1157">
                  <c:v>102.279945</c:v>
                </c:pt>
                <c:pt idx="1158">
                  <c:v>101.46698000000001</c:v>
                </c:pt>
                <c:pt idx="1159">
                  <c:v>100.77016999999999</c:v>
                </c:pt>
                <c:pt idx="1160">
                  <c:v>99.921480000000003</c:v>
                </c:pt>
                <c:pt idx="1161">
                  <c:v>100.001884</c:v>
                </c:pt>
                <c:pt idx="1162">
                  <c:v>99.885739999999998</c:v>
                </c:pt>
                <c:pt idx="1163">
                  <c:v>99.251464999999996</c:v>
                </c:pt>
                <c:pt idx="1164">
                  <c:v>99.733894000000006</c:v>
                </c:pt>
                <c:pt idx="1165">
                  <c:v>99.546270000000007</c:v>
                </c:pt>
                <c:pt idx="1166">
                  <c:v>97.482619999999997</c:v>
                </c:pt>
                <c:pt idx="1167">
                  <c:v>97.491560000000007</c:v>
                </c:pt>
                <c:pt idx="1168">
                  <c:v>97.679169999999999</c:v>
                </c:pt>
                <c:pt idx="1169">
                  <c:v>98.670779999999993</c:v>
                </c:pt>
                <c:pt idx="1170">
                  <c:v>98.626130000000003</c:v>
                </c:pt>
                <c:pt idx="1171">
                  <c:v>98.277709999999999</c:v>
                </c:pt>
                <c:pt idx="1172">
                  <c:v>98.965590000000006</c:v>
                </c:pt>
                <c:pt idx="1173">
                  <c:v>99.617750000000001</c:v>
                </c:pt>
                <c:pt idx="1174">
                  <c:v>100.457504</c:v>
                </c:pt>
                <c:pt idx="1175">
                  <c:v>100.60936</c:v>
                </c:pt>
                <c:pt idx="1176">
                  <c:v>101.45805</c:v>
                </c:pt>
                <c:pt idx="1177">
                  <c:v>100.22524</c:v>
                </c:pt>
                <c:pt idx="1178">
                  <c:v>100.01082</c:v>
                </c:pt>
                <c:pt idx="1179">
                  <c:v>100.654045</c:v>
                </c:pt>
                <c:pt idx="1180">
                  <c:v>99.707085000000006</c:v>
                </c:pt>
                <c:pt idx="1181">
                  <c:v>99.778559999999999</c:v>
                </c:pt>
                <c:pt idx="1182">
                  <c:v>98.938820000000007</c:v>
                </c:pt>
                <c:pt idx="1183">
                  <c:v>98.331329999999994</c:v>
                </c:pt>
                <c:pt idx="1184">
                  <c:v>98.920929999999998</c:v>
                </c:pt>
                <c:pt idx="1185">
                  <c:v>98.804789999999997</c:v>
                </c:pt>
                <c:pt idx="1186">
                  <c:v>97.956115999999994</c:v>
                </c:pt>
                <c:pt idx="1187">
                  <c:v>98.474249999999998</c:v>
                </c:pt>
                <c:pt idx="1188">
                  <c:v>98.384919999999994</c:v>
                </c:pt>
                <c:pt idx="1189">
                  <c:v>98.313445999999999</c:v>
                </c:pt>
                <c:pt idx="1190">
                  <c:v>98.465310000000002</c:v>
                </c:pt>
                <c:pt idx="1191">
                  <c:v>97.607709999999997</c:v>
                </c:pt>
                <c:pt idx="1192">
                  <c:v>98.688670000000002</c:v>
                </c:pt>
                <c:pt idx="1193">
                  <c:v>100.055504</c:v>
                </c:pt>
                <c:pt idx="1194">
                  <c:v>99.590940000000003</c:v>
                </c:pt>
                <c:pt idx="1195">
                  <c:v>100.72551</c:v>
                </c:pt>
                <c:pt idx="1196">
                  <c:v>101.87793000000001</c:v>
                </c:pt>
                <c:pt idx="1197">
                  <c:v>103.41449</c:v>
                </c:pt>
                <c:pt idx="1198">
                  <c:v>102.82489</c:v>
                </c:pt>
                <c:pt idx="1199">
                  <c:v>102.941025</c:v>
                </c:pt>
                <c:pt idx="1200">
                  <c:v>102.44965000000001</c:v>
                </c:pt>
                <c:pt idx="1201">
                  <c:v>102.65515000000001</c:v>
                </c:pt>
                <c:pt idx="1202">
                  <c:v>103.67357</c:v>
                </c:pt>
                <c:pt idx="1203">
                  <c:v>102.80701000000001</c:v>
                </c:pt>
                <c:pt idx="1204">
                  <c:v>103.53955999999999</c:v>
                </c:pt>
                <c:pt idx="1205">
                  <c:v>103.49491</c:v>
                </c:pt>
                <c:pt idx="1206">
                  <c:v>104.316765</c:v>
                </c:pt>
                <c:pt idx="1207">
                  <c:v>104.3793</c:v>
                </c:pt>
                <c:pt idx="1208">
                  <c:v>104.81559</c:v>
                </c:pt>
                <c:pt idx="1209">
                  <c:v>105.04946</c:v>
                </c:pt>
                <c:pt idx="1210">
                  <c:v>105.66117</c:v>
                </c:pt>
                <c:pt idx="1211">
                  <c:v>105.778114</c:v>
                </c:pt>
                <c:pt idx="1212">
                  <c:v>106.95652</c:v>
                </c:pt>
                <c:pt idx="1213">
                  <c:v>105.00451</c:v>
                </c:pt>
                <c:pt idx="1214">
                  <c:v>104.86057</c:v>
                </c:pt>
                <c:pt idx="1215">
                  <c:v>105.59820999999999</c:v>
                </c:pt>
                <c:pt idx="1216">
                  <c:v>105.60719</c:v>
                </c:pt>
                <c:pt idx="1217">
                  <c:v>105.967</c:v>
                </c:pt>
                <c:pt idx="1218">
                  <c:v>106.16492</c:v>
                </c:pt>
                <c:pt idx="1219">
                  <c:v>107.2444</c:v>
                </c:pt>
                <c:pt idx="1220">
                  <c:v>106.191925</c:v>
                </c:pt>
                <c:pt idx="1221">
                  <c:v>106.69565</c:v>
                </c:pt>
                <c:pt idx="1222">
                  <c:v>107.06447</c:v>
                </c:pt>
                <c:pt idx="1223">
                  <c:v>106.38082</c:v>
                </c:pt>
                <c:pt idx="1224">
                  <c:v>106.68665</c:v>
                </c:pt>
                <c:pt idx="1225">
                  <c:v>106.947525</c:v>
                </c:pt>
                <c:pt idx="1226">
                  <c:v>107.31636</c:v>
                </c:pt>
                <c:pt idx="1227">
                  <c:v>107.36133</c:v>
                </c:pt>
                <c:pt idx="1228">
                  <c:v>107.874054</c:v>
                </c:pt>
                <c:pt idx="1229">
                  <c:v>106.20090999999999</c:v>
                </c:pt>
                <c:pt idx="1230">
                  <c:v>105.92203000000001</c:v>
                </c:pt>
                <c:pt idx="1231">
                  <c:v>106.44378</c:v>
                </c:pt>
                <c:pt idx="1232">
                  <c:v>106.74962600000001</c:v>
                </c:pt>
                <c:pt idx="1233">
                  <c:v>106.13793</c:v>
                </c:pt>
                <c:pt idx="1234">
                  <c:v>106.21889</c:v>
                </c:pt>
                <c:pt idx="1235">
                  <c:v>105.67916</c:v>
                </c:pt>
                <c:pt idx="1236">
                  <c:v>105.13942</c:v>
                </c:pt>
                <c:pt idx="1237">
                  <c:v>105.58922</c:v>
                </c:pt>
                <c:pt idx="1238">
                  <c:v>106.02099</c:v>
                </c:pt>
                <c:pt idx="1239">
                  <c:v>107.208405</c:v>
                </c:pt>
                <c:pt idx="1240">
                  <c:v>107.09146</c:v>
                </c:pt>
                <c:pt idx="1241">
                  <c:v>108.09896000000001</c:v>
                </c:pt>
                <c:pt idx="1242">
                  <c:v>109.304344</c:v>
                </c:pt>
                <c:pt idx="1243">
                  <c:v>109.11545</c:v>
                </c:pt>
                <c:pt idx="1244">
                  <c:v>108.97153</c:v>
                </c:pt>
                <c:pt idx="1245">
                  <c:v>108.75563</c:v>
                </c:pt>
                <c:pt idx="1246">
                  <c:v>109.52924</c:v>
                </c:pt>
                <c:pt idx="1247">
                  <c:v>107.649185</c:v>
                </c:pt>
                <c:pt idx="1248">
                  <c:v>107.847084</c:v>
                </c:pt>
                <c:pt idx="1249">
                  <c:v>108.21590399999999</c:v>
                </c:pt>
                <c:pt idx="1250">
                  <c:v>108.21590399999999</c:v>
                </c:pt>
                <c:pt idx="1251">
                  <c:v>106.74962600000001</c:v>
                </c:pt>
                <c:pt idx="1252">
                  <c:v>102.96253</c:v>
                </c:pt>
                <c:pt idx="1253">
                  <c:v>102.15291999999999</c:v>
                </c:pt>
                <c:pt idx="1254">
                  <c:v>102.09895</c:v>
                </c:pt>
                <c:pt idx="1255">
                  <c:v>99.085464000000002</c:v>
                </c:pt>
                <c:pt idx="1256">
                  <c:v>100.01201</c:v>
                </c:pt>
                <c:pt idx="1257">
                  <c:v>100.68667000000001</c:v>
                </c:pt>
                <c:pt idx="1258">
                  <c:v>100.87558</c:v>
                </c:pt>
                <c:pt idx="1259">
                  <c:v>98.149940000000001</c:v>
                </c:pt>
                <c:pt idx="1260">
                  <c:v>99.823104999999998</c:v>
                </c:pt>
                <c:pt idx="1261">
                  <c:v>99.904049999999998</c:v>
                </c:pt>
                <c:pt idx="1262">
                  <c:v>98.482765000000001</c:v>
                </c:pt>
                <c:pt idx="1263">
                  <c:v>97.151420000000002</c:v>
                </c:pt>
                <c:pt idx="1264">
                  <c:v>98.284874000000002</c:v>
                </c:pt>
                <c:pt idx="1265">
                  <c:v>98.662660000000002</c:v>
                </c:pt>
                <c:pt idx="1266">
                  <c:v>99.796104</c:v>
                </c:pt>
                <c:pt idx="1267">
                  <c:v>99.751140000000007</c:v>
                </c:pt>
                <c:pt idx="1268">
                  <c:v>98.707663999999994</c:v>
                </c:pt>
                <c:pt idx="1269">
                  <c:v>97.978160000000003</c:v>
                </c:pt>
                <c:pt idx="1270">
                  <c:v>98.811859999999996</c:v>
                </c:pt>
                <c:pt idx="1271">
                  <c:v>99.165300000000002</c:v>
                </c:pt>
                <c:pt idx="1272">
                  <c:v>99.301215999999997</c:v>
                </c:pt>
                <c:pt idx="1273">
                  <c:v>99.536829999999995</c:v>
                </c:pt>
                <c:pt idx="1274">
                  <c:v>101.56671</c:v>
                </c:pt>
                <c:pt idx="1275">
                  <c:v>101.98354999999999</c:v>
                </c:pt>
                <c:pt idx="1276">
                  <c:v>102.17384</c:v>
                </c:pt>
                <c:pt idx="1277">
                  <c:v>102.94412</c:v>
                </c:pt>
                <c:pt idx="1278">
                  <c:v>102.047</c:v>
                </c:pt>
                <c:pt idx="1279">
                  <c:v>101.485146</c:v>
                </c:pt>
                <c:pt idx="1280">
                  <c:v>101.16799</c:v>
                </c:pt>
                <c:pt idx="1281">
                  <c:v>100.00805</c:v>
                </c:pt>
                <c:pt idx="1282">
                  <c:v>99.591194000000002</c:v>
                </c:pt>
                <c:pt idx="1283">
                  <c:v>98.540015999999994</c:v>
                </c:pt>
                <c:pt idx="1284">
                  <c:v>97.815055999999998</c:v>
                </c:pt>
                <c:pt idx="1285">
                  <c:v>96.192954999999998</c:v>
                </c:pt>
                <c:pt idx="1286">
                  <c:v>96.791039999999995</c:v>
                </c:pt>
                <c:pt idx="1287">
                  <c:v>97.543189999999996</c:v>
                </c:pt>
                <c:pt idx="1288">
                  <c:v>98.938739999999996</c:v>
                </c:pt>
                <c:pt idx="1289">
                  <c:v>98.911545000000004</c:v>
                </c:pt>
                <c:pt idx="1290">
                  <c:v>97.008529999999993</c:v>
                </c:pt>
                <c:pt idx="1291">
                  <c:v>98.041600000000003</c:v>
                </c:pt>
                <c:pt idx="1292">
                  <c:v>99.844930000000005</c:v>
                </c:pt>
                <c:pt idx="1293">
                  <c:v>100.19835999999999</c:v>
                </c:pt>
                <c:pt idx="1294">
                  <c:v>99.047484999999995</c:v>
                </c:pt>
                <c:pt idx="1295">
                  <c:v>99.119969999999995</c:v>
                </c:pt>
                <c:pt idx="1296">
                  <c:v>99.138090000000005</c:v>
                </c:pt>
                <c:pt idx="1297">
                  <c:v>98.485634000000005</c:v>
                </c:pt>
                <c:pt idx="1298">
                  <c:v>98.150319999999994</c:v>
                </c:pt>
                <c:pt idx="1299">
                  <c:v>99.011240000000001</c:v>
                </c:pt>
                <c:pt idx="1300">
                  <c:v>99.60933</c:v>
                </c:pt>
                <c:pt idx="1301">
                  <c:v>98.657820000000001</c:v>
                </c:pt>
                <c:pt idx="1302">
                  <c:v>96.94511</c:v>
                </c:pt>
                <c:pt idx="1303">
                  <c:v>95.667366000000001</c:v>
                </c:pt>
                <c:pt idx="1304">
                  <c:v>92.86721</c:v>
                </c:pt>
                <c:pt idx="1305">
                  <c:v>92.957830000000001</c:v>
                </c:pt>
                <c:pt idx="1306">
                  <c:v>91.924760000000006</c:v>
                </c:pt>
                <c:pt idx="1307">
                  <c:v>91.661969999999997</c:v>
                </c:pt>
                <c:pt idx="1308">
                  <c:v>93.574036000000007</c:v>
                </c:pt>
                <c:pt idx="1309">
                  <c:v>92.169426000000001</c:v>
                </c:pt>
                <c:pt idx="1310">
                  <c:v>91.471664000000004</c:v>
                </c:pt>
                <c:pt idx="1311">
                  <c:v>89.831440000000001</c:v>
                </c:pt>
                <c:pt idx="1312">
                  <c:v>88.109669999999994</c:v>
                </c:pt>
                <c:pt idx="1313">
                  <c:v>88.444940000000003</c:v>
                </c:pt>
                <c:pt idx="1314">
                  <c:v>89.704570000000004</c:v>
                </c:pt>
                <c:pt idx="1315">
                  <c:v>89.015854000000004</c:v>
                </c:pt>
                <c:pt idx="1316">
                  <c:v>87.710939999999994</c:v>
                </c:pt>
                <c:pt idx="1317">
                  <c:v>87.140029999999996</c:v>
                </c:pt>
                <c:pt idx="1318">
                  <c:v>88.145899999999997</c:v>
                </c:pt>
                <c:pt idx="1319">
                  <c:v>88.29092</c:v>
                </c:pt>
                <c:pt idx="1320">
                  <c:v>88.037170000000003</c:v>
                </c:pt>
                <c:pt idx="1321">
                  <c:v>87.719989999999996</c:v>
                </c:pt>
                <c:pt idx="1322">
                  <c:v>88.073419999999999</c:v>
                </c:pt>
                <c:pt idx="1323">
                  <c:v>88.734949999999998</c:v>
                </c:pt>
                <c:pt idx="1324">
                  <c:v>88.363399999999999</c:v>
                </c:pt>
                <c:pt idx="1325">
                  <c:v>90.175803999999999</c:v>
                </c:pt>
                <c:pt idx="1326">
                  <c:v>90.556404000000001</c:v>
                </c:pt>
                <c:pt idx="1327">
                  <c:v>91.027619999999999</c:v>
                </c:pt>
                <c:pt idx="1328">
                  <c:v>90.782960000000003</c:v>
                </c:pt>
                <c:pt idx="1329">
                  <c:v>90.900760000000005</c:v>
                </c:pt>
                <c:pt idx="1330">
                  <c:v>91.616646000000003</c:v>
                </c:pt>
                <c:pt idx="1331">
                  <c:v>92.278175000000005</c:v>
                </c:pt>
                <c:pt idx="1332">
                  <c:v>91.681889999999996</c:v>
                </c:pt>
                <c:pt idx="1333">
                  <c:v>91.681889999999996</c:v>
                </c:pt>
                <c:pt idx="1334">
                  <c:v>91.563000000000002</c:v>
                </c:pt>
                <c:pt idx="1335">
                  <c:v>91.645340000000004</c:v>
                </c:pt>
                <c:pt idx="1336">
                  <c:v>92.212339999999998</c:v>
                </c:pt>
                <c:pt idx="1337">
                  <c:v>92.514139999999998</c:v>
                </c:pt>
                <c:pt idx="1338">
                  <c:v>93.730450000000005</c:v>
                </c:pt>
                <c:pt idx="1339">
                  <c:v>94.388915999999995</c:v>
                </c:pt>
                <c:pt idx="1340">
                  <c:v>95.550380000000004</c:v>
                </c:pt>
                <c:pt idx="1341">
                  <c:v>96.272859999999994</c:v>
                </c:pt>
                <c:pt idx="1342">
                  <c:v>96.144819999999996</c:v>
                </c:pt>
                <c:pt idx="1343">
                  <c:v>98.412859999999995</c:v>
                </c:pt>
                <c:pt idx="1344">
                  <c:v>96.373450000000005</c:v>
                </c:pt>
                <c:pt idx="1345">
                  <c:v>96.903880000000001</c:v>
                </c:pt>
                <c:pt idx="1346">
                  <c:v>96.766689999999997</c:v>
                </c:pt>
                <c:pt idx="1347">
                  <c:v>98.074485999999993</c:v>
                </c:pt>
                <c:pt idx="1348">
                  <c:v>99.107910000000004</c:v>
                </c:pt>
                <c:pt idx="1349">
                  <c:v>99.674933999999993</c:v>
                </c:pt>
                <c:pt idx="1350">
                  <c:v>98.815250000000006</c:v>
                </c:pt>
                <c:pt idx="1351">
                  <c:v>99.016450000000006</c:v>
                </c:pt>
                <c:pt idx="1352">
                  <c:v>99.391419999999997</c:v>
                </c:pt>
                <c:pt idx="1353">
                  <c:v>99.565169999999995</c:v>
                </c:pt>
                <c:pt idx="1354">
                  <c:v>100.16876000000001</c:v>
                </c:pt>
                <c:pt idx="1355">
                  <c:v>99.501159999999999</c:v>
                </c:pt>
                <c:pt idx="1356">
                  <c:v>100.18707999999999</c:v>
                </c:pt>
                <c:pt idx="1357">
                  <c:v>100.19619</c:v>
                </c:pt>
                <c:pt idx="1358">
                  <c:v>98.550060000000002</c:v>
                </c:pt>
                <c:pt idx="1359">
                  <c:v>103.24159</c:v>
                </c:pt>
                <c:pt idx="1360">
                  <c:v>102.92151</c:v>
                </c:pt>
                <c:pt idx="1361">
                  <c:v>101.99784</c:v>
                </c:pt>
                <c:pt idx="1362">
                  <c:v>103.05868</c:v>
                </c:pt>
                <c:pt idx="1363">
                  <c:v>103.30562</c:v>
                </c:pt>
                <c:pt idx="1364">
                  <c:v>105.0615</c:v>
                </c:pt>
                <c:pt idx="1365">
                  <c:v>105.01578000000001</c:v>
                </c:pt>
                <c:pt idx="1366">
                  <c:v>105.87542999999999</c:v>
                </c:pt>
                <c:pt idx="1367">
                  <c:v>106.09491</c:v>
                </c:pt>
                <c:pt idx="1368">
                  <c:v>104.61339</c:v>
                </c:pt>
                <c:pt idx="1369">
                  <c:v>104.93348</c:v>
                </c:pt>
                <c:pt idx="1370">
                  <c:v>105.363304</c:v>
                </c:pt>
                <c:pt idx="1371">
                  <c:v>105.17127000000001</c:v>
                </c:pt>
                <c:pt idx="1372">
                  <c:v>104.512794</c:v>
                </c:pt>
                <c:pt idx="1373">
                  <c:v>104.42135</c:v>
                </c:pt>
                <c:pt idx="1374">
                  <c:v>105.17127000000001</c:v>
                </c:pt>
                <c:pt idx="1375">
                  <c:v>103.90005499999999</c:v>
                </c:pt>
                <c:pt idx="1376">
                  <c:v>104.88775</c:v>
                </c:pt>
                <c:pt idx="1377">
                  <c:v>106.36015999999999</c:v>
                </c:pt>
                <c:pt idx="1378">
                  <c:v>107.34784000000001</c:v>
                </c:pt>
                <c:pt idx="1379">
                  <c:v>104.45791</c:v>
                </c:pt>
                <c:pt idx="1380">
                  <c:v>103.790306</c:v>
                </c:pt>
                <c:pt idx="1381">
                  <c:v>103.98237</c:v>
                </c:pt>
                <c:pt idx="1382">
                  <c:v>103.22329999999999</c:v>
                </c:pt>
                <c:pt idx="1383">
                  <c:v>103.36048</c:v>
                </c:pt>
                <c:pt idx="1384">
                  <c:v>103.433655</c:v>
                </c:pt>
                <c:pt idx="1385">
                  <c:v>103.75373999999999</c:v>
                </c:pt>
                <c:pt idx="1386">
                  <c:v>104.48536</c:v>
                </c:pt>
                <c:pt idx="1387">
                  <c:v>105.13467</c:v>
                </c:pt>
                <c:pt idx="1388">
                  <c:v>105.02493</c:v>
                </c:pt>
                <c:pt idx="1389">
                  <c:v>104.00064999999999</c:v>
                </c:pt>
                <c:pt idx="1390">
                  <c:v>102.64713999999999</c:v>
                </c:pt>
                <c:pt idx="1391">
                  <c:v>102.36364</c:v>
                </c:pt>
                <c:pt idx="1392">
                  <c:v>102.56483</c:v>
                </c:pt>
                <c:pt idx="1393">
                  <c:v>102.80262</c:v>
                </c:pt>
                <c:pt idx="1394">
                  <c:v>101.6686</c:v>
                </c:pt>
                <c:pt idx="1395">
                  <c:v>102.47338999999999</c:v>
                </c:pt>
                <c:pt idx="1396">
                  <c:v>102.391075</c:v>
                </c:pt>
                <c:pt idx="1397">
                  <c:v>102.436806</c:v>
                </c:pt>
                <c:pt idx="1398">
                  <c:v>101.51313</c:v>
                </c:pt>
                <c:pt idx="1399">
                  <c:v>103.45193500000001</c:v>
                </c:pt>
                <c:pt idx="1400">
                  <c:v>104.65805</c:v>
                </c:pt>
                <c:pt idx="1401">
                  <c:v>103.95725</c:v>
                </c:pt>
                <c:pt idx="1402">
                  <c:v>104.72259</c:v>
                </c:pt>
                <c:pt idx="1403">
                  <c:v>104.50129</c:v>
                </c:pt>
                <c:pt idx="1404">
                  <c:v>104.980774</c:v>
                </c:pt>
                <c:pt idx="1405">
                  <c:v>106.03197</c:v>
                </c:pt>
                <c:pt idx="1406">
                  <c:v>105.64467</c:v>
                </c:pt>
                <c:pt idx="1407">
                  <c:v>106.41003000000001</c:v>
                </c:pt>
                <c:pt idx="1408">
                  <c:v>105.10063</c:v>
                </c:pt>
                <c:pt idx="1409">
                  <c:v>104.907</c:v>
                </c:pt>
                <c:pt idx="1410">
                  <c:v>106.24404</c:v>
                </c:pt>
                <c:pt idx="1411">
                  <c:v>105.95820000000001</c:v>
                </c:pt>
                <c:pt idx="1412">
                  <c:v>103.52386</c:v>
                </c:pt>
                <c:pt idx="1413">
                  <c:v>103.247246</c:v>
                </c:pt>
                <c:pt idx="1414">
                  <c:v>102.81384</c:v>
                </c:pt>
                <c:pt idx="1415">
                  <c:v>102.3989</c:v>
                </c:pt>
                <c:pt idx="1416">
                  <c:v>103.09047</c:v>
                </c:pt>
                <c:pt idx="1417">
                  <c:v>102.08539</c:v>
                </c:pt>
                <c:pt idx="1418">
                  <c:v>100.25042000000001</c:v>
                </c:pt>
                <c:pt idx="1419">
                  <c:v>99.143889999999999</c:v>
                </c:pt>
                <c:pt idx="1420">
                  <c:v>98.3048</c:v>
                </c:pt>
                <c:pt idx="1421">
                  <c:v>98.194145000000006</c:v>
                </c:pt>
                <c:pt idx="1422">
                  <c:v>99.761700000000005</c:v>
                </c:pt>
                <c:pt idx="1423">
                  <c:v>99.697159999999997</c:v>
                </c:pt>
                <c:pt idx="1424">
                  <c:v>98.977936</c:v>
                </c:pt>
                <c:pt idx="1425">
                  <c:v>96.875540000000001</c:v>
                </c:pt>
                <c:pt idx="1426">
                  <c:v>97.078400000000002</c:v>
                </c:pt>
                <c:pt idx="1427">
                  <c:v>97.401129999999995</c:v>
                </c:pt>
                <c:pt idx="1428">
                  <c:v>99.024024999999995</c:v>
                </c:pt>
                <c:pt idx="1429">
                  <c:v>99.872370000000004</c:v>
                </c:pt>
                <c:pt idx="1430">
                  <c:v>99.521950000000004</c:v>
                </c:pt>
                <c:pt idx="1431">
                  <c:v>101.69813000000001</c:v>
                </c:pt>
                <c:pt idx="1432">
                  <c:v>100.87746</c:v>
                </c:pt>
                <c:pt idx="1433">
                  <c:v>101.55057499999999</c:v>
                </c:pt>
                <c:pt idx="1434">
                  <c:v>104.1601</c:v>
                </c:pt>
                <c:pt idx="1435">
                  <c:v>104.05868</c:v>
                </c:pt>
                <c:pt idx="1436">
                  <c:v>101.845634</c:v>
                </c:pt>
                <c:pt idx="1437">
                  <c:v>104.09556000000001</c:v>
                </c:pt>
                <c:pt idx="1438">
                  <c:v>104.907</c:v>
                </c:pt>
                <c:pt idx="1439">
                  <c:v>103.62528</c:v>
                </c:pt>
                <c:pt idx="1440">
                  <c:v>102.82307400000001</c:v>
                </c:pt>
                <c:pt idx="1441">
                  <c:v>102.50955999999999</c:v>
                </c:pt>
                <c:pt idx="1442">
                  <c:v>105.47873</c:v>
                </c:pt>
                <c:pt idx="1443">
                  <c:v>106.23483</c:v>
                </c:pt>
                <c:pt idx="1444">
                  <c:v>106.60366999999999</c:v>
                </c:pt>
                <c:pt idx="1445">
                  <c:v>107.01861</c:v>
                </c:pt>
                <c:pt idx="1446">
                  <c:v>108.32799</c:v>
                </c:pt>
                <c:pt idx="1447">
                  <c:v>107.85773</c:v>
                </c:pt>
                <c:pt idx="1448">
                  <c:v>108.014465</c:v>
                </c:pt>
                <c:pt idx="1449">
                  <c:v>107.562645</c:v>
                </c:pt>
                <c:pt idx="1450">
                  <c:v>107.70096599999999</c:v>
                </c:pt>
                <c:pt idx="1451">
                  <c:v>109.13023</c:v>
                </c:pt>
                <c:pt idx="1452">
                  <c:v>109.7388</c:v>
                </c:pt>
                <c:pt idx="1453">
                  <c:v>106.96328</c:v>
                </c:pt>
                <c:pt idx="1454">
                  <c:v>106.29935999999999</c:v>
                </c:pt>
                <c:pt idx="1455">
                  <c:v>106.41924</c:v>
                </c:pt>
                <c:pt idx="1456">
                  <c:v>106.83419000000001</c:v>
                </c:pt>
                <c:pt idx="1457">
                  <c:v>107.36902000000001</c:v>
                </c:pt>
                <c:pt idx="1458">
                  <c:v>109.26853</c:v>
                </c:pt>
                <c:pt idx="1459">
                  <c:v>109.05645</c:v>
                </c:pt>
                <c:pt idx="1460">
                  <c:v>112.440544</c:v>
                </c:pt>
                <c:pt idx="1461">
                  <c:v>109.711136</c:v>
                </c:pt>
                <c:pt idx="1462">
                  <c:v>108.62308</c:v>
                </c:pt>
                <c:pt idx="1463">
                  <c:v>108.59331</c:v>
                </c:pt>
                <c:pt idx="1464">
                  <c:v>107.64530000000001</c:v>
                </c:pt>
                <c:pt idx="1465">
                  <c:v>107.98918999999999</c:v>
                </c:pt>
                <c:pt idx="1466">
                  <c:v>109.01156</c:v>
                </c:pt>
                <c:pt idx="1467">
                  <c:v>108.742035</c:v>
                </c:pt>
                <c:pt idx="1468">
                  <c:v>109.99673</c:v>
                </c:pt>
                <c:pt idx="1469">
                  <c:v>105.90730000000001</c:v>
                </c:pt>
                <c:pt idx="1470">
                  <c:v>104.90353399999999</c:v>
                </c:pt>
                <c:pt idx="1471">
                  <c:v>103.94623</c:v>
                </c:pt>
                <c:pt idx="1472">
                  <c:v>102.27328</c:v>
                </c:pt>
                <c:pt idx="1473">
                  <c:v>102.43127</c:v>
                </c:pt>
                <c:pt idx="1474">
                  <c:v>101.69703</c:v>
                </c:pt>
                <c:pt idx="1475">
                  <c:v>98.546300000000002</c:v>
                </c:pt>
                <c:pt idx="1476">
                  <c:v>100.68397</c:v>
                </c:pt>
                <c:pt idx="1477">
                  <c:v>101.69703</c:v>
                </c:pt>
                <c:pt idx="1478">
                  <c:v>102.57068</c:v>
                </c:pt>
                <c:pt idx="1479">
                  <c:v>102.68222</c:v>
                </c:pt>
                <c:pt idx="1480">
                  <c:v>101.5669</c:v>
                </c:pt>
                <c:pt idx="1481">
                  <c:v>100.61892</c:v>
                </c:pt>
                <c:pt idx="1482">
                  <c:v>102.68222</c:v>
                </c:pt>
                <c:pt idx="1483">
                  <c:v>101.799255</c:v>
                </c:pt>
                <c:pt idx="1484">
                  <c:v>102.77515</c:v>
                </c:pt>
                <c:pt idx="1485">
                  <c:v>99.903244000000001</c:v>
                </c:pt>
                <c:pt idx="1486">
                  <c:v>100.51667</c:v>
                </c:pt>
                <c:pt idx="1487">
                  <c:v>100.525955</c:v>
                </c:pt>
                <c:pt idx="1488">
                  <c:v>99.745260000000002</c:v>
                </c:pt>
                <c:pt idx="1489">
                  <c:v>101.297386</c:v>
                </c:pt>
                <c:pt idx="1490">
                  <c:v>100.69326</c:v>
                </c:pt>
                <c:pt idx="1491">
                  <c:v>101.51115</c:v>
                </c:pt>
                <c:pt idx="1492">
                  <c:v>102.30115499999999</c:v>
                </c:pt>
                <c:pt idx="1493">
                  <c:v>102.15243</c:v>
                </c:pt>
                <c:pt idx="1494">
                  <c:v>102.91457</c:v>
                </c:pt>
                <c:pt idx="1495">
                  <c:v>101.77137999999999</c:v>
                </c:pt>
                <c:pt idx="1496">
                  <c:v>101.63197</c:v>
                </c:pt>
                <c:pt idx="1497">
                  <c:v>101.13937</c:v>
                </c:pt>
                <c:pt idx="1498">
                  <c:v>101.30667</c:v>
                </c:pt>
                <c:pt idx="1499">
                  <c:v>102.99821</c:v>
                </c:pt>
                <c:pt idx="1500">
                  <c:v>104.71764</c:v>
                </c:pt>
                <c:pt idx="1501">
                  <c:v>104.27154</c:v>
                </c:pt>
                <c:pt idx="1502">
                  <c:v>105.10799400000001</c:v>
                </c:pt>
                <c:pt idx="1503">
                  <c:v>104.93142</c:v>
                </c:pt>
                <c:pt idx="1504">
                  <c:v>105.07082</c:v>
                </c:pt>
                <c:pt idx="1505">
                  <c:v>105.10799400000001</c:v>
                </c:pt>
                <c:pt idx="1506">
                  <c:v>105.04292</c:v>
                </c:pt>
                <c:pt idx="1507">
                  <c:v>104.99648000000001</c:v>
                </c:pt>
                <c:pt idx="1508">
                  <c:v>105.7586</c:v>
                </c:pt>
                <c:pt idx="1509">
                  <c:v>106.06528</c:v>
                </c:pt>
                <c:pt idx="1510">
                  <c:v>104.64328</c:v>
                </c:pt>
                <c:pt idx="1511">
                  <c:v>107.72895</c:v>
                </c:pt>
                <c:pt idx="1512">
                  <c:v>107.74755999999999</c:v>
                </c:pt>
                <c:pt idx="1513">
                  <c:v>107.654625</c:v>
                </c:pt>
                <c:pt idx="1514">
                  <c:v>107.90554</c:v>
                </c:pt>
                <c:pt idx="1515">
                  <c:v>108.51897</c:v>
                </c:pt>
                <c:pt idx="1516">
                  <c:v>107.86836</c:v>
                </c:pt>
                <c:pt idx="1517">
                  <c:v>107.78471</c:v>
                </c:pt>
                <c:pt idx="1518">
                  <c:v>107.22708</c:v>
                </c:pt>
                <c:pt idx="1519">
                  <c:v>108.34954999999999</c:v>
                </c:pt>
                <c:pt idx="1520">
                  <c:v>108.85551</c:v>
                </c:pt>
                <c:pt idx="1521">
                  <c:v>108.84614000000001</c:v>
                </c:pt>
                <c:pt idx="1522">
                  <c:v>108.71496</c:v>
                </c:pt>
                <c:pt idx="1523">
                  <c:v>109.30524</c:v>
                </c:pt>
                <c:pt idx="1524">
                  <c:v>108.78055000000001</c:v>
                </c:pt>
                <c:pt idx="1525">
                  <c:v>107.9654</c:v>
                </c:pt>
                <c:pt idx="1526">
                  <c:v>109.23965</c:v>
                </c:pt>
                <c:pt idx="1527">
                  <c:v>109.22091</c:v>
                </c:pt>
                <c:pt idx="1528">
                  <c:v>109.23028600000001</c:v>
                </c:pt>
                <c:pt idx="1529">
                  <c:v>108.21837600000001</c:v>
                </c:pt>
                <c:pt idx="1530">
                  <c:v>108.368286</c:v>
                </c:pt>
                <c:pt idx="1531">
                  <c:v>109.87678</c:v>
                </c:pt>
                <c:pt idx="1532">
                  <c:v>110.64509</c:v>
                </c:pt>
                <c:pt idx="1533">
                  <c:v>110.86059</c:v>
                </c:pt>
                <c:pt idx="1534">
                  <c:v>111.90998</c:v>
                </c:pt>
                <c:pt idx="1535">
                  <c:v>113.10928</c:v>
                </c:pt>
                <c:pt idx="1536">
                  <c:v>113.23108999999999</c:v>
                </c:pt>
                <c:pt idx="1537">
                  <c:v>114.327324</c:v>
                </c:pt>
                <c:pt idx="1538">
                  <c:v>114.20553</c:v>
                </c:pt>
                <c:pt idx="1539">
                  <c:v>114.15867</c:v>
                </c:pt>
                <c:pt idx="1540">
                  <c:v>114.82391</c:v>
                </c:pt>
                <c:pt idx="1541">
                  <c:v>114.30858600000001</c:v>
                </c:pt>
                <c:pt idx="1542">
                  <c:v>114.00875000000001</c:v>
                </c:pt>
                <c:pt idx="1543">
                  <c:v>113.89632400000001</c:v>
                </c:pt>
                <c:pt idx="1544">
                  <c:v>113.812004</c:v>
                </c:pt>
                <c:pt idx="1545">
                  <c:v>113.95255</c:v>
                </c:pt>
                <c:pt idx="1546">
                  <c:v>114.30858600000001</c:v>
                </c:pt>
                <c:pt idx="1547">
                  <c:v>114.467865</c:v>
                </c:pt>
                <c:pt idx="1548">
                  <c:v>114.346054</c:v>
                </c:pt>
                <c:pt idx="1549">
                  <c:v>113.99939999999999</c:v>
                </c:pt>
                <c:pt idx="1550">
                  <c:v>114.52408</c:v>
                </c:pt>
                <c:pt idx="1551">
                  <c:v>115.863945</c:v>
                </c:pt>
                <c:pt idx="1552">
                  <c:v>114.69275</c:v>
                </c:pt>
                <c:pt idx="1553">
                  <c:v>119.00274</c:v>
                </c:pt>
                <c:pt idx="1554">
                  <c:v>119.07769</c:v>
                </c:pt>
                <c:pt idx="1555">
                  <c:v>118.46867</c:v>
                </c:pt>
                <c:pt idx="1556">
                  <c:v>119.07769</c:v>
                </c:pt>
                <c:pt idx="1557">
                  <c:v>118.91840000000001</c:v>
                </c:pt>
                <c:pt idx="1558">
                  <c:v>118.17821499999999</c:v>
                </c:pt>
                <c:pt idx="1559">
                  <c:v>118.43118</c:v>
                </c:pt>
                <c:pt idx="1560">
                  <c:v>118.7029</c:v>
                </c:pt>
                <c:pt idx="1561">
                  <c:v>119.97716</c:v>
                </c:pt>
                <c:pt idx="1562">
                  <c:v>119.21823000000001</c:v>
                </c:pt>
                <c:pt idx="1563">
                  <c:v>118.83410000000001</c:v>
                </c:pt>
                <c:pt idx="1564">
                  <c:v>119.62112399999999</c:v>
                </c:pt>
                <c:pt idx="1565">
                  <c:v>119.24634</c:v>
                </c:pt>
                <c:pt idx="1566">
                  <c:v>118.03767000000001</c:v>
                </c:pt>
                <c:pt idx="1567">
                  <c:v>118.07513400000001</c:v>
                </c:pt>
                <c:pt idx="1568">
                  <c:v>118.10326000000001</c:v>
                </c:pt>
                <c:pt idx="1569">
                  <c:v>119.93968</c:v>
                </c:pt>
                <c:pt idx="1570">
                  <c:v>119.14327</c:v>
                </c:pt>
                <c:pt idx="1571">
                  <c:v>119.37751</c:v>
                </c:pt>
                <c:pt idx="1572">
                  <c:v>121.19521</c:v>
                </c:pt>
                <c:pt idx="1573">
                  <c:v>122.057236</c:v>
                </c:pt>
                <c:pt idx="1574">
                  <c:v>122.28206</c:v>
                </c:pt>
                <c:pt idx="1575">
                  <c:v>121.79487</c:v>
                </c:pt>
                <c:pt idx="1576">
                  <c:v>120.91413</c:v>
                </c:pt>
                <c:pt idx="1577">
                  <c:v>121.86982999999999</c:v>
                </c:pt>
                <c:pt idx="1578">
                  <c:v>121.77614</c:v>
                </c:pt>
                <c:pt idx="1579">
                  <c:v>121.33575</c:v>
                </c:pt>
                <c:pt idx="1580">
                  <c:v>119.58364</c:v>
                </c:pt>
                <c:pt idx="1581">
                  <c:v>120.0896</c:v>
                </c:pt>
                <c:pt idx="1582">
                  <c:v>120.50187</c:v>
                </c:pt>
                <c:pt idx="1583">
                  <c:v>119.93031000000001</c:v>
                </c:pt>
                <c:pt idx="1584">
                  <c:v>120.84852600000001</c:v>
                </c:pt>
                <c:pt idx="1585">
                  <c:v>120.93288</c:v>
                </c:pt>
                <c:pt idx="1586">
                  <c:v>123.1066</c:v>
                </c:pt>
                <c:pt idx="1587">
                  <c:v>124.564804</c:v>
                </c:pt>
                <c:pt idx="1588">
                  <c:v>125.97108</c:v>
                </c:pt>
                <c:pt idx="1589">
                  <c:v>126.08432999999999</c:v>
                </c:pt>
                <c:pt idx="1590">
                  <c:v>125.71626000000001</c:v>
                </c:pt>
                <c:pt idx="1591">
                  <c:v>125.659615</c:v>
                </c:pt>
                <c:pt idx="1592">
                  <c:v>125.47084</c:v>
                </c:pt>
                <c:pt idx="1593">
                  <c:v>125.272644</c:v>
                </c:pt>
                <c:pt idx="1594">
                  <c:v>125.07446</c:v>
                </c:pt>
                <c:pt idx="1595">
                  <c:v>124.6403</c:v>
                </c:pt>
                <c:pt idx="1596">
                  <c:v>125.38592</c:v>
                </c:pt>
                <c:pt idx="1597">
                  <c:v>126.62233000000001</c:v>
                </c:pt>
                <c:pt idx="1598">
                  <c:v>126.43356</c:v>
                </c:pt>
                <c:pt idx="1599">
                  <c:v>126.60343</c:v>
                </c:pt>
                <c:pt idx="1600">
                  <c:v>126.291954</c:v>
                </c:pt>
                <c:pt idx="1601">
                  <c:v>124.885704</c:v>
                </c:pt>
                <c:pt idx="1602">
                  <c:v>124.2911</c:v>
                </c:pt>
                <c:pt idx="1603">
                  <c:v>123.76256600000001</c:v>
                </c:pt>
                <c:pt idx="1604">
                  <c:v>124.46097</c:v>
                </c:pt>
                <c:pt idx="1605">
                  <c:v>124.98951</c:v>
                </c:pt>
                <c:pt idx="1606">
                  <c:v>126.46187</c:v>
                </c:pt>
                <c:pt idx="1607">
                  <c:v>125.54637</c:v>
                </c:pt>
                <c:pt idx="1608">
                  <c:v>125.112206</c:v>
                </c:pt>
                <c:pt idx="1609">
                  <c:v>124.33826999999999</c:v>
                </c:pt>
                <c:pt idx="1610">
                  <c:v>126.85826</c:v>
                </c:pt>
                <c:pt idx="1611">
                  <c:v>126.80162</c:v>
                </c:pt>
                <c:pt idx="1612">
                  <c:v>125.79174</c:v>
                </c:pt>
                <c:pt idx="1613">
                  <c:v>126.61286</c:v>
                </c:pt>
                <c:pt idx="1614">
                  <c:v>126.28254</c:v>
                </c:pt>
                <c:pt idx="1615">
                  <c:v>125.31984</c:v>
                </c:pt>
                <c:pt idx="1616">
                  <c:v>125.41421</c:v>
                </c:pt>
                <c:pt idx="1617">
                  <c:v>122.78098</c:v>
                </c:pt>
                <c:pt idx="1618">
                  <c:v>122.96031000000001</c:v>
                </c:pt>
                <c:pt idx="1619">
                  <c:v>123.39447</c:v>
                </c:pt>
                <c:pt idx="1620">
                  <c:v>121.950424</c:v>
                </c:pt>
                <c:pt idx="1621">
                  <c:v>121.7428</c:v>
                </c:pt>
                <c:pt idx="1622">
                  <c:v>123.84751</c:v>
                </c:pt>
                <c:pt idx="1623">
                  <c:v>124.14008</c:v>
                </c:pt>
                <c:pt idx="1624">
                  <c:v>123.149055</c:v>
                </c:pt>
                <c:pt idx="1625">
                  <c:v>120.62909000000001</c:v>
                </c:pt>
                <c:pt idx="1626">
                  <c:v>119.996735</c:v>
                </c:pt>
                <c:pt idx="1627">
                  <c:v>120.7329</c:v>
                </c:pt>
                <c:pt idx="1628">
                  <c:v>117.410675</c:v>
                </c:pt>
                <c:pt idx="1629">
                  <c:v>119.34549</c:v>
                </c:pt>
                <c:pt idx="1630">
                  <c:v>120.60075999999999</c:v>
                </c:pt>
                <c:pt idx="1631">
                  <c:v>122.19582</c:v>
                </c:pt>
                <c:pt idx="1632">
                  <c:v>121.3747</c:v>
                </c:pt>
                <c:pt idx="1633">
                  <c:v>121.13875</c:v>
                </c:pt>
                <c:pt idx="1634">
                  <c:v>122.62994999999999</c:v>
                </c:pt>
                <c:pt idx="1635">
                  <c:v>121.86548000000001</c:v>
                </c:pt>
                <c:pt idx="1636">
                  <c:v>123.37559</c:v>
                </c:pt>
                <c:pt idx="1637">
                  <c:v>124.35715</c:v>
                </c:pt>
                <c:pt idx="1638">
                  <c:v>125.121635</c:v>
                </c:pt>
                <c:pt idx="1639">
                  <c:v>124.6403</c:v>
                </c:pt>
                <c:pt idx="1640">
                  <c:v>124.90459</c:v>
                </c:pt>
                <c:pt idx="1641">
                  <c:v>125.206604</c:v>
                </c:pt>
                <c:pt idx="1642">
                  <c:v>122.95088</c:v>
                </c:pt>
                <c:pt idx="1643">
                  <c:v>126.225914</c:v>
                </c:pt>
                <c:pt idx="1644">
                  <c:v>127.18861</c:v>
                </c:pt>
                <c:pt idx="1645">
                  <c:v>127.59444999999999</c:v>
                </c:pt>
                <c:pt idx="1646">
                  <c:v>128.37782000000001</c:v>
                </c:pt>
                <c:pt idx="1647">
                  <c:v>129.04794000000001</c:v>
                </c:pt>
                <c:pt idx="1648">
                  <c:v>129.73692</c:v>
                </c:pt>
                <c:pt idx="1649">
                  <c:v>131.33194</c:v>
                </c:pt>
                <c:pt idx="1650">
                  <c:v>129.22695999999999</c:v>
                </c:pt>
                <c:pt idx="1651">
                  <c:v>130.54793000000001</c:v>
                </c:pt>
                <c:pt idx="1652">
                  <c:v>129.62610000000001</c:v>
                </c:pt>
                <c:pt idx="1653">
                  <c:v>129.11293000000001</c:v>
                </c:pt>
                <c:pt idx="1654">
                  <c:v>129.58806999999999</c:v>
                </c:pt>
                <c:pt idx="1655">
                  <c:v>130.47190000000001</c:v>
                </c:pt>
                <c:pt idx="1656">
                  <c:v>129.66410999999999</c:v>
                </c:pt>
                <c:pt idx="1657">
                  <c:v>128.1816</c:v>
                </c:pt>
                <c:pt idx="1658">
                  <c:v>128.96088</c:v>
                </c:pt>
                <c:pt idx="1659">
                  <c:v>128.77081000000001</c:v>
                </c:pt>
                <c:pt idx="1660">
                  <c:v>128.75176999999999</c:v>
                </c:pt>
                <c:pt idx="1661">
                  <c:v>128.02001999999999</c:v>
                </c:pt>
                <c:pt idx="1662">
                  <c:v>128.71378000000001</c:v>
                </c:pt>
                <c:pt idx="1663">
                  <c:v>128.63775999999999</c:v>
                </c:pt>
                <c:pt idx="1664">
                  <c:v>128.38114999999999</c:v>
                </c:pt>
                <c:pt idx="1665">
                  <c:v>128.97987000000001</c:v>
                </c:pt>
                <c:pt idx="1666">
                  <c:v>128.86583999999999</c:v>
                </c:pt>
                <c:pt idx="1667">
                  <c:v>130.29134999999999</c:v>
                </c:pt>
                <c:pt idx="1668">
                  <c:v>130.54793000000001</c:v>
                </c:pt>
                <c:pt idx="1669">
                  <c:v>127.28828</c:v>
                </c:pt>
                <c:pt idx="1670">
                  <c:v>131.08011999999999</c:v>
                </c:pt>
                <c:pt idx="1671">
                  <c:v>133.31342000000001</c:v>
                </c:pt>
                <c:pt idx="1672">
                  <c:v>131.46974</c:v>
                </c:pt>
                <c:pt idx="1673">
                  <c:v>130.42438000000001</c:v>
                </c:pt>
                <c:pt idx="1674">
                  <c:v>131.00409999999999</c:v>
                </c:pt>
                <c:pt idx="1675">
                  <c:v>131.04212999999999</c:v>
                </c:pt>
                <c:pt idx="1676">
                  <c:v>130.80449999999999</c:v>
                </c:pt>
                <c:pt idx="1677">
                  <c:v>130.62395000000001</c:v>
                </c:pt>
                <c:pt idx="1678">
                  <c:v>129.55957000000001</c:v>
                </c:pt>
                <c:pt idx="1679">
                  <c:v>129.64510000000001</c:v>
                </c:pt>
                <c:pt idx="1680">
                  <c:v>130.15827999999999</c:v>
                </c:pt>
                <c:pt idx="1681">
                  <c:v>129.48355000000001</c:v>
                </c:pt>
                <c:pt idx="1682">
                  <c:v>129.35999000000001</c:v>
                </c:pt>
                <c:pt idx="1683">
                  <c:v>129.87317999999999</c:v>
                </c:pt>
                <c:pt idx="1684">
                  <c:v>130.62395000000001</c:v>
                </c:pt>
                <c:pt idx="1685">
                  <c:v>131.04212999999999</c:v>
                </c:pt>
                <c:pt idx="1686">
                  <c:v>129.85418999999999</c:v>
                </c:pt>
                <c:pt idx="1687">
                  <c:v>129.78764000000001</c:v>
                </c:pt>
                <c:pt idx="1688">
                  <c:v>129.32198</c:v>
                </c:pt>
                <c:pt idx="1689">
                  <c:v>130.10126</c:v>
                </c:pt>
                <c:pt idx="1690">
                  <c:v>130.35785999999999</c:v>
                </c:pt>
                <c:pt idx="1691">
                  <c:v>130.12978000000001</c:v>
                </c:pt>
                <c:pt idx="1692">
                  <c:v>128.4477</c:v>
                </c:pt>
                <c:pt idx="1693">
                  <c:v>127.354805</c:v>
                </c:pt>
                <c:pt idx="1694">
                  <c:v>127.76342</c:v>
                </c:pt>
                <c:pt idx="1695">
                  <c:v>126.69906</c:v>
                </c:pt>
                <c:pt idx="1696">
                  <c:v>126.518486</c:v>
                </c:pt>
                <c:pt idx="1697">
                  <c:v>125.81524</c:v>
                </c:pt>
                <c:pt idx="1698">
                  <c:v>125.42561000000001</c:v>
                </c:pt>
                <c:pt idx="1699">
                  <c:v>126.67054</c:v>
                </c:pt>
                <c:pt idx="1700">
                  <c:v>126.70858</c:v>
                </c:pt>
                <c:pt idx="1701">
                  <c:v>127.16469600000001</c:v>
                </c:pt>
                <c:pt idx="1702">
                  <c:v>127.40228</c:v>
                </c:pt>
                <c:pt idx="1703">
                  <c:v>127.88699</c:v>
                </c:pt>
                <c:pt idx="1704">
                  <c:v>127.098206</c:v>
                </c:pt>
                <c:pt idx="1705">
                  <c:v>127.25975</c:v>
                </c:pt>
                <c:pt idx="1706">
                  <c:v>127.41182999999999</c:v>
                </c:pt>
                <c:pt idx="1707">
                  <c:v>127.18373</c:v>
                </c:pt>
                <c:pt idx="1708">
                  <c:v>128.96088</c:v>
                </c:pt>
                <c:pt idx="1709">
                  <c:v>129.16045</c:v>
                </c:pt>
                <c:pt idx="1710">
                  <c:v>129.08439999999999</c:v>
                </c:pt>
                <c:pt idx="1711">
                  <c:v>129.13195999999999</c:v>
                </c:pt>
                <c:pt idx="1712">
                  <c:v>128.73278999999999</c:v>
                </c:pt>
                <c:pt idx="1713">
                  <c:v>130.48140000000001</c:v>
                </c:pt>
                <c:pt idx="1714">
                  <c:v>130.47660999999999</c:v>
                </c:pt>
                <c:pt idx="1715">
                  <c:v>131.45276000000001</c:v>
                </c:pt>
                <c:pt idx="1716">
                  <c:v>131.26137</c:v>
                </c:pt>
                <c:pt idx="1717">
                  <c:v>130.40961999999999</c:v>
                </c:pt>
                <c:pt idx="1718">
                  <c:v>131.20394999999999</c:v>
                </c:pt>
                <c:pt idx="1719">
                  <c:v>131.28049999999999</c:v>
                </c:pt>
                <c:pt idx="1720">
                  <c:v>132.00783000000001</c:v>
                </c:pt>
                <c:pt idx="1721">
                  <c:v>131.16565</c:v>
                </c:pt>
                <c:pt idx="1722">
                  <c:v>130.31393</c:v>
                </c:pt>
                <c:pt idx="1723">
                  <c:v>130.12253000000001</c:v>
                </c:pt>
                <c:pt idx="1724">
                  <c:v>130.60104000000001</c:v>
                </c:pt>
                <c:pt idx="1725">
                  <c:v>131.98867999999999</c:v>
                </c:pt>
                <c:pt idx="1726">
                  <c:v>131.1465</c:v>
                </c:pt>
                <c:pt idx="1727">
                  <c:v>131.00296</c:v>
                </c:pt>
                <c:pt idx="1728">
                  <c:v>130.81156999999999</c:v>
                </c:pt>
                <c:pt idx="1729">
                  <c:v>131.62502000000001</c:v>
                </c:pt>
                <c:pt idx="1730">
                  <c:v>130.92642000000001</c:v>
                </c:pt>
                <c:pt idx="1731">
                  <c:v>130.79243</c:v>
                </c:pt>
                <c:pt idx="1732">
                  <c:v>129.97899000000001</c:v>
                </c:pt>
                <c:pt idx="1733">
                  <c:v>129.79714999999999</c:v>
                </c:pt>
                <c:pt idx="1734">
                  <c:v>130.29478</c:v>
                </c:pt>
                <c:pt idx="1735">
                  <c:v>128.24682999999999</c:v>
                </c:pt>
                <c:pt idx="1736">
                  <c:v>128.90715</c:v>
                </c:pt>
                <c:pt idx="1737">
                  <c:v>128.99327</c:v>
                </c:pt>
                <c:pt idx="1738">
                  <c:v>128.74446</c:v>
                </c:pt>
                <c:pt idx="1739">
                  <c:v>130.65844999999999</c:v>
                </c:pt>
                <c:pt idx="1740">
                  <c:v>130.96467999999999</c:v>
                </c:pt>
                <c:pt idx="1741">
                  <c:v>133.21364</c:v>
                </c:pt>
                <c:pt idx="1742">
                  <c:v>133.60598999999999</c:v>
                </c:pt>
                <c:pt idx="1743">
                  <c:v>135.18503999999999</c:v>
                </c:pt>
                <c:pt idx="1744">
                  <c:v>135.75923</c:v>
                </c:pt>
                <c:pt idx="1745">
                  <c:v>137.21385000000001</c:v>
                </c:pt>
                <c:pt idx="1746">
                  <c:v>137.47226000000001</c:v>
                </c:pt>
                <c:pt idx="1747">
                  <c:v>136.77365</c:v>
                </c:pt>
                <c:pt idx="1748">
                  <c:v>136.02718999999999</c:v>
                </c:pt>
                <c:pt idx="1749">
                  <c:v>136.3143</c:v>
                </c:pt>
                <c:pt idx="1750">
                  <c:v>135.63480999999999</c:v>
                </c:pt>
                <c:pt idx="1751">
                  <c:v>137.64449999999999</c:v>
                </c:pt>
                <c:pt idx="1752">
                  <c:v>135.91237000000001</c:v>
                </c:pt>
                <c:pt idx="1753">
                  <c:v>136.38127</c:v>
                </c:pt>
                <c:pt idx="1754">
                  <c:v>137.06073000000001</c:v>
                </c:pt>
                <c:pt idx="1755">
                  <c:v>138.0943</c:v>
                </c:pt>
                <c:pt idx="1756">
                  <c:v>138.12302</c:v>
                </c:pt>
                <c:pt idx="1757">
                  <c:v>139.11829</c:v>
                </c:pt>
                <c:pt idx="1758">
                  <c:v>139.39581000000001</c:v>
                </c:pt>
                <c:pt idx="1759">
                  <c:v>139.79774</c:v>
                </c:pt>
                <c:pt idx="1760">
                  <c:v>139.79774</c:v>
                </c:pt>
                <c:pt idx="1761">
                  <c:v>140.17097000000001</c:v>
                </c:pt>
                <c:pt idx="1762">
                  <c:v>140.66861</c:v>
                </c:pt>
                <c:pt idx="1763">
                  <c:v>139.33840000000001</c:v>
                </c:pt>
                <c:pt idx="1764">
                  <c:v>139.2714</c:v>
                </c:pt>
                <c:pt idx="1765">
                  <c:v>138.91730000000001</c:v>
                </c:pt>
                <c:pt idx="1766">
                  <c:v>139.57764</c:v>
                </c:pt>
                <c:pt idx="1767">
                  <c:v>136.50568999999999</c:v>
                </c:pt>
                <c:pt idx="1768">
                  <c:v>135.03190000000001</c:v>
                </c:pt>
                <c:pt idx="1769">
                  <c:v>135.87406999999999</c:v>
                </c:pt>
                <c:pt idx="1770">
                  <c:v>130.50532999999999</c:v>
                </c:pt>
                <c:pt idx="1771">
                  <c:v>126.35198</c:v>
                </c:pt>
                <c:pt idx="1772">
                  <c:v>131.66329999999999</c:v>
                </c:pt>
                <c:pt idx="1773">
                  <c:v>129.74931000000001</c:v>
                </c:pt>
                <c:pt idx="1774">
                  <c:v>136.26644999999999</c:v>
                </c:pt>
                <c:pt idx="1775">
                  <c:v>133.05331000000001</c:v>
                </c:pt>
                <c:pt idx="1776">
                  <c:v>132.244</c:v>
                </c:pt>
                <c:pt idx="1777">
                  <c:v>125.40348</c:v>
                </c:pt>
                <c:pt idx="1778">
                  <c:v>129.23802000000001</c:v>
                </c:pt>
                <c:pt idx="1779">
                  <c:v>125.00845</c:v>
                </c:pt>
                <c:pt idx="1780">
                  <c:v>111.12504</c:v>
                </c:pt>
                <c:pt idx="1781">
                  <c:v>122.7925</c:v>
                </c:pt>
                <c:pt idx="1782">
                  <c:v>108.95726999999999</c:v>
                </c:pt>
                <c:pt idx="1783">
                  <c:v>123.05264</c:v>
                </c:pt>
                <c:pt idx="1784">
                  <c:v>116.501114</c:v>
                </c:pt>
                <c:pt idx="1785">
                  <c:v>113.051956</c:v>
                </c:pt>
                <c:pt idx="1786">
                  <c:v>100.13200000000001</c:v>
                </c:pt>
                <c:pt idx="1787">
                  <c:v>101.33633</c:v>
                </c:pt>
                <c:pt idx="1788">
                  <c:v>109.67986000000001</c:v>
                </c:pt>
                <c:pt idx="1789">
                  <c:v>108.38884</c:v>
                </c:pt>
                <c:pt idx="1790">
                  <c:v>115.86526000000001</c:v>
                </c:pt>
                <c:pt idx="1791">
                  <c:v>116.05794</c:v>
                </c:pt>
                <c:pt idx="1792">
                  <c:v>120.89449999999999</c:v>
                </c:pt>
                <c:pt idx="1793">
                  <c:v>115.7111</c:v>
                </c:pt>
                <c:pt idx="1794">
                  <c:v>113.803444</c:v>
                </c:pt>
                <c:pt idx="1795">
                  <c:v>119.33369999999999</c:v>
                </c:pt>
                <c:pt idx="1796">
                  <c:v>120.03702</c:v>
                </c:pt>
                <c:pt idx="1797">
                  <c:v>126.36691999999999</c:v>
                </c:pt>
                <c:pt idx="1798">
                  <c:v>125.71177</c:v>
                </c:pt>
                <c:pt idx="1799">
                  <c:v>127.76394000000001</c:v>
                </c:pt>
                <c:pt idx="1800">
                  <c:v>128.74665999999999</c:v>
                </c:pt>
                <c:pt idx="1801">
                  <c:v>126.10677</c:v>
                </c:pt>
                <c:pt idx="1802">
                  <c:v>133.34233</c:v>
                </c:pt>
                <c:pt idx="1803">
                  <c:v>130.09547000000001</c:v>
                </c:pt>
                <c:pt idx="1804">
                  <c:v>130.68321</c:v>
                </c:pt>
                <c:pt idx="1805">
                  <c:v>132.52341999999999</c:v>
                </c:pt>
                <c:pt idx="1806">
                  <c:v>129.63302999999999</c:v>
                </c:pt>
                <c:pt idx="1807">
                  <c:v>126.15496</c:v>
                </c:pt>
                <c:pt idx="1808">
                  <c:v>127.77357000000001</c:v>
                </c:pt>
                <c:pt idx="1809">
                  <c:v>125.49979399999999</c:v>
                </c:pt>
                <c:pt idx="1810">
                  <c:v>129.44998000000001</c:v>
                </c:pt>
                <c:pt idx="1811">
                  <c:v>129.54633999999999</c:v>
                </c:pt>
                <c:pt idx="1812">
                  <c:v>131.33838</c:v>
                </c:pt>
                <c:pt idx="1813">
                  <c:v>128.48652999999999</c:v>
                </c:pt>
                <c:pt idx="1814">
                  <c:v>127.45563</c:v>
                </c:pt>
                <c:pt idx="1815">
                  <c:v>125.38419</c:v>
                </c:pt>
                <c:pt idx="1816">
                  <c:v>126.1357</c:v>
                </c:pt>
                <c:pt idx="1817">
                  <c:v>126.858284</c:v>
                </c:pt>
                <c:pt idx="1818">
                  <c:v>126.00081</c:v>
                </c:pt>
                <c:pt idx="1819">
                  <c:v>126.74267999999999</c:v>
                </c:pt>
                <c:pt idx="1820">
                  <c:v>129.32472000000001</c:v>
                </c:pt>
                <c:pt idx="1821">
                  <c:v>129.46924999999999</c:v>
                </c:pt>
                <c:pt idx="1822">
                  <c:v>128.08186000000001</c:v>
                </c:pt>
                <c:pt idx="1823">
                  <c:v>128.10114999999999</c:v>
                </c:pt>
                <c:pt idx="1824">
                  <c:v>128.21677</c:v>
                </c:pt>
                <c:pt idx="1825">
                  <c:v>130.98186999999999</c:v>
                </c:pt>
                <c:pt idx="1826">
                  <c:v>130.5676</c:v>
                </c:pt>
                <c:pt idx="1827">
                  <c:v>126.916084</c:v>
                </c:pt>
                <c:pt idx="1828">
                  <c:v>126.46326999999999</c:v>
                </c:pt>
                <c:pt idx="1829">
                  <c:v>125.451645</c:v>
                </c:pt>
                <c:pt idx="1830">
                  <c:v>125.71177</c:v>
                </c:pt>
                <c:pt idx="1831">
                  <c:v>125.00845</c:v>
                </c:pt>
                <c:pt idx="1832">
                  <c:v>126.029724</c:v>
                </c:pt>
                <c:pt idx="1833">
                  <c:v>127.45563</c:v>
                </c:pt>
                <c:pt idx="1834">
                  <c:v>126.74267999999999</c:v>
                </c:pt>
                <c:pt idx="1835">
                  <c:v>128.13005000000001</c:v>
                </c:pt>
                <c:pt idx="1836">
                  <c:v>127.78321</c:v>
                </c:pt>
                <c:pt idx="1837">
                  <c:v>127.966255</c:v>
                </c:pt>
                <c:pt idx="1838">
                  <c:v>126.774925</c:v>
                </c:pt>
                <c:pt idx="1839">
                  <c:v>128.59058999999999</c:v>
                </c:pt>
                <c:pt idx="1840">
                  <c:v>128.36725999999999</c:v>
                </c:pt>
                <c:pt idx="1841">
                  <c:v>129.10516000000001</c:v>
                </c:pt>
                <c:pt idx="1842">
                  <c:v>130.23146</c:v>
                </c:pt>
                <c:pt idx="1843">
                  <c:v>124.12426000000001</c:v>
                </c:pt>
                <c:pt idx="1844">
                  <c:v>125.25055999999999</c:v>
                </c:pt>
                <c:pt idx="1845">
                  <c:v>126.68754</c:v>
                </c:pt>
                <c:pt idx="1846">
                  <c:v>127.84294</c:v>
                </c:pt>
                <c:pt idx="1847">
                  <c:v>127.93031000000001</c:v>
                </c:pt>
                <c:pt idx="1848">
                  <c:v>128.92068</c:v>
                </c:pt>
                <c:pt idx="1849">
                  <c:v>127.46427</c:v>
                </c:pt>
                <c:pt idx="1850">
                  <c:v>127.24097999999999</c:v>
                </c:pt>
                <c:pt idx="1851">
                  <c:v>127.541954</c:v>
                </c:pt>
                <c:pt idx="1852">
                  <c:v>125.79428</c:v>
                </c:pt>
                <c:pt idx="1853">
                  <c:v>127.590515</c:v>
                </c:pt>
                <c:pt idx="1854">
                  <c:v>125.18259399999999</c:v>
                </c:pt>
                <c:pt idx="1855">
                  <c:v>127.27011</c:v>
                </c:pt>
                <c:pt idx="1856">
                  <c:v>128.41579999999999</c:v>
                </c:pt>
                <c:pt idx="1857">
                  <c:v>128.5129</c:v>
                </c:pt>
                <c:pt idx="1858">
                  <c:v>128.98866000000001</c:v>
                </c:pt>
                <c:pt idx="1859">
                  <c:v>129.42558</c:v>
                </c:pt>
                <c:pt idx="1860">
                  <c:v>129.68773999999999</c:v>
                </c:pt>
                <c:pt idx="1861">
                  <c:v>130.31882999999999</c:v>
                </c:pt>
                <c:pt idx="1862">
                  <c:v>128.85274000000001</c:v>
                </c:pt>
                <c:pt idx="1863">
                  <c:v>130.55188000000001</c:v>
                </c:pt>
                <c:pt idx="1864">
                  <c:v>130.98877999999999</c:v>
                </c:pt>
                <c:pt idx="1865">
                  <c:v>131.58105</c:v>
                </c:pt>
                <c:pt idx="1866">
                  <c:v>129.80423999999999</c:v>
                </c:pt>
                <c:pt idx="1867">
                  <c:v>129.98874000000001</c:v>
                </c:pt>
                <c:pt idx="1868">
                  <c:v>130.74605</c:v>
                </c:pt>
                <c:pt idx="1869">
                  <c:v>129.24109999999999</c:v>
                </c:pt>
                <c:pt idx="1870">
                  <c:v>130.52271999999999</c:v>
                </c:pt>
                <c:pt idx="1871">
                  <c:v>132.05680000000001</c:v>
                </c:pt>
                <c:pt idx="1872">
                  <c:v>133.09569999999999</c:v>
                </c:pt>
                <c:pt idx="1873">
                  <c:v>132.10535999999999</c:v>
                </c:pt>
                <c:pt idx="1874">
                  <c:v>133.66856000000001</c:v>
                </c:pt>
                <c:pt idx="1875">
                  <c:v>133.387</c:v>
                </c:pt>
                <c:pt idx="1876">
                  <c:v>133.92098999999999</c:v>
                </c:pt>
                <c:pt idx="1877">
                  <c:v>133.68799000000001</c:v>
                </c:pt>
                <c:pt idx="1878">
                  <c:v>133.65886</c:v>
                </c:pt>
                <c:pt idx="1879">
                  <c:v>132.72675000000001</c:v>
                </c:pt>
                <c:pt idx="1880">
                  <c:v>133.47436999999999</c:v>
                </c:pt>
                <c:pt idx="1881">
                  <c:v>132.28984</c:v>
                </c:pt>
                <c:pt idx="1882">
                  <c:v>131.91118</c:v>
                </c:pt>
                <c:pt idx="1883">
                  <c:v>132.76560000000001</c:v>
                </c:pt>
                <c:pt idx="1884">
                  <c:v>132.02766</c:v>
                </c:pt>
                <c:pt idx="1885">
                  <c:v>131.19266999999999</c:v>
                </c:pt>
                <c:pt idx="1886">
                  <c:v>133.79477</c:v>
                </c:pt>
                <c:pt idx="1887">
                  <c:v>134.08606</c:v>
                </c:pt>
                <c:pt idx="1888">
                  <c:v>133.56173999999999</c:v>
                </c:pt>
                <c:pt idx="1889">
                  <c:v>133.91130000000001</c:v>
                </c:pt>
                <c:pt idx="1890">
                  <c:v>134.09577999999999</c:v>
                </c:pt>
                <c:pt idx="1891">
                  <c:v>132.48401000000001</c:v>
                </c:pt>
                <c:pt idx="1892">
                  <c:v>132.74617000000001</c:v>
                </c:pt>
                <c:pt idx="1893">
                  <c:v>132.49373</c:v>
                </c:pt>
                <c:pt idx="1894">
                  <c:v>133.63943</c:v>
                </c:pt>
                <c:pt idx="1895">
                  <c:v>133.30932999999999</c:v>
                </c:pt>
                <c:pt idx="1896">
                  <c:v>134.44531000000001</c:v>
                </c:pt>
                <c:pt idx="1897">
                  <c:v>134.37733</c:v>
                </c:pt>
                <c:pt idx="1898">
                  <c:v>135.87259</c:v>
                </c:pt>
                <c:pt idx="1899">
                  <c:v>135.98909</c:v>
                </c:pt>
                <c:pt idx="1900">
                  <c:v>135.14438000000001</c:v>
                </c:pt>
                <c:pt idx="1901">
                  <c:v>139.12521000000001</c:v>
                </c:pt>
                <c:pt idx="1902">
                  <c:v>136.29219000000001</c:v>
                </c:pt>
                <c:pt idx="1903">
                  <c:v>135.69566</c:v>
                </c:pt>
                <c:pt idx="1904">
                  <c:v>132.55654999999999</c:v>
                </c:pt>
                <c:pt idx="1905">
                  <c:v>134.08208999999999</c:v>
                </c:pt>
                <c:pt idx="1906">
                  <c:v>131.78399999999999</c:v>
                </c:pt>
                <c:pt idx="1907">
                  <c:v>132.8108</c:v>
                </c:pt>
                <c:pt idx="1908">
                  <c:v>133.65181999999999</c:v>
                </c:pt>
                <c:pt idx="1909">
                  <c:v>132.62502000000001</c:v>
                </c:pt>
                <c:pt idx="1910">
                  <c:v>131.99914999999999</c:v>
                </c:pt>
                <c:pt idx="1911">
                  <c:v>130.25845000000001</c:v>
                </c:pt>
                <c:pt idx="1912">
                  <c:v>128.56665000000001</c:v>
                </c:pt>
                <c:pt idx="1913">
                  <c:v>128.34173999999999</c:v>
                </c:pt>
                <c:pt idx="1914">
                  <c:v>129.23163</c:v>
                </c:pt>
                <c:pt idx="1915">
                  <c:v>128.10704000000001</c:v>
                </c:pt>
                <c:pt idx="1916">
                  <c:v>128.67421999999999</c:v>
                </c:pt>
                <c:pt idx="1917">
                  <c:v>130.60072</c:v>
                </c:pt>
                <c:pt idx="1918">
                  <c:v>134.92311000000001</c:v>
                </c:pt>
                <c:pt idx="1919">
                  <c:v>134.13101</c:v>
                </c:pt>
                <c:pt idx="1920">
                  <c:v>135.53922</c:v>
                </c:pt>
                <c:pt idx="1921">
                  <c:v>137.69060999999999</c:v>
                </c:pt>
                <c:pt idx="1922">
                  <c:v>135.01112000000001</c:v>
                </c:pt>
                <c:pt idx="1923">
                  <c:v>134.88399999999999</c:v>
                </c:pt>
                <c:pt idx="1924">
                  <c:v>132.70325</c:v>
                </c:pt>
                <c:pt idx="1925">
                  <c:v>133.98429999999999</c:v>
                </c:pt>
                <c:pt idx="1926">
                  <c:v>134.80577</c:v>
                </c:pt>
                <c:pt idx="1927">
                  <c:v>135.38274000000001</c:v>
                </c:pt>
                <c:pt idx="1928">
                  <c:v>138.99124</c:v>
                </c:pt>
                <c:pt idx="1929">
                  <c:v>140.37010000000001</c:v>
                </c:pt>
                <c:pt idx="1930">
                  <c:v>139.37262999999999</c:v>
                </c:pt>
                <c:pt idx="1931">
                  <c:v>138.30669</c:v>
                </c:pt>
                <c:pt idx="1932">
                  <c:v>138.60006999999999</c:v>
                </c:pt>
                <c:pt idx="1933">
                  <c:v>136.59535</c:v>
                </c:pt>
                <c:pt idx="1934">
                  <c:v>136.62470999999999</c:v>
                </c:pt>
                <c:pt idx="1935">
                  <c:v>136.51712000000001</c:v>
                </c:pt>
                <c:pt idx="1936">
                  <c:v>136.52690000000001</c:v>
                </c:pt>
                <c:pt idx="1937">
                  <c:v>136.47800000000001</c:v>
                </c:pt>
                <c:pt idx="1938">
                  <c:v>135.01112000000001</c:v>
                </c:pt>
                <c:pt idx="1939">
                  <c:v>136.04771</c:v>
                </c:pt>
                <c:pt idx="1940">
                  <c:v>131.20703</c:v>
                </c:pt>
                <c:pt idx="1941">
                  <c:v>131.03100000000001</c:v>
                </c:pt>
                <c:pt idx="1942">
                  <c:v>130.34645</c:v>
                </c:pt>
                <c:pt idx="1943">
                  <c:v>132.16537</c:v>
                </c:pt>
                <c:pt idx="1944">
                  <c:v>134.01364000000001</c:v>
                </c:pt>
                <c:pt idx="1945">
                  <c:v>134.81554</c:v>
                </c:pt>
                <c:pt idx="1946">
                  <c:v>135.00136000000001</c:v>
                </c:pt>
                <c:pt idx="1947">
                  <c:v>135.32407000000001</c:v>
                </c:pt>
                <c:pt idx="1948">
                  <c:v>135.39250000000001</c:v>
                </c:pt>
                <c:pt idx="1949">
                  <c:v>138.59030000000001</c:v>
                </c:pt>
                <c:pt idx="1950">
                  <c:v>140.72214</c:v>
                </c:pt>
                <c:pt idx="1951">
                  <c:v>140.66346999999999</c:v>
                </c:pt>
                <c:pt idx="1952">
                  <c:v>141.51428000000001</c:v>
                </c:pt>
                <c:pt idx="1953">
                  <c:v>142.54107999999999</c:v>
                </c:pt>
                <c:pt idx="1954">
                  <c:v>142.03258</c:v>
                </c:pt>
                <c:pt idx="1955">
                  <c:v>140.21365</c:v>
                </c:pt>
                <c:pt idx="1956">
                  <c:v>140.15496999999999</c:v>
                </c:pt>
                <c:pt idx="1957">
                  <c:v>140.25274999999999</c:v>
                </c:pt>
                <c:pt idx="1958">
                  <c:v>139.86159000000001</c:v>
                </c:pt>
                <c:pt idx="1959">
                  <c:v>140.84929</c:v>
                </c:pt>
                <c:pt idx="1960">
                  <c:v>140.97640999999999</c:v>
                </c:pt>
                <c:pt idx="1961">
                  <c:v>141.4067</c:v>
                </c:pt>
                <c:pt idx="1962">
                  <c:v>141.04488000000001</c:v>
                </c:pt>
                <c:pt idx="1963">
                  <c:v>142.84424999999999</c:v>
                </c:pt>
                <c:pt idx="1964">
                  <c:v>141.42625000000001</c:v>
                </c:pt>
                <c:pt idx="1965">
                  <c:v>142.26635999999999</c:v>
                </c:pt>
                <c:pt idx="1966">
                  <c:v>143.64519999999999</c:v>
                </c:pt>
                <c:pt idx="1967">
                  <c:v>143.17243999999999</c:v>
                </c:pt>
                <c:pt idx="1968">
                  <c:v>143.32019</c:v>
                </c:pt>
                <c:pt idx="1969">
                  <c:v>143.48760999999999</c:v>
                </c:pt>
                <c:pt idx="1970">
                  <c:v>142.48302000000001</c:v>
                </c:pt>
                <c:pt idx="1971">
                  <c:v>142.77849000000001</c:v>
                </c:pt>
                <c:pt idx="1972">
                  <c:v>142.04968</c:v>
                </c:pt>
                <c:pt idx="1973">
                  <c:v>142.58151000000001</c:v>
                </c:pt>
                <c:pt idx="1974">
                  <c:v>142.69970000000001</c:v>
                </c:pt>
                <c:pt idx="1975">
                  <c:v>143.50731999999999</c:v>
                </c:pt>
                <c:pt idx="1976">
                  <c:v>144.70885999999999</c:v>
                </c:pt>
                <c:pt idx="1977">
                  <c:v>143.202</c:v>
                </c:pt>
                <c:pt idx="1978">
                  <c:v>141.84286</c:v>
                </c:pt>
                <c:pt idx="1979">
                  <c:v>142.22696999999999</c:v>
                </c:pt>
                <c:pt idx="1980">
                  <c:v>142.86714000000001</c:v>
                </c:pt>
                <c:pt idx="1981">
                  <c:v>144.68915999999999</c:v>
                </c:pt>
                <c:pt idx="1982">
                  <c:v>145.19147000000001</c:v>
                </c:pt>
                <c:pt idx="1983">
                  <c:v>145.08311</c:v>
                </c:pt>
                <c:pt idx="1984">
                  <c:v>146.05816999999999</c:v>
                </c:pt>
                <c:pt idx="1985">
                  <c:v>142.08908</c:v>
                </c:pt>
                <c:pt idx="1986">
                  <c:v>142.51257000000001</c:v>
                </c:pt>
                <c:pt idx="1987">
                  <c:v>140.76933</c:v>
                </c:pt>
                <c:pt idx="1988">
                  <c:v>140.31630000000001</c:v>
                </c:pt>
                <c:pt idx="1989">
                  <c:v>142.00042999999999</c:v>
                </c:pt>
                <c:pt idx="1990">
                  <c:v>139.94202999999999</c:v>
                </c:pt>
                <c:pt idx="1991">
                  <c:v>139.292</c:v>
                </c:pt>
                <c:pt idx="1992">
                  <c:v>140.43448000000001</c:v>
                </c:pt>
                <c:pt idx="1993">
                  <c:v>139.61702</c:v>
                </c:pt>
                <c:pt idx="1994">
                  <c:v>139.25261</c:v>
                </c:pt>
                <c:pt idx="1995">
                  <c:v>139.91248999999999</c:v>
                </c:pt>
                <c:pt idx="1996">
                  <c:v>139.19353000000001</c:v>
                </c:pt>
                <c:pt idx="1997">
                  <c:v>137.49952999999999</c:v>
                </c:pt>
                <c:pt idx="1998">
                  <c:v>136.49494999999999</c:v>
                </c:pt>
                <c:pt idx="1999">
                  <c:v>138.0609</c:v>
                </c:pt>
                <c:pt idx="2000">
                  <c:v>139.65642</c:v>
                </c:pt>
                <c:pt idx="2001">
                  <c:v>135.95325</c:v>
                </c:pt>
                <c:pt idx="2002">
                  <c:v>137.08588</c:v>
                </c:pt>
                <c:pt idx="2003">
                  <c:v>134.50550000000001</c:v>
                </c:pt>
                <c:pt idx="2004">
                  <c:v>134.90926999999999</c:v>
                </c:pt>
                <c:pt idx="2005">
                  <c:v>136.28813</c:v>
                </c:pt>
                <c:pt idx="2006">
                  <c:v>135.93356</c:v>
                </c:pt>
                <c:pt idx="2007">
                  <c:v>137.56846999999999</c:v>
                </c:pt>
                <c:pt idx="2008">
                  <c:v>138.82911999999999</c:v>
                </c:pt>
                <c:pt idx="2009">
                  <c:v>138.27759</c:v>
                </c:pt>
                <c:pt idx="2010">
                  <c:v>137.48969</c:v>
                </c:pt>
                <c:pt idx="2011">
                  <c:v>135.61840000000001</c:v>
                </c:pt>
                <c:pt idx="2012">
                  <c:v>132.92966999999999</c:v>
                </c:pt>
                <c:pt idx="2013">
                  <c:v>131.84628000000001</c:v>
                </c:pt>
                <c:pt idx="2014">
                  <c:v>132.34859</c:v>
                </c:pt>
                <c:pt idx="2015">
                  <c:v>132.42738</c:v>
                </c:pt>
                <c:pt idx="2016">
                  <c:v>133.32361</c:v>
                </c:pt>
                <c:pt idx="2017">
                  <c:v>130.50684999999999</c:v>
                </c:pt>
                <c:pt idx="2018">
                  <c:v>129.99472</c:v>
                </c:pt>
                <c:pt idx="2019">
                  <c:v>130.77277000000001</c:v>
                </c:pt>
                <c:pt idx="2020">
                  <c:v>130.0932</c:v>
                </c:pt>
                <c:pt idx="2021">
                  <c:v>128.03479999999999</c:v>
                </c:pt>
                <c:pt idx="2022">
                  <c:v>127.23704499999999</c:v>
                </c:pt>
                <c:pt idx="2023">
                  <c:v>128.64542</c:v>
                </c:pt>
                <c:pt idx="2024">
                  <c:v>129.08861999999999</c:v>
                </c:pt>
                <c:pt idx="2025">
                  <c:v>127.1878</c:v>
                </c:pt>
                <c:pt idx="2026">
                  <c:v>127.89563</c:v>
                </c:pt>
                <c:pt idx="2027">
                  <c:v>132.06516999999999</c:v>
                </c:pt>
                <c:pt idx="2028">
                  <c:v>131.17169000000001</c:v>
                </c:pt>
                <c:pt idx="2029">
                  <c:v>131.29082</c:v>
                </c:pt>
                <c:pt idx="2030">
                  <c:v>132.61117999999999</c:v>
                </c:pt>
                <c:pt idx="2031">
                  <c:v>132.25378000000001</c:v>
                </c:pt>
                <c:pt idx="2032">
                  <c:v>132.07508999999999</c:v>
                </c:pt>
                <c:pt idx="2033">
                  <c:v>132.06516999999999</c:v>
                </c:pt>
                <c:pt idx="2034">
                  <c:v>133.03806</c:v>
                </c:pt>
                <c:pt idx="2035">
                  <c:v>132.65088</c:v>
                </c:pt>
                <c:pt idx="2036">
                  <c:v>131.56879000000001</c:v>
                </c:pt>
                <c:pt idx="2037">
                  <c:v>133.52449999999999</c:v>
                </c:pt>
                <c:pt idx="2038">
                  <c:v>136.80056999999999</c:v>
                </c:pt>
                <c:pt idx="2039">
                  <c:v>138.44853000000001</c:v>
                </c:pt>
                <c:pt idx="2040">
                  <c:v>137.80323999999999</c:v>
                </c:pt>
                <c:pt idx="2041">
                  <c:v>138.61731</c:v>
                </c:pt>
                <c:pt idx="2042">
                  <c:v>141.66502</c:v>
                </c:pt>
                <c:pt idx="2043">
                  <c:v>143.75971999999999</c:v>
                </c:pt>
                <c:pt idx="2044">
                  <c:v>141.50618</c:v>
                </c:pt>
                <c:pt idx="2045">
                  <c:v>140.42409000000001</c:v>
                </c:pt>
                <c:pt idx="2046">
                  <c:v>140.25532999999999</c:v>
                </c:pt>
                <c:pt idx="2047">
                  <c:v>142.1217</c:v>
                </c:pt>
                <c:pt idx="2048">
                  <c:v>142.62799000000001</c:v>
                </c:pt>
                <c:pt idx="2049">
                  <c:v>142.36989</c:v>
                </c:pt>
                <c:pt idx="2050">
                  <c:v>141.50618</c:v>
                </c:pt>
                <c:pt idx="2051">
                  <c:v>141.53598</c:v>
                </c:pt>
                <c:pt idx="2052">
                  <c:v>141.98271</c:v>
                </c:pt>
                <c:pt idx="2053">
                  <c:v>142.01249999999999</c:v>
                </c:pt>
                <c:pt idx="2054">
                  <c:v>141.07932</c:v>
                </c:pt>
                <c:pt idx="2055">
                  <c:v>141.27786</c:v>
                </c:pt>
                <c:pt idx="2056">
                  <c:v>143.11444</c:v>
                </c:pt>
                <c:pt idx="2057">
                  <c:v>143.70016000000001</c:v>
                </c:pt>
                <c:pt idx="2058">
                  <c:v>144.65321</c:v>
                </c:pt>
                <c:pt idx="2059">
                  <c:v>145.91399000000001</c:v>
                </c:pt>
                <c:pt idx="2060">
                  <c:v>145.01060000000001</c:v>
                </c:pt>
                <c:pt idx="2061">
                  <c:v>144.77234000000001</c:v>
                </c:pt>
                <c:pt idx="2062">
                  <c:v>142.32024999999999</c:v>
                </c:pt>
                <c:pt idx="2063">
                  <c:v>141.85364999999999</c:v>
                </c:pt>
                <c:pt idx="2064">
                  <c:v>140.80135000000001</c:v>
                </c:pt>
                <c:pt idx="2065">
                  <c:v>142.89604</c:v>
                </c:pt>
                <c:pt idx="2066">
                  <c:v>143.11444</c:v>
                </c:pt>
                <c:pt idx="2067">
                  <c:v>144.73262</c:v>
                </c:pt>
                <c:pt idx="2068">
                  <c:v>142.91589999999999</c:v>
                </c:pt>
                <c:pt idx="2069">
                  <c:v>142.84639999999999</c:v>
                </c:pt>
                <c:pt idx="2070">
                  <c:v>144.50429</c:v>
                </c:pt>
                <c:pt idx="2071">
                  <c:v>144.50429</c:v>
                </c:pt>
                <c:pt idx="2072">
                  <c:v>145.65588</c:v>
                </c:pt>
                <c:pt idx="2073">
                  <c:v>144.59362999999999</c:v>
                </c:pt>
                <c:pt idx="2074">
                  <c:v>143.18393</c:v>
                </c:pt>
                <c:pt idx="2075">
                  <c:v>145.30841000000001</c:v>
                </c:pt>
                <c:pt idx="2076">
                  <c:v>145.52681000000001</c:v>
                </c:pt>
                <c:pt idx="2077">
                  <c:v>145.10986</c:v>
                </c:pt>
                <c:pt idx="2078">
                  <c:v>144.45464999999999</c:v>
                </c:pt>
                <c:pt idx="2079">
                  <c:v>144.37522999999999</c:v>
                </c:pt>
                <c:pt idx="2080">
                  <c:v>146.16217</c:v>
                </c:pt>
                <c:pt idx="2081">
                  <c:v>146.03313</c:v>
                </c:pt>
                <c:pt idx="2082">
                  <c:v>146.77768</c:v>
                </c:pt>
                <c:pt idx="2083">
                  <c:v>147.22443000000001</c:v>
                </c:pt>
                <c:pt idx="2084">
                  <c:v>147.22443000000001</c:v>
                </c:pt>
                <c:pt idx="2085">
                  <c:v>145.44739000000001</c:v>
                </c:pt>
                <c:pt idx="2086">
                  <c:v>146.86703</c:v>
                </c:pt>
                <c:pt idx="2087">
                  <c:v>146.55928</c:v>
                </c:pt>
                <c:pt idx="2088">
                  <c:v>147.14500000000001</c:v>
                </c:pt>
                <c:pt idx="2089">
                  <c:v>147.66999999999999</c:v>
                </c:pt>
                <c:pt idx="2090">
                  <c:v>147.84</c:v>
                </c:pt>
                <c:pt idx="2091">
                  <c:v>147.75</c:v>
                </c:pt>
                <c:pt idx="2092">
                  <c:v>146.37</c:v>
                </c:pt>
                <c:pt idx="2093">
                  <c:v>146.1</c:v>
                </c:pt>
                <c:pt idx="2094">
                  <c:v>147.59998999999999</c:v>
                </c:pt>
                <c:pt idx="2095">
                  <c:v>147.69</c:v>
                </c:pt>
                <c:pt idx="2096">
                  <c:v>148.57</c:v>
                </c:pt>
                <c:pt idx="2097">
                  <c:v>148.58000000000001</c:v>
                </c:pt>
                <c:pt idx="2098">
                  <c:v>147.1</c:v>
                </c:pt>
                <c:pt idx="2099">
                  <c:v>148.51999000000001</c:v>
                </c:pt>
                <c:pt idx="2100">
                  <c:v>145.41999999999999</c:v>
                </c:pt>
                <c:pt idx="2101">
                  <c:v>146.56</c:v>
                </c:pt>
                <c:pt idx="2102">
                  <c:v>146.78</c:v>
                </c:pt>
                <c:pt idx="2103">
                  <c:v>144.85</c:v>
                </c:pt>
                <c:pt idx="2104">
                  <c:v>145.66999999999999</c:v>
                </c:pt>
                <c:pt idx="2105">
                  <c:v>146.41</c:v>
                </c:pt>
                <c:pt idx="2106">
                  <c:v>147.04001</c:v>
                </c:pt>
                <c:pt idx="2107">
                  <c:v>146.93998999999999</c:v>
                </c:pt>
                <c:pt idx="2108">
                  <c:v>148.16999999999999</c:v>
                </c:pt>
                <c:pt idx="2109">
                  <c:v>148.19999999999999</c:v>
                </c:pt>
              </c:numCache>
            </c:numRef>
          </c:val>
          <c:smooth val="0"/>
          <c:extLst>
            <c:ext xmlns:c16="http://schemas.microsoft.com/office/drawing/2014/chart" uri="{C3380CC4-5D6E-409C-BE32-E72D297353CC}">
              <c16:uniqueId val="{00000000-2D94-3E47-9F2A-6F98A173A096}"/>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60.760975000000002</c:v>
                </c:pt>
                <c:pt idx="1">
                  <c:v>61.021113999999997</c:v>
                </c:pt>
                <c:pt idx="2">
                  <c:v>60.844299999999997</c:v>
                </c:pt>
                <c:pt idx="3">
                  <c:v>60.428739999999998</c:v>
                </c:pt>
                <c:pt idx="4">
                  <c:v>60.829000000000001</c:v>
                </c:pt>
                <c:pt idx="5">
                  <c:v>61.213813999999999</c:v>
                </c:pt>
                <c:pt idx="6">
                  <c:v>61.528370000000002</c:v>
                </c:pt>
                <c:pt idx="7">
                  <c:v>61.31906</c:v>
                </c:pt>
                <c:pt idx="8">
                  <c:v>61.430523000000001</c:v>
                </c:pt>
                <c:pt idx="9">
                  <c:v>61.703933999999997</c:v>
                </c:pt>
                <c:pt idx="10">
                  <c:v>61.715896999999998</c:v>
                </c:pt>
                <c:pt idx="11">
                  <c:v>61.905050000000003</c:v>
                </c:pt>
                <c:pt idx="12">
                  <c:v>61.920386999999998</c:v>
                </c:pt>
                <c:pt idx="13">
                  <c:v>61.767806999999998</c:v>
                </c:pt>
                <c:pt idx="14">
                  <c:v>62.066284000000003</c:v>
                </c:pt>
                <c:pt idx="15">
                  <c:v>62.175037000000003</c:v>
                </c:pt>
                <c:pt idx="16">
                  <c:v>62.254019999999997</c:v>
                </c:pt>
                <c:pt idx="17">
                  <c:v>62.320149999999998</c:v>
                </c:pt>
                <c:pt idx="18">
                  <c:v>62.297516000000002</c:v>
                </c:pt>
                <c:pt idx="19">
                  <c:v>62.331394000000003</c:v>
                </c:pt>
                <c:pt idx="20">
                  <c:v>62.309905999999998</c:v>
                </c:pt>
                <c:pt idx="21">
                  <c:v>62.144466000000001</c:v>
                </c:pt>
                <c:pt idx="22">
                  <c:v>62.247627000000001</c:v>
                </c:pt>
                <c:pt idx="23">
                  <c:v>62.213036000000002</c:v>
                </c:pt>
                <c:pt idx="24">
                  <c:v>62.022514000000001</c:v>
                </c:pt>
                <c:pt idx="25">
                  <c:v>62.230964999999998</c:v>
                </c:pt>
                <c:pt idx="26">
                  <c:v>61.036133</c:v>
                </c:pt>
                <c:pt idx="27">
                  <c:v>61.714252000000002</c:v>
                </c:pt>
                <c:pt idx="28">
                  <c:v>62.127262000000002</c:v>
                </c:pt>
                <c:pt idx="29">
                  <c:v>62.472349999999999</c:v>
                </c:pt>
                <c:pt idx="30">
                  <c:v>62.578279999999999</c:v>
                </c:pt>
                <c:pt idx="31">
                  <c:v>62.72775</c:v>
                </c:pt>
                <c:pt idx="32">
                  <c:v>62.796936000000002</c:v>
                </c:pt>
                <c:pt idx="33">
                  <c:v>62.765340000000002</c:v>
                </c:pt>
                <c:pt idx="34">
                  <c:v>62.660544999999999</c:v>
                </c:pt>
                <c:pt idx="35">
                  <c:v>62.677967000000002</c:v>
                </c:pt>
                <c:pt idx="36">
                  <c:v>62.706200000000003</c:v>
                </c:pt>
                <c:pt idx="37">
                  <c:v>62.695137000000003</c:v>
                </c:pt>
                <c:pt idx="38">
                  <c:v>62.747185000000002</c:v>
                </c:pt>
                <c:pt idx="39">
                  <c:v>62.675249999999998</c:v>
                </c:pt>
                <c:pt idx="40">
                  <c:v>62.692970000000003</c:v>
                </c:pt>
                <c:pt idx="41">
                  <c:v>62.639156</c:v>
                </c:pt>
                <c:pt idx="42">
                  <c:v>62.674579999999999</c:v>
                </c:pt>
                <c:pt idx="43">
                  <c:v>62.468499999999999</c:v>
                </c:pt>
                <c:pt idx="44">
                  <c:v>59.963206999999997</c:v>
                </c:pt>
                <c:pt idx="45">
                  <c:v>61.244770000000003</c:v>
                </c:pt>
                <c:pt idx="46">
                  <c:v>61.721817000000001</c:v>
                </c:pt>
                <c:pt idx="47">
                  <c:v>62.054141999999999</c:v>
                </c:pt>
                <c:pt idx="48">
                  <c:v>62.320686000000002</c:v>
                </c:pt>
                <c:pt idx="49">
                  <c:v>62.615634999999997</c:v>
                </c:pt>
                <c:pt idx="50">
                  <c:v>63.018030000000003</c:v>
                </c:pt>
                <c:pt idx="51">
                  <c:v>63.242663999999998</c:v>
                </c:pt>
                <c:pt idx="52">
                  <c:v>63.275115999999997</c:v>
                </c:pt>
                <c:pt idx="53">
                  <c:v>63.260820000000002</c:v>
                </c:pt>
                <c:pt idx="54">
                  <c:v>63.289734000000003</c:v>
                </c:pt>
                <c:pt idx="55">
                  <c:v>63.21096</c:v>
                </c:pt>
                <c:pt idx="56">
                  <c:v>63.295380000000002</c:v>
                </c:pt>
                <c:pt idx="57">
                  <c:v>63.280692999999999</c:v>
                </c:pt>
                <c:pt idx="58">
                  <c:v>63.256419999999999</c:v>
                </c:pt>
                <c:pt idx="59">
                  <c:v>63.25844</c:v>
                </c:pt>
                <c:pt idx="60">
                  <c:v>63.312122000000002</c:v>
                </c:pt>
                <c:pt idx="61">
                  <c:v>63.319755999999998</c:v>
                </c:pt>
                <c:pt idx="62">
                  <c:v>63.203631999999999</c:v>
                </c:pt>
                <c:pt idx="63">
                  <c:v>63.265470000000001</c:v>
                </c:pt>
                <c:pt idx="64">
                  <c:v>63.244022000000001</c:v>
                </c:pt>
                <c:pt idx="65">
                  <c:v>63.321919999999999</c:v>
                </c:pt>
                <c:pt idx="66">
                  <c:v>63.444054000000001</c:v>
                </c:pt>
                <c:pt idx="67">
                  <c:v>63.521070000000002</c:v>
                </c:pt>
                <c:pt idx="68">
                  <c:v>63.402320000000003</c:v>
                </c:pt>
                <c:pt idx="69">
                  <c:v>63.417006999999998</c:v>
                </c:pt>
                <c:pt idx="70">
                  <c:v>63.545707999999998</c:v>
                </c:pt>
                <c:pt idx="71">
                  <c:v>63.565390000000001</c:v>
                </c:pt>
                <c:pt idx="72">
                  <c:v>63.525333000000003</c:v>
                </c:pt>
                <c:pt idx="73">
                  <c:v>63.46396</c:v>
                </c:pt>
                <c:pt idx="74">
                  <c:v>63.134746999999997</c:v>
                </c:pt>
                <c:pt idx="75">
                  <c:v>63.299553000000003</c:v>
                </c:pt>
                <c:pt idx="76">
                  <c:v>63.451816999999998</c:v>
                </c:pt>
                <c:pt idx="77">
                  <c:v>63.265450000000001</c:v>
                </c:pt>
                <c:pt idx="78">
                  <c:v>63.359786999999997</c:v>
                </c:pt>
                <c:pt idx="79">
                  <c:v>63.494514000000002</c:v>
                </c:pt>
                <c:pt idx="80">
                  <c:v>63.750700000000002</c:v>
                </c:pt>
                <c:pt idx="81">
                  <c:v>63.717297000000002</c:v>
                </c:pt>
                <c:pt idx="82">
                  <c:v>63.832455000000003</c:v>
                </c:pt>
                <c:pt idx="83">
                  <c:v>63.889214000000003</c:v>
                </c:pt>
                <c:pt idx="84">
                  <c:v>63.741889999999998</c:v>
                </c:pt>
                <c:pt idx="85">
                  <c:v>63.800170000000001</c:v>
                </c:pt>
                <c:pt idx="86">
                  <c:v>63.945132999999998</c:v>
                </c:pt>
                <c:pt idx="87">
                  <c:v>63.821629999999999</c:v>
                </c:pt>
                <c:pt idx="88">
                  <c:v>63.464905000000002</c:v>
                </c:pt>
                <c:pt idx="89">
                  <c:v>62.931376999999998</c:v>
                </c:pt>
                <c:pt idx="90">
                  <c:v>62.946959999999997</c:v>
                </c:pt>
                <c:pt idx="91">
                  <c:v>63.055553000000003</c:v>
                </c:pt>
                <c:pt idx="92">
                  <c:v>63.303364000000002</c:v>
                </c:pt>
                <c:pt idx="93">
                  <c:v>63.489640000000001</c:v>
                </c:pt>
                <c:pt idx="94">
                  <c:v>63.458736000000002</c:v>
                </c:pt>
                <c:pt idx="95">
                  <c:v>63.640920000000001</c:v>
                </c:pt>
                <c:pt idx="96">
                  <c:v>63.665413000000001</c:v>
                </c:pt>
                <c:pt idx="97">
                  <c:v>63.74615</c:v>
                </c:pt>
                <c:pt idx="98">
                  <c:v>63.875107</c:v>
                </c:pt>
                <c:pt idx="99">
                  <c:v>63.920586</c:v>
                </c:pt>
                <c:pt idx="100">
                  <c:v>63.967376999999999</c:v>
                </c:pt>
                <c:pt idx="101">
                  <c:v>63.885069999999999</c:v>
                </c:pt>
                <c:pt idx="102">
                  <c:v>64.012559999999993</c:v>
                </c:pt>
                <c:pt idx="103">
                  <c:v>64.173805000000002</c:v>
                </c:pt>
                <c:pt idx="104">
                  <c:v>64.277860000000004</c:v>
                </c:pt>
                <c:pt idx="105">
                  <c:v>64.304040000000001</c:v>
                </c:pt>
                <c:pt idx="106">
                  <c:v>64.122799999999998</c:v>
                </c:pt>
                <c:pt idx="107">
                  <c:v>63.815994000000003</c:v>
                </c:pt>
                <c:pt idx="108">
                  <c:v>64.073840000000004</c:v>
                </c:pt>
                <c:pt idx="109">
                  <c:v>64.364699999999999</c:v>
                </c:pt>
                <c:pt idx="110">
                  <c:v>64.373900000000006</c:v>
                </c:pt>
                <c:pt idx="111">
                  <c:v>64.396410000000003</c:v>
                </c:pt>
                <c:pt idx="112">
                  <c:v>64.530876000000006</c:v>
                </c:pt>
                <c:pt idx="113">
                  <c:v>64.713250000000002</c:v>
                </c:pt>
                <c:pt idx="114">
                  <c:v>64.835099999999997</c:v>
                </c:pt>
                <c:pt idx="115">
                  <c:v>64.833539999999999</c:v>
                </c:pt>
                <c:pt idx="116">
                  <c:v>64.464519999999993</c:v>
                </c:pt>
                <c:pt idx="117">
                  <c:v>64.565460000000002</c:v>
                </c:pt>
                <c:pt idx="118">
                  <c:v>64.812359999999998</c:v>
                </c:pt>
                <c:pt idx="119">
                  <c:v>64.992540000000005</c:v>
                </c:pt>
                <c:pt idx="120">
                  <c:v>65.037459999999996</c:v>
                </c:pt>
                <c:pt idx="121">
                  <c:v>65.010216</c:v>
                </c:pt>
                <c:pt idx="122">
                  <c:v>65.046775999999994</c:v>
                </c:pt>
                <c:pt idx="123">
                  <c:v>64.969080000000005</c:v>
                </c:pt>
                <c:pt idx="124">
                  <c:v>64.917770000000004</c:v>
                </c:pt>
                <c:pt idx="125">
                  <c:v>64.861819999999994</c:v>
                </c:pt>
                <c:pt idx="126">
                  <c:v>64.748819999999995</c:v>
                </c:pt>
                <c:pt idx="127">
                  <c:v>64.353454999999997</c:v>
                </c:pt>
                <c:pt idx="128">
                  <c:v>64.096320000000006</c:v>
                </c:pt>
                <c:pt idx="129">
                  <c:v>64.051130000000001</c:v>
                </c:pt>
                <c:pt idx="130">
                  <c:v>64.133679999999998</c:v>
                </c:pt>
                <c:pt idx="131">
                  <c:v>63.97298</c:v>
                </c:pt>
                <c:pt idx="132">
                  <c:v>64.089110000000005</c:v>
                </c:pt>
                <c:pt idx="133">
                  <c:v>64.230964999999998</c:v>
                </c:pt>
                <c:pt idx="134">
                  <c:v>64.168229999999994</c:v>
                </c:pt>
                <c:pt idx="135">
                  <c:v>63.963036000000002</c:v>
                </c:pt>
                <c:pt idx="136">
                  <c:v>63.895522999999997</c:v>
                </c:pt>
                <c:pt idx="137">
                  <c:v>63.852910000000001</c:v>
                </c:pt>
                <c:pt idx="138">
                  <c:v>63.962536</c:v>
                </c:pt>
                <c:pt idx="139">
                  <c:v>63.915329999999997</c:v>
                </c:pt>
                <c:pt idx="140">
                  <c:v>64.042739999999995</c:v>
                </c:pt>
                <c:pt idx="141">
                  <c:v>64.230630000000005</c:v>
                </c:pt>
                <c:pt idx="142">
                  <c:v>63.732196999999999</c:v>
                </c:pt>
                <c:pt idx="143">
                  <c:v>63.882240000000003</c:v>
                </c:pt>
                <c:pt idx="144">
                  <c:v>63.970455000000001</c:v>
                </c:pt>
                <c:pt idx="145">
                  <c:v>64.082819999999998</c:v>
                </c:pt>
                <c:pt idx="146">
                  <c:v>64.18477</c:v>
                </c:pt>
                <c:pt idx="147">
                  <c:v>64.243570000000005</c:v>
                </c:pt>
                <c:pt idx="148">
                  <c:v>64.255359999999996</c:v>
                </c:pt>
                <c:pt idx="149">
                  <c:v>64.309944000000002</c:v>
                </c:pt>
                <c:pt idx="150">
                  <c:v>64.379130000000004</c:v>
                </c:pt>
                <c:pt idx="151">
                  <c:v>64.432689999999994</c:v>
                </c:pt>
                <c:pt idx="152">
                  <c:v>64.481430000000003</c:v>
                </c:pt>
                <c:pt idx="153">
                  <c:v>64.483050000000006</c:v>
                </c:pt>
                <c:pt idx="154">
                  <c:v>64.463729999999998</c:v>
                </c:pt>
                <c:pt idx="155">
                  <c:v>64.48751</c:v>
                </c:pt>
                <c:pt idx="156">
                  <c:v>64.605670000000003</c:v>
                </c:pt>
                <c:pt idx="157">
                  <c:v>64.681479999999993</c:v>
                </c:pt>
                <c:pt idx="158">
                  <c:v>64.544470000000004</c:v>
                </c:pt>
                <c:pt idx="159">
                  <c:v>64.583389999999994</c:v>
                </c:pt>
                <c:pt idx="160">
                  <c:v>64.536209999999997</c:v>
                </c:pt>
                <c:pt idx="161">
                  <c:v>64.546570000000003</c:v>
                </c:pt>
                <c:pt idx="162">
                  <c:v>64.650665000000004</c:v>
                </c:pt>
                <c:pt idx="163">
                  <c:v>64.501649999999998</c:v>
                </c:pt>
                <c:pt idx="164">
                  <c:v>64.296265000000005</c:v>
                </c:pt>
                <c:pt idx="165">
                  <c:v>64.210319999999996</c:v>
                </c:pt>
                <c:pt idx="166">
                  <c:v>64.339423999999994</c:v>
                </c:pt>
                <c:pt idx="167">
                  <c:v>64.530106000000004</c:v>
                </c:pt>
                <c:pt idx="168">
                  <c:v>64.693280000000001</c:v>
                </c:pt>
                <c:pt idx="169">
                  <c:v>64.631386000000006</c:v>
                </c:pt>
                <c:pt idx="170">
                  <c:v>64.526679999999999</c:v>
                </c:pt>
                <c:pt idx="171">
                  <c:v>64.815029999999993</c:v>
                </c:pt>
                <c:pt idx="172">
                  <c:v>64.917640000000006</c:v>
                </c:pt>
                <c:pt idx="173">
                  <c:v>65.169110000000003</c:v>
                </c:pt>
                <c:pt idx="174">
                  <c:v>65.319299999999998</c:v>
                </c:pt>
                <c:pt idx="175">
                  <c:v>65.404679999999999</c:v>
                </c:pt>
                <c:pt idx="176">
                  <c:v>65.431169999999995</c:v>
                </c:pt>
                <c:pt idx="177">
                  <c:v>65.598274000000004</c:v>
                </c:pt>
                <c:pt idx="178">
                  <c:v>65.633574999999993</c:v>
                </c:pt>
                <c:pt idx="179">
                  <c:v>65.7577</c:v>
                </c:pt>
                <c:pt idx="180">
                  <c:v>65.874369999999999</c:v>
                </c:pt>
                <c:pt idx="181">
                  <c:v>65.843500000000006</c:v>
                </c:pt>
                <c:pt idx="182">
                  <c:v>65.863174000000001</c:v>
                </c:pt>
                <c:pt idx="183">
                  <c:v>65.932860000000005</c:v>
                </c:pt>
                <c:pt idx="184">
                  <c:v>65.962829999999997</c:v>
                </c:pt>
                <c:pt idx="185">
                  <c:v>65.809235000000001</c:v>
                </c:pt>
                <c:pt idx="186">
                  <c:v>65.644710000000003</c:v>
                </c:pt>
                <c:pt idx="187">
                  <c:v>65.716865999999996</c:v>
                </c:pt>
                <c:pt idx="188">
                  <c:v>65.845534999999998</c:v>
                </c:pt>
                <c:pt idx="189">
                  <c:v>65.901375000000002</c:v>
                </c:pt>
                <c:pt idx="190">
                  <c:v>66.064530000000005</c:v>
                </c:pt>
                <c:pt idx="191">
                  <c:v>66.232159999999993</c:v>
                </c:pt>
                <c:pt idx="192">
                  <c:v>66.345214999999996</c:v>
                </c:pt>
                <c:pt idx="193">
                  <c:v>66.315124999999995</c:v>
                </c:pt>
                <c:pt idx="194">
                  <c:v>66.282629999999997</c:v>
                </c:pt>
                <c:pt idx="195">
                  <c:v>66.201549999999997</c:v>
                </c:pt>
                <c:pt idx="196">
                  <c:v>66.303110000000004</c:v>
                </c:pt>
                <c:pt idx="197">
                  <c:v>66.412189999999995</c:v>
                </c:pt>
                <c:pt idx="198">
                  <c:v>66.539659999999998</c:v>
                </c:pt>
                <c:pt idx="199">
                  <c:v>66.426060000000007</c:v>
                </c:pt>
                <c:pt idx="200">
                  <c:v>66.499589999999998</c:v>
                </c:pt>
                <c:pt idx="201">
                  <c:v>66.667090000000002</c:v>
                </c:pt>
                <c:pt idx="202">
                  <c:v>66.556920000000005</c:v>
                </c:pt>
                <c:pt idx="203">
                  <c:v>66.310180000000003</c:v>
                </c:pt>
                <c:pt idx="204">
                  <c:v>66.063879999999997</c:v>
                </c:pt>
                <c:pt idx="205">
                  <c:v>66.081760000000003</c:v>
                </c:pt>
                <c:pt idx="206">
                  <c:v>66.241709999999998</c:v>
                </c:pt>
                <c:pt idx="207">
                  <c:v>66.335480000000004</c:v>
                </c:pt>
                <c:pt idx="208">
                  <c:v>66.433019999999999</c:v>
                </c:pt>
                <c:pt idx="209">
                  <c:v>66.282139999999998</c:v>
                </c:pt>
                <c:pt idx="210">
                  <c:v>66.181629999999998</c:v>
                </c:pt>
                <c:pt idx="211">
                  <c:v>66.318060000000003</c:v>
                </c:pt>
                <c:pt idx="212">
                  <c:v>66.426760000000002</c:v>
                </c:pt>
                <c:pt idx="213">
                  <c:v>66.0852</c:v>
                </c:pt>
                <c:pt idx="214">
                  <c:v>66.025790000000001</c:v>
                </c:pt>
                <c:pt idx="215">
                  <c:v>66.382996000000006</c:v>
                </c:pt>
                <c:pt idx="216">
                  <c:v>66.323880000000003</c:v>
                </c:pt>
                <c:pt idx="217">
                  <c:v>66.668490000000006</c:v>
                </c:pt>
                <c:pt idx="218">
                  <c:v>67.128100000000003</c:v>
                </c:pt>
                <c:pt idx="219">
                  <c:v>67.430019999999999</c:v>
                </c:pt>
                <c:pt idx="220">
                  <c:v>66.142719999999997</c:v>
                </c:pt>
                <c:pt idx="221">
                  <c:v>66.245255</c:v>
                </c:pt>
                <c:pt idx="222">
                  <c:v>66.285194000000004</c:v>
                </c:pt>
                <c:pt idx="223">
                  <c:v>66.209220000000002</c:v>
                </c:pt>
                <c:pt idx="224">
                  <c:v>66.178060000000002</c:v>
                </c:pt>
                <c:pt idx="225">
                  <c:v>66.079539999999994</c:v>
                </c:pt>
                <c:pt idx="226">
                  <c:v>65.767129999999995</c:v>
                </c:pt>
                <c:pt idx="227">
                  <c:v>65.669390000000007</c:v>
                </c:pt>
                <c:pt idx="228">
                  <c:v>65.759963999999997</c:v>
                </c:pt>
                <c:pt idx="229">
                  <c:v>65.960189999999997</c:v>
                </c:pt>
                <c:pt idx="230">
                  <c:v>65.90513</c:v>
                </c:pt>
                <c:pt idx="231">
                  <c:v>65.954130000000006</c:v>
                </c:pt>
                <c:pt idx="232">
                  <c:v>66.078925999999996</c:v>
                </c:pt>
                <c:pt idx="233">
                  <c:v>66.217280000000002</c:v>
                </c:pt>
                <c:pt idx="234">
                  <c:v>66.049139999999994</c:v>
                </c:pt>
                <c:pt idx="235">
                  <c:v>66.105540000000005</c:v>
                </c:pt>
                <c:pt idx="236">
                  <c:v>66.23321</c:v>
                </c:pt>
                <c:pt idx="237">
                  <c:v>66.105270000000004</c:v>
                </c:pt>
                <c:pt idx="238">
                  <c:v>65.814030000000002</c:v>
                </c:pt>
                <c:pt idx="239">
                  <c:v>65.578609999999998</c:v>
                </c:pt>
                <c:pt idx="240">
                  <c:v>65.604484999999997</c:v>
                </c:pt>
                <c:pt idx="241">
                  <c:v>65.240350000000007</c:v>
                </c:pt>
                <c:pt idx="242">
                  <c:v>65.331239999999994</c:v>
                </c:pt>
                <c:pt idx="243">
                  <c:v>65.215225000000004</c:v>
                </c:pt>
                <c:pt idx="244">
                  <c:v>64.894139999999993</c:v>
                </c:pt>
                <c:pt idx="245">
                  <c:v>64.877499999999998</c:v>
                </c:pt>
                <c:pt idx="246">
                  <c:v>64.928510000000003</c:v>
                </c:pt>
                <c:pt idx="247">
                  <c:v>64.916569999999993</c:v>
                </c:pt>
                <c:pt idx="248">
                  <c:v>65.168049999999994</c:v>
                </c:pt>
                <c:pt idx="249">
                  <c:v>65.375174999999999</c:v>
                </c:pt>
                <c:pt idx="250">
                  <c:v>65.559280000000001</c:v>
                </c:pt>
                <c:pt idx="251">
                  <c:v>65.744529999999997</c:v>
                </c:pt>
                <c:pt idx="252">
                  <c:v>64.910089999999997</c:v>
                </c:pt>
                <c:pt idx="253">
                  <c:v>63.717545000000001</c:v>
                </c:pt>
                <c:pt idx="254">
                  <c:v>63.779567999999998</c:v>
                </c:pt>
                <c:pt idx="255">
                  <c:v>63.526913</c:v>
                </c:pt>
                <c:pt idx="256">
                  <c:v>63.589137999999998</c:v>
                </c:pt>
                <c:pt idx="257">
                  <c:v>64.081590000000006</c:v>
                </c:pt>
                <c:pt idx="258">
                  <c:v>64.368260000000006</c:v>
                </c:pt>
                <c:pt idx="259">
                  <c:v>64.608800000000002</c:v>
                </c:pt>
                <c:pt idx="260">
                  <c:v>64.948989999999995</c:v>
                </c:pt>
                <c:pt idx="261">
                  <c:v>64.997085999999996</c:v>
                </c:pt>
                <c:pt idx="262">
                  <c:v>64.607506000000001</c:v>
                </c:pt>
                <c:pt idx="263">
                  <c:v>65.108720000000005</c:v>
                </c:pt>
                <c:pt idx="264">
                  <c:v>65.273359999999997</c:v>
                </c:pt>
                <c:pt idx="265">
                  <c:v>65.560005000000004</c:v>
                </c:pt>
                <c:pt idx="266">
                  <c:v>65.888120000000001</c:v>
                </c:pt>
                <c:pt idx="267">
                  <c:v>66.368049999999997</c:v>
                </c:pt>
                <c:pt idx="268">
                  <c:v>66.701980000000006</c:v>
                </c:pt>
                <c:pt idx="269">
                  <c:v>66.703940000000003</c:v>
                </c:pt>
                <c:pt idx="270">
                  <c:v>66.678855999999996</c:v>
                </c:pt>
                <c:pt idx="271">
                  <c:v>66.518969999999996</c:v>
                </c:pt>
                <c:pt idx="272">
                  <c:v>66.122799999999998</c:v>
                </c:pt>
                <c:pt idx="273">
                  <c:v>65.867410000000007</c:v>
                </c:pt>
                <c:pt idx="274">
                  <c:v>66.355410000000006</c:v>
                </c:pt>
                <c:pt idx="275">
                  <c:v>66.573909999999998</c:v>
                </c:pt>
                <c:pt idx="276">
                  <c:v>66.847560000000001</c:v>
                </c:pt>
                <c:pt idx="277">
                  <c:v>66.421959999999999</c:v>
                </c:pt>
                <c:pt idx="278">
                  <c:v>66.431899999999999</c:v>
                </c:pt>
                <c:pt idx="279">
                  <c:v>66.714439999999996</c:v>
                </c:pt>
                <c:pt idx="280">
                  <c:v>66.615009999999998</c:v>
                </c:pt>
                <c:pt idx="281">
                  <c:v>66.677080000000004</c:v>
                </c:pt>
                <c:pt idx="282">
                  <c:v>66.871459999999999</c:v>
                </c:pt>
                <c:pt idx="283">
                  <c:v>66.814279999999997</c:v>
                </c:pt>
                <c:pt idx="284">
                  <c:v>66.97869</c:v>
                </c:pt>
                <c:pt idx="285">
                  <c:v>67.180670000000006</c:v>
                </c:pt>
                <c:pt idx="286">
                  <c:v>67.397949999999994</c:v>
                </c:pt>
                <c:pt idx="287">
                  <c:v>67.427620000000005</c:v>
                </c:pt>
                <c:pt idx="288">
                  <c:v>66.760254000000003</c:v>
                </c:pt>
                <c:pt idx="289">
                  <c:v>66.537419999999997</c:v>
                </c:pt>
                <c:pt idx="290">
                  <c:v>66.744286000000002</c:v>
                </c:pt>
                <c:pt idx="291">
                  <c:v>66.374960000000002</c:v>
                </c:pt>
                <c:pt idx="292">
                  <c:v>66.123980000000003</c:v>
                </c:pt>
                <c:pt idx="293">
                  <c:v>66.303539999999998</c:v>
                </c:pt>
                <c:pt idx="294">
                  <c:v>66.40925</c:v>
                </c:pt>
                <c:pt idx="295">
                  <c:v>66.549126000000001</c:v>
                </c:pt>
                <c:pt idx="296">
                  <c:v>65.681849999999997</c:v>
                </c:pt>
                <c:pt idx="297">
                  <c:v>66.156139999999994</c:v>
                </c:pt>
                <c:pt idx="298">
                  <c:v>66.645300000000006</c:v>
                </c:pt>
                <c:pt idx="299">
                  <c:v>66.909260000000003</c:v>
                </c:pt>
                <c:pt idx="300">
                  <c:v>67.195625000000007</c:v>
                </c:pt>
                <c:pt idx="301">
                  <c:v>67.362930000000006</c:v>
                </c:pt>
                <c:pt idx="302">
                  <c:v>67.305769999999995</c:v>
                </c:pt>
                <c:pt idx="303">
                  <c:v>67.351929999999996</c:v>
                </c:pt>
                <c:pt idx="304">
                  <c:v>67.498054999999994</c:v>
                </c:pt>
                <c:pt idx="305">
                  <c:v>67.640010000000004</c:v>
                </c:pt>
                <c:pt idx="306">
                  <c:v>67.761669999999995</c:v>
                </c:pt>
                <c:pt idx="307">
                  <c:v>67.891810000000007</c:v>
                </c:pt>
                <c:pt idx="308">
                  <c:v>67.883449999999996</c:v>
                </c:pt>
                <c:pt idx="309">
                  <c:v>67.763794000000004</c:v>
                </c:pt>
                <c:pt idx="310">
                  <c:v>67.778149999999997</c:v>
                </c:pt>
                <c:pt idx="311">
                  <c:v>67.885345000000001</c:v>
                </c:pt>
                <c:pt idx="312">
                  <c:v>68.041929999999994</c:v>
                </c:pt>
                <c:pt idx="313">
                  <c:v>68.265429999999995</c:v>
                </c:pt>
                <c:pt idx="314">
                  <c:v>68.362409999999997</c:v>
                </c:pt>
                <c:pt idx="315">
                  <c:v>68.234024000000005</c:v>
                </c:pt>
                <c:pt idx="316">
                  <c:v>68.174750000000003</c:v>
                </c:pt>
                <c:pt idx="317">
                  <c:v>68.133480000000006</c:v>
                </c:pt>
                <c:pt idx="318">
                  <c:v>68.106769999999997</c:v>
                </c:pt>
                <c:pt idx="319">
                  <c:v>68.356290000000001</c:v>
                </c:pt>
                <c:pt idx="320">
                  <c:v>68.553979999999996</c:v>
                </c:pt>
                <c:pt idx="321">
                  <c:v>68.930854999999994</c:v>
                </c:pt>
                <c:pt idx="322">
                  <c:v>69.154740000000004</c:v>
                </c:pt>
                <c:pt idx="323">
                  <c:v>69.321259999999995</c:v>
                </c:pt>
                <c:pt idx="324">
                  <c:v>69.46114</c:v>
                </c:pt>
                <c:pt idx="325">
                  <c:v>69.495804000000007</c:v>
                </c:pt>
                <c:pt idx="326">
                  <c:v>70.006095999999999</c:v>
                </c:pt>
                <c:pt idx="327">
                  <c:v>70.037149999999997</c:v>
                </c:pt>
                <c:pt idx="328">
                  <c:v>70.182410000000004</c:v>
                </c:pt>
                <c:pt idx="329">
                  <c:v>70.582130000000006</c:v>
                </c:pt>
                <c:pt idx="330">
                  <c:v>70.897019999999998</c:v>
                </c:pt>
                <c:pt idx="331">
                  <c:v>71.362719999999996</c:v>
                </c:pt>
                <c:pt idx="332">
                  <c:v>71.858239999999995</c:v>
                </c:pt>
                <c:pt idx="333">
                  <c:v>72.116410000000002</c:v>
                </c:pt>
                <c:pt idx="334">
                  <c:v>72.171329999999998</c:v>
                </c:pt>
                <c:pt idx="335">
                  <c:v>72.011049999999997</c:v>
                </c:pt>
                <c:pt idx="336">
                  <c:v>71.982315</c:v>
                </c:pt>
                <c:pt idx="337">
                  <c:v>71.941069999999996</c:v>
                </c:pt>
                <c:pt idx="338">
                  <c:v>71.768799999999999</c:v>
                </c:pt>
                <c:pt idx="339">
                  <c:v>71.800415000000001</c:v>
                </c:pt>
                <c:pt idx="340">
                  <c:v>71.514759999999995</c:v>
                </c:pt>
                <c:pt idx="341">
                  <c:v>71.396950000000004</c:v>
                </c:pt>
                <c:pt idx="342">
                  <c:v>71.223749999999995</c:v>
                </c:pt>
                <c:pt idx="343">
                  <c:v>71.073204000000004</c:v>
                </c:pt>
                <c:pt idx="344">
                  <c:v>71.056929999999994</c:v>
                </c:pt>
                <c:pt idx="345">
                  <c:v>71.168279999999996</c:v>
                </c:pt>
                <c:pt idx="346">
                  <c:v>71.139150000000001</c:v>
                </c:pt>
                <c:pt idx="347">
                  <c:v>71.304919999999996</c:v>
                </c:pt>
                <c:pt idx="348">
                  <c:v>71.614239999999995</c:v>
                </c:pt>
                <c:pt idx="349">
                  <c:v>71.981476000000001</c:v>
                </c:pt>
                <c:pt idx="350">
                  <c:v>72.308814999999996</c:v>
                </c:pt>
                <c:pt idx="351">
                  <c:v>72.464799999999997</c:v>
                </c:pt>
                <c:pt idx="352">
                  <c:v>72.744290000000007</c:v>
                </c:pt>
                <c:pt idx="353">
                  <c:v>72.958299999999994</c:v>
                </c:pt>
                <c:pt idx="354">
                  <c:v>73.145989999999998</c:v>
                </c:pt>
                <c:pt idx="355">
                  <c:v>73.311790000000002</c:v>
                </c:pt>
                <c:pt idx="356">
                  <c:v>73.354179999999999</c:v>
                </c:pt>
                <c:pt idx="357">
                  <c:v>73.433914000000001</c:v>
                </c:pt>
                <c:pt idx="358">
                  <c:v>73.529629999999997</c:v>
                </c:pt>
                <c:pt idx="359">
                  <c:v>73.588554000000002</c:v>
                </c:pt>
                <c:pt idx="360">
                  <c:v>73.739080000000001</c:v>
                </c:pt>
                <c:pt idx="361">
                  <c:v>73.816149999999993</c:v>
                </c:pt>
                <c:pt idx="362">
                  <c:v>72.966009999999997</c:v>
                </c:pt>
                <c:pt idx="363">
                  <c:v>72.812960000000004</c:v>
                </c:pt>
                <c:pt idx="364">
                  <c:v>72.977199999999996</c:v>
                </c:pt>
                <c:pt idx="365">
                  <c:v>73.012609999999995</c:v>
                </c:pt>
                <c:pt idx="366">
                  <c:v>72.879000000000005</c:v>
                </c:pt>
                <c:pt idx="367">
                  <c:v>72.747200000000007</c:v>
                </c:pt>
                <c:pt idx="368">
                  <c:v>72.204689999999999</c:v>
                </c:pt>
                <c:pt idx="369">
                  <c:v>71.759259999999998</c:v>
                </c:pt>
                <c:pt idx="370">
                  <c:v>71.306790000000007</c:v>
                </c:pt>
                <c:pt idx="371">
                  <c:v>70.688069999999996</c:v>
                </c:pt>
                <c:pt idx="372">
                  <c:v>70.260059999999996</c:v>
                </c:pt>
                <c:pt idx="373">
                  <c:v>69.941344999999998</c:v>
                </c:pt>
                <c:pt idx="374">
                  <c:v>69.822299999999998</c:v>
                </c:pt>
                <c:pt idx="375">
                  <c:v>69.728449999999995</c:v>
                </c:pt>
                <c:pt idx="376">
                  <c:v>69.788529999999994</c:v>
                </c:pt>
                <c:pt idx="377">
                  <c:v>70.130359999999996</c:v>
                </c:pt>
                <c:pt idx="378">
                  <c:v>71.566376000000005</c:v>
                </c:pt>
                <c:pt idx="379">
                  <c:v>77.267234999999999</c:v>
                </c:pt>
                <c:pt idx="380">
                  <c:v>78.945359999999994</c:v>
                </c:pt>
                <c:pt idx="381">
                  <c:v>79.256</c:v>
                </c:pt>
                <c:pt idx="382">
                  <c:v>79.49776</c:v>
                </c:pt>
                <c:pt idx="383">
                  <c:v>79.660420000000002</c:v>
                </c:pt>
                <c:pt idx="384">
                  <c:v>79.743610000000004</c:v>
                </c:pt>
                <c:pt idx="385">
                  <c:v>79.860259999999997</c:v>
                </c:pt>
                <c:pt idx="386">
                  <c:v>79.89085</c:v>
                </c:pt>
                <c:pt idx="387">
                  <c:v>79.787629999999993</c:v>
                </c:pt>
                <c:pt idx="388">
                  <c:v>79.639070000000004</c:v>
                </c:pt>
                <c:pt idx="389">
                  <c:v>79.465170000000001</c:v>
                </c:pt>
                <c:pt idx="390">
                  <c:v>79.355834999999999</c:v>
                </c:pt>
                <c:pt idx="391">
                  <c:v>79.178269999999998</c:v>
                </c:pt>
                <c:pt idx="392">
                  <c:v>78.969769999999997</c:v>
                </c:pt>
                <c:pt idx="393">
                  <c:v>78.116929999999996</c:v>
                </c:pt>
                <c:pt idx="394">
                  <c:v>78.102800000000002</c:v>
                </c:pt>
                <c:pt idx="395">
                  <c:v>77.729095000000001</c:v>
                </c:pt>
                <c:pt idx="396">
                  <c:v>77.422179999999997</c:v>
                </c:pt>
                <c:pt idx="397">
                  <c:v>77.075873999999999</c:v>
                </c:pt>
                <c:pt idx="398">
                  <c:v>76.672554000000005</c:v>
                </c:pt>
                <c:pt idx="399">
                  <c:v>76.259950000000003</c:v>
                </c:pt>
                <c:pt idx="400">
                  <c:v>75.695435000000003</c:v>
                </c:pt>
                <c:pt idx="401">
                  <c:v>75.185419999999993</c:v>
                </c:pt>
                <c:pt idx="402">
                  <c:v>74.896940000000001</c:v>
                </c:pt>
                <c:pt idx="403">
                  <c:v>74.916920000000005</c:v>
                </c:pt>
                <c:pt idx="404">
                  <c:v>74.857474999999994</c:v>
                </c:pt>
                <c:pt idx="405">
                  <c:v>74.691569999999999</c:v>
                </c:pt>
                <c:pt idx="406">
                  <c:v>75.342470000000006</c:v>
                </c:pt>
                <c:pt idx="407">
                  <c:v>75.413830000000004</c:v>
                </c:pt>
                <c:pt idx="408">
                  <c:v>75.681470000000004</c:v>
                </c:pt>
                <c:pt idx="409">
                  <c:v>75.823239999999998</c:v>
                </c:pt>
                <c:pt idx="410">
                  <c:v>76.179869999999994</c:v>
                </c:pt>
                <c:pt idx="411">
                  <c:v>76.188310000000001</c:v>
                </c:pt>
                <c:pt idx="412">
                  <c:v>75.438879999999997</c:v>
                </c:pt>
                <c:pt idx="413">
                  <c:v>75.480279999999993</c:v>
                </c:pt>
                <c:pt idx="414">
                  <c:v>75.570740000000001</c:v>
                </c:pt>
                <c:pt idx="415">
                  <c:v>74.967963999999995</c:v>
                </c:pt>
                <c:pt idx="416">
                  <c:v>75.650319999999994</c:v>
                </c:pt>
                <c:pt idx="417">
                  <c:v>75.972849999999994</c:v>
                </c:pt>
                <c:pt idx="418">
                  <c:v>76.162639999999996</c:v>
                </c:pt>
                <c:pt idx="419">
                  <c:v>76.401880000000006</c:v>
                </c:pt>
                <c:pt idx="420">
                  <c:v>76.131889999999999</c:v>
                </c:pt>
                <c:pt idx="421">
                  <c:v>75.438969999999998</c:v>
                </c:pt>
                <c:pt idx="422">
                  <c:v>75.412850000000006</c:v>
                </c:pt>
                <c:pt idx="423">
                  <c:v>76.493629999999996</c:v>
                </c:pt>
                <c:pt idx="424">
                  <c:v>77.159750000000003</c:v>
                </c:pt>
                <c:pt idx="425">
                  <c:v>78.005809999999997</c:v>
                </c:pt>
                <c:pt idx="426">
                  <c:v>78.723770000000002</c:v>
                </c:pt>
                <c:pt idx="427">
                  <c:v>79.317790000000002</c:v>
                </c:pt>
                <c:pt idx="428">
                  <c:v>80.00309</c:v>
                </c:pt>
                <c:pt idx="429">
                  <c:v>80.353669999999994</c:v>
                </c:pt>
                <c:pt idx="430">
                  <c:v>80.541749999999993</c:v>
                </c:pt>
                <c:pt idx="431">
                  <c:v>80.522125000000003</c:v>
                </c:pt>
                <c:pt idx="432">
                  <c:v>80.502579999999995</c:v>
                </c:pt>
                <c:pt idx="433">
                  <c:v>80.615030000000004</c:v>
                </c:pt>
                <c:pt idx="434">
                  <c:v>80.928319999999999</c:v>
                </c:pt>
                <c:pt idx="435">
                  <c:v>81.102739999999997</c:v>
                </c:pt>
                <c:pt idx="436">
                  <c:v>81.208389999999994</c:v>
                </c:pt>
                <c:pt idx="437">
                  <c:v>81.356390000000005</c:v>
                </c:pt>
                <c:pt idx="438">
                  <c:v>81.53622</c:v>
                </c:pt>
                <c:pt idx="439">
                  <c:v>81.624639999999999</c:v>
                </c:pt>
                <c:pt idx="440">
                  <c:v>81.635819999999995</c:v>
                </c:pt>
                <c:pt idx="441">
                  <c:v>81.529560000000004</c:v>
                </c:pt>
                <c:pt idx="442">
                  <c:v>81.561959999999999</c:v>
                </c:pt>
                <c:pt idx="443">
                  <c:v>81.565600000000003</c:v>
                </c:pt>
                <c:pt idx="444">
                  <c:v>81.548270000000002</c:v>
                </c:pt>
                <c:pt idx="445">
                  <c:v>81.609009999999998</c:v>
                </c:pt>
                <c:pt idx="446">
                  <c:v>81.133965000000003</c:v>
                </c:pt>
                <c:pt idx="447">
                  <c:v>81.255645999999999</c:v>
                </c:pt>
                <c:pt idx="448">
                  <c:v>81.547049999999999</c:v>
                </c:pt>
                <c:pt idx="449">
                  <c:v>81.723389999999995</c:v>
                </c:pt>
                <c:pt idx="450">
                  <c:v>81.807929999999999</c:v>
                </c:pt>
                <c:pt idx="451">
                  <c:v>81.901610000000005</c:v>
                </c:pt>
                <c:pt idx="452">
                  <c:v>81.775620000000004</c:v>
                </c:pt>
                <c:pt idx="453">
                  <c:v>81.508489999999995</c:v>
                </c:pt>
                <c:pt idx="454">
                  <c:v>81.323740000000001</c:v>
                </c:pt>
                <c:pt idx="455">
                  <c:v>81.217200000000005</c:v>
                </c:pt>
                <c:pt idx="456">
                  <c:v>81.186869999999999</c:v>
                </c:pt>
                <c:pt idx="457">
                  <c:v>81.185429999999997</c:v>
                </c:pt>
                <c:pt idx="458">
                  <c:v>81.220609999999994</c:v>
                </c:pt>
                <c:pt idx="459">
                  <c:v>81.353369999999998</c:v>
                </c:pt>
                <c:pt idx="460">
                  <c:v>81.13</c:v>
                </c:pt>
                <c:pt idx="461">
                  <c:v>81.005439999999993</c:v>
                </c:pt>
                <c:pt idx="462">
                  <c:v>80.60042</c:v>
                </c:pt>
                <c:pt idx="463">
                  <c:v>80.036415000000005</c:v>
                </c:pt>
                <c:pt idx="464">
                  <c:v>79.520966000000001</c:v>
                </c:pt>
                <c:pt idx="465">
                  <c:v>79.641350000000003</c:v>
                </c:pt>
                <c:pt idx="466">
                  <c:v>80.294759999999997</c:v>
                </c:pt>
                <c:pt idx="467">
                  <c:v>81.060615999999996</c:v>
                </c:pt>
                <c:pt idx="468">
                  <c:v>81.897094999999993</c:v>
                </c:pt>
                <c:pt idx="469">
                  <c:v>82.818039999999996</c:v>
                </c:pt>
                <c:pt idx="470">
                  <c:v>83.173289999999994</c:v>
                </c:pt>
                <c:pt idx="471">
                  <c:v>80.622209999999995</c:v>
                </c:pt>
                <c:pt idx="472">
                  <c:v>80.379469999999998</c:v>
                </c:pt>
                <c:pt idx="473">
                  <c:v>80.090164000000001</c:v>
                </c:pt>
                <c:pt idx="474">
                  <c:v>79.783799999999999</c:v>
                </c:pt>
                <c:pt idx="475">
                  <c:v>79.487039999999993</c:v>
                </c:pt>
                <c:pt idx="476">
                  <c:v>78.982439999999997</c:v>
                </c:pt>
                <c:pt idx="477">
                  <c:v>78.405060000000006</c:v>
                </c:pt>
                <c:pt idx="478">
                  <c:v>78.232900000000001</c:v>
                </c:pt>
                <c:pt idx="479">
                  <c:v>78.593320000000006</c:v>
                </c:pt>
                <c:pt idx="480">
                  <c:v>78.9666</c:v>
                </c:pt>
                <c:pt idx="481">
                  <c:v>79.194469999999995</c:v>
                </c:pt>
                <c:pt idx="482">
                  <c:v>79.326194999999998</c:v>
                </c:pt>
                <c:pt idx="483">
                  <c:v>79.308890000000005</c:v>
                </c:pt>
                <c:pt idx="484">
                  <c:v>79.146500000000003</c:v>
                </c:pt>
                <c:pt idx="485">
                  <c:v>79.240300000000005</c:v>
                </c:pt>
                <c:pt idx="486">
                  <c:v>79.347560000000001</c:v>
                </c:pt>
                <c:pt idx="487">
                  <c:v>79.598259999999996</c:v>
                </c:pt>
                <c:pt idx="488">
                  <c:v>80.041589999999999</c:v>
                </c:pt>
                <c:pt idx="489">
                  <c:v>80.522300000000001</c:v>
                </c:pt>
                <c:pt idx="490">
                  <c:v>80.982169999999996</c:v>
                </c:pt>
                <c:pt idx="491">
                  <c:v>80.877489999999995</c:v>
                </c:pt>
                <c:pt idx="492">
                  <c:v>80.618459999999999</c:v>
                </c:pt>
                <c:pt idx="493">
                  <c:v>80.748050000000006</c:v>
                </c:pt>
                <c:pt idx="494">
                  <c:v>80.352239999999995</c:v>
                </c:pt>
                <c:pt idx="495">
                  <c:v>80.323930000000004</c:v>
                </c:pt>
                <c:pt idx="496">
                  <c:v>80.817859999999996</c:v>
                </c:pt>
                <c:pt idx="497">
                  <c:v>81.141890000000004</c:v>
                </c:pt>
                <c:pt idx="498">
                  <c:v>81.644189999999995</c:v>
                </c:pt>
                <c:pt idx="499">
                  <c:v>81.945679999999996</c:v>
                </c:pt>
                <c:pt idx="500">
                  <c:v>82.012739999999994</c:v>
                </c:pt>
                <c:pt idx="501">
                  <c:v>82.12567</c:v>
                </c:pt>
                <c:pt idx="502">
                  <c:v>81.672484999999995</c:v>
                </c:pt>
                <c:pt idx="503">
                  <c:v>81.550280000000001</c:v>
                </c:pt>
                <c:pt idx="504">
                  <c:v>82.235230000000001</c:v>
                </c:pt>
                <c:pt idx="505">
                  <c:v>82.842479999999995</c:v>
                </c:pt>
                <c:pt idx="506">
                  <c:v>83.391999999999996</c:v>
                </c:pt>
                <c:pt idx="507">
                  <c:v>83.727149999999995</c:v>
                </c:pt>
                <c:pt idx="508">
                  <c:v>83.982299999999995</c:v>
                </c:pt>
                <c:pt idx="509">
                  <c:v>84.013490000000004</c:v>
                </c:pt>
                <c:pt idx="510">
                  <c:v>83.982420000000005</c:v>
                </c:pt>
                <c:pt idx="511">
                  <c:v>83.799400000000006</c:v>
                </c:pt>
                <c:pt idx="512">
                  <c:v>83.737564000000006</c:v>
                </c:pt>
                <c:pt idx="513">
                  <c:v>83.616969999999995</c:v>
                </c:pt>
                <c:pt idx="514">
                  <c:v>83.576830000000001</c:v>
                </c:pt>
                <c:pt idx="515">
                  <c:v>83.557000000000002</c:v>
                </c:pt>
                <c:pt idx="516">
                  <c:v>83.358810000000005</c:v>
                </c:pt>
                <c:pt idx="517">
                  <c:v>83.155106000000004</c:v>
                </c:pt>
                <c:pt idx="518">
                  <c:v>82.859260000000006</c:v>
                </c:pt>
                <c:pt idx="519">
                  <c:v>82.623999999999995</c:v>
                </c:pt>
                <c:pt idx="520">
                  <c:v>82.241485999999995</c:v>
                </c:pt>
                <c:pt idx="521">
                  <c:v>81.890529999999998</c:v>
                </c:pt>
                <c:pt idx="522">
                  <c:v>81.893105000000006</c:v>
                </c:pt>
                <c:pt idx="523">
                  <c:v>81.826324</c:v>
                </c:pt>
                <c:pt idx="524">
                  <c:v>82.015563999999998</c:v>
                </c:pt>
                <c:pt idx="525">
                  <c:v>82.11627</c:v>
                </c:pt>
                <c:pt idx="526">
                  <c:v>82.368650000000002</c:v>
                </c:pt>
                <c:pt idx="527">
                  <c:v>82.561199999999999</c:v>
                </c:pt>
                <c:pt idx="528">
                  <c:v>83.853669999999994</c:v>
                </c:pt>
                <c:pt idx="529">
                  <c:v>84.182789999999997</c:v>
                </c:pt>
                <c:pt idx="530">
                  <c:v>84.321799999999996</c:v>
                </c:pt>
                <c:pt idx="531">
                  <c:v>84.215705999999997</c:v>
                </c:pt>
                <c:pt idx="532">
                  <c:v>84.130679999999998</c:v>
                </c:pt>
                <c:pt idx="533">
                  <c:v>84.086640000000003</c:v>
                </c:pt>
                <c:pt idx="534">
                  <c:v>84.287229999999994</c:v>
                </c:pt>
                <c:pt idx="535">
                  <c:v>84.238169999999997</c:v>
                </c:pt>
                <c:pt idx="536">
                  <c:v>84.114360000000005</c:v>
                </c:pt>
                <c:pt idx="537">
                  <c:v>84.001069999999999</c:v>
                </c:pt>
                <c:pt idx="538">
                  <c:v>84.049644000000001</c:v>
                </c:pt>
                <c:pt idx="539">
                  <c:v>83.914280000000005</c:v>
                </c:pt>
                <c:pt idx="540">
                  <c:v>83.863495</c:v>
                </c:pt>
                <c:pt idx="541">
                  <c:v>83.798259999999999</c:v>
                </c:pt>
                <c:pt idx="542">
                  <c:v>83.711370000000002</c:v>
                </c:pt>
                <c:pt idx="543">
                  <c:v>83.571724000000003</c:v>
                </c:pt>
                <c:pt idx="544">
                  <c:v>83.507869999999997</c:v>
                </c:pt>
                <c:pt idx="545">
                  <c:v>83.480316000000002</c:v>
                </c:pt>
                <c:pt idx="546">
                  <c:v>83.467489999999998</c:v>
                </c:pt>
                <c:pt idx="547">
                  <c:v>83.315610000000007</c:v>
                </c:pt>
                <c:pt idx="548">
                  <c:v>83.330290000000005</c:v>
                </c:pt>
                <c:pt idx="549">
                  <c:v>83.347489999999993</c:v>
                </c:pt>
                <c:pt idx="550">
                  <c:v>83.536574999999999</c:v>
                </c:pt>
                <c:pt idx="551">
                  <c:v>83.762659999999997</c:v>
                </c:pt>
                <c:pt idx="552">
                  <c:v>84.080730000000003</c:v>
                </c:pt>
                <c:pt idx="553">
                  <c:v>84.373924000000002</c:v>
                </c:pt>
                <c:pt idx="554">
                  <c:v>84.672873999999993</c:v>
                </c:pt>
                <c:pt idx="555">
                  <c:v>84.85284</c:v>
                </c:pt>
                <c:pt idx="556">
                  <c:v>84.740746000000001</c:v>
                </c:pt>
                <c:pt idx="557">
                  <c:v>84.915840000000003</c:v>
                </c:pt>
                <c:pt idx="558">
                  <c:v>85.107460000000003</c:v>
                </c:pt>
                <c:pt idx="559">
                  <c:v>84.964680000000001</c:v>
                </c:pt>
                <c:pt idx="560">
                  <c:v>84.596320000000006</c:v>
                </c:pt>
                <c:pt idx="561">
                  <c:v>84.29607</c:v>
                </c:pt>
                <c:pt idx="562">
                  <c:v>84.462670000000003</c:v>
                </c:pt>
                <c:pt idx="563">
                  <c:v>84.316370000000006</c:v>
                </c:pt>
                <c:pt idx="564">
                  <c:v>84.232740000000007</c:v>
                </c:pt>
                <c:pt idx="565">
                  <c:v>84.083979999999997</c:v>
                </c:pt>
                <c:pt idx="566">
                  <c:v>84.212035999999998</c:v>
                </c:pt>
                <c:pt idx="567">
                  <c:v>84.337140000000005</c:v>
                </c:pt>
                <c:pt idx="568">
                  <c:v>84.406959999999998</c:v>
                </c:pt>
                <c:pt idx="569">
                  <c:v>84.447074999999998</c:v>
                </c:pt>
                <c:pt idx="570">
                  <c:v>84.369445999999996</c:v>
                </c:pt>
                <c:pt idx="571">
                  <c:v>84.395160000000004</c:v>
                </c:pt>
                <c:pt idx="572">
                  <c:v>84.377110000000002</c:v>
                </c:pt>
                <c:pt idx="573">
                  <c:v>84.172929999999994</c:v>
                </c:pt>
                <c:pt idx="574">
                  <c:v>84.194879999999998</c:v>
                </c:pt>
                <c:pt idx="575">
                  <c:v>84.230029999999999</c:v>
                </c:pt>
                <c:pt idx="576">
                  <c:v>84.123019999999997</c:v>
                </c:pt>
                <c:pt idx="577">
                  <c:v>84.078284999999994</c:v>
                </c:pt>
                <c:pt idx="578">
                  <c:v>84.080309999999997</c:v>
                </c:pt>
                <c:pt idx="579">
                  <c:v>84.105540000000005</c:v>
                </c:pt>
                <c:pt idx="580">
                  <c:v>83.9876</c:v>
                </c:pt>
                <c:pt idx="581">
                  <c:v>83.804180000000002</c:v>
                </c:pt>
                <c:pt idx="582">
                  <c:v>83.523444999999995</c:v>
                </c:pt>
                <c:pt idx="583">
                  <c:v>83.290710000000004</c:v>
                </c:pt>
                <c:pt idx="584">
                  <c:v>83.37021</c:v>
                </c:pt>
                <c:pt idx="585">
                  <c:v>83.455985999999996</c:v>
                </c:pt>
                <c:pt idx="586">
                  <c:v>83.323905999999994</c:v>
                </c:pt>
                <c:pt idx="587">
                  <c:v>83.05874</c:v>
                </c:pt>
                <c:pt idx="588">
                  <c:v>82.838539999999995</c:v>
                </c:pt>
                <c:pt idx="589">
                  <c:v>82.925110000000004</c:v>
                </c:pt>
                <c:pt idx="590">
                  <c:v>83.179950000000005</c:v>
                </c:pt>
                <c:pt idx="591">
                  <c:v>83.293329999999997</c:v>
                </c:pt>
                <c:pt idx="592">
                  <c:v>83.440574999999995</c:v>
                </c:pt>
                <c:pt idx="593">
                  <c:v>83.692340000000002</c:v>
                </c:pt>
                <c:pt idx="594">
                  <c:v>83.748779999999996</c:v>
                </c:pt>
                <c:pt idx="595">
                  <c:v>83.70975</c:v>
                </c:pt>
                <c:pt idx="596">
                  <c:v>83.727974000000003</c:v>
                </c:pt>
                <c:pt idx="597">
                  <c:v>83.290535000000006</c:v>
                </c:pt>
                <c:pt idx="598">
                  <c:v>83.046809999999994</c:v>
                </c:pt>
                <c:pt idx="599">
                  <c:v>83.006255999999993</c:v>
                </c:pt>
                <c:pt idx="600">
                  <c:v>82.951520000000002</c:v>
                </c:pt>
                <c:pt idx="601">
                  <c:v>82.893100000000004</c:v>
                </c:pt>
                <c:pt idx="602">
                  <c:v>82.979033999999999</c:v>
                </c:pt>
                <c:pt idx="603">
                  <c:v>82.84299</c:v>
                </c:pt>
                <c:pt idx="604">
                  <c:v>82.532420000000002</c:v>
                </c:pt>
                <c:pt idx="605">
                  <c:v>82.798299999999998</c:v>
                </c:pt>
                <c:pt idx="606">
                  <c:v>83.342269999999999</c:v>
                </c:pt>
                <c:pt idx="607">
                  <c:v>84.186099999999996</c:v>
                </c:pt>
                <c:pt idx="608">
                  <c:v>84.840159999999997</c:v>
                </c:pt>
                <c:pt idx="609">
                  <c:v>85.502260000000007</c:v>
                </c:pt>
                <c:pt idx="610">
                  <c:v>85.992810000000006</c:v>
                </c:pt>
                <c:pt idx="611">
                  <c:v>86.252769999999998</c:v>
                </c:pt>
                <c:pt idx="612">
                  <c:v>86.196259999999995</c:v>
                </c:pt>
                <c:pt idx="613">
                  <c:v>86.006550000000004</c:v>
                </c:pt>
                <c:pt idx="614">
                  <c:v>85.516409999999993</c:v>
                </c:pt>
                <c:pt idx="615">
                  <c:v>84.935683999999995</c:v>
                </c:pt>
                <c:pt idx="616">
                  <c:v>84.390690000000006</c:v>
                </c:pt>
                <c:pt idx="617">
                  <c:v>84.225129999999993</c:v>
                </c:pt>
                <c:pt idx="618">
                  <c:v>84.259513999999996</c:v>
                </c:pt>
                <c:pt idx="619">
                  <c:v>84.26482</c:v>
                </c:pt>
                <c:pt idx="620">
                  <c:v>84.336876000000004</c:v>
                </c:pt>
                <c:pt idx="621">
                  <c:v>84.216155999999998</c:v>
                </c:pt>
                <c:pt idx="622">
                  <c:v>84.114333999999999</c:v>
                </c:pt>
                <c:pt idx="623">
                  <c:v>84.099360000000004</c:v>
                </c:pt>
                <c:pt idx="624">
                  <c:v>84.028300000000002</c:v>
                </c:pt>
                <c:pt idx="625">
                  <c:v>83.900215000000003</c:v>
                </c:pt>
                <c:pt idx="626">
                  <c:v>84.122799999999998</c:v>
                </c:pt>
                <c:pt idx="627">
                  <c:v>84.055419999999998</c:v>
                </c:pt>
                <c:pt idx="628">
                  <c:v>83.997240000000005</c:v>
                </c:pt>
                <c:pt idx="629">
                  <c:v>83.912329999999997</c:v>
                </c:pt>
                <c:pt idx="630">
                  <c:v>83.850880000000004</c:v>
                </c:pt>
                <c:pt idx="631">
                  <c:v>83.849850000000004</c:v>
                </c:pt>
                <c:pt idx="632">
                  <c:v>83.83466</c:v>
                </c:pt>
                <c:pt idx="633">
                  <c:v>83.595439999999996</c:v>
                </c:pt>
                <c:pt idx="634">
                  <c:v>82.943730000000002</c:v>
                </c:pt>
                <c:pt idx="635">
                  <c:v>81.883690000000001</c:v>
                </c:pt>
                <c:pt idx="636">
                  <c:v>79.606340000000003</c:v>
                </c:pt>
                <c:pt idx="637">
                  <c:v>78.691140000000004</c:v>
                </c:pt>
                <c:pt idx="638">
                  <c:v>78.802239999999998</c:v>
                </c:pt>
                <c:pt idx="639">
                  <c:v>79.579279999999997</c:v>
                </c:pt>
                <c:pt idx="640">
                  <c:v>80.429580000000001</c:v>
                </c:pt>
                <c:pt idx="641">
                  <c:v>81.008039999999994</c:v>
                </c:pt>
                <c:pt idx="642">
                  <c:v>80.520904999999999</c:v>
                </c:pt>
                <c:pt idx="643">
                  <c:v>80.761499999999998</c:v>
                </c:pt>
                <c:pt idx="644">
                  <c:v>81.17259</c:v>
                </c:pt>
                <c:pt idx="645">
                  <c:v>79.065635999999998</c:v>
                </c:pt>
                <c:pt idx="646">
                  <c:v>79.325710000000001</c:v>
                </c:pt>
                <c:pt idx="647">
                  <c:v>79.275959999999998</c:v>
                </c:pt>
                <c:pt idx="648">
                  <c:v>79.212919999999997</c:v>
                </c:pt>
                <c:pt idx="649">
                  <c:v>79.214225999999996</c:v>
                </c:pt>
                <c:pt idx="650">
                  <c:v>79.085489999999993</c:v>
                </c:pt>
                <c:pt idx="651">
                  <c:v>79.131410000000002</c:v>
                </c:pt>
                <c:pt idx="652">
                  <c:v>79.293030000000002</c:v>
                </c:pt>
                <c:pt idx="653">
                  <c:v>79.386499999999998</c:v>
                </c:pt>
                <c:pt idx="654">
                  <c:v>78.863365000000002</c:v>
                </c:pt>
                <c:pt idx="655">
                  <c:v>79.007729999999995</c:v>
                </c:pt>
                <c:pt idx="656">
                  <c:v>78.992644999999996</c:v>
                </c:pt>
                <c:pt idx="657">
                  <c:v>78.801950000000005</c:v>
                </c:pt>
                <c:pt idx="658">
                  <c:v>78.567924000000005</c:v>
                </c:pt>
                <c:pt idx="659">
                  <c:v>78.371155000000002</c:v>
                </c:pt>
                <c:pt idx="660">
                  <c:v>77.854820000000004</c:v>
                </c:pt>
                <c:pt idx="661">
                  <c:v>77.4876</c:v>
                </c:pt>
                <c:pt idx="662">
                  <c:v>77.517840000000007</c:v>
                </c:pt>
                <c:pt idx="663">
                  <c:v>77.646479999999997</c:v>
                </c:pt>
                <c:pt idx="664">
                  <c:v>77.757930000000002</c:v>
                </c:pt>
                <c:pt idx="665">
                  <c:v>77.076935000000006</c:v>
                </c:pt>
                <c:pt idx="666">
                  <c:v>78.778580000000005</c:v>
                </c:pt>
                <c:pt idx="667">
                  <c:v>79.258560000000003</c:v>
                </c:pt>
                <c:pt idx="668">
                  <c:v>79.919585999999995</c:v>
                </c:pt>
                <c:pt idx="669">
                  <c:v>80.359849999999994</c:v>
                </c:pt>
                <c:pt idx="670">
                  <c:v>80.709270000000004</c:v>
                </c:pt>
                <c:pt idx="671">
                  <c:v>80.774199999999993</c:v>
                </c:pt>
                <c:pt idx="672">
                  <c:v>80.799520000000001</c:v>
                </c:pt>
                <c:pt idx="673">
                  <c:v>81.029719999999998</c:v>
                </c:pt>
                <c:pt idx="674">
                  <c:v>81.354050000000001</c:v>
                </c:pt>
                <c:pt idx="675">
                  <c:v>81.630679999999998</c:v>
                </c:pt>
                <c:pt idx="676">
                  <c:v>81.799576000000002</c:v>
                </c:pt>
                <c:pt idx="677">
                  <c:v>81.752300000000005</c:v>
                </c:pt>
                <c:pt idx="678">
                  <c:v>81.943719999999999</c:v>
                </c:pt>
                <c:pt idx="679">
                  <c:v>82.359979999999993</c:v>
                </c:pt>
                <c:pt idx="680">
                  <c:v>82.649253999999999</c:v>
                </c:pt>
                <c:pt idx="681">
                  <c:v>82.766099999999994</c:v>
                </c:pt>
                <c:pt idx="682">
                  <c:v>83.052480000000003</c:v>
                </c:pt>
                <c:pt idx="683">
                  <c:v>83.120199999999997</c:v>
                </c:pt>
                <c:pt idx="684">
                  <c:v>83.202359999999999</c:v>
                </c:pt>
                <c:pt idx="685">
                  <c:v>83.42662</c:v>
                </c:pt>
                <c:pt idx="686">
                  <c:v>83.682304000000002</c:v>
                </c:pt>
                <c:pt idx="687">
                  <c:v>83.721249999999998</c:v>
                </c:pt>
                <c:pt idx="688">
                  <c:v>83.570785999999998</c:v>
                </c:pt>
                <c:pt idx="689">
                  <c:v>83.536500000000004</c:v>
                </c:pt>
                <c:pt idx="690">
                  <c:v>83.197969999999998</c:v>
                </c:pt>
                <c:pt idx="691">
                  <c:v>82.896960000000007</c:v>
                </c:pt>
                <c:pt idx="692">
                  <c:v>82.533969999999997</c:v>
                </c:pt>
                <c:pt idx="693">
                  <c:v>81.997569999999996</c:v>
                </c:pt>
                <c:pt idx="694">
                  <c:v>81.355414999999994</c:v>
                </c:pt>
                <c:pt idx="695">
                  <c:v>81.066400000000002</c:v>
                </c:pt>
                <c:pt idx="696">
                  <c:v>80.820899999999995</c:v>
                </c:pt>
                <c:pt idx="697">
                  <c:v>80.932069999999996</c:v>
                </c:pt>
                <c:pt idx="698">
                  <c:v>80.986379999999997</c:v>
                </c:pt>
                <c:pt idx="699">
                  <c:v>81.151120000000006</c:v>
                </c:pt>
                <c:pt idx="700">
                  <c:v>81.239159999999998</c:v>
                </c:pt>
                <c:pt idx="701">
                  <c:v>81.284133999999995</c:v>
                </c:pt>
                <c:pt idx="702">
                  <c:v>81.339349999999996</c:v>
                </c:pt>
                <c:pt idx="703">
                  <c:v>81.328149999999994</c:v>
                </c:pt>
                <c:pt idx="704">
                  <c:v>81.287390000000002</c:v>
                </c:pt>
                <c:pt idx="705">
                  <c:v>81.300569999999993</c:v>
                </c:pt>
                <c:pt idx="706">
                  <c:v>81.244315999999998</c:v>
                </c:pt>
                <c:pt idx="707">
                  <c:v>80.886290000000002</c:v>
                </c:pt>
                <c:pt idx="708">
                  <c:v>80.872460000000004</c:v>
                </c:pt>
                <c:pt idx="709">
                  <c:v>80.822235000000006</c:v>
                </c:pt>
                <c:pt idx="710">
                  <c:v>80.796004999999994</c:v>
                </c:pt>
                <c:pt idx="711">
                  <c:v>80.586749999999995</c:v>
                </c:pt>
                <c:pt idx="712">
                  <c:v>80.353170000000006</c:v>
                </c:pt>
                <c:pt idx="713">
                  <c:v>79.941559999999996</c:v>
                </c:pt>
                <c:pt idx="714">
                  <c:v>79.491519999999994</c:v>
                </c:pt>
                <c:pt idx="715">
                  <c:v>79.454350000000005</c:v>
                </c:pt>
                <c:pt idx="716">
                  <c:v>79.968289999999996</c:v>
                </c:pt>
                <c:pt idx="717">
                  <c:v>80.398240000000001</c:v>
                </c:pt>
                <c:pt idx="718">
                  <c:v>80.609819999999999</c:v>
                </c:pt>
                <c:pt idx="719">
                  <c:v>80.582015999999996</c:v>
                </c:pt>
                <c:pt idx="720">
                  <c:v>80.890433999999999</c:v>
                </c:pt>
                <c:pt idx="721">
                  <c:v>81.275475</c:v>
                </c:pt>
                <c:pt idx="722">
                  <c:v>80.887590000000003</c:v>
                </c:pt>
                <c:pt idx="723">
                  <c:v>80.833910000000003</c:v>
                </c:pt>
                <c:pt idx="724">
                  <c:v>80.774474999999995</c:v>
                </c:pt>
                <c:pt idx="725">
                  <c:v>80.622439999999997</c:v>
                </c:pt>
                <c:pt idx="726">
                  <c:v>80.340419999999995</c:v>
                </c:pt>
                <c:pt idx="727">
                  <c:v>79.804969999999997</c:v>
                </c:pt>
                <c:pt idx="728">
                  <c:v>79.403899999999993</c:v>
                </c:pt>
                <c:pt idx="729">
                  <c:v>78.957570000000004</c:v>
                </c:pt>
                <c:pt idx="730">
                  <c:v>78.272829999999999</c:v>
                </c:pt>
                <c:pt idx="731">
                  <c:v>77.700829999999996</c:v>
                </c:pt>
                <c:pt idx="732">
                  <c:v>77.359549999999999</c:v>
                </c:pt>
                <c:pt idx="733">
                  <c:v>77.372985999999997</c:v>
                </c:pt>
                <c:pt idx="734">
                  <c:v>76.920419999999993</c:v>
                </c:pt>
                <c:pt idx="735">
                  <c:v>76.853139999999996</c:v>
                </c:pt>
                <c:pt idx="736">
                  <c:v>76.516930000000002</c:v>
                </c:pt>
                <c:pt idx="737">
                  <c:v>76.385000000000005</c:v>
                </c:pt>
                <c:pt idx="738">
                  <c:v>75.958070000000006</c:v>
                </c:pt>
                <c:pt idx="739">
                  <c:v>76.201229999999995</c:v>
                </c:pt>
                <c:pt idx="740">
                  <c:v>76.567750000000004</c:v>
                </c:pt>
                <c:pt idx="741">
                  <c:v>76.835740000000001</c:v>
                </c:pt>
                <c:pt idx="742">
                  <c:v>77.150649999999999</c:v>
                </c:pt>
                <c:pt idx="743">
                  <c:v>76.841499999999996</c:v>
                </c:pt>
                <c:pt idx="744">
                  <c:v>76.210269999999994</c:v>
                </c:pt>
                <c:pt idx="745">
                  <c:v>75.731470000000002</c:v>
                </c:pt>
                <c:pt idx="746">
                  <c:v>75.653589999999994</c:v>
                </c:pt>
                <c:pt idx="747">
                  <c:v>76.088170000000005</c:v>
                </c:pt>
                <c:pt idx="748">
                  <c:v>73.790769999999995</c:v>
                </c:pt>
                <c:pt idx="749">
                  <c:v>77.190849999999998</c:v>
                </c:pt>
                <c:pt idx="750">
                  <c:v>77.649289999999993</c:v>
                </c:pt>
                <c:pt idx="751">
                  <c:v>77.747429999999994</c:v>
                </c:pt>
                <c:pt idx="752">
                  <c:v>77.706620000000001</c:v>
                </c:pt>
                <c:pt idx="753">
                  <c:v>77.483180000000004</c:v>
                </c:pt>
                <c:pt idx="754">
                  <c:v>77.146180000000001</c:v>
                </c:pt>
                <c:pt idx="755">
                  <c:v>77.203779999999995</c:v>
                </c:pt>
                <c:pt idx="756">
                  <c:v>77.447479999999999</c:v>
                </c:pt>
                <c:pt idx="757">
                  <c:v>77.777150000000006</c:v>
                </c:pt>
                <c:pt idx="758">
                  <c:v>77.811806000000004</c:v>
                </c:pt>
                <c:pt idx="759">
                  <c:v>77.577483999999998</c:v>
                </c:pt>
                <c:pt idx="760">
                  <c:v>77.480514999999997</c:v>
                </c:pt>
                <c:pt idx="761">
                  <c:v>77.010630000000006</c:v>
                </c:pt>
                <c:pt idx="762">
                  <c:v>76.034800000000004</c:v>
                </c:pt>
                <c:pt idx="763">
                  <c:v>71.141266000000002</c:v>
                </c:pt>
                <c:pt idx="764">
                  <c:v>69.249849999999995</c:v>
                </c:pt>
                <c:pt idx="765">
                  <c:v>68.396010000000004</c:v>
                </c:pt>
                <c:pt idx="766">
                  <c:v>68.86215</c:v>
                </c:pt>
                <c:pt idx="767">
                  <c:v>69.223335000000006</c:v>
                </c:pt>
                <c:pt idx="768">
                  <c:v>70.573520000000002</c:v>
                </c:pt>
                <c:pt idx="769">
                  <c:v>71.547150000000002</c:v>
                </c:pt>
                <c:pt idx="770">
                  <c:v>71.671149999999997</c:v>
                </c:pt>
                <c:pt idx="771">
                  <c:v>74.980140000000006</c:v>
                </c:pt>
                <c:pt idx="772">
                  <c:v>75.253365000000002</c:v>
                </c:pt>
                <c:pt idx="773">
                  <c:v>77.613106000000002</c:v>
                </c:pt>
                <c:pt idx="774">
                  <c:v>78.516739999999999</c:v>
                </c:pt>
                <c:pt idx="775">
                  <c:v>76.230540000000005</c:v>
                </c:pt>
                <c:pt idx="776">
                  <c:v>75.210489999999993</c:v>
                </c:pt>
                <c:pt idx="777">
                  <c:v>75.89546</c:v>
                </c:pt>
                <c:pt idx="778">
                  <c:v>72.164079999999998</c:v>
                </c:pt>
                <c:pt idx="779">
                  <c:v>70.835669999999993</c:v>
                </c:pt>
                <c:pt idx="780">
                  <c:v>71.274535999999998</c:v>
                </c:pt>
                <c:pt idx="781">
                  <c:v>80.394454999999994</c:v>
                </c:pt>
                <c:pt idx="782">
                  <c:v>82.647289999999998</c:v>
                </c:pt>
                <c:pt idx="783">
                  <c:v>82.603935000000007</c:v>
                </c:pt>
                <c:pt idx="784">
                  <c:v>82.437139999999999</c:v>
                </c:pt>
                <c:pt idx="785">
                  <c:v>82.338210000000004</c:v>
                </c:pt>
                <c:pt idx="786">
                  <c:v>82.415130000000005</c:v>
                </c:pt>
                <c:pt idx="787">
                  <c:v>82.475740000000002</c:v>
                </c:pt>
                <c:pt idx="788">
                  <c:v>82.639304999999993</c:v>
                </c:pt>
                <c:pt idx="789">
                  <c:v>82.725555</c:v>
                </c:pt>
                <c:pt idx="790">
                  <c:v>82.512510000000006</c:v>
                </c:pt>
                <c:pt idx="791">
                  <c:v>82.545339999999996</c:v>
                </c:pt>
                <c:pt idx="792">
                  <c:v>82.425835000000006</c:v>
                </c:pt>
                <c:pt idx="793">
                  <c:v>82.430824000000001</c:v>
                </c:pt>
                <c:pt idx="794">
                  <c:v>82.469475000000003</c:v>
                </c:pt>
                <c:pt idx="795">
                  <c:v>82.677310000000006</c:v>
                </c:pt>
                <c:pt idx="796">
                  <c:v>83.017269999999996</c:v>
                </c:pt>
                <c:pt idx="797">
                  <c:v>83.328995000000006</c:v>
                </c:pt>
                <c:pt idx="798">
                  <c:v>83.528390000000002</c:v>
                </c:pt>
                <c:pt idx="799">
                  <c:v>83.752700000000004</c:v>
                </c:pt>
                <c:pt idx="800">
                  <c:v>84.085594</c:v>
                </c:pt>
                <c:pt idx="801">
                  <c:v>84.493350000000007</c:v>
                </c:pt>
                <c:pt idx="802">
                  <c:v>84.586740000000006</c:v>
                </c:pt>
                <c:pt idx="803">
                  <c:v>84.720619999999997</c:v>
                </c:pt>
                <c:pt idx="804">
                  <c:v>84.854579999999999</c:v>
                </c:pt>
                <c:pt idx="805">
                  <c:v>84.949234000000004</c:v>
                </c:pt>
                <c:pt idx="806">
                  <c:v>84.959860000000006</c:v>
                </c:pt>
                <c:pt idx="807">
                  <c:v>84.736490000000003</c:v>
                </c:pt>
                <c:pt idx="808">
                  <c:v>84.427480000000003</c:v>
                </c:pt>
                <c:pt idx="809">
                  <c:v>84.260445000000004</c:v>
                </c:pt>
                <c:pt idx="810">
                  <c:v>83.989819999999995</c:v>
                </c:pt>
                <c:pt idx="811">
                  <c:v>83.621666000000005</c:v>
                </c:pt>
                <c:pt idx="812">
                  <c:v>83.244060000000005</c:v>
                </c:pt>
                <c:pt idx="813">
                  <c:v>82.992959999999997</c:v>
                </c:pt>
                <c:pt idx="814">
                  <c:v>82.837000000000003</c:v>
                </c:pt>
                <c:pt idx="815">
                  <c:v>82.913955999999999</c:v>
                </c:pt>
                <c:pt idx="816">
                  <c:v>82.759315000000001</c:v>
                </c:pt>
                <c:pt idx="817">
                  <c:v>82.557770000000005</c:v>
                </c:pt>
                <c:pt idx="818">
                  <c:v>82.376914999999997</c:v>
                </c:pt>
                <c:pt idx="819">
                  <c:v>82.383315999999994</c:v>
                </c:pt>
                <c:pt idx="820">
                  <c:v>82.424610000000001</c:v>
                </c:pt>
                <c:pt idx="821">
                  <c:v>82.468959999999996</c:v>
                </c:pt>
                <c:pt idx="822">
                  <c:v>82.509829999999994</c:v>
                </c:pt>
                <c:pt idx="823">
                  <c:v>82.746279999999999</c:v>
                </c:pt>
                <c:pt idx="824">
                  <c:v>82.877359999999996</c:v>
                </c:pt>
                <c:pt idx="825">
                  <c:v>83.204123999999993</c:v>
                </c:pt>
                <c:pt idx="826">
                  <c:v>83.497855999999999</c:v>
                </c:pt>
                <c:pt idx="827">
                  <c:v>83.718869999999995</c:v>
                </c:pt>
                <c:pt idx="828">
                  <c:v>83.810040000000001</c:v>
                </c:pt>
                <c:pt idx="829">
                  <c:v>83.976035999999993</c:v>
                </c:pt>
                <c:pt idx="830">
                  <c:v>84.103210000000004</c:v>
                </c:pt>
                <c:pt idx="831">
                  <c:v>84.267859999999999</c:v>
                </c:pt>
                <c:pt idx="832">
                  <c:v>84.328569999999999</c:v>
                </c:pt>
                <c:pt idx="833">
                  <c:v>84.311774999999997</c:v>
                </c:pt>
                <c:pt idx="834">
                  <c:v>84.488259999999997</c:v>
                </c:pt>
                <c:pt idx="835">
                  <c:v>84.520240000000001</c:v>
                </c:pt>
                <c:pt idx="836">
                  <c:v>84.521870000000007</c:v>
                </c:pt>
                <c:pt idx="837">
                  <c:v>84.316879999999998</c:v>
                </c:pt>
                <c:pt idx="838">
                  <c:v>83.980446000000001</c:v>
                </c:pt>
                <c:pt idx="839">
                  <c:v>83.676720000000003</c:v>
                </c:pt>
                <c:pt idx="840">
                  <c:v>83.365160000000003</c:v>
                </c:pt>
                <c:pt idx="841">
                  <c:v>83.19341</c:v>
                </c:pt>
                <c:pt idx="842">
                  <c:v>83.084366000000003</c:v>
                </c:pt>
                <c:pt idx="843">
                  <c:v>83.012054000000006</c:v>
                </c:pt>
                <c:pt idx="844">
                  <c:v>83.025800000000004</c:v>
                </c:pt>
                <c:pt idx="845">
                  <c:v>82.995369999999994</c:v>
                </c:pt>
                <c:pt idx="846">
                  <c:v>83.193213999999998</c:v>
                </c:pt>
                <c:pt idx="847">
                  <c:v>82.646289999999993</c:v>
                </c:pt>
                <c:pt idx="848">
                  <c:v>81.791499999999999</c:v>
                </c:pt>
                <c:pt idx="849">
                  <c:v>81.677610000000001</c:v>
                </c:pt>
                <c:pt idx="850">
                  <c:v>81.962400000000002</c:v>
                </c:pt>
                <c:pt idx="851">
                  <c:v>82.370580000000004</c:v>
                </c:pt>
                <c:pt idx="852">
                  <c:v>82.995345999999998</c:v>
                </c:pt>
                <c:pt idx="853">
                  <c:v>83.407420000000002</c:v>
                </c:pt>
                <c:pt idx="854">
                  <c:v>83.962339999999998</c:v>
                </c:pt>
                <c:pt idx="855">
                  <c:v>84.041663999999997</c:v>
                </c:pt>
                <c:pt idx="856">
                  <c:v>84.802300000000002</c:v>
                </c:pt>
                <c:pt idx="857">
                  <c:v>85.551860000000005</c:v>
                </c:pt>
                <c:pt idx="858">
                  <c:v>86.475920000000002</c:v>
                </c:pt>
                <c:pt idx="859">
                  <c:v>87.118480000000005</c:v>
                </c:pt>
                <c:pt idx="860">
                  <c:v>87.712810000000005</c:v>
                </c:pt>
                <c:pt idx="861">
                  <c:v>88.20093</c:v>
                </c:pt>
                <c:pt idx="862">
                  <c:v>88.536389999999997</c:v>
                </c:pt>
                <c:pt idx="863">
                  <c:v>88.790009999999995</c:v>
                </c:pt>
                <c:pt idx="864">
                  <c:v>88.847300000000004</c:v>
                </c:pt>
                <c:pt idx="865">
                  <c:v>88.655479999999997</c:v>
                </c:pt>
                <c:pt idx="866">
                  <c:v>88.409180000000006</c:v>
                </c:pt>
                <c:pt idx="867">
                  <c:v>88.049126000000001</c:v>
                </c:pt>
                <c:pt idx="868">
                  <c:v>87.728065000000001</c:v>
                </c:pt>
                <c:pt idx="869">
                  <c:v>87.57038</c:v>
                </c:pt>
                <c:pt idx="870">
                  <c:v>87.360569999999996</c:v>
                </c:pt>
                <c:pt idx="871">
                  <c:v>87.364959999999996</c:v>
                </c:pt>
                <c:pt idx="872">
                  <c:v>87.343310000000002</c:v>
                </c:pt>
                <c:pt idx="873">
                  <c:v>87.187126000000006</c:v>
                </c:pt>
                <c:pt idx="874">
                  <c:v>87.191640000000007</c:v>
                </c:pt>
                <c:pt idx="875">
                  <c:v>87.215805000000003</c:v>
                </c:pt>
                <c:pt idx="876">
                  <c:v>87.518439999999998</c:v>
                </c:pt>
                <c:pt idx="877">
                  <c:v>87.824169999999995</c:v>
                </c:pt>
                <c:pt idx="878">
                  <c:v>88.152029999999996</c:v>
                </c:pt>
                <c:pt idx="879">
                  <c:v>88.554310000000001</c:v>
                </c:pt>
                <c:pt idx="880">
                  <c:v>89.153620000000004</c:v>
                </c:pt>
                <c:pt idx="881">
                  <c:v>89.78922</c:v>
                </c:pt>
                <c:pt idx="882">
                  <c:v>90.468299999999999</c:v>
                </c:pt>
                <c:pt idx="883">
                  <c:v>91.050569999999993</c:v>
                </c:pt>
                <c:pt idx="884">
                  <c:v>91.609960000000001</c:v>
                </c:pt>
                <c:pt idx="885">
                  <c:v>92.313310000000001</c:v>
                </c:pt>
                <c:pt idx="886">
                  <c:v>92.804280000000006</c:v>
                </c:pt>
                <c:pt idx="887">
                  <c:v>93.211105000000003</c:v>
                </c:pt>
                <c:pt idx="888">
                  <c:v>93.492189999999994</c:v>
                </c:pt>
                <c:pt idx="889">
                  <c:v>93.561869999999999</c:v>
                </c:pt>
                <c:pt idx="890">
                  <c:v>93.599289999999996</c:v>
                </c:pt>
                <c:pt idx="891">
                  <c:v>93.65728</c:v>
                </c:pt>
                <c:pt idx="892">
                  <c:v>93.714870000000005</c:v>
                </c:pt>
                <c:pt idx="893">
                  <c:v>93.645359999999997</c:v>
                </c:pt>
                <c:pt idx="894">
                  <c:v>93.377440000000007</c:v>
                </c:pt>
                <c:pt idx="895">
                  <c:v>93.147800000000004</c:v>
                </c:pt>
                <c:pt idx="896">
                  <c:v>92.128844999999998</c:v>
                </c:pt>
                <c:pt idx="897">
                  <c:v>92.263760000000005</c:v>
                </c:pt>
                <c:pt idx="898">
                  <c:v>92.423469999999995</c:v>
                </c:pt>
                <c:pt idx="899">
                  <c:v>92.480316000000002</c:v>
                </c:pt>
                <c:pt idx="900">
                  <c:v>91.703760000000003</c:v>
                </c:pt>
                <c:pt idx="901">
                  <c:v>91.265870000000007</c:v>
                </c:pt>
                <c:pt idx="902">
                  <c:v>90.773619999999994</c:v>
                </c:pt>
                <c:pt idx="903">
                  <c:v>90.416880000000006</c:v>
                </c:pt>
                <c:pt idx="904">
                  <c:v>90.431854000000001</c:v>
                </c:pt>
                <c:pt idx="905">
                  <c:v>90.298705999999996</c:v>
                </c:pt>
                <c:pt idx="906">
                  <c:v>90.2166</c:v>
                </c:pt>
                <c:pt idx="907">
                  <c:v>90.26</c:v>
                </c:pt>
                <c:pt idx="908">
                  <c:v>90.451003999999998</c:v>
                </c:pt>
                <c:pt idx="909">
                  <c:v>90.706280000000007</c:v>
                </c:pt>
                <c:pt idx="910">
                  <c:v>90.862679999999997</c:v>
                </c:pt>
                <c:pt idx="911">
                  <c:v>90.696433999999996</c:v>
                </c:pt>
                <c:pt idx="912">
                  <c:v>90.550690000000003</c:v>
                </c:pt>
                <c:pt idx="913">
                  <c:v>90.440290000000005</c:v>
                </c:pt>
                <c:pt idx="914">
                  <c:v>89.759460000000004</c:v>
                </c:pt>
                <c:pt idx="915">
                  <c:v>88.950479999999999</c:v>
                </c:pt>
                <c:pt idx="916">
                  <c:v>88.428550000000001</c:v>
                </c:pt>
                <c:pt idx="917">
                  <c:v>87.942920000000001</c:v>
                </c:pt>
                <c:pt idx="918">
                  <c:v>87.739959999999996</c:v>
                </c:pt>
                <c:pt idx="919">
                  <c:v>87.82705</c:v>
                </c:pt>
                <c:pt idx="920">
                  <c:v>87.774789999999996</c:v>
                </c:pt>
                <c:pt idx="921">
                  <c:v>87.73433</c:v>
                </c:pt>
                <c:pt idx="922">
                  <c:v>87.440770000000001</c:v>
                </c:pt>
                <c:pt idx="923">
                  <c:v>87.125690000000006</c:v>
                </c:pt>
                <c:pt idx="924">
                  <c:v>86.782264999999995</c:v>
                </c:pt>
                <c:pt idx="925">
                  <c:v>86.598206000000005</c:v>
                </c:pt>
                <c:pt idx="926">
                  <c:v>86.313064999999995</c:v>
                </c:pt>
                <c:pt idx="927">
                  <c:v>86.226820000000004</c:v>
                </c:pt>
                <c:pt idx="928">
                  <c:v>86.251909999999995</c:v>
                </c:pt>
                <c:pt idx="929">
                  <c:v>86.179955000000007</c:v>
                </c:pt>
                <c:pt idx="930">
                  <c:v>86.106093999999999</c:v>
                </c:pt>
                <c:pt idx="931">
                  <c:v>86.249080000000006</c:v>
                </c:pt>
                <c:pt idx="932">
                  <c:v>86.174940000000007</c:v>
                </c:pt>
                <c:pt idx="933">
                  <c:v>86.075720000000004</c:v>
                </c:pt>
                <c:pt idx="934">
                  <c:v>85.972430000000003</c:v>
                </c:pt>
                <c:pt idx="935">
                  <c:v>85.746346000000003</c:v>
                </c:pt>
                <c:pt idx="936">
                  <c:v>85.536689999999993</c:v>
                </c:pt>
                <c:pt idx="937">
                  <c:v>85.293360000000007</c:v>
                </c:pt>
                <c:pt idx="938">
                  <c:v>84.901610000000005</c:v>
                </c:pt>
                <c:pt idx="939">
                  <c:v>84.510254000000003</c:v>
                </c:pt>
                <c:pt idx="940">
                  <c:v>84.15849</c:v>
                </c:pt>
                <c:pt idx="941">
                  <c:v>84.386480000000006</c:v>
                </c:pt>
                <c:pt idx="942">
                  <c:v>84.605620000000002</c:v>
                </c:pt>
                <c:pt idx="943">
                  <c:v>85.098439999999997</c:v>
                </c:pt>
                <c:pt idx="944">
                  <c:v>85.433949999999996</c:v>
                </c:pt>
                <c:pt idx="945">
                  <c:v>85.877020000000002</c:v>
                </c:pt>
                <c:pt idx="946">
                  <c:v>86.42604</c:v>
                </c:pt>
                <c:pt idx="947">
                  <c:v>87.084180000000003</c:v>
                </c:pt>
                <c:pt idx="948">
                  <c:v>87.608504999999994</c:v>
                </c:pt>
                <c:pt idx="949">
                  <c:v>88.154880000000006</c:v>
                </c:pt>
                <c:pt idx="950">
                  <c:v>88.534805000000006</c:v>
                </c:pt>
                <c:pt idx="951">
                  <c:v>88.8947</c:v>
                </c:pt>
                <c:pt idx="952">
                  <c:v>89.279815999999997</c:v>
                </c:pt>
                <c:pt idx="953">
                  <c:v>89.586715999999996</c:v>
                </c:pt>
                <c:pt idx="954">
                  <c:v>89.827569999999994</c:v>
                </c:pt>
                <c:pt idx="955">
                  <c:v>89.997600000000006</c:v>
                </c:pt>
                <c:pt idx="956">
                  <c:v>89.983054999999993</c:v>
                </c:pt>
                <c:pt idx="957">
                  <c:v>90.035219999999995</c:v>
                </c:pt>
                <c:pt idx="958">
                  <c:v>89.824614999999994</c:v>
                </c:pt>
                <c:pt idx="959">
                  <c:v>89.841949999999997</c:v>
                </c:pt>
                <c:pt idx="960">
                  <c:v>90.103095999999994</c:v>
                </c:pt>
                <c:pt idx="961">
                  <c:v>90.421989999999994</c:v>
                </c:pt>
                <c:pt idx="962">
                  <c:v>90.995080000000002</c:v>
                </c:pt>
                <c:pt idx="963">
                  <c:v>91.47372</c:v>
                </c:pt>
                <c:pt idx="964">
                  <c:v>92.092399999999998</c:v>
                </c:pt>
                <c:pt idx="965">
                  <c:v>92.495540000000005</c:v>
                </c:pt>
                <c:pt idx="966">
                  <c:v>92.965940000000003</c:v>
                </c:pt>
                <c:pt idx="967">
                  <c:v>93.143739999999994</c:v>
                </c:pt>
                <c:pt idx="968">
                  <c:v>93.267120000000006</c:v>
                </c:pt>
                <c:pt idx="969">
                  <c:v>93.448455999999993</c:v>
                </c:pt>
                <c:pt idx="970">
                  <c:v>93.346620000000001</c:v>
                </c:pt>
                <c:pt idx="971">
                  <c:v>93.642555000000002</c:v>
                </c:pt>
                <c:pt idx="972">
                  <c:v>93.578760000000003</c:v>
                </c:pt>
                <c:pt idx="973">
                  <c:v>93.312719999999999</c:v>
                </c:pt>
                <c:pt idx="974">
                  <c:v>92.860919999999993</c:v>
                </c:pt>
                <c:pt idx="975">
                  <c:v>92.43141</c:v>
                </c:pt>
                <c:pt idx="976">
                  <c:v>92.007159999999999</c:v>
                </c:pt>
                <c:pt idx="977">
                  <c:v>91.930090000000007</c:v>
                </c:pt>
                <c:pt idx="978">
                  <c:v>90.421775999999994</c:v>
                </c:pt>
                <c:pt idx="979">
                  <c:v>90.833799999999997</c:v>
                </c:pt>
                <c:pt idx="980">
                  <c:v>91.472335999999999</c:v>
                </c:pt>
                <c:pt idx="981">
                  <c:v>92.062839999999994</c:v>
                </c:pt>
                <c:pt idx="982">
                  <c:v>92.534549999999996</c:v>
                </c:pt>
                <c:pt idx="983">
                  <c:v>92.811589999999995</c:v>
                </c:pt>
                <c:pt idx="984">
                  <c:v>92.880210000000005</c:v>
                </c:pt>
                <c:pt idx="985">
                  <c:v>93.079160000000002</c:v>
                </c:pt>
                <c:pt idx="986">
                  <c:v>93.367965999999996</c:v>
                </c:pt>
                <c:pt idx="987">
                  <c:v>93.878500000000003</c:v>
                </c:pt>
                <c:pt idx="988">
                  <c:v>94.193299999999994</c:v>
                </c:pt>
                <c:pt idx="989">
                  <c:v>94.355580000000003</c:v>
                </c:pt>
                <c:pt idx="990">
                  <c:v>94.346249999999998</c:v>
                </c:pt>
                <c:pt idx="991">
                  <c:v>94.398920000000004</c:v>
                </c:pt>
                <c:pt idx="992">
                  <c:v>94.288160000000005</c:v>
                </c:pt>
                <c:pt idx="993">
                  <c:v>94.266495000000006</c:v>
                </c:pt>
                <c:pt idx="994">
                  <c:v>94.515219999999999</c:v>
                </c:pt>
                <c:pt idx="995">
                  <c:v>94.807106000000005</c:v>
                </c:pt>
                <c:pt idx="996">
                  <c:v>94.956670000000003</c:v>
                </c:pt>
                <c:pt idx="997">
                  <c:v>94.910550000000001</c:v>
                </c:pt>
                <c:pt idx="998">
                  <c:v>94.846090000000004</c:v>
                </c:pt>
                <c:pt idx="999">
                  <c:v>94.932236000000003</c:v>
                </c:pt>
                <c:pt idx="1000">
                  <c:v>94.890559999999994</c:v>
                </c:pt>
                <c:pt idx="1001">
                  <c:v>95.053985999999995</c:v>
                </c:pt>
                <c:pt idx="1002">
                  <c:v>94.844639999999998</c:v>
                </c:pt>
                <c:pt idx="1003">
                  <c:v>94.607500000000002</c:v>
                </c:pt>
                <c:pt idx="1004">
                  <c:v>94.512360000000001</c:v>
                </c:pt>
                <c:pt idx="1005">
                  <c:v>94.664696000000006</c:v>
                </c:pt>
                <c:pt idx="1006">
                  <c:v>94.949110000000005</c:v>
                </c:pt>
                <c:pt idx="1007">
                  <c:v>95.415374999999997</c:v>
                </c:pt>
                <c:pt idx="1008">
                  <c:v>95.660319999999999</c:v>
                </c:pt>
                <c:pt idx="1009">
                  <c:v>95.415319999999994</c:v>
                </c:pt>
                <c:pt idx="1010">
                  <c:v>95.095929999999996</c:v>
                </c:pt>
                <c:pt idx="1011">
                  <c:v>95.022964000000002</c:v>
                </c:pt>
                <c:pt idx="1012">
                  <c:v>95.099440000000001</c:v>
                </c:pt>
                <c:pt idx="1013">
                  <c:v>95.205690000000004</c:v>
                </c:pt>
                <c:pt idx="1014">
                  <c:v>95.419205000000005</c:v>
                </c:pt>
                <c:pt idx="1015">
                  <c:v>95.645039999999995</c:v>
                </c:pt>
                <c:pt idx="1016">
                  <c:v>95.871960000000001</c:v>
                </c:pt>
                <c:pt idx="1017">
                  <c:v>95.895210000000006</c:v>
                </c:pt>
                <c:pt idx="1018">
                  <c:v>96.060670000000002</c:v>
                </c:pt>
                <c:pt idx="1019">
                  <c:v>95.986400000000003</c:v>
                </c:pt>
                <c:pt idx="1020">
                  <c:v>96.010140000000007</c:v>
                </c:pt>
                <c:pt idx="1021">
                  <c:v>95.812950000000001</c:v>
                </c:pt>
                <c:pt idx="1022">
                  <c:v>95.547300000000007</c:v>
                </c:pt>
                <c:pt idx="1023">
                  <c:v>95.167015000000006</c:v>
                </c:pt>
                <c:pt idx="1024">
                  <c:v>95.065100000000001</c:v>
                </c:pt>
                <c:pt idx="1025">
                  <c:v>95.256500000000003</c:v>
                </c:pt>
                <c:pt idx="1026">
                  <c:v>95.472449999999995</c:v>
                </c:pt>
                <c:pt idx="1027">
                  <c:v>95.700620000000001</c:v>
                </c:pt>
                <c:pt idx="1028">
                  <c:v>95.890593999999993</c:v>
                </c:pt>
                <c:pt idx="1029">
                  <c:v>95.911704999999998</c:v>
                </c:pt>
                <c:pt idx="1030">
                  <c:v>95.744286000000002</c:v>
                </c:pt>
                <c:pt idx="1031">
                  <c:v>95.527389999999997</c:v>
                </c:pt>
                <c:pt idx="1032">
                  <c:v>95.121849999999995</c:v>
                </c:pt>
                <c:pt idx="1033">
                  <c:v>94.950209999999998</c:v>
                </c:pt>
                <c:pt idx="1034">
                  <c:v>95.089950000000002</c:v>
                </c:pt>
                <c:pt idx="1035">
                  <c:v>95.365390000000005</c:v>
                </c:pt>
                <c:pt idx="1036">
                  <c:v>95.629130000000004</c:v>
                </c:pt>
                <c:pt idx="1037">
                  <c:v>95.925529999999995</c:v>
                </c:pt>
                <c:pt idx="1038">
                  <c:v>96.046899999999994</c:v>
                </c:pt>
                <c:pt idx="1039">
                  <c:v>96.244429999999994</c:v>
                </c:pt>
                <c:pt idx="1040">
                  <c:v>96.514690000000002</c:v>
                </c:pt>
                <c:pt idx="1041">
                  <c:v>96.534239999999997</c:v>
                </c:pt>
                <c:pt idx="1042">
                  <c:v>96.670760000000001</c:v>
                </c:pt>
                <c:pt idx="1043">
                  <c:v>96.995170000000002</c:v>
                </c:pt>
                <c:pt idx="1044">
                  <c:v>97.406829999999999</c:v>
                </c:pt>
                <c:pt idx="1045">
                  <c:v>97.789060000000006</c:v>
                </c:pt>
                <c:pt idx="1046">
                  <c:v>98.19529</c:v>
                </c:pt>
                <c:pt idx="1047">
                  <c:v>98.436329999999998</c:v>
                </c:pt>
                <c:pt idx="1048">
                  <c:v>98.252260000000007</c:v>
                </c:pt>
                <c:pt idx="1049">
                  <c:v>97.92698</c:v>
                </c:pt>
                <c:pt idx="1050">
                  <c:v>98.167595000000006</c:v>
                </c:pt>
                <c:pt idx="1051">
                  <c:v>98.255099999999999</c:v>
                </c:pt>
                <c:pt idx="1052">
                  <c:v>98.262529999999998</c:v>
                </c:pt>
                <c:pt idx="1053">
                  <c:v>98.572119999999998</c:v>
                </c:pt>
                <c:pt idx="1054">
                  <c:v>98.746279999999999</c:v>
                </c:pt>
                <c:pt idx="1055">
                  <c:v>99.085329999999999</c:v>
                </c:pt>
                <c:pt idx="1056">
                  <c:v>99.509925999999993</c:v>
                </c:pt>
                <c:pt idx="1057">
                  <c:v>99.611084000000005</c:v>
                </c:pt>
                <c:pt idx="1058">
                  <c:v>99.589966000000004</c:v>
                </c:pt>
                <c:pt idx="1059">
                  <c:v>99.54119</c:v>
                </c:pt>
                <c:pt idx="1060">
                  <c:v>99.520250000000004</c:v>
                </c:pt>
                <c:pt idx="1061">
                  <c:v>99.638565</c:v>
                </c:pt>
                <c:pt idx="1062">
                  <c:v>99.811689999999999</c:v>
                </c:pt>
                <c:pt idx="1063">
                  <c:v>99.886240000000001</c:v>
                </c:pt>
                <c:pt idx="1064">
                  <c:v>100.016426</c:v>
                </c:pt>
                <c:pt idx="1065">
                  <c:v>100.15089399999999</c:v>
                </c:pt>
                <c:pt idx="1066">
                  <c:v>100.221</c:v>
                </c:pt>
                <c:pt idx="1067">
                  <c:v>100.39883</c:v>
                </c:pt>
                <c:pt idx="1068">
                  <c:v>100.47959</c:v>
                </c:pt>
                <c:pt idx="1069">
                  <c:v>100.52153</c:v>
                </c:pt>
                <c:pt idx="1070">
                  <c:v>100.68787399999999</c:v>
                </c:pt>
                <c:pt idx="1071">
                  <c:v>100.74579</c:v>
                </c:pt>
                <c:pt idx="1072">
                  <c:v>100.4074</c:v>
                </c:pt>
                <c:pt idx="1073">
                  <c:v>100.23045</c:v>
                </c:pt>
                <c:pt idx="1074">
                  <c:v>100.04694000000001</c:v>
                </c:pt>
                <c:pt idx="1075">
                  <c:v>99.998059999999995</c:v>
                </c:pt>
                <c:pt idx="1076">
                  <c:v>100.22822600000001</c:v>
                </c:pt>
                <c:pt idx="1077">
                  <c:v>100.54404</c:v>
                </c:pt>
                <c:pt idx="1078">
                  <c:v>100.88533</c:v>
                </c:pt>
                <c:pt idx="1079">
                  <c:v>101.10187999999999</c:v>
                </c:pt>
                <c:pt idx="1080">
                  <c:v>101.246574</c:v>
                </c:pt>
                <c:pt idx="1081">
                  <c:v>101.173744</c:v>
                </c:pt>
                <c:pt idx="1082">
                  <c:v>101.14344</c:v>
                </c:pt>
                <c:pt idx="1083">
                  <c:v>101.36506</c:v>
                </c:pt>
                <c:pt idx="1084">
                  <c:v>101.630455</c:v>
                </c:pt>
                <c:pt idx="1085">
                  <c:v>101.82702</c:v>
                </c:pt>
                <c:pt idx="1086">
                  <c:v>101.98293</c:v>
                </c:pt>
                <c:pt idx="1087">
                  <c:v>101.98518</c:v>
                </c:pt>
                <c:pt idx="1088">
                  <c:v>101.97206</c:v>
                </c:pt>
                <c:pt idx="1089">
                  <c:v>101.98775500000001</c:v>
                </c:pt>
                <c:pt idx="1090">
                  <c:v>102.121796</c:v>
                </c:pt>
                <c:pt idx="1091">
                  <c:v>102.18179000000001</c:v>
                </c:pt>
                <c:pt idx="1092">
                  <c:v>102.1033</c:v>
                </c:pt>
                <c:pt idx="1093">
                  <c:v>101.65505</c:v>
                </c:pt>
                <c:pt idx="1094">
                  <c:v>101.66383</c:v>
                </c:pt>
                <c:pt idx="1095">
                  <c:v>101.63632</c:v>
                </c:pt>
                <c:pt idx="1096">
                  <c:v>101.43445</c:v>
                </c:pt>
                <c:pt idx="1097">
                  <c:v>101.20560500000001</c:v>
                </c:pt>
                <c:pt idx="1098">
                  <c:v>101.12112999999999</c:v>
                </c:pt>
                <c:pt idx="1099">
                  <c:v>101.13592</c:v>
                </c:pt>
                <c:pt idx="1100">
                  <c:v>101.11042</c:v>
                </c:pt>
                <c:pt idx="1101">
                  <c:v>101.30368</c:v>
                </c:pt>
                <c:pt idx="1102">
                  <c:v>101.24491999999999</c:v>
                </c:pt>
                <c:pt idx="1103">
                  <c:v>101.24513</c:v>
                </c:pt>
                <c:pt idx="1104">
                  <c:v>101.42882</c:v>
                </c:pt>
                <c:pt idx="1105">
                  <c:v>101.56856000000001</c:v>
                </c:pt>
                <c:pt idx="1106">
                  <c:v>101.29284</c:v>
                </c:pt>
                <c:pt idx="1107">
                  <c:v>101.21999</c:v>
                </c:pt>
                <c:pt idx="1108">
                  <c:v>101.009384</c:v>
                </c:pt>
                <c:pt idx="1109">
                  <c:v>100.49851</c:v>
                </c:pt>
                <c:pt idx="1110">
                  <c:v>100.37741</c:v>
                </c:pt>
                <c:pt idx="1111">
                  <c:v>100.61059</c:v>
                </c:pt>
                <c:pt idx="1112">
                  <c:v>100.99074</c:v>
                </c:pt>
                <c:pt idx="1113">
                  <c:v>101.24496499999999</c:v>
                </c:pt>
                <c:pt idx="1114">
                  <c:v>101.48568</c:v>
                </c:pt>
                <c:pt idx="1115">
                  <c:v>101.80613</c:v>
                </c:pt>
                <c:pt idx="1116">
                  <c:v>102.05495500000001</c:v>
                </c:pt>
                <c:pt idx="1117">
                  <c:v>102.14267</c:v>
                </c:pt>
                <c:pt idx="1118">
                  <c:v>102.09652</c:v>
                </c:pt>
                <c:pt idx="1119">
                  <c:v>102.15517</c:v>
                </c:pt>
                <c:pt idx="1120">
                  <c:v>102.24030999999999</c:v>
                </c:pt>
                <c:pt idx="1121">
                  <c:v>102.33378</c:v>
                </c:pt>
                <c:pt idx="1122">
                  <c:v>102.4053</c:v>
                </c:pt>
                <c:pt idx="1123">
                  <c:v>102.48994399999999</c:v>
                </c:pt>
                <c:pt idx="1124">
                  <c:v>102.526726</c:v>
                </c:pt>
                <c:pt idx="1125">
                  <c:v>102.688194</c:v>
                </c:pt>
                <c:pt idx="1126">
                  <c:v>102.79787</c:v>
                </c:pt>
                <c:pt idx="1127">
                  <c:v>102.90940000000001</c:v>
                </c:pt>
                <c:pt idx="1128">
                  <c:v>103.07317999999999</c:v>
                </c:pt>
                <c:pt idx="1129">
                  <c:v>103.20475999999999</c:v>
                </c:pt>
                <c:pt idx="1130">
                  <c:v>103.371994</c:v>
                </c:pt>
                <c:pt idx="1131">
                  <c:v>103.21207</c:v>
                </c:pt>
                <c:pt idx="1132">
                  <c:v>103.17604</c:v>
                </c:pt>
                <c:pt idx="1133">
                  <c:v>103.33371</c:v>
                </c:pt>
                <c:pt idx="1134">
                  <c:v>103.43177</c:v>
                </c:pt>
                <c:pt idx="1135">
                  <c:v>103.584526</c:v>
                </c:pt>
                <c:pt idx="1136">
                  <c:v>103.33186000000001</c:v>
                </c:pt>
                <c:pt idx="1137">
                  <c:v>103.01269000000001</c:v>
                </c:pt>
                <c:pt idx="1138">
                  <c:v>102.85380000000001</c:v>
                </c:pt>
                <c:pt idx="1139">
                  <c:v>103.11767999999999</c:v>
                </c:pt>
                <c:pt idx="1140">
                  <c:v>103.21822</c:v>
                </c:pt>
                <c:pt idx="1141">
                  <c:v>103.05457</c:v>
                </c:pt>
                <c:pt idx="1142">
                  <c:v>102.879456</c:v>
                </c:pt>
                <c:pt idx="1143">
                  <c:v>102.893486</c:v>
                </c:pt>
                <c:pt idx="1144">
                  <c:v>103.03032</c:v>
                </c:pt>
                <c:pt idx="1145">
                  <c:v>103.29268999999999</c:v>
                </c:pt>
                <c:pt idx="1146">
                  <c:v>103.45480999999999</c:v>
                </c:pt>
                <c:pt idx="1147">
                  <c:v>103.56552000000001</c:v>
                </c:pt>
                <c:pt idx="1148">
                  <c:v>103.60580400000001</c:v>
                </c:pt>
                <c:pt idx="1149">
                  <c:v>103.72031</c:v>
                </c:pt>
                <c:pt idx="1150">
                  <c:v>103.81072</c:v>
                </c:pt>
                <c:pt idx="1151">
                  <c:v>102.97974000000001</c:v>
                </c:pt>
                <c:pt idx="1152">
                  <c:v>103.04867</c:v>
                </c:pt>
                <c:pt idx="1153">
                  <c:v>103.31867</c:v>
                </c:pt>
                <c:pt idx="1154">
                  <c:v>103.417305</c:v>
                </c:pt>
                <c:pt idx="1155">
                  <c:v>103.37681000000001</c:v>
                </c:pt>
                <c:pt idx="1156">
                  <c:v>103.36668400000001</c:v>
                </c:pt>
                <c:pt idx="1157">
                  <c:v>103.41361000000001</c:v>
                </c:pt>
                <c:pt idx="1158">
                  <c:v>103.711006</c:v>
                </c:pt>
                <c:pt idx="1159">
                  <c:v>103.8579</c:v>
                </c:pt>
                <c:pt idx="1160">
                  <c:v>103.74086</c:v>
                </c:pt>
                <c:pt idx="1161">
                  <c:v>103.64684</c:v>
                </c:pt>
                <c:pt idx="1162">
                  <c:v>103.47908</c:v>
                </c:pt>
                <c:pt idx="1163">
                  <c:v>103.39176999999999</c:v>
                </c:pt>
                <c:pt idx="1164">
                  <c:v>103.40615</c:v>
                </c:pt>
                <c:pt idx="1165">
                  <c:v>102.26842000000001</c:v>
                </c:pt>
                <c:pt idx="1166">
                  <c:v>101.48569999999999</c:v>
                </c:pt>
                <c:pt idx="1167">
                  <c:v>100.7916</c:v>
                </c:pt>
                <c:pt idx="1168">
                  <c:v>99.876739999999998</c:v>
                </c:pt>
                <c:pt idx="1169">
                  <c:v>98.504360000000005</c:v>
                </c:pt>
                <c:pt idx="1170">
                  <c:v>97.748019999999997</c:v>
                </c:pt>
                <c:pt idx="1171">
                  <c:v>97.595870000000005</c:v>
                </c:pt>
                <c:pt idx="1172">
                  <c:v>97.572940000000003</c:v>
                </c:pt>
                <c:pt idx="1173">
                  <c:v>97.654430000000005</c:v>
                </c:pt>
                <c:pt idx="1174">
                  <c:v>97.587500000000006</c:v>
                </c:pt>
                <c:pt idx="1175">
                  <c:v>97.464516000000003</c:v>
                </c:pt>
                <c:pt idx="1176">
                  <c:v>97.490780000000001</c:v>
                </c:pt>
                <c:pt idx="1177">
                  <c:v>97.568565000000007</c:v>
                </c:pt>
                <c:pt idx="1178">
                  <c:v>97.660094999999998</c:v>
                </c:pt>
                <c:pt idx="1179">
                  <c:v>97.794619999999995</c:v>
                </c:pt>
                <c:pt idx="1180">
                  <c:v>98.071380000000005</c:v>
                </c:pt>
                <c:pt idx="1181">
                  <c:v>98.359740000000002</c:v>
                </c:pt>
                <c:pt idx="1182">
                  <c:v>98.554509999999993</c:v>
                </c:pt>
                <c:pt idx="1183">
                  <c:v>98.945700000000002</c:v>
                </c:pt>
                <c:pt idx="1184">
                  <c:v>99.014790000000005</c:v>
                </c:pt>
                <c:pt idx="1185">
                  <c:v>99.249020000000002</c:v>
                </c:pt>
                <c:pt idx="1186">
                  <c:v>99.659729999999996</c:v>
                </c:pt>
                <c:pt idx="1187">
                  <c:v>100.29338</c:v>
                </c:pt>
                <c:pt idx="1188">
                  <c:v>101.237595</c:v>
                </c:pt>
                <c:pt idx="1189">
                  <c:v>101.91963</c:v>
                </c:pt>
                <c:pt idx="1190">
                  <c:v>102.97375</c:v>
                </c:pt>
                <c:pt idx="1191">
                  <c:v>104.24907</c:v>
                </c:pt>
                <c:pt idx="1192">
                  <c:v>105.32062500000001</c:v>
                </c:pt>
                <c:pt idx="1193">
                  <c:v>106.02612000000001</c:v>
                </c:pt>
                <c:pt idx="1194">
                  <c:v>106.27141</c:v>
                </c:pt>
                <c:pt idx="1195">
                  <c:v>106.154175</c:v>
                </c:pt>
                <c:pt idx="1196">
                  <c:v>106.24276</c:v>
                </c:pt>
                <c:pt idx="1197">
                  <c:v>106.257324</c:v>
                </c:pt>
                <c:pt idx="1198">
                  <c:v>106.16308600000001</c:v>
                </c:pt>
                <c:pt idx="1199">
                  <c:v>105.871635</c:v>
                </c:pt>
                <c:pt idx="1200">
                  <c:v>105.99427</c:v>
                </c:pt>
                <c:pt idx="1201">
                  <c:v>106.12783</c:v>
                </c:pt>
                <c:pt idx="1202">
                  <c:v>106.23976</c:v>
                </c:pt>
                <c:pt idx="1203">
                  <c:v>106.430504</c:v>
                </c:pt>
                <c:pt idx="1204">
                  <c:v>106.555046</c:v>
                </c:pt>
                <c:pt idx="1205">
                  <c:v>106.731926</c:v>
                </c:pt>
                <c:pt idx="1206">
                  <c:v>107.02070999999999</c:v>
                </c:pt>
                <c:pt idx="1207">
                  <c:v>107.31465</c:v>
                </c:pt>
                <c:pt idx="1208">
                  <c:v>107.41631</c:v>
                </c:pt>
                <c:pt idx="1209">
                  <c:v>107.49148</c:v>
                </c:pt>
                <c:pt idx="1210">
                  <c:v>107.23918999999999</c:v>
                </c:pt>
                <c:pt idx="1211">
                  <c:v>107.069176</c:v>
                </c:pt>
                <c:pt idx="1212">
                  <c:v>106.913376</c:v>
                </c:pt>
                <c:pt idx="1213">
                  <c:v>106.95090999999999</c:v>
                </c:pt>
                <c:pt idx="1214">
                  <c:v>106.921295</c:v>
                </c:pt>
                <c:pt idx="1215">
                  <c:v>106.845634</c:v>
                </c:pt>
                <c:pt idx="1216">
                  <c:v>107.04021</c:v>
                </c:pt>
                <c:pt idx="1217">
                  <c:v>107.24327</c:v>
                </c:pt>
                <c:pt idx="1218">
                  <c:v>107.45211999999999</c:v>
                </c:pt>
                <c:pt idx="1219">
                  <c:v>107.22081</c:v>
                </c:pt>
                <c:pt idx="1220">
                  <c:v>106.77706000000001</c:v>
                </c:pt>
                <c:pt idx="1221">
                  <c:v>106.40194</c:v>
                </c:pt>
                <c:pt idx="1222">
                  <c:v>106.34976</c:v>
                </c:pt>
                <c:pt idx="1223">
                  <c:v>106.23712</c:v>
                </c:pt>
                <c:pt idx="1224">
                  <c:v>106.17774</c:v>
                </c:pt>
                <c:pt idx="1225">
                  <c:v>106.34712</c:v>
                </c:pt>
                <c:pt idx="1226">
                  <c:v>106.700356</c:v>
                </c:pt>
                <c:pt idx="1227">
                  <c:v>107.116325</c:v>
                </c:pt>
                <c:pt idx="1228">
                  <c:v>107.58774</c:v>
                </c:pt>
                <c:pt idx="1229">
                  <c:v>103.96902</c:v>
                </c:pt>
                <c:pt idx="1230">
                  <c:v>104.1823</c:v>
                </c:pt>
                <c:pt idx="1231">
                  <c:v>104.35796999999999</c:v>
                </c:pt>
                <c:pt idx="1232">
                  <c:v>104.59549</c:v>
                </c:pt>
                <c:pt idx="1233">
                  <c:v>105.084915</c:v>
                </c:pt>
                <c:pt idx="1234">
                  <c:v>105.39113999999999</c:v>
                </c:pt>
                <c:pt idx="1235">
                  <c:v>105.42037000000001</c:v>
                </c:pt>
                <c:pt idx="1236">
                  <c:v>105.52472</c:v>
                </c:pt>
                <c:pt idx="1237">
                  <c:v>105.968765</c:v>
                </c:pt>
                <c:pt idx="1238">
                  <c:v>106.56428</c:v>
                </c:pt>
                <c:pt idx="1239">
                  <c:v>106.61105000000001</c:v>
                </c:pt>
                <c:pt idx="1240">
                  <c:v>106.75637</c:v>
                </c:pt>
                <c:pt idx="1241">
                  <c:v>106.59583000000001</c:v>
                </c:pt>
                <c:pt idx="1242">
                  <c:v>106.2882</c:v>
                </c:pt>
                <c:pt idx="1243">
                  <c:v>106.25045</c:v>
                </c:pt>
                <c:pt idx="1244">
                  <c:v>106.33346</c:v>
                </c:pt>
                <c:pt idx="1245">
                  <c:v>106.38967</c:v>
                </c:pt>
                <c:pt idx="1246">
                  <c:v>106.54804</c:v>
                </c:pt>
                <c:pt idx="1247">
                  <c:v>107.29330400000001</c:v>
                </c:pt>
                <c:pt idx="1248">
                  <c:v>107.5626</c:v>
                </c:pt>
                <c:pt idx="1249">
                  <c:v>107.264275</c:v>
                </c:pt>
                <c:pt idx="1250">
                  <c:v>106.80037</c:v>
                </c:pt>
                <c:pt idx="1251">
                  <c:v>106.40510999999999</c:v>
                </c:pt>
                <c:pt idx="1252">
                  <c:v>105.579025</c:v>
                </c:pt>
                <c:pt idx="1253">
                  <c:v>103.647316</c:v>
                </c:pt>
                <c:pt idx="1254">
                  <c:v>102.42422000000001</c:v>
                </c:pt>
                <c:pt idx="1255">
                  <c:v>101.48125</c:v>
                </c:pt>
                <c:pt idx="1256">
                  <c:v>100.17949</c:v>
                </c:pt>
                <c:pt idx="1257">
                  <c:v>100.0303</c:v>
                </c:pt>
                <c:pt idx="1258">
                  <c:v>100.86238</c:v>
                </c:pt>
                <c:pt idx="1259">
                  <c:v>101.63491</c:v>
                </c:pt>
                <c:pt idx="1260">
                  <c:v>102.06161</c:v>
                </c:pt>
                <c:pt idx="1261">
                  <c:v>102.35418</c:v>
                </c:pt>
                <c:pt idx="1262">
                  <c:v>102.803764</c:v>
                </c:pt>
                <c:pt idx="1263">
                  <c:v>103.12218</c:v>
                </c:pt>
                <c:pt idx="1264">
                  <c:v>102.77915</c:v>
                </c:pt>
                <c:pt idx="1265">
                  <c:v>102.34352</c:v>
                </c:pt>
                <c:pt idx="1266">
                  <c:v>102.50721</c:v>
                </c:pt>
                <c:pt idx="1267">
                  <c:v>102.80847</c:v>
                </c:pt>
                <c:pt idx="1268">
                  <c:v>102.17974</c:v>
                </c:pt>
                <c:pt idx="1269">
                  <c:v>101.043846</c:v>
                </c:pt>
                <c:pt idx="1270">
                  <c:v>99.719154000000003</c:v>
                </c:pt>
                <c:pt idx="1271">
                  <c:v>98.653914999999998</c:v>
                </c:pt>
                <c:pt idx="1272">
                  <c:v>98.226029999999994</c:v>
                </c:pt>
                <c:pt idx="1273">
                  <c:v>98.136229999999998</c:v>
                </c:pt>
                <c:pt idx="1274">
                  <c:v>98.082939999999994</c:v>
                </c:pt>
                <c:pt idx="1275">
                  <c:v>97.914879999999997</c:v>
                </c:pt>
                <c:pt idx="1276">
                  <c:v>98.374984999999995</c:v>
                </c:pt>
                <c:pt idx="1277">
                  <c:v>98.409059999999997</c:v>
                </c:pt>
                <c:pt idx="1278">
                  <c:v>98.221374999999995</c:v>
                </c:pt>
                <c:pt idx="1279">
                  <c:v>97.748840000000001</c:v>
                </c:pt>
                <c:pt idx="1280">
                  <c:v>97.619810000000001</c:v>
                </c:pt>
                <c:pt idx="1281">
                  <c:v>97.573819999999998</c:v>
                </c:pt>
                <c:pt idx="1282">
                  <c:v>97.905349999999999</c:v>
                </c:pt>
                <c:pt idx="1283">
                  <c:v>98.097219999999993</c:v>
                </c:pt>
                <c:pt idx="1284">
                  <c:v>98.194916000000006</c:v>
                </c:pt>
                <c:pt idx="1285">
                  <c:v>98.007034000000004</c:v>
                </c:pt>
                <c:pt idx="1286">
                  <c:v>99.252840000000006</c:v>
                </c:pt>
                <c:pt idx="1287">
                  <c:v>99.517870000000002</c:v>
                </c:pt>
                <c:pt idx="1288">
                  <c:v>99.553790000000006</c:v>
                </c:pt>
                <c:pt idx="1289">
                  <c:v>99.357420000000005</c:v>
                </c:pt>
                <c:pt idx="1290">
                  <c:v>99.281586000000004</c:v>
                </c:pt>
                <c:pt idx="1291">
                  <c:v>99.017610000000005</c:v>
                </c:pt>
                <c:pt idx="1292">
                  <c:v>99.063950000000006</c:v>
                </c:pt>
                <c:pt idx="1293">
                  <c:v>99.725430000000003</c:v>
                </c:pt>
                <c:pt idx="1294">
                  <c:v>100.39599</c:v>
                </c:pt>
                <c:pt idx="1295">
                  <c:v>100.26933</c:v>
                </c:pt>
                <c:pt idx="1296">
                  <c:v>100.48112</c:v>
                </c:pt>
                <c:pt idx="1297">
                  <c:v>101.33926</c:v>
                </c:pt>
                <c:pt idx="1298">
                  <c:v>101.77155999999999</c:v>
                </c:pt>
                <c:pt idx="1299">
                  <c:v>102.56461</c:v>
                </c:pt>
                <c:pt idx="1300">
                  <c:v>102.90285</c:v>
                </c:pt>
                <c:pt idx="1301">
                  <c:v>103.48679</c:v>
                </c:pt>
                <c:pt idx="1302">
                  <c:v>104.24642</c:v>
                </c:pt>
                <c:pt idx="1303">
                  <c:v>104.43745</c:v>
                </c:pt>
                <c:pt idx="1304">
                  <c:v>103.717354</c:v>
                </c:pt>
                <c:pt idx="1305">
                  <c:v>102.09585</c:v>
                </c:pt>
                <c:pt idx="1306">
                  <c:v>100.77464000000001</c:v>
                </c:pt>
                <c:pt idx="1307">
                  <c:v>99.558660000000003</c:v>
                </c:pt>
                <c:pt idx="1308">
                  <c:v>98.90634</c:v>
                </c:pt>
                <c:pt idx="1309">
                  <c:v>98.661500000000004</c:v>
                </c:pt>
                <c:pt idx="1310">
                  <c:v>98.587230000000005</c:v>
                </c:pt>
                <c:pt idx="1311">
                  <c:v>98.093130000000002</c:v>
                </c:pt>
                <c:pt idx="1312">
                  <c:v>97.869384999999994</c:v>
                </c:pt>
                <c:pt idx="1313">
                  <c:v>97.499660000000006</c:v>
                </c:pt>
                <c:pt idx="1314">
                  <c:v>97.029700000000005</c:v>
                </c:pt>
                <c:pt idx="1315">
                  <c:v>96.978939999999994</c:v>
                </c:pt>
                <c:pt idx="1316">
                  <c:v>97.215260000000001</c:v>
                </c:pt>
                <c:pt idx="1317">
                  <c:v>97.348410000000001</c:v>
                </c:pt>
                <c:pt idx="1318">
                  <c:v>97.365844999999993</c:v>
                </c:pt>
                <c:pt idx="1319">
                  <c:v>97.711500000000001</c:v>
                </c:pt>
                <c:pt idx="1320">
                  <c:v>98.133439999999993</c:v>
                </c:pt>
                <c:pt idx="1321">
                  <c:v>98.362656000000001</c:v>
                </c:pt>
                <c:pt idx="1322">
                  <c:v>97.965649999999997</c:v>
                </c:pt>
                <c:pt idx="1323">
                  <c:v>97.699325999999999</c:v>
                </c:pt>
                <c:pt idx="1324">
                  <c:v>97.333680000000001</c:v>
                </c:pt>
                <c:pt idx="1325">
                  <c:v>96.908450000000002</c:v>
                </c:pt>
                <c:pt idx="1326">
                  <c:v>96.802779999999998</c:v>
                </c:pt>
                <c:pt idx="1327">
                  <c:v>96.637500000000003</c:v>
                </c:pt>
                <c:pt idx="1328">
                  <c:v>96.562139999999999</c:v>
                </c:pt>
                <c:pt idx="1329">
                  <c:v>96.875069999999994</c:v>
                </c:pt>
                <c:pt idx="1330">
                  <c:v>97.173484999999999</c:v>
                </c:pt>
                <c:pt idx="1331">
                  <c:v>96.973269999999999</c:v>
                </c:pt>
                <c:pt idx="1332">
                  <c:v>97.231729999999999</c:v>
                </c:pt>
                <c:pt idx="1333">
                  <c:v>96.736400000000003</c:v>
                </c:pt>
                <c:pt idx="1334">
                  <c:v>97.339195000000004</c:v>
                </c:pt>
                <c:pt idx="1335">
                  <c:v>97.655919999999995</c:v>
                </c:pt>
                <c:pt idx="1336">
                  <c:v>97.937179999999998</c:v>
                </c:pt>
                <c:pt idx="1337">
                  <c:v>98.459549999999993</c:v>
                </c:pt>
                <c:pt idx="1338">
                  <c:v>98.899969999999996</c:v>
                </c:pt>
                <c:pt idx="1339">
                  <c:v>99.10521</c:v>
                </c:pt>
                <c:pt idx="1340">
                  <c:v>99.677549999999997</c:v>
                </c:pt>
                <c:pt idx="1341">
                  <c:v>99.989624000000006</c:v>
                </c:pt>
                <c:pt idx="1342">
                  <c:v>100.199844</c:v>
                </c:pt>
                <c:pt idx="1343">
                  <c:v>100.22787</c:v>
                </c:pt>
                <c:pt idx="1344">
                  <c:v>98.663955999999999</c:v>
                </c:pt>
                <c:pt idx="1345">
                  <c:v>98.286224000000004</c:v>
                </c:pt>
                <c:pt idx="1346">
                  <c:v>98.884500000000003</c:v>
                </c:pt>
                <c:pt idx="1347">
                  <c:v>99.055390000000003</c:v>
                </c:pt>
                <c:pt idx="1348">
                  <c:v>98.379170000000002</c:v>
                </c:pt>
                <c:pt idx="1349">
                  <c:v>98.956270000000004</c:v>
                </c:pt>
                <c:pt idx="1350">
                  <c:v>99.505920000000003</c:v>
                </c:pt>
                <c:pt idx="1351">
                  <c:v>100.429</c:v>
                </c:pt>
                <c:pt idx="1352">
                  <c:v>100.04827</c:v>
                </c:pt>
                <c:pt idx="1353">
                  <c:v>100.60337</c:v>
                </c:pt>
                <c:pt idx="1354">
                  <c:v>101.009865</c:v>
                </c:pt>
                <c:pt idx="1355">
                  <c:v>101.28310999999999</c:v>
                </c:pt>
                <c:pt idx="1356">
                  <c:v>101.40886999999999</c:v>
                </c:pt>
                <c:pt idx="1357">
                  <c:v>101.65873999999999</c:v>
                </c:pt>
                <c:pt idx="1358">
                  <c:v>102.11545</c:v>
                </c:pt>
                <c:pt idx="1359">
                  <c:v>103.25875000000001</c:v>
                </c:pt>
                <c:pt idx="1360">
                  <c:v>102.186806</c:v>
                </c:pt>
                <c:pt idx="1361">
                  <c:v>101.02293</c:v>
                </c:pt>
                <c:pt idx="1362">
                  <c:v>101.597534</c:v>
                </c:pt>
                <c:pt idx="1363">
                  <c:v>101.60979500000001</c:v>
                </c:pt>
                <c:pt idx="1364">
                  <c:v>102.27410999999999</c:v>
                </c:pt>
                <c:pt idx="1365">
                  <c:v>102.926956</c:v>
                </c:pt>
                <c:pt idx="1366">
                  <c:v>102.834656</c:v>
                </c:pt>
                <c:pt idx="1367">
                  <c:v>102.527306</c:v>
                </c:pt>
                <c:pt idx="1368">
                  <c:v>95.971130000000002</c:v>
                </c:pt>
                <c:pt idx="1369">
                  <c:v>96.076459999999997</c:v>
                </c:pt>
                <c:pt idx="1370">
                  <c:v>97.231229999999996</c:v>
                </c:pt>
                <c:pt idx="1371">
                  <c:v>98.733279999999993</c:v>
                </c:pt>
                <c:pt idx="1372">
                  <c:v>99.280209999999997</c:v>
                </c:pt>
                <c:pt idx="1373">
                  <c:v>100.26922</c:v>
                </c:pt>
                <c:pt idx="1374">
                  <c:v>100.353386</c:v>
                </c:pt>
                <c:pt idx="1375">
                  <c:v>100.36461</c:v>
                </c:pt>
                <c:pt idx="1376">
                  <c:v>100.433815</c:v>
                </c:pt>
                <c:pt idx="1377">
                  <c:v>101.18013000000001</c:v>
                </c:pt>
                <c:pt idx="1378">
                  <c:v>101.37641000000001</c:v>
                </c:pt>
                <c:pt idx="1379">
                  <c:v>101.47942</c:v>
                </c:pt>
                <c:pt idx="1380">
                  <c:v>101.56219</c:v>
                </c:pt>
                <c:pt idx="1381">
                  <c:v>101.90837000000001</c:v>
                </c:pt>
                <c:pt idx="1382">
                  <c:v>101.6439</c:v>
                </c:pt>
                <c:pt idx="1383">
                  <c:v>102.163124</c:v>
                </c:pt>
                <c:pt idx="1384">
                  <c:v>102.3683</c:v>
                </c:pt>
                <c:pt idx="1385">
                  <c:v>102.685486</c:v>
                </c:pt>
                <c:pt idx="1386">
                  <c:v>103.004265</c:v>
                </c:pt>
                <c:pt idx="1387">
                  <c:v>102.96414</c:v>
                </c:pt>
                <c:pt idx="1388">
                  <c:v>103.96129000000001</c:v>
                </c:pt>
                <c:pt idx="1389">
                  <c:v>105.25765</c:v>
                </c:pt>
                <c:pt idx="1390">
                  <c:v>109.950714</c:v>
                </c:pt>
                <c:pt idx="1391">
                  <c:v>109.53984</c:v>
                </c:pt>
                <c:pt idx="1392">
                  <c:v>108.87786</c:v>
                </c:pt>
                <c:pt idx="1393">
                  <c:v>108.96145</c:v>
                </c:pt>
                <c:pt idx="1394">
                  <c:v>109.330185</c:v>
                </c:pt>
                <c:pt idx="1395">
                  <c:v>109.91123</c:v>
                </c:pt>
                <c:pt idx="1396">
                  <c:v>111.27503</c:v>
                </c:pt>
                <c:pt idx="1397">
                  <c:v>113.0078</c:v>
                </c:pt>
                <c:pt idx="1398">
                  <c:v>114.83582</c:v>
                </c:pt>
                <c:pt idx="1399">
                  <c:v>113.97658</c:v>
                </c:pt>
                <c:pt idx="1400">
                  <c:v>113.71528000000001</c:v>
                </c:pt>
                <c:pt idx="1401">
                  <c:v>113.28663</c:v>
                </c:pt>
                <c:pt idx="1402">
                  <c:v>112.54512</c:v>
                </c:pt>
                <c:pt idx="1403">
                  <c:v>112.214516</c:v>
                </c:pt>
                <c:pt idx="1404">
                  <c:v>112.14118000000001</c:v>
                </c:pt>
                <c:pt idx="1405">
                  <c:v>112.40929</c:v>
                </c:pt>
                <c:pt idx="1406">
                  <c:v>112.755714</c:v>
                </c:pt>
                <c:pt idx="1407">
                  <c:v>112.91366600000001</c:v>
                </c:pt>
                <c:pt idx="1408">
                  <c:v>112.88679999999999</c:v>
                </c:pt>
                <c:pt idx="1409">
                  <c:v>113.822845</c:v>
                </c:pt>
                <c:pt idx="1410">
                  <c:v>115.378685</c:v>
                </c:pt>
                <c:pt idx="1411">
                  <c:v>116.52965500000001</c:v>
                </c:pt>
                <c:pt idx="1412">
                  <c:v>117.01281</c:v>
                </c:pt>
                <c:pt idx="1413">
                  <c:v>116.14610999999999</c:v>
                </c:pt>
                <c:pt idx="1414">
                  <c:v>115.032166</c:v>
                </c:pt>
                <c:pt idx="1415">
                  <c:v>114.54685000000001</c:v>
                </c:pt>
                <c:pt idx="1416">
                  <c:v>115.95813</c:v>
                </c:pt>
                <c:pt idx="1417">
                  <c:v>116.35069</c:v>
                </c:pt>
                <c:pt idx="1418">
                  <c:v>115.688866</c:v>
                </c:pt>
                <c:pt idx="1419">
                  <c:v>115.27328</c:v>
                </c:pt>
                <c:pt idx="1420">
                  <c:v>115.46787</c:v>
                </c:pt>
                <c:pt idx="1421">
                  <c:v>114.726494</c:v>
                </c:pt>
                <c:pt idx="1422">
                  <c:v>114.60404</c:v>
                </c:pt>
                <c:pt idx="1423">
                  <c:v>114.31209</c:v>
                </c:pt>
                <c:pt idx="1424">
                  <c:v>113.57516</c:v>
                </c:pt>
                <c:pt idx="1425">
                  <c:v>113.30455000000001</c:v>
                </c:pt>
                <c:pt idx="1426">
                  <c:v>109.55127</c:v>
                </c:pt>
                <c:pt idx="1427">
                  <c:v>106.65805</c:v>
                </c:pt>
                <c:pt idx="1428">
                  <c:v>106.10695</c:v>
                </c:pt>
                <c:pt idx="1429">
                  <c:v>107.23247000000001</c:v>
                </c:pt>
                <c:pt idx="1430">
                  <c:v>108.28925</c:v>
                </c:pt>
                <c:pt idx="1431">
                  <c:v>109.00387000000001</c:v>
                </c:pt>
                <c:pt idx="1432">
                  <c:v>108.871056</c:v>
                </c:pt>
                <c:pt idx="1433">
                  <c:v>107.92488</c:v>
                </c:pt>
                <c:pt idx="1434">
                  <c:v>106.28606000000001</c:v>
                </c:pt>
                <c:pt idx="1435">
                  <c:v>104.819046</c:v>
                </c:pt>
                <c:pt idx="1436">
                  <c:v>104.11434</c:v>
                </c:pt>
                <c:pt idx="1437">
                  <c:v>102.34565000000001</c:v>
                </c:pt>
                <c:pt idx="1438">
                  <c:v>101.52715999999999</c:v>
                </c:pt>
                <c:pt idx="1439">
                  <c:v>102.42462999999999</c:v>
                </c:pt>
                <c:pt idx="1440">
                  <c:v>102.92478</c:v>
                </c:pt>
                <c:pt idx="1441">
                  <c:v>103.82765000000001</c:v>
                </c:pt>
                <c:pt idx="1442">
                  <c:v>105.36203</c:v>
                </c:pt>
                <c:pt idx="1443">
                  <c:v>105.31708999999999</c:v>
                </c:pt>
                <c:pt idx="1444">
                  <c:v>105.54804</c:v>
                </c:pt>
                <c:pt idx="1445">
                  <c:v>106.61490000000001</c:v>
                </c:pt>
                <c:pt idx="1446">
                  <c:v>107.254105</c:v>
                </c:pt>
                <c:pt idx="1447">
                  <c:v>107.222015</c:v>
                </c:pt>
                <c:pt idx="1448">
                  <c:v>106.00605</c:v>
                </c:pt>
                <c:pt idx="1449">
                  <c:v>104.61848999999999</c:v>
                </c:pt>
                <c:pt idx="1450">
                  <c:v>103.40806600000001</c:v>
                </c:pt>
                <c:pt idx="1451">
                  <c:v>102.89829</c:v>
                </c:pt>
                <c:pt idx="1452">
                  <c:v>102.9503</c:v>
                </c:pt>
                <c:pt idx="1453">
                  <c:v>102.37891399999999</c:v>
                </c:pt>
                <c:pt idx="1454">
                  <c:v>101.59917</c:v>
                </c:pt>
                <c:pt idx="1455">
                  <c:v>101.005005</c:v>
                </c:pt>
                <c:pt idx="1456">
                  <c:v>100.62287999999999</c:v>
                </c:pt>
                <c:pt idx="1457">
                  <c:v>101.25338000000001</c:v>
                </c:pt>
                <c:pt idx="1458">
                  <c:v>101.98574000000001</c:v>
                </c:pt>
                <c:pt idx="1459">
                  <c:v>103.161705</c:v>
                </c:pt>
                <c:pt idx="1460">
                  <c:v>103.915436</c:v>
                </c:pt>
                <c:pt idx="1461">
                  <c:v>104.96598</c:v>
                </c:pt>
                <c:pt idx="1462">
                  <c:v>105.50136000000001</c:v>
                </c:pt>
                <c:pt idx="1463">
                  <c:v>104.809235</c:v>
                </c:pt>
                <c:pt idx="1464">
                  <c:v>105.006714</c:v>
                </c:pt>
                <c:pt idx="1465">
                  <c:v>103.86078000000001</c:v>
                </c:pt>
                <c:pt idx="1466">
                  <c:v>103.5134</c:v>
                </c:pt>
                <c:pt idx="1467">
                  <c:v>103.39445000000001</c:v>
                </c:pt>
                <c:pt idx="1468">
                  <c:v>103.32273000000001</c:v>
                </c:pt>
                <c:pt idx="1469">
                  <c:v>103.23406</c:v>
                </c:pt>
                <c:pt idx="1470">
                  <c:v>102.01746</c:v>
                </c:pt>
                <c:pt idx="1471">
                  <c:v>100.45683</c:v>
                </c:pt>
                <c:pt idx="1472">
                  <c:v>99.270300000000006</c:v>
                </c:pt>
                <c:pt idx="1473">
                  <c:v>97.837869999999995</c:v>
                </c:pt>
                <c:pt idx="1474">
                  <c:v>96.122680000000003</c:v>
                </c:pt>
                <c:pt idx="1475">
                  <c:v>93.338830000000002</c:v>
                </c:pt>
                <c:pt idx="1476">
                  <c:v>93.001329999999996</c:v>
                </c:pt>
                <c:pt idx="1477">
                  <c:v>93.680880000000002</c:v>
                </c:pt>
                <c:pt idx="1478">
                  <c:v>94.35915</c:v>
                </c:pt>
                <c:pt idx="1479">
                  <c:v>97.421974000000006</c:v>
                </c:pt>
                <c:pt idx="1480">
                  <c:v>97.848320000000001</c:v>
                </c:pt>
                <c:pt idx="1481">
                  <c:v>98.177109999999999</c:v>
                </c:pt>
                <c:pt idx="1482">
                  <c:v>97.736946000000003</c:v>
                </c:pt>
                <c:pt idx="1483">
                  <c:v>97.969930000000005</c:v>
                </c:pt>
                <c:pt idx="1484">
                  <c:v>98.296135000000007</c:v>
                </c:pt>
                <c:pt idx="1485">
                  <c:v>98.563739999999996</c:v>
                </c:pt>
                <c:pt idx="1486">
                  <c:v>98.595603999999994</c:v>
                </c:pt>
                <c:pt idx="1487">
                  <c:v>98.603713999999997</c:v>
                </c:pt>
                <c:pt idx="1488">
                  <c:v>98.984260000000006</c:v>
                </c:pt>
                <c:pt idx="1489">
                  <c:v>99.067604000000003</c:v>
                </c:pt>
                <c:pt idx="1490">
                  <c:v>99.983795000000001</c:v>
                </c:pt>
                <c:pt idx="1491">
                  <c:v>100.08564</c:v>
                </c:pt>
                <c:pt idx="1492">
                  <c:v>100.51636999999999</c:v>
                </c:pt>
                <c:pt idx="1493">
                  <c:v>100.76818</c:v>
                </c:pt>
                <c:pt idx="1494">
                  <c:v>100.79175600000001</c:v>
                </c:pt>
                <c:pt idx="1495">
                  <c:v>101.04039</c:v>
                </c:pt>
                <c:pt idx="1496">
                  <c:v>101.88762</c:v>
                </c:pt>
                <c:pt idx="1497">
                  <c:v>102.61514</c:v>
                </c:pt>
                <c:pt idx="1498">
                  <c:v>104.22929000000001</c:v>
                </c:pt>
                <c:pt idx="1499">
                  <c:v>105.38784</c:v>
                </c:pt>
                <c:pt idx="1500">
                  <c:v>105.530075</c:v>
                </c:pt>
                <c:pt idx="1501">
                  <c:v>106.29168</c:v>
                </c:pt>
                <c:pt idx="1502">
                  <c:v>107.10511</c:v>
                </c:pt>
                <c:pt idx="1503">
                  <c:v>106.594864</c:v>
                </c:pt>
                <c:pt idx="1504">
                  <c:v>104.73219</c:v>
                </c:pt>
                <c:pt idx="1505">
                  <c:v>102.431175</c:v>
                </c:pt>
                <c:pt idx="1506">
                  <c:v>102.87508</c:v>
                </c:pt>
                <c:pt idx="1507">
                  <c:v>103.295784</c:v>
                </c:pt>
                <c:pt idx="1508">
                  <c:v>103.486115</c:v>
                </c:pt>
                <c:pt idx="1509">
                  <c:v>103.59099000000001</c:v>
                </c:pt>
                <c:pt idx="1510">
                  <c:v>103.99816</c:v>
                </c:pt>
                <c:pt idx="1511">
                  <c:v>104.38628</c:v>
                </c:pt>
                <c:pt idx="1512">
                  <c:v>103.6516</c:v>
                </c:pt>
                <c:pt idx="1513">
                  <c:v>103.50426</c:v>
                </c:pt>
                <c:pt idx="1514">
                  <c:v>103.94381</c:v>
                </c:pt>
                <c:pt idx="1515">
                  <c:v>104.08485400000001</c:v>
                </c:pt>
                <c:pt idx="1516">
                  <c:v>103.93908999999999</c:v>
                </c:pt>
                <c:pt idx="1517">
                  <c:v>103.934944</c:v>
                </c:pt>
                <c:pt idx="1518">
                  <c:v>104.18047</c:v>
                </c:pt>
                <c:pt idx="1519">
                  <c:v>104.30772399999999</c:v>
                </c:pt>
                <c:pt idx="1520">
                  <c:v>104.498795</c:v>
                </c:pt>
                <c:pt idx="1521">
                  <c:v>104.88263000000001</c:v>
                </c:pt>
                <c:pt idx="1522">
                  <c:v>105.335915</c:v>
                </c:pt>
                <c:pt idx="1523">
                  <c:v>105.721794</c:v>
                </c:pt>
                <c:pt idx="1524">
                  <c:v>105.8141</c:v>
                </c:pt>
                <c:pt idx="1525">
                  <c:v>105.64316599999999</c:v>
                </c:pt>
                <c:pt idx="1526">
                  <c:v>105.76170999999999</c:v>
                </c:pt>
                <c:pt idx="1527">
                  <c:v>106.22993</c:v>
                </c:pt>
                <c:pt idx="1528">
                  <c:v>107.244736</c:v>
                </c:pt>
                <c:pt idx="1529">
                  <c:v>108.359055</c:v>
                </c:pt>
                <c:pt idx="1530">
                  <c:v>108.51284</c:v>
                </c:pt>
                <c:pt idx="1531">
                  <c:v>105.49557</c:v>
                </c:pt>
                <c:pt idx="1532">
                  <c:v>104.45431000000001</c:v>
                </c:pt>
                <c:pt idx="1533">
                  <c:v>105.33292</c:v>
                </c:pt>
                <c:pt idx="1534">
                  <c:v>106.201836</c:v>
                </c:pt>
                <c:pt idx="1535">
                  <c:v>107.882576</c:v>
                </c:pt>
                <c:pt idx="1536">
                  <c:v>104.54019</c:v>
                </c:pt>
                <c:pt idx="1537">
                  <c:v>105.70837400000001</c:v>
                </c:pt>
                <c:pt idx="1538">
                  <c:v>106.83360999999999</c:v>
                </c:pt>
                <c:pt idx="1539">
                  <c:v>106.80694</c:v>
                </c:pt>
                <c:pt idx="1540">
                  <c:v>107.41754</c:v>
                </c:pt>
                <c:pt idx="1541">
                  <c:v>108.094055</c:v>
                </c:pt>
                <c:pt idx="1542">
                  <c:v>108.020096</c:v>
                </c:pt>
                <c:pt idx="1543">
                  <c:v>108.6468</c:v>
                </c:pt>
                <c:pt idx="1544">
                  <c:v>109.00136999999999</c:v>
                </c:pt>
                <c:pt idx="1545">
                  <c:v>109.82079</c:v>
                </c:pt>
                <c:pt idx="1546">
                  <c:v>110.62697</c:v>
                </c:pt>
                <c:pt idx="1547">
                  <c:v>112.44971</c:v>
                </c:pt>
                <c:pt idx="1548">
                  <c:v>113.71769</c:v>
                </c:pt>
                <c:pt idx="1549">
                  <c:v>114.754684</c:v>
                </c:pt>
                <c:pt idx="1550">
                  <c:v>113.91991400000001</c:v>
                </c:pt>
                <c:pt idx="1551">
                  <c:v>115.31363</c:v>
                </c:pt>
                <c:pt idx="1552">
                  <c:v>115.78489999999999</c:v>
                </c:pt>
                <c:pt idx="1553">
                  <c:v>117.09542999999999</c:v>
                </c:pt>
                <c:pt idx="1554">
                  <c:v>117.380714</c:v>
                </c:pt>
                <c:pt idx="1555">
                  <c:v>117.2516</c:v>
                </c:pt>
                <c:pt idx="1556">
                  <c:v>116.66373400000001</c:v>
                </c:pt>
                <c:pt idx="1557">
                  <c:v>116.87761999999999</c:v>
                </c:pt>
                <c:pt idx="1558">
                  <c:v>117.49079</c:v>
                </c:pt>
                <c:pt idx="1559">
                  <c:v>118.21939</c:v>
                </c:pt>
                <c:pt idx="1560">
                  <c:v>118.78351000000001</c:v>
                </c:pt>
                <c:pt idx="1561">
                  <c:v>120.233604</c:v>
                </c:pt>
                <c:pt idx="1562">
                  <c:v>119.48871</c:v>
                </c:pt>
                <c:pt idx="1563">
                  <c:v>118.347984</c:v>
                </c:pt>
                <c:pt idx="1564">
                  <c:v>117.568665</c:v>
                </c:pt>
                <c:pt idx="1565">
                  <c:v>118.64988</c:v>
                </c:pt>
                <c:pt idx="1566">
                  <c:v>117.63574</c:v>
                </c:pt>
                <c:pt idx="1567">
                  <c:v>117.9503</c:v>
                </c:pt>
                <c:pt idx="1568">
                  <c:v>117.82146</c:v>
                </c:pt>
                <c:pt idx="1569">
                  <c:v>116.525536</c:v>
                </c:pt>
                <c:pt idx="1570">
                  <c:v>117.481255</c:v>
                </c:pt>
                <c:pt idx="1571">
                  <c:v>114.62354000000001</c:v>
                </c:pt>
                <c:pt idx="1572">
                  <c:v>112.499466</c:v>
                </c:pt>
                <c:pt idx="1573">
                  <c:v>113.178375</c:v>
                </c:pt>
                <c:pt idx="1574">
                  <c:v>112.00351000000001</c:v>
                </c:pt>
                <c:pt idx="1575">
                  <c:v>112.86914</c:v>
                </c:pt>
                <c:pt idx="1576">
                  <c:v>111.533</c:v>
                </c:pt>
                <c:pt idx="1577">
                  <c:v>111.707596</c:v>
                </c:pt>
                <c:pt idx="1578">
                  <c:v>110.545204</c:v>
                </c:pt>
                <c:pt idx="1579">
                  <c:v>110.26833999999999</c:v>
                </c:pt>
                <c:pt idx="1580">
                  <c:v>109.20323</c:v>
                </c:pt>
                <c:pt idx="1581">
                  <c:v>108.22338000000001</c:v>
                </c:pt>
                <c:pt idx="1582">
                  <c:v>107.17219</c:v>
                </c:pt>
                <c:pt idx="1583">
                  <c:v>108.01617</c:v>
                </c:pt>
                <c:pt idx="1584">
                  <c:v>109.91776</c:v>
                </c:pt>
                <c:pt idx="1585">
                  <c:v>110.70322</c:v>
                </c:pt>
                <c:pt idx="1586">
                  <c:v>111.415115</c:v>
                </c:pt>
                <c:pt idx="1587">
                  <c:v>112.25055999999999</c:v>
                </c:pt>
                <c:pt idx="1588">
                  <c:v>112.82808</c:v>
                </c:pt>
                <c:pt idx="1589">
                  <c:v>113.47028</c:v>
                </c:pt>
                <c:pt idx="1590">
                  <c:v>113.99917600000001</c:v>
                </c:pt>
                <c:pt idx="1591">
                  <c:v>114.77779</c:v>
                </c:pt>
                <c:pt idx="1592">
                  <c:v>115.17722999999999</c:v>
                </c:pt>
                <c:pt idx="1593">
                  <c:v>115.60248</c:v>
                </c:pt>
                <c:pt idx="1594">
                  <c:v>115.821625</c:v>
                </c:pt>
                <c:pt idx="1595">
                  <c:v>116.08969999999999</c:v>
                </c:pt>
                <c:pt idx="1596">
                  <c:v>116.83687999999999</c:v>
                </c:pt>
                <c:pt idx="1597">
                  <c:v>117.32866</c:v>
                </c:pt>
                <c:pt idx="1598">
                  <c:v>117.9645</c:v>
                </c:pt>
                <c:pt idx="1599">
                  <c:v>118.616516</c:v>
                </c:pt>
                <c:pt idx="1600">
                  <c:v>118.16735</c:v>
                </c:pt>
                <c:pt idx="1601">
                  <c:v>117.66853</c:v>
                </c:pt>
                <c:pt idx="1602">
                  <c:v>117.314804</c:v>
                </c:pt>
                <c:pt idx="1603">
                  <c:v>116.64807999999999</c:v>
                </c:pt>
                <c:pt idx="1604">
                  <c:v>116.59644</c:v>
                </c:pt>
                <c:pt idx="1605">
                  <c:v>116.481415</c:v>
                </c:pt>
                <c:pt idx="1606">
                  <c:v>116.88012000000001</c:v>
                </c:pt>
                <c:pt idx="1607">
                  <c:v>117.83354</c:v>
                </c:pt>
                <c:pt idx="1608">
                  <c:v>119.01797500000001</c:v>
                </c:pt>
                <c:pt idx="1609">
                  <c:v>120.36152</c:v>
                </c:pt>
                <c:pt idx="1610">
                  <c:v>122.502335</c:v>
                </c:pt>
                <c:pt idx="1611">
                  <c:v>121.484436</c:v>
                </c:pt>
                <c:pt idx="1612">
                  <c:v>121.56802999999999</c:v>
                </c:pt>
                <c:pt idx="1613">
                  <c:v>123.54595</c:v>
                </c:pt>
                <c:pt idx="1614">
                  <c:v>124.131165</c:v>
                </c:pt>
                <c:pt idx="1615">
                  <c:v>124.81244</c:v>
                </c:pt>
                <c:pt idx="1616">
                  <c:v>125.04431</c:v>
                </c:pt>
                <c:pt idx="1617">
                  <c:v>125.17507000000001</c:v>
                </c:pt>
                <c:pt idx="1618">
                  <c:v>125.25848000000001</c:v>
                </c:pt>
                <c:pt idx="1619">
                  <c:v>125.113235</c:v>
                </c:pt>
                <c:pt idx="1620">
                  <c:v>125.65755</c:v>
                </c:pt>
                <c:pt idx="1621">
                  <c:v>126.22896</c:v>
                </c:pt>
                <c:pt idx="1622">
                  <c:v>126.370605</c:v>
                </c:pt>
                <c:pt idx="1623">
                  <c:v>127.03175</c:v>
                </c:pt>
                <c:pt idx="1624">
                  <c:v>127.33562999999999</c:v>
                </c:pt>
                <c:pt idx="1625">
                  <c:v>127.37556499999999</c:v>
                </c:pt>
                <c:pt idx="1626">
                  <c:v>127.414024</c:v>
                </c:pt>
                <c:pt idx="1627">
                  <c:v>127.05601</c:v>
                </c:pt>
                <c:pt idx="1628">
                  <c:v>126.48653400000001</c:v>
                </c:pt>
                <c:pt idx="1629">
                  <c:v>125.18137</c:v>
                </c:pt>
                <c:pt idx="1630">
                  <c:v>124.7664</c:v>
                </c:pt>
                <c:pt idx="1631">
                  <c:v>124.43077</c:v>
                </c:pt>
                <c:pt idx="1632">
                  <c:v>124.38579</c:v>
                </c:pt>
                <c:pt idx="1633">
                  <c:v>124.36175</c:v>
                </c:pt>
                <c:pt idx="1634">
                  <c:v>124.0376</c:v>
                </c:pt>
                <c:pt idx="1635">
                  <c:v>124.50345</c:v>
                </c:pt>
                <c:pt idx="1636">
                  <c:v>124.07183000000001</c:v>
                </c:pt>
                <c:pt idx="1637">
                  <c:v>123.4062</c:v>
                </c:pt>
                <c:pt idx="1638">
                  <c:v>123.45238999999999</c:v>
                </c:pt>
                <c:pt idx="1639">
                  <c:v>123.73112</c:v>
                </c:pt>
                <c:pt idx="1640">
                  <c:v>123.59363</c:v>
                </c:pt>
                <c:pt idx="1641">
                  <c:v>123.69042</c:v>
                </c:pt>
                <c:pt idx="1642">
                  <c:v>123.860985</c:v>
                </c:pt>
                <c:pt idx="1643">
                  <c:v>123.43525</c:v>
                </c:pt>
                <c:pt idx="1644">
                  <c:v>123.40801</c:v>
                </c:pt>
                <c:pt idx="1645">
                  <c:v>123.31780999999999</c:v>
                </c:pt>
                <c:pt idx="1646">
                  <c:v>122.869995</c:v>
                </c:pt>
                <c:pt idx="1647">
                  <c:v>123.03476000000001</c:v>
                </c:pt>
                <c:pt idx="1648">
                  <c:v>123.25715</c:v>
                </c:pt>
                <c:pt idx="1649">
                  <c:v>123.11882</c:v>
                </c:pt>
                <c:pt idx="1650">
                  <c:v>123.30867000000001</c:v>
                </c:pt>
                <c:pt idx="1651">
                  <c:v>123.68644999999999</c:v>
                </c:pt>
                <c:pt idx="1652">
                  <c:v>123.11611000000001</c:v>
                </c:pt>
                <c:pt idx="1653">
                  <c:v>122.95513</c:v>
                </c:pt>
                <c:pt idx="1654">
                  <c:v>122.5899</c:v>
                </c:pt>
                <c:pt idx="1655">
                  <c:v>122.93626999999999</c:v>
                </c:pt>
                <c:pt idx="1656">
                  <c:v>122.50601</c:v>
                </c:pt>
                <c:pt idx="1657">
                  <c:v>122.008865</c:v>
                </c:pt>
                <c:pt idx="1658">
                  <c:v>121.69828</c:v>
                </c:pt>
                <c:pt idx="1659">
                  <c:v>121.43248</c:v>
                </c:pt>
                <c:pt idx="1660">
                  <c:v>120.90537999999999</c:v>
                </c:pt>
                <c:pt idx="1661">
                  <c:v>120.808334</c:v>
                </c:pt>
                <c:pt idx="1662">
                  <c:v>121.8353</c:v>
                </c:pt>
                <c:pt idx="1663">
                  <c:v>122.68510000000001</c:v>
                </c:pt>
                <c:pt idx="1664">
                  <c:v>123.52182000000001</c:v>
                </c:pt>
                <c:pt idx="1665">
                  <c:v>123.759865</c:v>
                </c:pt>
                <c:pt idx="1666">
                  <c:v>123.4284</c:v>
                </c:pt>
                <c:pt idx="1667">
                  <c:v>123.65054000000001</c:v>
                </c:pt>
                <c:pt idx="1668">
                  <c:v>124.084175</c:v>
                </c:pt>
                <c:pt idx="1669">
                  <c:v>124.13925</c:v>
                </c:pt>
                <c:pt idx="1670">
                  <c:v>123.883736</c:v>
                </c:pt>
                <c:pt idx="1671">
                  <c:v>123.900505</c:v>
                </c:pt>
                <c:pt idx="1672">
                  <c:v>123.81133</c:v>
                </c:pt>
                <c:pt idx="1673">
                  <c:v>123.55956</c:v>
                </c:pt>
                <c:pt idx="1674">
                  <c:v>123.22479</c:v>
                </c:pt>
                <c:pt idx="1675">
                  <c:v>122.91871999999999</c:v>
                </c:pt>
                <c:pt idx="1676">
                  <c:v>123.13533</c:v>
                </c:pt>
                <c:pt idx="1677">
                  <c:v>123.89632400000001</c:v>
                </c:pt>
                <c:pt idx="1678">
                  <c:v>124.23434</c:v>
                </c:pt>
                <c:pt idx="1679">
                  <c:v>124.93706</c:v>
                </c:pt>
                <c:pt idx="1680">
                  <c:v>125.20085</c:v>
                </c:pt>
                <c:pt idx="1681">
                  <c:v>125.23638</c:v>
                </c:pt>
                <c:pt idx="1682">
                  <c:v>125.57122</c:v>
                </c:pt>
                <c:pt idx="1683">
                  <c:v>125.71531</c:v>
                </c:pt>
                <c:pt idx="1684">
                  <c:v>125.79644999999999</c:v>
                </c:pt>
                <c:pt idx="1685">
                  <c:v>125.73539</c:v>
                </c:pt>
                <c:pt idx="1686">
                  <c:v>125.89541</c:v>
                </c:pt>
                <c:pt idx="1687">
                  <c:v>126.215675</c:v>
                </c:pt>
                <c:pt idx="1688">
                  <c:v>126.77352</c:v>
                </c:pt>
                <c:pt idx="1689">
                  <c:v>126.86986</c:v>
                </c:pt>
                <c:pt idx="1690">
                  <c:v>127.20843499999999</c:v>
                </c:pt>
                <c:pt idx="1691">
                  <c:v>127.59461</c:v>
                </c:pt>
                <c:pt idx="1692">
                  <c:v>127.49177</c:v>
                </c:pt>
                <c:pt idx="1693">
                  <c:v>127.768394</c:v>
                </c:pt>
                <c:pt idx="1694">
                  <c:v>127.96359</c:v>
                </c:pt>
                <c:pt idx="1695">
                  <c:v>128.00275999999999</c:v>
                </c:pt>
                <c:pt idx="1696">
                  <c:v>128.02440000000001</c:v>
                </c:pt>
                <c:pt idx="1697">
                  <c:v>128.13449</c:v>
                </c:pt>
                <c:pt idx="1698">
                  <c:v>128.21010000000001</c:v>
                </c:pt>
                <c:pt idx="1699">
                  <c:v>128.57419999999999</c:v>
                </c:pt>
                <c:pt idx="1700">
                  <c:v>128.67098999999999</c:v>
                </c:pt>
                <c:pt idx="1701">
                  <c:v>128.46606</c:v>
                </c:pt>
                <c:pt idx="1702">
                  <c:v>128.90222</c:v>
                </c:pt>
                <c:pt idx="1703">
                  <c:v>129.14732000000001</c:v>
                </c:pt>
                <c:pt idx="1704">
                  <c:v>129.19264000000001</c:v>
                </c:pt>
                <c:pt idx="1705">
                  <c:v>129.2765</c:v>
                </c:pt>
                <c:pt idx="1706">
                  <c:v>129.48495</c:v>
                </c:pt>
                <c:pt idx="1707">
                  <c:v>129.61626999999999</c:v>
                </c:pt>
                <c:pt idx="1708">
                  <c:v>130.06984</c:v>
                </c:pt>
                <c:pt idx="1709">
                  <c:v>130.51874000000001</c:v>
                </c:pt>
                <c:pt idx="1710">
                  <c:v>130.48385999999999</c:v>
                </c:pt>
                <c:pt idx="1711">
                  <c:v>130.70345</c:v>
                </c:pt>
                <c:pt idx="1712">
                  <c:v>130.756</c:v>
                </c:pt>
                <c:pt idx="1713">
                  <c:v>130.76107999999999</c:v>
                </c:pt>
                <c:pt idx="1714">
                  <c:v>130.67762999999999</c:v>
                </c:pt>
                <c:pt idx="1715">
                  <c:v>130.64322999999999</c:v>
                </c:pt>
                <c:pt idx="1716">
                  <c:v>130.98785000000001</c:v>
                </c:pt>
                <c:pt idx="1717">
                  <c:v>131.28601</c:v>
                </c:pt>
                <c:pt idx="1718">
                  <c:v>131.23853</c:v>
                </c:pt>
                <c:pt idx="1719">
                  <c:v>131.44965999999999</c:v>
                </c:pt>
                <c:pt idx="1720">
                  <c:v>131.81997999999999</c:v>
                </c:pt>
                <c:pt idx="1721">
                  <c:v>131.99762999999999</c:v>
                </c:pt>
                <c:pt idx="1722">
                  <c:v>132.46762000000001</c:v>
                </c:pt>
                <c:pt idx="1723">
                  <c:v>132.75829999999999</c:v>
                </c:pt>
                <c:pt idx="1724">
                  <c:v>132.75537</c:v>
                </c:pt>
                <c:pt idx="1725">
                  <c:v>132.59870000000001</c:v>
                </c:pt>
                <c:pt idx="1726">
                  <c:v>133.66641000000001</c:v>
                </c:pt>
                <c:pt idx="1727">
                  <c:v>132.80672000000001</c:v>
                </c:pt>
                <c:pt idx="1728">
                  <c:v>132.48766000000001</c:v>
                </c:pt>
                <c:pt idx="1729">
                  <c:v>133.1174</c:v>
                </c:pt>
                <c:pt idx="1730">
                  <c:v>132.09961000000001</c:v>
                </c:pt>
                <c:pt idx="1731">
                  <c:v>132.26074</c:v>
                </c:pt>
                <c:pt idx="1732">
                  <c:v>132.42159000000001</c:v>
                </c:pt>
                <c:pt idx="1733">
                  <c:v>132.76990000000001</c:v>
                </c:pt>
                <c:pt idx="1734">
                  <c:v>132.80586</c:v>
                </c:pt>
                <c:pt idx="1735">
                  <c:v>132.87792999999999</c:v>
                </c:pt>
                <c:pt idx="1736">
                  <c:v>133.08752000000001</c:v>
                </c:pt>
                <c:pt idx="1737">
                  <c:v>132.8442</c:v>
                </c:pt>
                <c:pt idx="1738">
                  <c:v>133.04107999999999</c:v>
                </c:pt>
                <c:pt idx="1739">
                  <c:v>132.99977000000001</c:v>
                </c:pt>
                <c:pt idx="1740">
                  <c:v>133.53879000000001</c:v>
                </c:pt>
                <c:pt idx="1741">
                  <c:v>133.48222000000001</c:v>
                </c:pt>
                <c:pt idx="1742">
                  <c:v>133.65746999999999</c:v>
                </c:pt>
                <c:pt idx="1743">
                  <c:v>133.87334000000001</c:v>
                </c:pt>
                <c:pt idx="1744">
                  <c:v>134.3434</c:v>
                </c:pt>
                <c:pt idx="1745">
                  <c:v>133.92944</c:v>
                </c:pt>
                <c:pt idx="1746">
                  <c:v>133.99757</c:v>
                </c:pt>
                <c:pt idx="1747">
                  <c:v>133.80219</c:v>
                </c:pt>
                <c:pt idx="1748">
                  <c:v>133.44011</c:v>
                </c:pt>
                <c:pt idx="1749">
                  <c:v>133.25980000000001</c:v>
                </c:pt>
                <c:pt idx="1750">
                  <c:v>133.18794</c:v>
                </c:pt>
                <c:pt idx="1751">
                  <c:v>133.2912</c:v>
                </c:pt>
                <c:pt idx="1752">
                  <c:v>133.57946999999999</c:v>
                </c:pt>
                <c:pt idx="1753">
                  <c:v>133.42067</c:v>
                </c:pt>
                <c:pt idx="1754">
                  <c:v>133.28261000000001</c:v>
                </c:pt>
                <c:pt idx="1755">
                  <c:v>133.48228</c:v>
                </c:pt>
                <c:pt idx="1756">
                  <c:v>133.97408999999999</c:v>
                </c:pt>
                <c:pt idx="1757">
                  <c:v>134.26254</c:v>
                </c:pt>
                <c:pt idx="1758">
                  <c:v>134.15880000000001</c:v>
                </c:pt>
                <c:pt idx="1759">
                  <c:v>134.39801</c:v>
                </c:pt>
                <c:pt idx="1760">
                  <c:v>134.49507</c:v>
                </c:pt>
                <c:pt idx="1761">
                  <c:v>134.70114000000001</c:v>
                </c:pt>
                <c:pt idx="1762">
                  <c:v>134.8544</c:v>
                </c:pt>
                <c:pt idx="1763">
                  <c:v>134.64716000000001</c:v>
                </c:pt>
                <c:pt idx="1764">
                  <c:v>134.81434999999999</c:v>
                </c:pt>
                <c:pt idx="1765">
                  <c:v>134.57816</c:v>
                </c:pt>
                <c:pt idx="1766">
                  <c:v>134.55447000000001</c:v>
                </c:pt>
                <c:pt idx="1767">
                  <c:v>134.65689</c:v>
                </c:pt>
                <c:pt idx="1768">
                  <c:v>134.02461</c:v>
                </c:pt>
                <c:pt idx="1769">
                  <c:v>133.22802999999999</c:v>
                </c:pt>
                <c:pt idx="1770">
                  <c:v>132.2895</c:v>
                </c:pt>
                <c:pt idx="1771">
                  <c:v>130.97939</c:v>
                </c:pt>
                <c:pt idx="1772">
                  <c:v>129.99549999999999</c:v>
                </c:pt>
                <c:pt idx="1773">
                  <c:v>129.57497000000001</c:v>
                </c:pt>
                <c:pt idx="1774">
                  <c:v>128.95651000000001</c:v>
                </c:pt>
                <c:pt idx="1775">
                  <c:v>129.68378000000001</c:v>
                </c:pt>
                <c:pt idx="1776">
                  <c:v>129.21274</c:v>
                </c:pt>
                <c:pt idx="1777">
                  <c:v>128.55788999999999</c:v>
                </c:pt>
                <c:pt idx="1778">
                  <c:v>126.13714</c:v>
                </c:pt>
                <c:pt idx="1779">
                  <c:v>125.56636</c:v>
                </c:pt>
                <c:pt idx="1780">
                  <c:v>123.73063999999999</c:v>
                </c:pt>
                <c:pt idx="1781">
                  <c:v>119.79474</c:v>
                </c:pt>
                <c:pt idx="1782">
                  <c:v>118.83445</c:v>
                </c:pt>
                <c:pt idx="1783">
                  <c:v>114.315285</c:v>
                </c:pt>
                <c:pt idx="1784">
                  <c:v>112.39072</c:v>
                </c:pt>
                <c:pt idx="1785">
                  <c:v>108.57066</c:v>
                </c:pt>
                <c:pt idx="1786">
                  <c:v>106.12156</c:v>
                </c:pt>
                <c:pt idx="1787">
                  <c:v>103.791534</c:v>
                </c:pt>
                <c:pt idx="1788">
                  <c:v>105.09139999999999</c:v>
                </c:pt>
                <c:pt idx="1789">
                  <c:v>109.72929000000001</c:v>
                </c:pt>
                <c:pt idx="1790">
                  <c:v>112.1609</c:v>
                </c:pt>
                <c:pt idx="1791">
                  <c:v>115.15528999999999</c:v>
                </c:pt>
                <c:pt idx="1792">
                  <c:v>116.578964</c:v>
                </c:pt>
                <c:pt idx="1793">
                  <c:v>119.36747</c:v>
                </c:pt>
                <c:pt idx="1794">
                  <c:v>121.35589</c:v>
                </c:pt>
                <c:pt idx="1795">
                  <c:v>121.71680499999999</c:v>
                </c:pt>
                <c:pt idx="1796">
                  <c:v>122.46732</c:v>
                </c:pt>
                <c:pt idx="1797">
                  <c:v>122.26537</c:v>
                </c:pt>
                <c:pt idx="1798">
                  <c:v>122.97452</c:v>
                </c:pt>
                <c:pt idx="1799">
                  <c:v>123.13660400000001</c:v>
                </c:pt>
                <c:pt idx="1800">
                  <c:v>124.59583000000001</c:v>
                </c:pt>
                <c:pt idx="1801">
                  <c:v>127.6065</c:v>
                </c:pt>
                <c:pt idx="1802">
                  <c:v>130.19890000000001</c:v>
                </c:pt>
                <c:pt idx="1803">
                  <c:v>131.70953</c:v>
                </c:pt>
                <c:pt idx="1804">
                  <c:v>131.65610000000001</c:v>
                </c:pt>
                <c:pt idx="1805">
                  <c:v>131.18292</c:v>
                </c:pt>
                <c:pt idx="1806">
                  <c:v>131.72095999999999</c:v>
                </c:pt>
                <c:pt idx="1807">
                  <c:v>131.34567000000001</c:v>
                </c:pt>
                <c:pt idx="1808">
                  <c:v>129.05104</c:v>
                </c:pt>
                <c:pt idx="1809">
                  <c:v>127.03411</c:v>
                </c:pt>
                <c:pt idx="1810">
                  <c:v>125.74145</c:v>
                </c:pt>
                <c:pt idx="1811">
                  <c:v>125.23912</c:v>
                </c:pt>
                <c:pt idx="1812">
                  <c:v>125.40261</c:v>
                </c:pt>
                <c:pt idx="1813">
                  <c:v>125.523865</c:v>
                </c:pt>
                <c:pt idx="1814">
                  <c:v>126.06876</c:v>
                </c:pt>
                <c:pt idx="1815">
                  <c:v>125.97487</c:v>
                </c:pt>
                <c:pt idx="1816">
                  <c:v>124.90741</c:v>
                </c:pt>
                <c:pt idx="1817">
                  <c:v>124.18819000000001</c:v>
                </c:pt>
                <c:pt idx="1818">
                  <c:v>122.95578</c:v>
                </c:pt>
                <c:pt idx="1819">
                  <c:v>121.84045</c:v>
                </c:pt>
                <c:pt idx="1820">
                  <c:v>121.2289</c:v>
                </c:pt>
                <c:pt idx="1821">
                  <c:v>121.63676</c:v>
                </c:pt>
                <c:pt idx="1822">
                  <c:v>121.0783</c:v>
                </c:pt>
                <c:pt idx="1823">
                  <c:v>121.3917</c:v>
                </c:pt>
                <c:pt idx="1824">
                  <c:v>120.82771</c:v>
                </c:pt>
                <c:pt idx="1825">
                  <c:v>120.23924</c:v>
                </c:pt>
                <c:pt idx="1826">
                  <c:v>119.76967</c:v>
                </c:pt>
                <c:pt idx="1827">
                  <c:v>119.19789</c:v>
                </c:pt>
                <c:pt idx="1828">
                  <c:v>118.63298</c:v>
                </c:pt>
                <c:pt idx="1829">
                  <c:v>119.86700399999999</c:v>
                </c:pt>
                <c:pt idx="1830">
                  <c:v>120.867424</c:v>
                </c:pt>
                <c:pt idx="1831">
                  <c:v>121.70029</c:v>
                </c:pt>
                <c:pt idx="1832">
                  <c:v>123.414665</c:v>
                </c:pt>
                <c:pt idx="1833">
                  <c:v>124.52736</c:v>
                </c:pt>
                <c:pt idx="1834">
                  <c:v>125.13984000000001</c:v>
                </c:pt>
                <c:pt idx="1835">
                  <c:v>126.50194500000001</c:v>
                </c:pt>
                <c:pt idx="1836">
                  <c:v>126.25885</c:v>
                </c:pt>
                <c:pt idx="1837">
                  <c:v>127.08136</c:v>
                </c:pt>
                <c:pt idx="1838">
                  <c:v>128.08911000000001</c:v>
                </c:pt>
                <c:pt idx="1839">
                  <c:v>128.64008000000001</c:v>
                </c:pt>
                <c:pt idx="1840">
                  <c:v>129.83438000000001</c:v>
                </c:pt>
                <c:pt idx="1841">
                  <c:v>130.56903</c:v>
                </c:pt>
                <c:pt idx="1842">
                  <c:v>130.97845000000001</c:v>
                </c:pt>
                <c:pt idx="1843">
                  <c:v>131.11286999999999</c:v>
                </c:pt>
                <c:pt idx="1844">
                  <c:v>129.87253999999999</c:v>
                </c:pt>
                <c:pt idx="1845">
                  <c:v>128.82765000000001</c:v>
                </c:pt>
                <c:pt idx="1846">
                  <c:v>128.65167</c:v>
                </c:pt>
                <c:pt idx="1847">
                  <c:v>129.10422</c:v>
                </c:pt>
                <c:pt idx="1848">
                  <c:v>129.07436000000001</c:v>
                </c:pt>
                <c:pt idx="1849">
                  <c:v>129.16093000000001</c:v>
                </c:pt>
                <c:pt idx="1850">
                  <c:v>129.71253999999999</c:v>
                </c:pt>
                <c:pt idx="1851">
                  <c:v>129.29796999999999</c:v>
                </c:pt>
                <c:pt idx="1852">
                  <c:v>129.38797</c:v>
                </c:pt>
                <c:pt idx="1853">
                  <c:v>129.04199</c:v>
                </c:pt>
                <c:pt idx="1854">
                  <c:v>128.9896</c:v>
                </c:pt>
                <c:pt idx="1855">
                  <c:v>128.75676000000001</c:v>
                </c:pt>
                <c:pt idx="1856">
                  <c:v>128.44823</c:v>
                </c:pt>
                <c:pt idx="1857">
                  <c:v>128.83654999999999</c:v>
                </c:pt>
                <c:pt idx="1858">
                  <c:v>129.07997</c:v>
                </c:pt>
                <c:pt idx="1859">
                  <c:v>129.31116</c:v>
                </c:pt>
                <c:pt idx="1860">
                  <c:v>130.10748000000001</c:v>
                </c:pt>
                <c:pt idx="1861">
                  <c:v>130.26490000000001</c:v>
                </c:pt>
                <c:pt idx="1862">
                  <c:v>130.43704</c:v>
                </c:pt>
                <c:pt idx="1863">
                  <c:v>130.51400000000001</c:v>
                </c:pt>
                <c:pt idx="1864">
                  <c:v>131.11539999999999</c:v>
                </c:pt>
                <c:pt idx="1865">
                  <c:v>131.52058</c:v>
                </c:pt>
                <c:pt idx="1866">
                  <c:v>131.40411</c:v>
                </c:pt>
                <c:pt idx="1867">
                  <c:v>131.46887000000001</c:v>
                </c:pt>
                <c:pt idx="1868">
                  <c:v>131.30135999999999</c:v>
                </c:pt>
                <c:pt idx="1869">
                  <c:v>131.39658</c:v>
                </c:pt>
                <c:pt idx="1870">
                  <c:v>131.8348</c:v>
                </c:pt>
                <c:pt idx="1871">
                  <c:v>132.39171999999999</c:v>
                </c:pt>
                <c:pt idx="1872">
                  <c:v>132.39221000000001</c:v>
                </c:pt>
                <c:pt idx="1873">
                  <c:v>132.51297</c:v>
                </c:pt>
                <c:pt idx="1874">
                  <c:v>132.19836000000001</c:v>
                </c:pt>
                <c:pt idx="1875">
                  <c:v>132.38469000000001</c:v>
                </c:pt>
                <c:pt idx="1876">
                  <c:v>132.41301000000001</c:v>
                </c:pt>
                <c:pt idx="1877">
                  <c:v>132.60890000000001</c:v>
                </c:pt>
                <c:pt idx="1878">
                  <c:v>132.61212</c:v>
                </c:pt>
                <c:pt idx="1879">
                  <c:v>133.1063</c:v>
                </c:pt>
                <c:pt idx="1880">
                  <c:v>133.26949999999999</c:v>
                </c:pt>
                <c:pt idx="1881">
                  <c:v>133.41437999999999</c:v>
                </c:pt>
                <c:pt idx="1882">
                  <c:v>133.77243000000001</c:v>
                </c:pt>
                <c:pt idx="1883">
                  <c:v>134.10508999999999</c:v>
                </c:pt>
                <c:pt idx="1884">
                  <c:v>134.52306999999999</c:v>
                </c:pt>
                <c:pt idx="1885">
                  <c:v>134.68562</c:v>
                </c:pt>
                <c:pt idx="1886">
                  <c:v>134.65608</c:v>
                </c:pt>
                <c:pt idx="1887">
                  <c:v>135.13799</c:v>
                </c:pt>
                <c:pt idx="1888">
                  <c:v>134.87710000000001</c:v>
                </c:pt>
                <c:pt idx="1889">
                  <c:v>134.91362000000001</c:v>
                </c:pt>
                <c:pt idx="1890">
                  <c:v>135.15332000000001</c:v>
                </c:pt>
                <c:pt idx="1891">
                  <c:v>135.29821999999999</c:v>
                </c:pt>
                <c:pt idx="1892">
                  <c:v>135.5025</c:v>
                </c:pt>
                <c:pt idx="1893">
                  <c:v>135.34886</c:v>
                </c:pt>
                <c:pt idx="1894">
                  <c:v>135.86559</c:v>
                </c:pt>
                <c:pt idx="1895">
                  <c:v>136.01473999999999</c:v>
                </c:pt>
                <c:pt idx="1896">
                  <c:v>136.10085000000001</c:v>
                </c:pt>
                <c:pt idx="1897">
                  <c:v>137.02399</c:v>
                </c:pt>
                <c:pt idx="1898">
                  <c:v>136.87003000000001</c:v>
                </c:pt>
                <c:pt idx="1899">
                  <c:v>136.82042999999999</c:v>
                </c:pt>
                <c:pt idx="1900">
                  <c:v>136.92400000000001</c:v>
                </c:pt>
                <c:pt idx="1901">
                  <c:v>137.04143999999999</c:v>
                </c:pt>
                <c:pt idx="1902">
                  <c:v>137.67838</c:v>
                </c:pt>
                <c:pt idx="1903">
                  <c:v>137.46583999999999</c:v>
                </c:pt>
                <c:pt idx="1904">
                  <c:v>136.36913999999999</c:v>
                </c:pt>
                <c:pt idx="1905">
                  <c:v>135.51804999999999</c:v>
                </c:pt>
                <c:pt idx="1906">
                  <c:v>135.44954000000001</c:v>
                </c:pt>
                <c:pt idx="1907">
                  <c:v>135.43028000000001</c:v>
                </c:pt>
                <c:pt idx="1908">
                  <c:v>134.88810000000001</c:v>
                </c:pt>
                <c:pt idx="1909">
                  <c:v>134.98269999999999</c:v>
                </c:pt>
                <c:pt idx="1910">
                  <c:v>135.49155999999999</c:v>
                </c:pt>
                <c:pt idx="1911">
                  <c:v>135.43668</c:v>
                </c:pt>
                <c:pt idx="1912">
                  <c:v>135.56969000000001</c:v>
                </c:pt>
                <c:pt idx="1913">
                  <c:v>135.68982</c:v>
                </c:pt>
                <c:pt idx="1914">
                  <c:v>134.53232</c:v>
                </c:pt>
                <c:pt idx="1915">
                  <c:v>134.30521999999999</c:v>
                </c:pt>
                <c:pt idx="1916">
                  <c:v>134.12164000000001</c:v>
                </c:pt>
                <c:pt idx="1917">
                  <c:v>133.73689999999999</c:v>
                </c:pt>
                <c:pt idx="1918">
                  <c:v>133.94931</c:v>
                </c:pt>
                <c:pt idx="1919">
                  <c:v>134.77301</c:v>
                </c:pt>
                <c:pt idx="1920">
                  <c:v>134.29163</c:v>
                </c:pt>
                <c:pt idx="1921">
                  <c:v>134.71567999999999</c:v>
                </c:pt>
                <c:pt idx="1922">
                  <c:v>134.75162</c:v>
                </c:pt>
                <c:pt idx="1923">
                  <c:v>134.21102999999999</c:v>
                </c:pt>
                <c:pt idx="1924">
                  <c:v>134.32335</c:v>
                </c:pt>
                <c:pt idx="1925">
                  <c:v>134.18095</c:v>
                </c:pt>
                <c:pt idx="1926">
                  <c:v>134.24863999999999</c:v>
                </c:pt>
                <c:pt idx="1927">
                  <c:v>134.33933999999999</c:v>
                </c:pt>
                <c:pt idx="1928">
                  <c:v>134.68285</c:v>
                </c:pt>
                <c:pt idx="1929">
                  <c:v>135.67359999999999</c:v>
                </c:pt>
                <c:pt idx="1930">
                  <c:v>135.45956000000001</c:v>
                </c:pt>
                <c:pt idx="1931">
                  <c:v>135.13263000000001</c:v>
                </c:pt>
                <c:pt idx="1932">
                  <c:v>134.98882</c:v>
                </c:pt>
                <c:pt idx="1933">
                  <c:v>135.39376999999999</c:v>
                </c:pt>
                <c:pt idx="1934">
                  <c:v>134.79267999999999</c:v>
                </c:pt>
                <c:pt idx="1935">
                  <c:v>134.64479</c:v>
                </c:pt>
                <c:pt idx="1936">
                  <c:v>134.58394000000001</c:v>
                </c:pt>
                <c:pt idx="1937">
                  <c:v>134.88797</c:v>
                </c:pt>
                <c:pt idx="1938">
                  <c:v>135.02834999999999</c:v>
                </c:pt>
                <c:pt idx="1939">
                  <c:v>134.85704000000001</c:v>
                </c:pt>
                <c:pt idx="1940">
                  <c:v>134.74376000000001</c:v>
                </c:pt>
                <c:pt idx="1941">
                  <c:v>134.28623999999999</c:v>
                </c:pt>
                <c:pt idx="1942">
                  <c:v>134.03351000000001</c:v>
                </c:pt>
                <c:pt idx="1943">
                  <c:v>133.95549</c:v>
                </c:pt>
                <c:pt idx="1944">
                  <c:v>133.95425</c:v>
                </c:pt>
                <c:pt idx="1945">
                  <c:v>134.47669999999999</c:v>
                </c:pt>
                <c:pt idx="1946">
                  <c:v>135.51881</c:v>
                </c:pt>
                <c:pt idx="1947">
                  <c:v>136.12380999999999</c:v>
                </c:pt>
                <c:pt idx="1948">
                  <c:v>136.31327999999999</c:v>
                </c:pt>
                <c:pt idx="1949">
                  <c:v>137.35024999999999</c:v>
                </c:pt>
                <c:pt idx="1950">
                  <c:v>137.35312999999999</c:v>
                </c:pt>
                <c:pt idx="1951">
                  <c:v>137.33676</c:v>
                </c:pt>
                <c:pt idx="1952">
                  <c:v>136.86342999999999</c:v>
                </c:pt>
                <c:pt idx="1953">
                  <c:v>137.08911000000001</c:v>
                </c:pt>
                <c:pt idx="1954">
                  <c:v>137.63866999999999</c:v>
                </c:pt>
                <c:pt idx="1955">
                  <c:v>137.69211999999999</c:v>
                </c:pt>
                <c:pt idx="1956">
                  <c:v>137.80501000000001</c:v>
                </c:pt>
                <c:pt idx="1957">
                  <c:v>137.76948999999999</c:v>
                </c:pt>
                <c:pt idx="1958">
                  <c:v>137.45690999999999</c:v>
                </c:pt>
                <c:pt idx="1959">
                  <c:v>137.51747</c:v>
                </c:pt>
                <c:pt idx="1960">
                  <c:v>138.04990000000001</c:v>
                </c:pt>
                <c:pt idx="1961">
                  <c:v>137.74216000000001</c:v>
                </c:pt>
                <c:pt idx="1962">
                  <c:v>137.65895</c:v>
                </c:pt>
                <c:pt idx="1963">
                  <c:v>138.35677000000001</c:v>
                </c:pt>
                <c:pt idx="1964">
                  <c:v>138.41159999999999</c:v>
                </c:pt>
                <c:pt idx="1965">
                  <c:v>138.50066000000001</c:v>
                </c:pt>
                <c:pt idx="1966">
                  <c:v>138.50035</c:v>
                </c:pt>
                <c:pt idx="1967">
                  <c:v>138.32864000000001</c:v>
                </c:pt>
                <c:pt idx="1968">
                  <c:v>138.41114999999999</c:v>
                </c:pt>
                <c:pt idx="1969">
                  <c:v>138.32849999999999</c:v>
                </c:pt>
                <c:pt idx="1970">
                  <c:v>138.21742</c:v>
                </c:pt>
                <c:pt idx="1971">
                  <c:v>138.21576999999999</c:v>
                </c:pt>
                <c:pt idx="1972">
                  <c:v>137.97069999999999</c:v>
                </c:pt>
                <c:pt idx="1973">
                  <c:v>138.08595</c:v>
                </c:pt>
                <c:pt idx="1974">
                  <c:v>138.12701000000001</c:v>
                </c:pt>
                <c:pt idx="1975">
                  <c:v>138.57364999999999</c:v>
                </c:pt>
                <c:pt idx="1976">
                  <c:v>138.44716</c:v>
                </c:pt>
                <c:pt idx="1977">
                  <c:v>139.4727</c:v>
                </c:pt>
                <c:pt idx="1978">
                  <c:v>138.42341999999999</c:v>
                </c:pt>
                <c:pt idx="1979">
                  <c:v>137.95848000000001</c:v>
                </c:pt>
                <c:pt idx="1980">
                  <c:v>137.97054</c:v>
                </c:pt>
                <c:pt idx="1981">
                  <c:v>135.85151999999999</c:v>
                </c:pt>
                <c:pt idx="1982">
                  <c:v>136.39397</c:v>
                </c:pt>
                <c:pt idx="1983">
                  <c:v>136.66526999999999</c:v>
                </c:pt>
                <c:pt idx="1984">
                  <c:v>136.54400000000001</c:v>
                </c:pt>
                <c:pt idx="1985">
                  <c:v>136.62282999999999</c:v>
                </c:pt>
                <c:pt idx="1986">
                  <c:v>137.55759</c:v>
                </c:pt>
                <c:pt idx="1987">
                  <c:v>137.00085000000001</c:v>
                </c:pt>
                <c:pt idx="1988">
                  <c:v>137.08090000000001</c:v>
                </c:pt>
                <c:pt idx="1989">
                  <c:v>137.23931999999999</c:v>
                </c:pt>
                <c:pt idx="1990">
                  <c:v>137.40825000000001</c:v>
                </c:pt>
                <c:pt idx="1991">
                  <c:v>137.2054</c:v>
                </c:pt>
                <c:pt idx="1992">
                  <c:v>137.33722</c:v>
                </c:pt>
                <c:pt idx="1993">
                  <c:v>137.25357</c:v>
                </c:pt>
                <c:pt idx="1994">
                  <c:v>137.24323999999999</c:v>
                </c:pt>
                <c:pt idx="1995">
                  <c:v>137.04282000000001</c:v>
                </c:pt>
                <c:pt idx="1996">
                  <c:v>137.29356000000001</c:v>
                </c:pt>
                <c:pt idx="1997">
                  <c:v>137.50008</c:v>
                </c:pt>
                <c:pt idx="1998">
                  <c:v>137.72040000000001</c:v>
                </c:pt>
                <c:pt idx="1999">
                  <c:v>137.32628</c:v>
                </c:pt>
                <c:pt idx="2000">
                  <c:v>137.25278</c:v>
                </c:pt>
                <c:pt idx="2001">
                  <c:v>137.32762</c:v>
                </c:pt>
                <c:pt idx="2002">
                  <c:v>137.37102999999999</c:v>
                </c:pt>
                <c:pt idx="2003">
                  <c:v>137.14497</c:v>
                </c:pt>
                <c:pt idx="2004">
                  <c:v>136.96642</c:v>
                </c:pt>
                <c:pt idx="2005">
                  <c:v>136.56380999999999</c:v>
                </c:pt>
                <c:pt idx="2006">
                  <c:v>136.57069999999999</c:v>
                </c:pt>
                <c:pt idx="2007">
                  <c:v>136.79398</c:v>
                </c:pt>
                <c:pt idx="2008">
                  <c:v>137.05067</c:v>
                </c:pt>
                <c:pt idx="2009">
                  <c:v>137.23766000000001</c:v>
                </c:pt>
                <c:pt idx="2010">
                  <c:v>137.22682</c:v>
                </c:pt>
                <c:pt idx="2011">
                  <c:v>136.82487</c:v>
                </c:pt>
                <c:pt idx="2012">
                  <c:v>137.5702</c:v>
                </c:pt>
                <c:pt idx="2013">
                  <c:v>137.84302</c:v>
                </c:pt>
                <c:pt idx="2014">
                  <c:v>137.58229</c:v>
                </c:pt>
                <c:pt idx="2015">
                  <c:v>137.45972</c:v>
                </c:pt>
                <c:pt idx="2016">
                  <c:v>136.98052999999999</c:v>
                </c:pt>
                <c:pt idx="2017">
                  <c:v>136.95396</c:v>
                </c:pt>
                <c:pt idx="2018">
                  <c:v>137.26580000000001</c:v>
                </c:pt>
                <c:pt idx="2019">
                  <c:v>137.29736</c:v>
                </c:pt>
                <c:pt idx="2020">
                  <c:v>137.42492999999999</c:v>
                </c:pt>
                <c:pt idx="2021">
                  <c:v>137.35785999999999</c:v>
                </c:pt>
                <c:pt idx="2022">
                  <c:v>137.16327000000001</c:v>
                </c:pt>
                <c:pt idx="2023">
                  <c:v>137.56440000000001</c:v>
                </c:pt>
                <c:pt idx="2024">
                  <c:v>137.38462999999999</c:v>
                </c:pt>
                <c:pt idx="2025">
                  <c:v>137.39957999999999</c:v>
                </c:pt>
                <c:pt idx="2026">
                  <c:v>137.59961000000001</c:v>
                </c:pt>
                <c:pt idx="2027">
                  <c:v>137.70922999999999</c:v>
                </c:pt>
                <c:pt idx="2028">
                  <c:v>138.25406000000001</c:v>
                </c:pt>
                <c:pt idx="2029">
                  <c:v>138.13235</c:v>
                </c:pt>
                <c:pt idx="2030">
                  <c:v>138.50684999999999</c:v>
                </c:pt>
                <c:pt idx="2031">
                  <c:v>138.60905</c:v>
                </c:pt>
                <c:pt idx="2032">
                  <c:v>138.19969</c:v>
                </c:pt>
                <c:pt idx="2033">
                  <c:v>138.41763</c:v>
                </c:pt>
                <c:pt idx="2034">
                  <c:v>138.59997999999999</c:v>
                </c:pt>
                <c:pt idx="2035">
                  <c:v>138.73287999999999</c:v>
                </c:pt>
                <c:pt idx="2036">
                  <c:v>139.00301999999999</c:v>
                </c:pt>
                <c:pt idx="2037">
                  <c:v>138.92616000000001</c:v>
                </c:pt>
                <c:pt idx="2038">
                  <c:v>140.47742</c:v>
                </c:pt>
                <c:pt idx="2039">
                  <c:v>139.60457</c:v>
                </c:pt>
                <c:pt idx="2040">
                  <c:v>139.32932</c:v>
                </c:pt>
                <c:pt idx="2041">
                  <c:v>138.86349999999999</c:v>
                </c:pt>
                <c:pt idx="2042">
                  <c:v>138.98505</c:v>
                </c:pt>
                <c:pt idx="2043">
                  <c:v>139.47296</c:v>
                </c:pt>
                <c:pt idx="2044">
                  <c:v>139.48999000000001</c:v>
                </c:pt>
                <c:pt idx="2045">
                  <c:v>139.13817</c:v>
                </c:pt>
                <c:pt idx="2046">
                  <c:v>139.52158</c:v>
                </c:pt>
                <c:pt idx="2047">
                  <c:v>139.52452</c:v>
                </c:pt>
                <c:pt idx="2048">
                  <c:v>140.03290000000001</c:v>
                </c:pt>
                <c:pt idx="2049">
                  <c:v>139.91526999999999</c:v>
                </c:pt>
                <c:pt idx="2050">
                  <c:v>139.95959999999999</c:v>
                </c:pt>
                <c:pt idx="2051">
                  <c:v>140.42313999999999</c:v>
                </c:pt>
                <c:pt idx="2052">
                  <c:v>140.29241999999999</c:v>
                </c:pt>
                <c:pt idx="2053">
                  <c:v>140.17985999999999</c:v>
                </c:pt>
                <c:pt idx="2054">
                  <c:v>140.40272999999999</c:v>
                </c:pt>
                <c:pt idx="2055">
                  <c:v>140.25128000000001</c:v>
                </c:pt>
                <c:pt idx="2056">
                  <c:v>140.38339999999999</c:v>
                </c:pt>
                <c:pt idx="2057">
                  <c:v>140.85302999999999</c:v>
                </c:pt>
                <c:pt idx="2058">
                  <c:v>140.90338</c:v>
                </c:pt>
                <c:pt idx="2059">
                  <c:v>140.47434999999999</c:v>
                </c:pt>
                <c:pt idx="2060">
                  <c:v>140.8014</c:v>
                </c:pt>
                <c:pt idx="2061">
                  <c:v>140.4385</c:v>
                </c:pt>
                <c:pt idx="2062">
                  <c:v>140.4239</c:v>
                </c:pt>
                <c:pt idx="2063">
                  <c:v>140.78523000000001</c:v>
                </c:pt>
                <c:pt idx="2064">
                  <c:v>140.60463999999999</c:v>
                </c:pt>
                <c:pt idx="2065">
                  <c:v>140.62054000000001</c:v>
                </c:pt>
                <c:pt idx="2066">
                  <c:v>140.63274999999999</c:v>
                </c:pt>
                <c:pt idx="2067">
                  <c:v>140.62737999999999</c:v>
                </c:pt>
                <c:pt idx="2068">
                  <c:v>140.88838000000001</c:v>
                </c:pt>
                <c:pt idx="2069">
                  <c:v>140.94758999999999</c:v>
                </c:pt>
                <c:pt idx="2070">
                  <c:v>140.68625</c:v>
                </c:pt>
                <c:pt idx="2071">
                  <c:v>140.59010000000001</c:v>
                </c:pt>
                <c:pt idx="2072">
                  <c:v>140.63567</c:v>
                </c:pt>
                <c:pt idx="2073">
                  <c:v>140.75064</c:v>
                </c:pt>
                <c:pt idx="2074">
                  <c:v>140.61913000000001</c:v>
                </c:pt>
                <c:pt idx="2075">
                  <c:v>140.35315</c:v>
                </c:pt>
                <c:pt idx="2076">
                  <c:v>140.22481999999999</c:v>
                </c:pt>
                <c:pt idx="2077">
                  <c:v>140.31145000000001</c:v>
                </c:pt>
                <c:pt idx="2078">
                  <c:v>140.19609</c:v>
                </c:pt>
                <c:pt idx="2079">
                  <c:v>140.22364999999999</c:v>
                </c:pt>
                <c:pt idx="2080">
                  <c:v>140.12613999999999</c:v>
                </c:pt>
                <c:pt idx="2081">
                  <c:v>140.10364000000001</c:v>
                </c:pt>
                <c:pt idx="2082">
                  <c:v>140.40880000000001</c:v>
                </c:pt>
                <c:pt idx="2083">
                  <c:v>140.24107000000001</c:v>
                </c:pt>
                <c:pt idx="2084">
                  <c:v>140.43655000000001</c:v>
                </c:pt>
                <c:pt idx="2085">
                  <c:v>140.4442</c:v>
                </c:pt>
                <c:pt idx="2086">
                  <c:v>141.5027</c:v>
                </c:pt>
                <c:pt idx="2087">
                  <c:v>140.81825000000001</c:v>
                </c:pt>
                <c:pt idx="2088">
                  <c:v>140.86299</c:v>
                </c:pt>
                <c:pt idx="2089">
                  <c:v>140.66919999999999</c:v>
                </c:pt>
                <c:pt idx="2090">
                  <c:v>140.59508</c:v>
                </c:pt>
                <c:pt idx="2091">
                  <c:v>140.65337</c:v>
                </c:pt>
                <c:pt idx="2092">
                  <c:v>140.55365</c:v>
                </c:pt>
                <c:pt idx="2093">
                  <c:v>140.91141999999999</c:v>
                </c:pt>
                <c:pt idx="2094">
                  <c:v>140.56012000000001</c:v>
                </c:pt>
                <c:pt idx="2095">
                  <c:v>140.74843999999999</c:v>
                </c:pt>
                <c:pt idx="2096">
                  <c:v>140.09349</c:v>
                </c:pt>
                <c:pt idx="2097">
                  <c:v>139.84129999999999</c:v>
                </c:pt>
                <c:pt idx="2098">
                  <c:v>139.95088000000001</c:v>
                </c:pt>
                <c:pt idx="2099">
                  <c:v>140.16257999999999</c:v>
                </c:pt>
                <c:pt idx="2100">
                  <c:v>140.15897000000001</c:v>
                </c:pt>
                <c:pt idx="2101">
                  <c:v>141.16539</c:v>
                </c:pt>
                <c:pt idx="2102">
                  <c:v>140.31067999999999</c:v>
                </c:pt>
                <c:pt idx="2103">
                  <c:v>139.95948999999999</c:v>
                </c:pt>
                <c:pt idx="2104">
                  <c:v>139.96292</c:v>
                </c:pt>
                <c:pt idx="2105">
                  <c:v>140.00142</c:v>
                </c:pt>
                <c:pt idx="2106">
                  <c:v>140.71983</c:v>
                </c:pt>
                <c:pt idx="2107">
                  <c:v>140.42938000000001</c:v>
                </c:pt>
                <c:pt idx="2108">
                  <c:v>140.16222999999999</c:v>
                </c:pt>
                <c:pt idx="2109">
                  <c:v>140.56702000000001</c:v>
                </c:pt>
              </c:numCache>
            </c:numRef>
          </c:val>
          <c:smooth val="0"/>
          <c:extLst>
            <c:ext xmlns:c16="http://schemas.microsoft.com/office/drawing/2014/chart" uri="{C3380CC4-5D6E-409C-BE32-E72D297353CC}">
              <c16:uniqueId val="{00000001-2D94-3E47-9F2A-6F98A173A096}"/>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65"/>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90203223919881E-2"/>
          <c:y val="3.9286234984628063E-2"/>
          <c:w val="0.93640979677608016"/>
          <c:h val="0.92142753003074385"/>
        </c:manualLayout>
      </c:layout>
      <c:lineChart>
        <c:grouping val="standard"/>
        <c:varyColors val="0"/>
        <c:ser>
          <c:idx val="0"/>
          <c:order val="0"/>
          <c:tx>
            <c:strRef>
              <c:f>Sheet1!$B$1</c:f>
              <c:strCache>
                <c:ptCount val="1"/>
                <c:pt idx="0">
                  <c:v>Actual</c:v>
                </c:pt>
              </c:strCache>
            </c:strRef>
          </c:tx>
          <c:spPr>
            <a:ln w="9525"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56.440886999999996</c:v>
                </c:pt>
                <c:pt idx="1">
                  <c:v>57.534115</c:v>
                </c:pt>
                <c:pt idx="2">
                  <c:v>58.955257000000003</c:v>
                </c:pt>
                <c:pt idx="3">
                  <c:v>58.89282</c:v>
                </c:pt>
                <c:pt idx="4">
                  <c:v>58.845936000000002</c:v>
                </c:pt>
                <c:pt idx="5">
                  <c:v>59.009950000000003</c:v>
                </c:pt>
                <c:pt idx="6">
                  <c:v>58.713222999999999</c:v>
                </c:pt>
                <c:pt idx="7">
                  <c:v>59.048985000000002</c:v>
                </c:pt>
                <c:pt idx="8">
                  <c:v>59.361199999999997</c:v>
                </c:pt>
                <c:pt idx="9">
                  <c:v>59.589269999999999</c:v>
                </c:pt>
                <c:pt idx="10">
                  <c:v>59.715107000000003</c:v>
                </c:pt>
                <c:pt idx="11">
                  <c:v>60.241999999999997</c:v>
                </c:pt>
                <c:pt idx="12">
                  <c:v>60.477961999999998</c:v>
                </c:pt>
                <c:pt idx="13">
                  <c:v>60.399303000000003</c:v>
                </c:pt>
                <c:pt idx="14">
                  <c:v>60.666699999999999</c:v>
                </c:pt>
                <c:pt idx="15">
                  <c:v>60.713898</c:v>
                </c:pt>
                <c:pt idx="16">
                  <c:v>60.438617999999998</c:v>
                </c:pt>
                <c:pt idx="17">
                  <c:v>60.470084999999997</c:v>
                </c:pt>
                <c:pt idx="18">
                  <c:v>60.517277</c:v>
                </c:pt>
                <c:pt idx="19">
                  <c:v>60.706023999999999</c:v>
                </c:pt>
                <c:pt idx="20">
                  <c:v>60.588062000000001</c:v>
                </c:pt>
                <c:pt idx="21">
                  <c:v>60.304929999999999</c:v>
                </c:pt>
                <c:pt idx="22">
                  <c:v>60.297072999999997</c:v>
                </c:pt>
                <c:pt idx="23">
                  <c:v>60.021819999999998</c:v>
                </c:pt>
                <c:pt idx="24">
                  <c:v>59.888137999999998</c:v>
                </c:pt>
                <c:pt idx="25">
                  <c:v>61.84637</c:v>
                </c:pt>
                <c:pt idx="26">
                  <c:v>61.209350000000001</c:v>
                </c:pt>
                <c:pt idx="27">
                  <c:v>62.066574000000003</c:v>
                </c:pt>
                <c:pt idx="28">
                  <c:v>61.571129999999997</c:v>
                </c:pt>
                <c:pt idx="29">
                  <c:v>62.216009999999997</c:v>
                </c:pt>
                <c:pt idx="30">
                  <c:v>62.208150000000003</c:v>
                </c:pt>
                <c:pt idx="31">
                  <c:v>62.711468000000004</c:v>
                </c:pt>
                <c:pt idx="32">
                  <c:v>62.098053</c:v>
                </c:pt>
                <c:pt idx="33">
                  <c:v>62.546332999999997</c:v>
                </c:pt>
                <c:pt idx="34">
                  <c:v>61.807049999999997</c:v>
                </c:pt>
                <c:pt idx="35">
                  <c:v>62.522730000000003</c:v>
                </c:pt>
                <c:pt idx="36">
                  <c:v>62.294649999999997</c:v>
                </c:pt>
                <c:pt idx="37">
                  <c:v>62.963127</c:v>
                </c:pt>
                <c:pt idx="38">
                  <c:v>62.884506000000002</c:v>
                </c:pt>
                <c:pt idx="39">
                  <c:v>62.908096</c:v>
                </c:pt>
                <c:pt idx="40">
                  <c:v>62.066574000000003</c:v>
                </c:pt>
                <c:pt idx="41">
                  <c:v>62.915976999999998</c:v>
                </c:pt>
                <c:pt idx="42">
                  <c:v>62.011543000000003</c:v>
                </c:pt>
                <c:pt idx="43">
                  <c:v>63.899014000000001</c:v>
                </c:pt>
                <c:pt idx="44">
                  <c:v>65.094406000000006</c:v>
                </c:pt>
                <c:pt idx="45">
                  <c:v>65.574160000000006</c:v>
                </c:pt>
                <c:pt idx="46">
                  <c:v>66.140379999999993</c:v>
                </c:pt>
                <c:pt idx="47">
                  <c:v>64.756230000000002</c:v>
                </c:pt>
                <c:pt idx="48">
                  <c:v>65.133765999999994</c:v>
                </c:pt>
                <c:pt idx="49">
                  <c:v>64.889930000000007</c:v>
                </c:pt>
                <c:pt idx="50">
                  <c:v>65.000050000000002</c:v>
                </c:pt>
                <c:pt idx="51">
                  <c:v>64.85848</c:v>
                </c:pt>
                <c:pt idx="52">
                  <c:v>64.653999999999996</c:v>
                </c:pt>
                <c:pt idx="53">
                  <c:v>64.929249999999996</c:v>
                </c:pt>
                <c:pt idx="54">
                  <c:v>65.14161</c:v>
                </c:pt>
                <c:pt idx="55">
                  <c:v>64.882059999999996</c:v>
                </c:pt>
                <c:pt idx="56">
                  <c:v>65.54271</c:v>
                </c:pt>
                <c:pt idx="57">
                  <c:v>65.471924000000001</c:v>
                </c:pt>
                <c:pt idx="58">
                  <c:v>65.157300000000006</c:v>
                </c:pt>
                <c:pt idx="59">
                  <c:v>65.275300000000001</c:v>
                </c:pt>
                <c:pt idx="60">
                  <c:v>65.298900000000003</c:v>
                </c:pt>
                <c:pt idx="61">
                  <c:v>65.668520000000001</c:v>
                </c:pt>
                <c:pt idx="62">
                  <c:v>66.258359999999996</c:v>
                </c:pt>
                <c:pt idx="63">
                  <c:v>65.85727</c:v>
                </c:pt>
                <c:pt idx="64">
                  <c:v>65.904470000000003</c:v>
                </c:pt>
                <c:pt idx="65">
                  <c:v>64.952834999999993</c:v>
                </c:pt>
                <c:pt idx="66">
                  <c:v>64.984313999999998</c:v>
                </c:pt>
                <c:pt idx="67">
                  <c:v>65.251720000000006</c:v>
                </c:pt>
                <c:pt idx="68">
                  <c:v>64.58323</c:v>
                </c:pt>
                <c:pt idx="69">
                  <c:v>64.944990000000004</c:v>
                </c:pt>
                <c:pt idx="70">
                  <c:v>64.827020000000005</c:v>
                </c:pt>
                <c:pt idx="71">
                  <c:v>63.796787000000002</c:v>
                </c:pt>
                <c:pt idx="72">
                  <c:v>63.875399999999999</c:v>
                </c:pt>
                <c:pt idx="73">
                  <c:v>63.521495999999999</c:v>
                </c:pt>
                <c:pt idx="74">
                  <c:v>64.016970000000001</c:v>
                </c:pt>
                <c:pt idx="75">
                  <c:v>64.197845000000001</c:v>
                </c:pt>
                <c:pt idx="76">
                  <c:v>64.307159999999996</c:v>
                </c:pt>
                <c:pt idx="77">
                  <c:v>64.671449999999993</c:v>
                </c:pt>
                <c:pt idx="78">
                  <c:v>65.344629999999995</c:v>
                </c:pt>
                <c:pt idx="79">
                  <c:v>65.613860000000003</c:v>
                </c:pt>
                <c:pt idx="80">
                  <c:v>65.360466000000002</c:v>
                </c:pt>
                <c:pt idx="81">
                  <c:v>65.027855000000002</c:v>
                </c:pt>
                <c:pt idx="82">
                  <c:v>64.924909999999997</c:v>
                </c:pt>
                <c:pt idx="83">
                  <c:v>65.043670000000006</c:v>
                </c:pt>
                <c:pt idx="84">
                  <c:v>65.376305000000002</c:v>
                </c:pt>
                <c:pt idx="85">
                  <c:v>65.392135999999994</c:v>
                </c:pt>
                <c:pt idx="86">
                  <c:v>64.061629999999994</c:v>
                </c:pt>
                <c:pt idx="87">
                  <c:v>62.493560000000002</c:v>
                </c:pt>
                <c:pt idx="88">
                  <c:v>63.459760000000003</c:v>
                </c:pt>
                <c:pt idx="89">
                  <c:v>63.459760000000003</c:v>
                </c:pt>
                <c:pt idx="90">
                  <c:v>63.388492999999997</c:v>
                </c:pt>
                <c:pt idx="91">
                  <c:v>64.386340000000004</c:v>
                </c:pt>
                <c:pt idx="92">
                  <c:v>64.734809999999996</c:v>
                </c:pt>
                <c:pt idx="93">
                  <c:v>64.774389999999997</c:v>
                </c:pt>
                <c:pt idx="94">
                  <c:v>64.972390000000004</c:v>
                </c:pt>
                <c:pt idx="95">
                  <c:v>64.687293999999994</c:v>
                </c:pt>
                <c:pt idx="96">
                  <c:v>63.934919999999998</c:v>
                </c:pt>
                <c:pt idx="97">
                  <c:v>63.990364</c:v>
                </c:pt>
                <c:pt idx="98">
                  <c:v>64.766495000000006</c:v>
                </c:pt>
                <c:pt idx="99">
                  <c:v>65.550529999999995</c:v>
                </c:pt>
                <c:pt idx="100">
                  <c:v>65.724760000000003</c:v>
                </c:pt>
                <c:pt idx="101">
                  <c:v>66.960205000000002</c:v>
                </c:pt>
                <c:pt idx="102">
                  <c:v>66.778059999999996</c:v>
                </c:pt>
                <c:pt idx="103">
                  <c:v>67.094864000000001</c:v>
                </c:pt>
                <c:pt idx="104">
                  <c:v>66.540474000000003</c:v>
                </c:pt>
                <c:pt idx="105">
                  <c:v>67.506675999999999</c:v>
                </c:pt>
                <c:pt idx="106">
                  <c:v>68.742130000000003</c:v>
                </c:pt>
                <c:pt idx="107">
                  <c:v>68.433266000000003</c:v>
                </c:pt>
                <c:pt idx="108">
                  <c:v>68.425353999999999</c:v>
                </c:pt>
                <c:pt idx="109">
                  <c:v>68.266945000000007</c:v>
                </c:pt>
                <c:pt idx="110">
                  <c:v>67.823440000000005</c:v>
                </c:pt>
                <c:pt idx="111">
                  <c:v>67.752173999999997</c:v>
                </c:pt>
                <c:pt idx="112">
                  <c:v>67.562119999999993</c:v>
                </c:pt>
                <c:pt idx="113">
                  <c:v>67.514589999999998</c:v>
                </c:pt>
                <c:pt idx="114">
                  <c:v>67.403720000000007</c:v>
                </c:pt>
                <c:pt idx="115">
                  <c:v>66.160324000000003</c:v>
                </c:pt>
                <c:pt idx="116">
                  <c:v>66.683043999999995</c:v>
                </c:pt>
                <c:pt idx="117">
                  <c:v>66.754329999999996</c:v>
                </c:pt>
                <c:pt idx="118">
                  <c:v>66.904780000000002</c:v>
                </c:pt>
                <c:pt idx="119">
                  <c:v>67.356189999999998</c:v>
                </c:pt>
                <c:pt idx="120">
                  <c:v>67.126540000000006</c:v>
                </c:pt>
                <c:pt idx="121">
                  <c:v>67.06317</c:v>
                </c:pt>
                <c:pt idx="122">
                  <c:v>66.793914999999998</c:v>
                </c:pt>
                <c:pt idx="123">
                  <c:v>66.374170000000007</c:v>
                </c:pt>
                <c:pt idx="124">
                  <c:v>66.041533999999999</c:v>
                </c:pt>
                <c:pt idx="125">
                  <c:v>65.534689999999998</c:v>
                </c:pt>
                <c:pt idx="126">
                  <c:v>64.077489999999997</c:v>
                </c:pt>
                <c:pt idx="127">
                  <c:v>63.499374000000003</c:v>
                </c:pt>
                <c:pt idx="128">
                  <c:v>64.053700000000006</c:v>
                </c:pt>
                <c:pt idx="129">
                  <c:v>63.586468000000004</c:v>
                </c:pt>
                <c:pt idx="130">
                  <c:v>62.628189999999996</c:v>
                </c:pt>
                <c:pt idx="131">
                  <c:v>62.762824999999999</c:v>
                </c:pt>
                <c:pt idx="132">
                  <c:v>63.238</c:v>
                </c:pt>
                <c:pt idx="133">
                  <c:v>63.111282000000003</c:v>
                </c:pt>
                <c:pt idx="134">
                  <c:v>62.612354000000003</c:v>
                </c:pt>
                <c:pt idx="135">
                  <c:v>62.857849999999999</c:v>
                </c:pt>
                <c:pt idx="136">
                  <c:v>62.826189999999997</c:v>
                </c:pt>
                <c:pt idx="137">
                  <c:v>63.142975</c:v>
                </c:pt>
                <c:pt idx="138">
                  <c:v>63.515189999999997</c:v>
                </c:pt>
                <c:pt idx="139">
                  <c:v>63.433852999999999</c:v>
                </c:pt>
                <c:pt idx="140">
                  <c:v>63.066932999999999</c:v>
                </c:pt>
                <c:pt idx="141">
                  <c:v>63.218502000000001</c:v>
                </c:pt>
                <c:pt idx="142">
                  <c:v>63.314190000000004</c:v>
                </c:pt>
                <c:pt idx="143">
                  <c:v>63.354075999999999</c:v>
                </c:pt>
                <c:pt idx="144">
                  <c:v>63.689059999999998</c:v>
                </c:pt>
                <c:pt idx="145">
                  <c:v>63.704998000000003</c:v>
                </c:pt>
                <c:pt idx="146">
                  <c:v>64.063950000000006</c:v>
                </c:pt>
                <c:pt idx="147">
                  <c:v>64.622283999999993</c:v>
                </c:pt>
                <c:pt idx="148">
                  <c:v>65.132750000000001</c:v>
                </c:pt>
                <c:pt idx="149">
                  <c:v>66.105819999999994</c:v>
                </c:pt>
                <c:pt idx="150">
                  <c:v>65.260350000000003</c:v>
                </c:pt>
                <c:pt idx="151">
                  <c:v>65.196560000000005</c:v>
                </c:pt>
                <c:pt idx="152">
                  <c:v>64.622283999999993</c:v>
                </c:pt>
                <c:pt idx="153">
                  <c:v>64.239410000000007</c:v>
                </c:pt>
                <c:pt idx="154">
                  <c:v>63.976210000000002</c:v>
                </c:pt>
                <c:pt idx="155">
                  <c:v>64.239410000000007</c:v>
                </c:pt>
                <c:pt idx="156">
                  <c:v>63.968246000000001</c:v>
                </c:pt>
                <c:pt idx="157">
                  <c:v>63.4099</c:v>
                </c:pt>
                <c:pt idx="158">
                  <c:v>63.665140000000001</c:v>
                </c:pt>
                <c:pt idx="159">
                  <c:v>63.457766999999997</c:v>
                </c:pt>
                <c:pt idx="160">
                  <c:v>63.36204</c:v>
                </c:pt>
                <c:pt idx="161">
                  <c:v>63.505623</c:v>
                </c:pt>
                <c:pt idx="162">
                  <c:v>63.058951999999998</c:v>
                </c:pt>
                <c:pt idx="163">
                  <c:v>62.955269999999999</c:v>
                </c:pt>
                <c:pt idx="164">
                  <c:v>63.4099</c:v>
                </c:pt>
                <c:pt idx="165">
                  <c:v>64.359054999999998</c:v>
                </c:pt>
                <c:pt idx="166">
                  <c:v>64.470730000000003</c:v>
                </c:pt>
                <c:pt idx="167">
                  <c:v>64.678100000000001</c:v>
                </c:pt>
                <c:pt idx="168">
                  <c:v>64.287260000000003</c:v>
                </c:pt>
                <c:pt idx="169">
                  <c:v>65.619280000000003</c:v>
                </c:pt>
                <c:pt idx="170">
                  <c:v>65.866550000000004</c:v>
                </c:pt>
                <c:pt idx="171">
                  <c:v>66.209530000000001</c:v>
                </c:pt>
                <c:pt idx="172">
                  <c:v>65.69905</c:v>
                </c:pt>
                <c:pt idx="173">
                  <c:v>66.552475000000001</c:v>
                </c:pt>
                <c:pt idx="174">
                  <c:v>66.464759999999998</c:v>
                </c:pt>
                <c:pt idx="175">
                  <c:v>65.834620000000001</c:v>
                </c:pt>
                <c:pt idx="176">
                  <c:v>66.480705</c:v>
                </c:pt>
                <c:pt idx="177">
                  <c:v>67.485699999999994</c:v>
                </c:pt>
                <c:pt idx="178">
                  <c:v>68.187600000000003</c:v>
                </c:pt>
                <c:pt idx="179">
                  <c:v>67.573425</c:v>
                </c:pt>
                <c:pt idx="180">
                  <c:v>67.070946000000006</c:v>
                </c:pt>
                <c:pt idx="181">
                  <c:v>67.445815999999994</c:v>
                </c:pt>
                <c:pt idx="182">
                  <c:v>67.294265999999993</c:v>
                </c:pt>
                <c:pt idx="183">
                  <c:v>67.493669999999995</c:v>
                </c:pt>
                <c:pt idx="184">
                  <c:v>69.136750000000006</c:v>
                </c:pt>
                <c:pt idx="185">
                  <c:v>68.036026000000007</c:v>
                </c:pt>
                <c:pt idx="186">
                  <c:v>68.474723999999995</c:v>
                </c:pt>
                <c:pt idx="187">
                  <c:v>68.155690000000007</c:v>
                </c:pt>
                <c:pt idx="188">
                  <c:v>68.307236000000003</c:v>
                </c:pt>
                <c:pt idx="189">
                  <c:v>68.554490000000001</c:v>
                </c:pt>
                <c:pt idx="190">
                  <c:v>68.905429999999996</c:v>
                </c:pt>
                <c:pt idx="191">
                  <c:v>68.618290000000002</c:v>
                </c:pt>
                <c:pt idx="192">
                  <c:v>68.482699999999994</c:v>
                </c:pt>
                <c:pt idx="193">
                  <c:v>68.028049999999993</c:v>
                </c:pt>
                <c:pt idx="194">
                  <c:v>67.900440000000003</c:v>
                </c:pt>
                <c:pt idx="195">
                  <c:v>68.29128</c:v>
                </c:pt>
                <c:pt idx="196">
                  <c:v>68.386985999999993</c:v>
                </c:pt>
                <c:pt idx="197">
                  <c:v>68.091865999999996</c:v>
                </c:pt>
                <c:pt idx="198">
                  <c:v>67.310249999999996</c:v>
                </c:pt>
                <c:pt idx="199">
                  <c:v>67.334140000000005</c:v>
                </c:pt>
                <c:pt idx="200">
                  <c:v>67.366050000000001</c:v>
                </c:pt>
                <c:pt idx="201">
                  <c:v>66.759860000000003</c:v>
                </c:pt>
                <c:pt idx="202">
                  <c:v>66.839619999999996</c:v>
                </c:pt>
                <c:pt idx="203">
                  <c:v>66.372249999999994</c:v>
                </c:pt>
                <c:pt idx="204">
                  <c:v>65.769970000000001</c:v>
                </c:pt>
                <c:pt idx="205">
                  <c:v>66.773796000000004</c:v>
                </c:pt>
                <c:pt idx="206">
                  <c:v>66.404380000000003</c:v>
                </c:pt>
                <c:pt idx="207">
                  <c:v>66.171499999999995</c:v>
                </c:pt>
                <c:pt idx="208">
                  <c:v>66.388310000000004</c:v>
                </c:pt>
                <c:pt idx="209">
                  <c:v>65.272059999999996</c:v>
                </c:pt>
                <c:pt idx="210">
                  <c:v>64.991005000000001</c:v>
                </c:pt>
                <c:pt idx="211">
                  <c:v>65.047225999999995</c:v>
                </c:pt>
                <c:pt idx="212">
                  <c:v>64.613556000000003</c:v>
                </c:pt>
                <c:pt idx="213">
                  <c:v>65.384500000000003</c:v>
                </c:pt>
                <c:pt idx="214">
                  <c:v>65.577240000000003</c:v>
                </c:pt>
                <c:pt idx="215">
                  <c:v>65.697710000000001</c:v>
                </c:pt>
                <c:pt idx="216">
                  <c:v>65.737830000000002</c:v>
                </c:pt>
                <c:pt idx="217">
                  <c:v>65.882384999999999</c:v>
                </c:pt>
                <c:pt idx="218">
                  <c:v>66.211659999999995</c:v>
                </c:pt>
                <c:pt idx="219">
                  <c:v>66.420439999999999</c:v>
                </c:pt>
                <c:pt idx="220">
                  <c:v>66.581055000000006</c:v>
                </c:pt>
                <c:pt idx="221">
                  <c:v>66.605140000000006</c:v>
                </c:pt>
                <c:pt idx="222">
                  <c:v>65.930565000000001</c:v>
                </c:pt>
                <c:pt idx="223">
                  <c:v>66.042990000000003</c:v>
                </c:pt>
                <c:pt idx="224">
                  <c:v>66.075109999999995</c:v>
                </c:pt>
                <c:pt idx="225">
                  <c:v>67.038780000000003</c:v>
                </c:pt>
                <c:pt idx="226">
                  <c:v>66.846059999999994</c:v>
                </c:pt>
                <c:pt idx="227">
                  <c:v>66.532830000000004</c:v>
                </c:pt>
                <c:pt idx="228">
                  <c:v>67.054839999999999</c:v>
                </c:pt>
                <c:pt idx="229">
                  <c:v>66.147400000000005</c:v>
                </c:pt>
                <c:pt idx="230">
                  <c:v>66.147400000000005</c:v>
                </c:pt>
                <c:pt idx="231">
                  <c:v>66.564994999999996</c:v>
                </c:pt>
                <c:pt idx="232">
                  <c:v>66.540909999999997</c:v>
                </c:pt>
                <c:pt idx="233">
                  <c:v>66.010863999999998</c:v>
                </c:pt>
                <c:pt idx="234">
                  <c:v>66.589060000000003</c:v>
                </c:pt>
                <c:pt idx="235">
                  <c:v>66.532830000000004</c:v>
                </c:pt>
                <c:pt idx="236">
                  <c:v>66.195570000000004</c:v>
                </c:pt>
                <c:pt idx="237">
                  <c:v>65.392539999999997</c:v>
                </c:pt>
                <c:pt idx="238">
                  <c:v>65.89846</c:v>
                </c:pt>
                <c:pt idx="239">
                  <c:v>66.107230000000001</c:v>
                </c:pt>
                <c:pt idx="240">
                  <c:v>64.420820000000006</c:v>
                </c:pt>
                <c:pt idx="241">
                  <c:v>65.111450000000005</c:v>
                </c:pt>
                <c:pt idx="242">
                  <c:v>64.533264000000003</c:v>
                </c:pt>
                <c:pt idx="243">
                  <c:v>63.095779999999998</c:v>
                </c:pt>
                <c:pt idx="244">
                  <c:v>63.296562000000002</c:v>
                </c:pt>
                <c:pt idx="245">
                  <c:v>63.778393000000001</c:v>
                </c:pt>
                <c:pt idx="246">
                  <c:v>63.754300000000001</c:v>
                </c:pt>
                <c:pt idx="247">
                  <c:v>64.420820000000006</c:v>
                </c:pt>
                <c:pt idx="248">
                  <c:v>64.725975000000005</c:v>
                </c:pt>
                <c:pt idx="249">
                  <c:v>65.247979999999998</c:v>
                </c:pt>
                <c:pt idx="250">
                  <c:v>65.440700000000007</c:v>
                </c:pt>
                <c:pt idx="251">
                  <c:v>63.995215999999999</c:v>
                </c:pt>
                <c:pt idx="252">
                  <c:v>62.710341999999997</c:v>
                </c:pt>
                <c:pt idx="253">
                  <c:v>62.782600000000002</c:v>
                </c:pt>
                <c:pt idx="254">
                  <c:v>61.915317999999999</c:v>
                </c:pt>
                <c:pt idx="255">
                  <c:v>62.646090000000001</c:v>
                </c:pt>
                <c:pt idx="256">
                  <c:v>62.814743</c:v>
                </c:pt>
                <c:pt idx="257">
                  <c:v>63.344749999999998</c:v>
                </c:pt>
                <c:pt idx="258">
                  <c:v>63.625813000000001</c:v>
                </c:pt>
                <c:pt idx="259">
                  <c:v>63.160052999999998</c:v>
                </c:pt>
                <c:pt idx="260">
                  <c:v>63.497326000000001</c:v>
                </c:pt>
                <c:pt idx="261">
                  <c:v>64.300389999999993</c:v>
                </c:pt>
                <c:pt idx="262">
                  <c:v>63.858690000000003</c:v>
                </c:pt>
                <c:pt idx="263">
                  <c:v>64.926760000000002</c:v>
                </c:pt>
                <c:pt idx="264">
                  <c:v>65.596374999999995</c:v>
                </c:pt>
                <c:pt idx="265">
                  <c:v>65.77431</c:v>
                </c:pt>
                <c:pt idx="266">
                  <c:v>65.960303999999994</c:v>
                </c:pt>
                <c:pt idx="267">
                  <c:v>66.097819999999999</c:v>
                </c:pt>
                <c:pt idx="268">
                  <c:v>66.971244999999996</c:v>
                </c:pt>
                <c:pt idx="269">
                  <c:v>66.437484999999995</c:v>
                </c:pt>
                <c:pt idx="270">
                  <c:v>66.154420000000002</c:v>
                </c:pt>
                <c:pt idx="271">
                  <c:v>65.507419999999996</c:v>
                </c:pt>
                <c:pt idx="272">
                  <c:v>66.3566</c:v>
                </c:pt>
                <c:pt idx="273">
                  <c:v>66.275729999999996</c:v>
                </c:pt>
                <c:pt idx="274">
                  <c:v>65.806650000000005</c:v>
                </c:pt>
                <c:pt idx="275">
                  <c:v>66.202939999999998</c:v>
                </c:pt>
                <c:pt idx="276">
                  <c:v>66.429389999999998</c:v>
                </c:pt>
                <c:pt idx="277">
                  <c:v>66.227220000000003</c:v>
                </c:pt>
                <c:pt idx="278">
                  <c:v>66.639656000000002</c:v>
                </c:pt>
                <c:pt idx="279">
                  <c:v>67.019739999999999</c:v>
                </c:pt>
                <c:pt idx="280">
                  <c:v>66.752859999999998</c:v>
                </c:pt>
                <c:pt idx="281">
                  <c:v>67.084450000000004</c:v>
                </c:pt>
                <c:pt idx="282">
                  <c:v>67.529250000000005</c:v>
                </c:pt>
                <c:pt idx="283">
                  <c:v>67.027850000000001</c:v>
                </c:pt>
                <c:pt idx="284">
                  <c:v>66.906540000000007</c:v>
                </c:pt>
                <c:pt idx="285">
                  <c:v>67.052109999999999</c:v>
                </c:pt>
                <c:pt idx="286">
                  <c:v>66.793319999999994</c:v>
                </c:pt>
                <c:pt idx="287">
                  <c:v>67.860860000000002</c:v>
                </c:pt>
                <c:pt idx="288">
                  <c:v>67.504999999999995</c:v>
                </c:pt>
                <c:pt idx="289">
                  <c:v>67.860860000000002</c:v>
                </c:pt>
                <c:pt idx="290">
                  <c:v>67.626310000000004</c:v>
                </c:pt>
                <c:pt idx="291">
                  <c:v>67.246210000000005</c:v>
                </c:pt>
                <c:pt idx="292">
                  <c:v>67.569689999999994</c:v>
                </c:pt>
                <c:pt idx="293">
                  <c:v>67.901269999999997</c:v>
                </c:pt>
                <c:pt idx="294">
                  <c:v>68.556335000000004</c:v>
                </c:pt>
                <c:pt idx="295">
                  <c:v>69.187169999999995</c:v>
                </c:pt>
                <c:pt idx="296">
                  <c:v>69.478324999999998</c:v>
                </c:pt>
                <c:pt idx="297">
                  <c:v>68.855590000000007</c:v>
                </c:pt>
                <c:pt idx="298">
                  <c:v>69.073943999999997</c:v>
                </c:pt>
                <c:pt idx="299">
                  <c:v>69.162895000000006</c:v>
                </c:pt>
                <c:pt idx="300">
                  <c:v>68.944564999999997</c:v>
                </c:pt>
                <c:pt idx="301">
                  <c:v>70.214259999999996</c:v>
                </c:pt>
                <c:pt idx="302">
                  <c:v>69.357010000000002</c:v>
                </c:pt>
                <c:pt idx="303">
                  <c:v>69.462119999999999</c:v>
                </c:pt>
                <c:pt idx="304">
                  <c:v>69.203339999999997</c:v>
                </c:pt>
                <c:pt idx="305">
                  <c:v>69.162895000000006</c:v>
                </c:pt>
                <c:pt idx="306">
                  <c:v>69.478324999999998</c:v>
                </c:pt>
                <c:pt idx="307">
                  <c:v>69.041589999999999</c:v>
                </c:pt>
                <c:pt idx="308">
                  <c:v>70.198070000000001</c:v>
                </c:pt>
                <c:pt idx="309">
                  <c:v>70.084869999999995</c:v>
                </c:pt>
                <c:pt idx="310">
                  <c:v>70.497314000000003</c:v>
                </c:pt>
                <c:pt idx="311">
                  <c:v>70.303219999999996</c:v>
                </c:pt>
                <c:pt idx="312">
                  <c:v>70.545829999999995</c:v>
                </c:pt>
                <c:pt idx="313">
                  <c:v>70.230429999999998</c:v>
                </c:pt>
                <c:pt idx="314">
                  <c:v>69.340835999999996</c:v>
                </c:pt>
                <c:pt idx="315">
                  <c:v>69.987809999999996</c:v>
                </c:pt>
                <c:pt idx="316">
                  <c:v>69.631966000000006</c:v>
                </c:pt>
                <c:pt idx="317">
                  <c:v>69.268050000000002</c:v>
                </c:pt>
                <c:pt idx="318">
                  <c:v>69.631966000000006</c:v>
                </c:pt>
                <c:pt idx="319">
                  <c:v>69.211429999999993</c:v>
                </c:pt>
                <c:pt idx="320">
                  <c:v>69.413610000000006</c:v>
                </c:pt>
                <c:pt idx="321">
                  <c:v>69.979730000000004</c:v>
                </c:pt>
                <c:pt idx="322">
                  <c:v>70.416430000000005</c:v>
                </c:pt>
                <c:pt idx="323">
                  <c:v>70.950209999999998</c:v>
                </c:pt>
                <c:pt idx="324">
                  <c:v>71.435455000000005</c:v>
                </c:pt>
                <c:pt idx="325">
                  <c:v>71.063419999999994</c:v>
                </c:pt>
                <c:pt idx="326">
                  <c:v>71.346490000000003</c:v>
                </c:pt>
                <c:pt idx="327">
                  <c:v>71.236490000000003</c:v>
                </c:pt>
                <c:pt idx="328">
                  <c:v>71.505350000000007</c:v>
                </c:pt>
                <c:pt idx="329">
                  <c:v>71.627570000000006</c:v>
                </c:pt>
                <c:pt idx="330">
                  <c:v>71.700919999999996</c:v>
                </c:pt>
                <c:pt idx="331">
                  <c:v>72.043130000000005</c:v>
                </c:pt>
                <c:pt idx="332">
                  <c:v>71.521659999999997</c:v>
                </c:pt>
                <c:pt idx="333">
                  <c:v>71.065383999999995</c:v>
                </c:pt>
                <c:pt idx="334">
                  <c:v>71.040940000000006</c:v>
                </c:pt>
                <c:pt idx="335">
                  <c:v>71.334273999999994</c:v>
                </c:pt>
                <c:pt idx="336">
                  <c:v>71.114279999999994</c:v>
                </c:pt>
                <c:pt idx="337">
                  <c:v>72.434209999999993</c:v>
                </c:pt>
                <c:pt idx="338">
                  <c:v>73.411959999999993</c:v>
                </c:pt>
                <c:pt idx="339">
                  <c:v>72.597170000000006</c:v>
                </c:pt>
                <c:pt idx="340">
                  <c:v>72.018683999999993</c:v>
                </c:pt>
                <c:pt idx="341">
                  <c:v>71.741650000000007</c:v>
                </c:pt>
                <c:pt idx="342">
                  <c:v>72.173500000000004</c:v>
                </c:pt>
                <c:pt idx="343">
                  <c:v>72.197913999999997</c:v>
                </c:pt>
                <c:pt idx="344">
                  <c:v>72.320139999999995</c:v>
                </c:pt>
                <c:pt idx="345">
                  <c:v>72.79271</c:v>
                </c:pt>
                <c:pt idx="346">
                  <c:v>72.621634999999998</c:v>
                </c:pt>
                <c:pt idx="347">
                  <c:v>73.061610000000002</c:v>
                </c:pt>
                <c:pt idx="348">
                  <c:v>73.346770000000006</c:v>
                </c:pt>
                <c:pt idx="349">
                  <c:v>73.216419999999999</c:v>
                </c:pt>
                <c:pt idx="350">
                  <c:v>73.110500000000002</c:v>
                </c:pt>
                <c:pt idx="351">
                  <c:v>73.143060000000006</c:v>
                </c:pt>
                <c:pt idx="352">
                  <c:v>73.411959999999993</c:v>
                </c:pt>
                <c:pt idx="353">
                  <c:v>73.208250000000007</c:v>
                </c:pt>
                <c:pt idx="354">
                  <c:v>74.210459999999998</c:v>
                </c:pt>
                <c:pt idx="355">
                  <c:v>73.607489999999999</c:v>
                </c:pt>
                <c:pt idx="356">
                  <c:v>73.737859999999998</c:v>
                </c:pt>
                <c:pt idx="357">
                  <c:v>73.322339999999997</c:v>
                </c:pt>
                <c:pt idx="358">
                  <c:v>73.403824</c:v>
                </c:pt>
                <c:pt idx="359">
                  <c:v>73.257130000000004</c:v>
                </c:pt>
                <c:pt idx="360">
                  <c:v>72.654210000000006</c:v>
                </c:pt>
                <c:pt idx="361">
                  <c:v>73.998589999999993</c:v>
                </c:pt>
                <c:pt idx="362">
                  <c:v>74.886719999999997</c:v>
                </c:pt>
                <c:pt idx="363">
                  <c:v>74.593379999999996</c:v>
                </c:pt>
                <c:pt idx="364">
                  <c:v>74.120819999999995</c:v>
                </c:pt>
                <c:pt idx="365">
                  <c:v>73.444550000000007</c:v>
                </c:pt>
                <c:pt idx="366">
                  <c:v>72.442350000000005</c:v>
                </c:pt>
                <c:pt idx="367">
                  <c:v>71.782390000000007</c:v>
                </c:pt>
                <c:pt idx="368">
                  <c:v>71.790549999999996</c:v>
                </c:pt>
                <c:pt idx="369">
                  <c:v>73.0779</c:v>
                </c:pt>
                <c:pt idx="370">
                  <c:v>72.678650000000005</c:v>
                </c:pt>
                <c:pt idx="371">
                  <c:v>73.746030000000005</c:v>
                </c:pt>
                <c:pt idx="372">
                  <c:v>73.249020000000002</c:v>
                </c:pt>
                <c:pt idx="373">
                  <c:v>73.566760000000002</c:v>
                </c:pt>
                <c:pt idx="374">
                  <c:v>74.788929999999993</c:v>
                </c:pt>
                <c:pt idx="375">
                  <c:v>74.316376000000005</c:v>
                </c:pt>
                <c:pt idx="376">
                  <c:v>74.748189999999994</c:v>
                </c:pt>
                <c:pt idx="377">
                  <c:v>74.788929999999993</c:v>
                </c:pt>
                <c:pt idx="378">
                  <c:v>74.83784</c:v>
                </c:pt>
                <c:pt idx="379">
                  <c:v>75.082274999999996</c:v>
                </c:pt>
                <c:pt idx="380">
                  <c:v>74.84599</c:v>
                </c:pt>
                <c:pt idx="381">
                  <c:v>75.147469999999998</c:v>
                </c:pt>
                <c:pt idx="382">
                  <c:v>75.000786000000005</c:v>
                </c:pt>
                <c:pt idx="383">
                  <c:v>74.634129999999999</c:v>
                </c:pt>
                <c:pt idx="384">
                  <c:v>75.929640000000006</c:v>
                </c:pt>
                <c:pt idx="385">
                  <c:v>75.448920000000001</c:v>
                </c:pt>
                <c:pt idx="386">
                  <c:v>75.147469999999998</c:v>
                </c:pt>
                <c:pt idx="387">
                  <c:v>75.43262</c:v>
                </c:pt>
                <c:pt idx="388">
                  <c:v>75.359279999999998</c:v>
                </c:pt>
                <c:pt idx="389">
                  <c:v>75.351150000000004</c:v>
                </c:pt>
                <c:pt idx="390">
                  <c:v>76.110209999999995</c:v>
                </c:pt>
                <c:pt idx="391">
                  <c:v>75.371660000000006</c:v>
                </c:pt>
                <c:pt idx="392">
                  <c:v>75.289580000000001</c:v>
                </c:pt>
                <c:pt idx="393">
                  <c:v>75.379890000000003</c:v>
                </c:pt>
                <c:pt idx="394">
                  <c:v>75.018810000000002</c:v>
                </c:pt>
                <c:pt idx="395">
                  <c:v>75.322410000000005</c:v>
                </c:pt>
                <c:pt idx="396">
                  <c:v>75.207534999999993</c:v>
                </c:pt>
                <c:pt idx="397">
                  <c:v>74.567474000000004</c:v>
                </c:pt>
                <c:pt idx="398">
                  <c:v>74.838279999999997</c:v>
                </c:pt>
                <c:pt idx="399">
                  <c:v>75.962494000000007</c:v>
                </c:pt>
                <c:pt idx="400">
                  <c:v>76.192269999999994</c:v>
                </c:pt>
                <c:pt idx="401">
                  <c:v>76.618960000000001</c:v>
                </c:pt>
                <c:pt idx="402">
                  <c:v>76.9636</c:v>
                </c:pt>
                <c:pt idx="403">
                  <c:v>76.791300000000007</c:v>
                </c:pt>
                <c:pt idx="404">
                  <c:v>76.257903999999996</c:v>
                </c:pt>
                <c:pt idx="405">
                  <c:v>76.725655000000003</c:v>
                </c:pt>
                <c:pt idx="406">
                  <c:v>76.044560000000004</c:v>
                </c:pt>
                <c:pt idx="407">
                  <c:v>76.422004999999999</c:v>
                </c:pt>
                <c:pt idx="408">
                  <c:v>76.43844</c:v>
                </c:pt>
                <c:pt idx="409">
                  <c:v>76.389210000000006</c:v>
                </c:pt>
                <c:pt idx="410">
                  <c:v>76.02816</c:v>
                </c:pt>
                <c:pt idx="411">
                  <c:v>75.970695000000006</c:v>
                </c:pt>
                <c:pt idx="412">
                  <c:v>76.725655000000003</c:v>
                </c:pt>
                <c:pt idx="413">
                  <c:v>76.618960000000001</c:v>
                </c:pt>
                <c:pt idx="414">
                  <c:v>76.397390000000001</c:v>
                </c:pt>
                <c:pt idx="415">
                  <c:v>77.086709999999997</c:v>
                </c:pt>
                <c:pt idx="416">
                  <c:v>76.783090000000001</c:v>
                </c:pt>
                <c:pt idx="417">
                  <c:v>77.669330000000002</c:v>
                </c:pt>
                <c:pt idx="418">
                  <c:v>77.086709999999997</c:v>
                </c:pt>
                <c:pt idx="419">
                  <c:v>76.323560000000001</c:v>
                </c:pt>
                <c:pt idx="420">
                  <c:v>75.305999999999997</c:v>
                </c:pt>
                <c:pt idx="421">
                  <c:v>74.501816000000005</c:v>
                </c:pt>
                <c:pt idx="422">
                  <c:v>75.092650000000006</c:v>
                </c:pt>
                <c:pt idx="423">
                  <c:v>76.766660000000002</c:v>
                </c:pt>
                <c:pt idx="424">
                  <c:v>76.914370000000005</c:v>
                </c:pt>
                <c:pt idx="425">
                  <c:v>77.513400000000004</c:v>
                </c:pt>
                <c:pt idx="426">
                  <c:v>76.939009999999996</c:v>
                </c:pt>
                <c:pt idx="427">
                  <c:v>77.628296000000006</c:v>
                </c:pt>
                <c:pt idx="428">
                  <c:v>77.644713999999993</c:v>
                </c:pt>
                <c:pt idx="429">
                  <c:v>78.169889999999995</c:v>
                </c:pt>
                <c:pt idx="430">
                  <c:v>77.702160000000006</c:v>
                </c:pt>
                <c:pt idx="431">
                  <c:v>78.489913999999999</c:v>
                </c:pt>
                <c:pt idx="432">
                  <c:v>78.916640000000001</c:v>
                </c:pt>
                <c:pt idx="433">
                  <c:v>78.637649999999994</c:v>
                </c:pt>
                <c:pt idx="434">
                  <c:v>79.376159999999999</c:v>
                </c:pt>
                <c:pt idx="435">
                  <c:v>79.507469999999998</c:v>
                </c:pt>
                <c:pt idx="436">
                  <c:v>79.441800000000001</c:v>
                </c:pt>
                <c:pt idx="437">
                  <c:v>79.433610000000002</c:v>
                </c:pt>
                <c:pt idx="438">
                  <c:v>79.573099999999997</c:v>
                </c:pt>
                <c:pt idx="439">
                  <c:v>79.35154</c:v>
                </c:pt>
                <c:pt idx="440">
                  <c:v>79.729033999999999</c:v>
                </c:pt>
                <c:pt idx="441">
                  <c:v>80.861450000000005</c:v>
                </c:pt>
                <c:pt idx="442">
                  <c:v>80.188559999999995</c:v>
                </c:pt>
                <c:pt idx="443">
                  <c:v>80.762969999999996</c:v>
                </c:pt>
                <c:pt idx="444">
                  <c:v>80.369079999999997</c:v>
                </c:pt>
                <c:pt idx="445">
                  <c:v>80.754769999999994</c:v>
                </c:pt>
                <c:pt idx="446">
                  <c:v>80.467545000000001</c:v>
                </c:pt>
                <c:pt idx="447">
                  <c:v>81.14864</c:v>
                </c:pt>
                <c:pt idx="448">
                  <c:v>80.976326</c:v>
                </c:pt>
                <c:pt idx="449">
                  <c:v>81.181479999999993</c:v>
                </c:pt>
                <c:pt idx="450">
                  <c:v>81.526110000000003</c:v>
                </c:pt>
                <c:pt idx="451">
                  <c:v>82.141559999999998</c:v>
                </c:pt>
                <c:pt idx="452">
                  <c:v>81.788709999999995</c:v>
                </c:pt>
                <c:pt idx="453">
                  <c:v>82.379549999999995</c:v>
                </c:pt>
                <c:pt idx="454">
                  <c:v>81.210759999999993</c:v>
                </c:pt>
                <c:pt idx="455">
                  <c:v>80.739980000000003</c:v>
                </c:pt>
                <c:pt idx="456">
                  <c:v>80.748230000000007</c:v>
                </c:pt>
                <c:pt idx="457">
                  <c:v>80.764750000000006</c:v>
                </c:pt>
                <c:pt idx="458">
                  <c:v>80.227829999999997</c:v>
                </c:pt>
                <c:pt idx="459">
                  <c:v>79.443160000000006</c:v>
                </c:pt>
                <c:pt idx="460">
                  <c:v>79.534035000000003</c:v>
                </c:pt>
                <c:pt idx="461">
                  <c:v>78.253749999999997</c:v>
                </c:pt>
                <c:pt idx="462">
                  <c:v>77.758160000000004</c:v>
                </c:pt>
                <c:pt idx="463">
                  <c:v>76.477890000000002</c:v>
                </c:pt>
                <c:pt idx="464">
                  <c:v>77.411259999999999</c:v>
                </c:pt>
                <c:pt idx="465">
                  <c:v>78.765860000000004</c:v>
                </c:pt>
                <c:pt idx="466">
                  <c:v>78.831954999999994</c:v>
                </c:pt>
                <c:pt idx="467">
                  <c:v>79.806610000000006</c:v>
                </c:pt>
                <c:pt idx="468">
                  <c:v>80.417839999999998</c:v>
                </c:pt>
                <c:pt idx="469">
                  <c:v>80.194820000000007</c:v>
                </c:pt>
                <c:pt idx="470">
                  <c:v>80.161779999999993</c:v>
                </c:pt>
                <c:pt idx="471">
                  <c:v>79.897469999999998</c:v>
                </c:pt>
                <c:pt idx="472">
                  <c:v>79.261443999999997</c:v>
                </c:pt>
                <c:pt idx="473">
                  <c:v>78.105080000000001</c:v>
                </c:pt>
                <c:pt idx="474">
                  <c:v>78.005936000000005</c:v>
                </c:pt>
                <c:pt idx="475">
                  <c:v>77.419524999999993</c:v>
                </c:pt>
                <c:pt idx="476">
                  <c:v>76.833079999999995</c:v>
                </c:pt>
                <c:pt idx="477">
                  <c:v>79.079729999999998</c:v>
                </c:pt>
                <c:pt idx="478">
                  <c:v>80.516949999999994</c:v>
                </c:pt>
                <c:pt idx="479">
                  <c:v>79.971824999999995</c:v>
                </c:pt>
                <c:pt idx="480">
                  <c:v>79.641409999999993</c:v>
                </c:pt>
                <c:pt idx="481">
                  <c:v>79.583590000000001</c:v>
                </c:pt>
                <c:pt idx="482">
                  <c:v>79.847899999999996</c:v>
                </c:pt>
                <c:pt idx="483">
                  <c:v>79.847899999999996</c:v>
                </c:pt>
                <c:pt idx="484">
                  <c:v>80.360020000000006</c:v>
                </c:pt>
                <c:pt idx="485">
                  <c:v>80.541730000000001</c:v>
                </c:pt>
                <c:pt idx="486">
                  <c:v>80.450873999999999</c:v>
                </c:pt>
                <c:pt idx="487">
                  <c:v>81.689859999999996</c:v>
                </c:pt>
                <c:pt idx="488">
                  <c:v>81.384230000000002</c:v>
                </c:pt>
                <c:pt idx="489">
                  <c:v>81.516400000000004</c:v>
                </c:pt>
                <c:pt idx="490">
                  <c:v>79.889210000000006</c:v>
                </c:pt>
                <c:pt idx="491">
                  <c:v>79.063220000000001</c:v>
                </c:pt>
                <c:pt idx="492">
                  <c:v>79.319243999999998</c:v>
                </c:pt>
                <c:pt idx="493">
                  <c:v>77.460790000000003</c:v>
                </c:pt>
                <c:pt idx="494">
                  <c:v>78.741079999999997</c:v>
                </c:pt>
                <c:pt idx="495">
                  <c:v>79.459670000000003</c:v>
                </c:pt>
                <c:pt idx="496">
                  <c:v>79.79007</c:v>
                </c:pt>
                <c:pt idx="497">
                  <c:v>79.798349999999999</c:v>
                </c:pt>
                <c:pt idx="498">
                  <c:v>79.880949999999999</c:v>
                </c:pt>
                <c:pt idx="499">
                  <c:v>79.269710000000003</c:v>
                </c:pt>
                <c:pt idx="500">
                  <c:v>80.938199999999995</c:v>
                </c:pt>
                <c:pt idx="501">
                  <c:v>82.928825000000003</c:v>
                </c:pt>
                <c:pt idx="502">
                  <c:v>82.821470000000005</c:v>
                </c:pt>
                <c:pt idx="503">
                  <c:v>81.879840000000002</c:v>
                </c:pt>
                <c:pt idx="504">
                  <c:v>81.243799999999993</c:v>
                </c:pt>
                <c:pt idx="505">
                  <c:v>82.04504</c:v>
                </c:pt>
                <c:pt idx="506">
                  <c:v>81.541160000000005</c:v>
                </c:pt>
                <c:pt idx="507">
                  <c:v>81.822000000000003</c:v>
                </c:pt>
                <c:pt idx="508">
                  <c:v>82.144130000000004</c:v>
                </c:pt>
                <c:pt idx="509">
                  <c:v>82.251525999999998</c:v>
                </c:pt>
                <c:pt idx="510">
                  <c:v>82.185450000000003</c:v>
                </c:pt>
                <c:pt idx="511">
                  <c:v>81.830269999999999</c:v>
                </c:pt>
                <c:pt idx="512">
                  <c:v>81.755936000000005</c:v>
                </c:pt>
                <c:pt idx="513">
                  <c:v>81.772450000000006</c:v>
                </c:pt>
                <c:pt idx="514">
                  <c:v>81.276859999999999</c:v>
                </c:pt>
                <c:pt idx="515">
                  <c:v>80.956720000000004</c:v>
                </c:pt>
                <c:pt idx="516">
                  <c:v>80.848619999999997</c:v>
                </c:pt>
                <c:pt idx="517">
                  <c:v>79.967209999999994</c:v>
                </c:pt>
                <c:pt idx="518">
                  <c:v>79.859116</c:v>
                </c:pt>
                <c:pt idx="519">
                  <c:v>78.520359999999997</c:v>
                </c:pt>
                <c:pt idx="520">
                  <c:v>77.855159999999998</c:v>
                </c:pt>
                <c:pt idx="521">
                  <c:v>79.584710000000001</c:v>
                </c:pt>
                <c:pt idx="522">
                  <c:v>78.428925000000007</c:v>
                </c:pt>
                <c:pt idx="523">
                  <c:v>79.368510000000001</c:v>
                </c:pt>
                <c:pt idx="524">
                  <c:v>78.270920000000004</c:v>
                </c:pt>
                <c:pt idx="525">
                  <c:v>78.694999999999993</c:v>
                </c:pt>
                <c:pt idx="526">
                  <c:v>78.24597</c:v>
                </c:pt>
                <c:pt idx="527">
                  <c:v>79.277054000000007</c:v>
                </c:pt>
                <c:pt idx="528">
                  <c:v>79.701130000000006</c:v>
                </c:pt>
                <c:pt idx="529">
                  <c:v>79.709450000000004</c:v>
                </c:pt>
                <c:pt idx="530">
                  <c:v>79.210530000000006</c:v>
                </c:pt>
                <c:pt idx="531">
                  <c:v>79.518196000000003</c:v>
                </c:pt>
                <c:pt idx="532">
                  <c:v>79.784279999999995</c:v>
                </c:pt>
                <c:pt idx="533">
                  <c:v>80.258255000000005</c:v>
                </c:pt>
                <c:pt idx="534">
                  <c:v>79.509870000000006</c:v>
                </c:pt>
                <c:pt idx="535">
                  <c:v>79.069159999999997</c:v>
                </c:pt>
                <c:pt idx="536">
                  <c:v>79.568089999999998</c:v>
                </c:pt>
                <c:pt idx="537">
                  <c:v>80.224980000000002</c:v>
                </c:pt>
                <c:pt idx="538">
                  <c:v>80.000470000000007</c:v>
                </c:pt>
                <c:pt idx="539">
                  <c:v>79.85078</c:v>
                </c:pt>
                <c:pt idx="540">
                  <c:v>80.116900000000001</c:v>
                </c:pt>
                <c:pt idx="541">
                  <c:v>79.992140000000006</c:v>
                </c:pt>
                <c:pt idx="542">
                  <c:v>79.435040000000001</c:v>
                </c:pt>
                <c:pt idx="543">
                  <c:v>80.233283999999998</c:v>
                </c:pt>
                <c:pt idx="544">
                  <c:v>80.349699999999999</c:v>
                </c:pt>
                <c:pt idx="545">
                  <c:v>80.200035</c:v>
                </c:pt>
                <c:pt idx="546">
                  <c:v>79.667860000000005</c:v>
                </c:pt>
                <c:pt idx="547">
                  <c:v>80.241609999999994</c:v>
                </c:pt>
                <c:pt idx="548">
                  <c:v>80.474434000000002</c:v>
                </c:pt>
                <c:pt idx="549">
                  <c:v>80.890204999999995</c:v>
                </c:pt>
                <c:pt idx="550">
                  <c:v>79.601339999999993</c:v>
                </c:pt>
                <c:pt idx="551">
                  <c:v>79.135679999999994</c:v>
                </c:pt>
                <c:pt idx="552">
                  <c:v>78.570279999999997</c:v>
                </c:pt>
                <c:pt idx="553">
                  <c:v>78.512050000000002</c:v>
                </c:pt>
                <c:pt idx="554">
                  <c:v>78.478800000000007</c:v>
                </c:pt>
                <c:pt idx="555">
                  <c:v>79.094130000000007</c:v>
                </c:pt>
                <c:pt idx="556">
                  <c:v>79.459990000000005</c:v>
                </c:pt>
                <c:pt idx="557">
                  <c:v>79.784279999999995</c:v>
                </c:pt>
                <c:pt idx="558">
                  <c:v>79.343580000000003</c:v>
                </c:pt>
                <c:pt idx="559">
                  <c:v>79.393460000000005</c:v>
                </c:pt>
                <c:pt idx="560">
                  <c:v>79.119069999999994</c:v>
                </c:pt>
                <c:pt idx="561">
                  <c:v>80.283209999999997</c:v>
                </c:pt>
                <c:pt idx="562">
                  <c:v>80.116900000000001</c:v>
                </c:pt>
                <c:pt idx="563">
                  <c:v>79.992140000000006</c:v>
                </c:pt>
                <c:pt idx="564">
                  <c:v>80.166780000000003</c:v>
                </c:pt>
                <c:pt idx="565">
                  <c:v>81.488879999999995</c:v>
                </c:pt>
                <c:pt idx="566">
                  <c:v>81.671840000000003</c:v>
                </c:pt>
                <c:pt idx="567">
                  <c:v>81.530469999999994</c:v>
                </c:pt>
                <c:pt idx="568">
                  <c:v>81.447310000000002</c:v>
                </c:pt>
                <c:pt idx="569">
                  <c:v>81.231125000000006</c:v>
                </c:pt>
                <c:pt idx="570">
                  <c:v>80.823684999999998</c:v>
                </c:pt>
                <c:pt idx="571">
                  <c:v>80.042045999999999</c:v>
                </c:pt>
                <c:pt idx="572">
                  <c:v>79.651250000000005</c:v>
                </c:pt>
                <c:pt idx="573">
                  <c:v>80.141840000000002</c:v>
                </c:pt>
                <c:pt idx="574">
                  <c:v>80.707269999999994</c:v>
                </c:pt>
                <c:pt idx="575">
                  <c:v>80.183400000000006</c:v>
                </c:pt>
                <c:pt idx="576">
                  <c:v>79.800895999999995</c:v>
                </c:pt>
                <c:pt idx="577">
                  <c:v>79.867440000000002</c:v>
                </c:pt>
                <c:pt idx="578">
                  <c:v>79.828059999999994</c:v>
                </c:pt>
                <c:pt idx="579">
                  <c:v>78.856384000000006</c:v>
                </c:pt>
                <c:pt idx="580">
                  <c:v>77.943370000000002</c:v>
                </c:pt>
                <c:pt idx="581">
                  <c:v>77.767449999999997</c:v>
                </c:pt>
                <c:pt idx="582">
                  <c:v>77.960099999999997</c:v>
                </c:pt>
                <c:pt idx="583">
                  <c:v>78.479454000000004</c:v>
                </c:pt>
                <c:pt idx="584">
                  <c:v>78.814509999999999</c:v>
                </c:pt>
                <c:pt idx="585">
                  <c:v>78.521339999999995</c:v>
                </c:pt>
                <c:pt idx="586">
                  <c:v>77.599940000000004</c:v>
                </c:pt>
                <c:pt idx="587">
                  <c:v>78.362174999999993</c:v>
                </c:pt>
                <c:pt idx="588">
                  <c:v>78.78098</c:v>
                </c:pt>
                <c:pt idx="589">
                  <c:v>79.769450000000006</c:v>
                </c:pt>
                <c:pt idx="590">
                  <c:v>79.459496000000001</c:v>
                </c:pt>
                <c:pt idx="591">
                  <c:v>80.079346000000001</c:v>
                </c:pt>
                <c:pt idx="592">
                  <c:v>80.079346000000001</c:v>
                </c:pt>
                <c:pt idx="593">
                  <c:v>79.819694999999996</c:v>
                </c:pt>
                <c:pt idx="594">
                  <c:v>79.434364000000002</c:v>
                </c:pt>
                <c:pt idx="595">
                  <c:v>79.501360000000005</c:v>
                </c:pt>
                <c:pt idx="596">
                  <c:v>78.479454000000004</c:v>
                </c:pt>
                <c:pt idx="597">
                  <c:v>78.18629</c:v>
                </c:pt>
                <c:pt idx="598">
                  <c:v>79.174700000000001</c:v>
                </c:pt>
                <c:pt idx="599">
                  <c:v>79.291970000000006</c:v>
                </c:pt>
                <c:pt idx="600">
                  <c:v>79.074179999999998</c:v>
                </c:pt>
                <c:pt idx="601">
                  <c:v>80.749470000000002</c:v>
                </c:pt>
                <c:pt idx="602">
                  <c:v>80.087715000000003</c:v>
                </c:pt>
                <c:pt idx="603">
                  <c:v>79.233329999999995</c:v>
                </c:pt>
                <c:pt idx="604">
                  <c:v>80.037475999999998</c:v>
                </c:pt>
                <c:pt idx="605">
                  <c:v>81.436350000000004</c:v>
                </c:pt>
                <c:pt idx="606">
                  <c:v>81.360939999999999</c:v>
                </c:pt>
                <c:pt idx="607">
                  <c:v>80.707595999999995</c:v>
                </c:pt>
                <c:pt idx="608">
                  <c:v>81.168319999999994</c:v>
                </c:pt>
                <c:pt idx="609">
                  <c:v>81.067769999999996</c:v>
                </c:pt>
                <c:pt idx="610">
                  <c:v>81.511750000000006</c:v>
                </c:pt>
                <c:pt idx="611">
                  <c:v>81.193430000000006</c:v>
                </c:pt>
                <c:pt idx="612">
                  <c:v>81.394459999999995</c:v>
                </c:pt>
                <c:pt idx="613">
                  <c:v>81.143180000000001</c:v>
                </c:pt>
                <c:pt idx="614">
                  <c:v>80.565190000000001</c:v>
                </c:pt>
                <c:pt idx="615">
                  <c:v>80.12961</c:v>
                </c:pt>
                <c:pt idx="616">
                  <c:v>80.506550000000004</c:v>
                </c:pt>
                <c:pt idx="617">
                  <c:v>80.858376000000007</c:v>
                </c:pt>
                <c:pt idx="618">
                  <c:v>80.942120000000003</c:v>
                </c:pt>
                <c:pt idx="619">
                  <c:v>80.707595999999995</c:v>
                </c:pt>
                <c:pt idx="620">
                  <c:v>81.629000000000005</c:v>
                </c:pt>
                <c:pt idx="621">
                  <c:v>81.930570000000003</c:v>
                </c:pt>
                <c:pt idx="622">
                  <c:v>83.086510000000004</c:v>
                </c:pt>
                <c:pt idx="623">
                  <c:v>83.05301</c:v>
                </c:pt>
                <c:pt idx="624">
                  <c:v>83.011139999999997</c:v>
                </c:pt>
                <c:pt idx="625">
                  <c:v>83.002740000000003</c:v>
                </c:pt>
                <c:pt idx="626">
                  <c:v>82.609054999999998</c:v>
                </c:pt>
                <c:pt idx="627">
                  <c:v>82.408029999999997</c:v>
                </c:pt>
                <c:pt idx="628">
                  <c:v>82.751459999999994</c:v>
                </c:pt>
                <c:pt idx="629">
                  <c:v>83.120025999999996</c:v>
                </c:pt>
                <c:pt idx="630">
                  <c:v>83.647739999999999</c:v>
                </c:pt>
                <c:pt idx="631">
                  <c:v>83.57235</c:v>
                </c:pt>
                <c:pt idx="632">
                  <c:v>82.918976000000001</c:v>
                </c:pt>
                <c:pt idx="633">
                  <c:v>82.072980000000001</c:v>
                </c:pt>
                <c:pt idx="634">
                  <c:v>80.623850000000004</c:v>
                </c:pt>
                <c:pt idx="635">
                  <c:v>76.921430000000001</c:v>
                </c:pt>
                <c:pt idx="636">
                  <c:v>75.086945</c:v>
                </c:pt>
                <c:pt idx="637">
                  <c:v>77.474260000000001</c:v>
                </c:pt>
                <c:pt idx="638">
                  <c:v>78.404060000000001</c:v>
                </c:pt>
                <c:pt idx="639">
                  <c:v>78.345429999999993</c:v>
                </c:pt>
                <c:pt idx="640">
                  <c:v>77.842839999999995</c:v>
                </c:pt>
                <c:pt idx="641">
                  <c:v>76.502594000000002</c:v>
                </c:pt>
                <c:pt idx="642">
                  <c:v>77.357709999999997</c:v>
                </c:pt>
                <c:pt idx="643">
                  <c:v>77.771324000000007</c:v>
                </c:pt>
                <c:pt idx="644">
                  <c:v>76.749930000000006</c:v>
                </c:pt>
                <c:pt idx="645">
                  <c:v>77.973960000000005</c:v>
                </c:pt>
                <c:pt idx="646">
                  <c:v>76.673959999999994</c:v>
                </c:pt>
                <c:pt idx="647">
                  <c:v>76.868110000000001</c:v>
                </c:pt>
                <c:pt idx="648">
                  <c:v>77.34084</c:v>
                </c:pt>
                <c:pt idx="649">
                  <c:v>76.986289999999997</c:v>
                </c:pt>
                <c:pt idx="650">
                  <c:v>77.712249999999997</c:v>
                </c:pt>
                <c:pt idx="651">
                  <c:v>78.564840000000004</c:v>
                </c:pt>
                <c:pt idx="652">
                  <c:v>78.818084999999996</c:v>
                </c:pt>
                <c:pt idx="653">
                  <c:v>78.547966000000002</c:v>
                </c:pt>
                <c:pt idx="654">
                  <c:v>79.105099999999993</c:v>
                </c:pt>
                <c:pt idx="655">
                  <c:v>77.973960000000005</c:v>
                </c:pt>
                <c:pt idx="656">
                  <c:v>77.999274999999997</c:v>
                </c:pt>
                <c:pt idx="657">
                  <c:v>78.058350000000004</c:v>
                </c:pt>
                <c:pt idx="658">
                  <c:v>78.902510000000007</c:v>
                </c:pt>
                <c:pt idx="659">
                  <c:v>78.058350000000004</c:v>
                </c:pt>
                <c:pt idx="660">
                  <c:v>78.539505000000005</c:v>
                </c:pt>
                <c:pt idx="661">
                  <c:v>79.603139999999996</c:v>
                </c:pt>
                <c:pt idx="662">
                  <c:v>79.223269999999999</c:v>
                </c:pt>
                <c:pt idx="663">
                  <c:v>79.484979999999993</c:v>
                </c:pt>
                <c:pt idx="664">
                  <c:v>80.877799999999993</c:v>
                </c:pt>
                <c:pt idx="665">
                  <c:v>81.941450000000003</c:v>
                </c:pt>
                <c:pt idx="666">
                  <c:v>83.165450000000007</c:v>
                </c:pt>
                <c:pt idx="667">
                  <c:v>83.545310000000001</c:v>
                </c:pt>
                <c:pt idx="668">
                  <c:v>83.967370000000003</c:v>
                </c:pt>
                <c:pt idx="669">
                  <c:v>83.688820000000007</c:v>
                </c:pt>
                <c:pt idx="670">
                  <c:v>82.658959999999993</c:v>
                </c:pt>
                <c:pt idx="671">
                  <c:v>82.29598</c:v>
                </c:pt>
                <c:pt idx="672">
                  <c:v>82.962845000000002</c:v>
                </c:pt>
                <c:pt idx="673">
                  <c:v>84.161529999999999</c:v>
                </c:pt>
                <c:pt idx="674">
                  <c:v>84.566720000000004</c:v>
                </c:pt>
                <c:pt idx="675">
                  <c:v>84.642709999999994</c:v>
                </c:pt>
                <c:pt idx="676">
                  <c:v>84.625829999999993</c:v>
                </c:pt>
                <c:pt idx="677">
                  <c:v>87.014759999999995</c:v>
                </c:pt>
                <c:pt idx="678">
                  <c:v>86.466080000000005</c:v>
                </c:pt>
                <c:pt idx="679">
                  <c:v>86.558930000000004</c:v>
                </c:pt>
                <c:pt idx="680">
                  <c:v>86.896575999999996</c:v>
                </c:pt>
                <c:pt idx="681">
                  <c:v>86.72775</c:v>
                </c:pt>
                <c:pt idx="682">
                  <c:v>86.778400000000005</c:v>
                </c:pt>
                <c:pt idx="683">
                  <c:v>86.263490000000004</c:v>
                </c:pt>
                <c:pt idx="684">
                  <c:v>85.596596000000005</c:v>
                </c:pt>
                <c:pt idx="685">
                  <c:v>85.191413999999995</c:v>
                </c:pt>
                <c:pt idx="686">
                  <c:v>84.938159999999996</c:v>
                </c:pt>
                <c:pt idx="687">
                  <c:v>84.929726000000002</c:v>
                </c:pt>
                <c:pt idx="688">
                  <c:v>84.178439999999995</c:v>
                </c:pt>
                <c:pt idx="689">
                  <c:v>83.469340000000003</c:v>
                </c:pt>
                <c:pt idx="690">
                  <c:v>83.427139999999994</c:v>
                </c:pt>
                <c:pt idx="691">
                  <c:v>83.933620000000005</c:v>
                </c:pt>
                <c:pt idx="692">
                  <c:v>83.038830000000004</c:v>
                </c:pt>
                <c:pt idx="693">
                  <c:v>82.760283999999999</c:v>
                </c:pt>
                <c:pt idx="694">
                  <c:v>84.043369999999996</c:v>
                </c:pt>
                <c:pt idx="695">
                  <c:v>83.427139999999994</c:v>
                </c:pt>
                <c:pt idx="696">
                  <c:v>84.642709999999994</c:v>
                </c:pt>
                <c:pt idx="697">
                  <c:v>85.199849999999998</c:v>
                </c:pt>
                <c:pt idx="698">
                  <c:v>84.499176000000006</c:v>
                </c:pt>
                <c:pt idx="699">
                  <c:v>85.132300000000001</c:v>
                </c:pt>
                <c:pt idx="700">
                  <c:v>84.946619999999996</c:v>
                </c:pt>
                <c:pt idx="701">
                  <c:v>84.836860000000001</c:v>
                </c:pt>
                <c:pt idx="702">
                  <c:v>85.039469999999994</c:v>
                </c:pt>
                <c:pt idx="703">
                  <c:v>84.549840000000003</c:v>
                </c:pt>
                <c:pt idx="704">
                  <c:v>85.309585999999996</c:v>
                </c:pt>
                <c:pt idx="705">
                  <c:v>84.564099999999996</c:v>
                </c:pt>
                <c:pt idx="706">
                  <c:v>84.232544000000004</c:v>
                </c:pt>
                <c:pt idx="707">
                  <c:v>85.907179999999997</c:v>
                </c:pt>
                <c:pt idx="708">
                  <c:v>85.575659999999999</c:v>
                </c:pt>
                <c:pt idx="709">
                  <c:v>85.150630000000007</c:v>
                </c:pt>
                <c:pt idx="710">
                  <c:v>84.266589999999994</c:v>
                </c:pt>
                <c:pt idx="711">
                  <c:v>84.071039999999996</c:v>
                </c:pt>
                <c:pt idx="712">
                  <c:v>83.118970000000004</c:v>
                </c:pt>
                <c:pt idx="713">
                  <c:v>83.263469999999998</c:v>
                </c:pt>
                <c:pt idx="714">
                  <c:v>84.487570000000005</c:v>
                </c:pt>
                <c:pt idx="715">
                  <c:v>85.924180000000007</c:v>
                </c:pt>
                <c:pt idx="716">
                  <c:v>85.176119999999997</c:v>
                </c:pt>
                <c:pt idx="717">
                  <c:v>83.220979999999997</c:v>
                </c:pt>
                <c:pt idx="718">
                  <c:v>83.833029999999994</c:v>
                </c:pt>
                <c:pt idx="719">
                  <c:v>84.836105000000003</c:v>
                </c:pt>
                <c:pt idx="720">
                  <c:v>85.550139999999999</c:v>
                </c:pt>
                <c:pt idx="721">
                  <c:v>85.465164000000001</c:v>
                </c:pt>
                <c:pt idx="722">
                  <c:v>85.584149999999994</c:v>
                </c:pt>
                <c:pt idx="723">
                  <c:v>86.238690000000005</c:v>
                </c:pt>
                <c:pt idx="724">
                  <c:v>85.983699999999999</c:v>
                </c:pt>
                <c:pt idx="725">
                  <c:v>84.938109999999995</c:v>
                </c:pt>
                <c:pt idx="726">
                  <c:v>83.960530000000006</c:v>
                </c:pt>
                <c:pt idx="727">
                  <c:v>84.538573999999997</c:v>
                </c:pt>
                <c:pt idx="728">
                  <c:v>84.564099999999996</c:v>
                </c:pt>
                <c:pt idx="729">
                  <c:v>82.940470000000005</c:v>
                </c:pt>
                <c:pt idx="730">
                  <c:v>82.634429999999995</c:v>
                </c:pt>
                <c:pt idx="731">
                  <c:v>82.82996</c:v>
                </c:pt>
                <c:pt idx="732">
                  <c:v>82.982979999999998</c:v>
                </c:pt>
                <c:pt idx="733">
                  <c:v>82.030900000000003</c:v>
                </c:pt>
                <c:pt idx="734">
                  <c:v>81.44435</c:v>
                </c:pt>
                <c:pt idx="735">
                  <c:v>79.846260000000001</c:v>
                </c:pt>
                <c:pt idx="736">
                  <c:v>81.41037</c:v>
                </c:pt>
                <c:pt idx="737">
                  <c:v>79.710210000000004</c:v>
                </c:pt>
                <c:pt idx="738">
                  <c:v>80.305279999999996</c:v>
                </c:pt>
                <c:pt idx="739">
                  <c:v>81.478354999999993</c:v>
                </c:pt>
                <c:pt idx="740">
                  <c:v>81.554869999999994</c:v>
                </c:pt>
                <c:pt idx="741">
                  <c:v>81.877883999999995</c:v>
                </c:pt>
                <c:pt idx="742">
                  <c:v>81.554869999999994</c:v>
                </c:pt>
                <c:pt idx="743">
                  <c:v>82.838440000000006</c:v>
                </c:pt>
                <c:pt idx="744">
                  <c:v>84.411069999999995</c:v>
                </c:pt>
                <c:pt idx="745">
                  <c:v>84.181550000000001</c:v>
                </c:pt>
                <c:pt idx="746">
                  <c:v>83.484489999999994</c:v>
                </c:pt>
                <c:pt idx="747">
                  <c:v>83.918019999999999</c:v>
                </c:pt>
                <c:pt idx="748">
                  <c:v>82.787450000000007</c:v>
                </c:pt>
                <c:pt idx="749">
                  <c:v>82.727940000000004</c:v>
                </c:pt>
                <c:pt idx="750">
                  <c:v>82.897964000000002</c:v>
                </c:pt>
                <c:pt idx="751">
                  <c:v>83.543999999999997</c:v>
                </c:pt>
                <c:pt idx="752">
                  <c:v>82.982979999999998</c:v>
                </c:pt>
                <c:pt idx="753">
                  <c:v>82.370925999999997</c:v>
                </c:pt>
                <c:pt idx="754">
                  <c:v>83.722530000000006</c:v>
                </c:pt>
                <c:pt idx="755">
                  <c:v>83.816029999999998</c:v>
                </c:pt>
                <c:pt idx="756">
                  <c:v>84.623580000000004</c:v>
                </c:pt>
                <c:pt idx="757">
                  <c:v>84.683099999999996</c:v>
                </c:pt>
                <c:pt idx="758">
                  <c:v>84.649100000000004</c:v>
                </c:pt>
                <c:pt idx="759">
                  <c:v>84.895600000000002</c:v>
                </c:pt>
                <c:pt idx="760">
                  <c:v>84.615089999999995</c:v>
                </c:pt>
                <c:pt idx="761">
                  <c:v>84.734099999999998</c:v>
                </c:pt>
                <c:pt idx="762">
                  <c:v>85.575659999999999</c:v>
                </c:pt>
                <c:pt idx="763">
                  <c:v>83.612009999999998</c:v>
                </c:pt>
                <c:pt idx="764">
                  <c:v>83.152969999999996</c:v>
                </c:pt>
                <c:pt idx="765">
                  <c:v>84.232544000000004</c:v>
                </c:pt>
                <c:pt idx="766">
                  <c:v>84.183753999999993</c:v>
                </c:pt>
                <c:pt idx="767">
                  <c:v>84.894350000000003</c:v>
                </c:pt>
                <c:pt idx="768">
                  <c:v>85.613510000000005</c:v>
                </c:pt>
                <c:pt idx="769">
                  <c:v>84.971405000000004</c:v>
                </c:pt>
                <c:pt idx="770">
                  <c:v>85.390884</c:v>
                </c:pt>
                <c:pt idx="771">
                  <c:v>85.784739999999999</c:v>
                </c:pt>
                <c:pt idx="772">
                  <c:v>86.281289999999998</c:v>
                </c:pt>
                <c:pt idx="773">
                  <c:v>86.735029999999995</c:v>
                </c:pt>
                <c:pt idx="774">
                  <c:v>86.169989999999999</c:v>
                </c:pt>
                <c:pt idx="775">
                  <c:v>86.598076000000006</c:v>
                </c:pt>
                <c:pt idx="776">
                  <c:v>86.324089999999998</c:v>
                </c:pt>
                <c:pt idx="777">
                  <c:v>87.214479999999995</c:v>
                </c:pt>
                <c:pt idx="778">
                  <c:v>86.717926000000006</c:v>
                </c:pt>
                <c:pt idx="779">
                  <c:v>86.931945999999996</c:v>
                </c:pt>
                <c:pt idx="780">
                  <c:v>86.272710000000004</c:v>
                </c:pt>
                <c:pt idx="781">
                  <c:v>86.306970000000007</c:v>
                </c:pt>
                <c:pt idx="782">
                  <c:v>86.195670000000007</c:v>
                </c:pt>
                <c:pt idx="783">
                  <c:v>86.452510000000004</c:v>
                </c:pt>
                <c:pt idx="784">
                  <c:v>86.786420000000007</c:v>
                </c:pt>
                <c:pt idx="785">
                  <c:v>87.916520000000006</c:v>
                </c:pt>
                <c:pt idx="786">
                  <c:v>87.736725000000007</c:v>
                </c:pt>
                <c:pt idx="787">
                  <c:v>88.849720000000005</c:v>
                </c:pt>
                <c:pt idx="788">
                  <c:v>88.883949999999999</c:v>
                </c:pt>
                <c:pt idx="789">
                  <c:v>88.267520000000005</c:v>
                </c:pt>
                <c:pt idx="790">
                  <c:v>88.969570000000004</c:v>
                </c:pt>
                <c:pt idx="791">
                  <c:v>88.695594999999997</c:v>
                </c:pt>
                <c:pt idx="792">
                  <c:v>89.962680000000006</c:v>
                </c:pt>
                <c:pt idx="793">
                  <c:v>89.294899999999998</c:v>
                </c:pt>
                <c:pt idx="794">
                  <c:v>89.817120000000003</c:v>
                </c:pt>
                <c:pt idx="795">
                  <c:v>89.140789999999996</c:v>
                </c:pt>
                <c:pt idx="796">
                  <c:v>88.318910000000002</c:v>
                </c:pt>
                <c:pt idx="797">
                  <c:v>88.841149999999999</c:v>
                </c:pt>
                <c:pt idx="798">
                  <c:v>88.798330000000007</c:v>
                </c:pt>
                <c:pt idx="799">
                  <c:v>89.312004000000002</c:v>
                </c:pt>
                <c:pt idx="800">
                  <c:v>87.702479999999994</c:v>
                </c:pt>
                <c:pt idx="801">
                  <c:v>86.461070000000007</c:v>
                </c:pt>
                <c:pt idx="802">
                  <c:v>87.308655000000002</c:v>
                </c:pt>
                <c:pt idx="803">
                  <c:v>88.010679999999994</c:v>
                </c:pt>
                <c:pt idx="804">
                  <c:v>87.839455000000001</c:v>
                </c:pt>
                <c:pt idx="805">
                  <c:v>87.865160000000003</c:v>
                </c:pt>
                <c:pt idx="806">
                  <c:v>88.156234999999995</c:v>
                </c:pt>
                <c:pt idx="807">
                  <c:v>88.147675000000007</c:v>
                </c:pt>
                <c:pt idx="808">
                  <c:v>88.550060000000002</c:v>
                </c:pt>
                <c:pt idx="809">
                  <c:v>88.661339999999996</c:v>
                </c:pt>
                <c:pt idx="810">
                  <c:v>89.055170000000004</c:v>
                </c:pt>
                <c:pt idx="811">
                  <c:v>89.217833999999996</c:v>
                </c:pt>
                <c:pt idx="812">
                  <c:v>89.859924000000007</c:v>
                </c:pt>
                <c:pt idx="813">
                  <c:v>90.133889999999994</c:v>
                </c:pt>
                <c:pt idx="814">
                  <c:v>91.238303999999999</c:v>
                </c:pt>
                <c:pt idx="815">
                  <c:v>90.510589999999993</c:v>
                </c:pt>
                <c:pt idx="816">
                  <c:v>90.835920000000002</c:v>
                </c:pt>
                <c:pt idx="817">
                  <c:v>89.192160000000001</c:v>
                </c:pt>
                <c:pt idx="818">
                  <c:v>89.149360000000001</c:v>
                </c:pt>
                <c:pt idx="819">
                  <c:v>87.642525000000006</c:v>
                </c:pt>
                <c:pt idx="820">
                  <c:v>86.392610000000005</c:v>
                </c:pt>
                <c:pt idx="821">
                  <c:v>86.752170000000007</c:v>
                </c:pt>
                <c:pt idx="822">
                  <c:v>85.699100000000001</c:v>
                </c:pt>
                <c:pt idx="823">
                  <c:v>85.973076000000006</c:v>
                </c:pt>
                <c:pt idx="824">
                  <c:v>86.546683999999999</c:v>
                </c:pt>
                <c:pt idx="825">
                  <c:v>86.546683999999999</c:v>
                </c:pt>
                <c:pt idx="826">
                  <c:v>87.240166000000002</c:v>
                </c:pt>
                <c:pt idx="827">
                  <c:v>87.291520000000006</c:v>
                </c:pt>
                <c:pt idx="828">
                  <c:v>86.615200000000002</c:v>
                </c:pt>
                <c:pt idx="829">
                  <c:v>87.609700000000004</c:v>
                </c:pt>
                <c:pt idx="830">
                  <c:v>87.980620000000002</c:v>
                </c:pt>
                <c:pt idx="831">
                  <c:v>88.437775000000002</c:v>
                </c:pt>
                <c:pt idx="832">
                  <c:v>88.584400000000002</c:v>
                </c:pt>
                <c:pt idx="833">
                  <c:v>88.403239999999997</c:v>
                </c:pt>
                <c:pt idx="834">
                  <c:v>88.998419999999996</c:v>
                </c:pt>
                <c:pt idx="835">
                  <c:v>89.412440000000004</c:v>
                </c:pt>
                <c:pt idx="836">
                  <c:v>89.11054</c:v>
                </c:pt>
                <c:pt idx="837">
                  <c:v>88.894930000000002</c:v>
                </c:pt>
                <c:pt idx="838">
                  <c:v>89.041533999999999</c:v>
                </c:pt>
                <c:pt idx="839">
                  <c:v>88.722399999999993</c:v>
                </c:pt>
                <c:pt idx="840">
                  <c:v>89.576329999999999</c:v>
                </c:pt>
                <c:pt idx="841">
                  <c:v>89.196809999999999</c:v>
                </c:pt>
                <c:pt idx="842">
                  <c:v>89.162300000000002</c:v>
                </c:pt>
                <c:pt idx="843">
                  <c:v>89.774730000000005</c:v>
                </c:pt>
                <c:pt idx="844">
                  <c:v>89.481444999999994</c:v>
                </c:pt>
                <c:pt idx="845">
                  <c:v>90.085235999999995</c:v>
                </c:pt>
                <c:pt idx="846">
                  <c:v>87.963356000000005</c:v>
                </c:pt>
                <c:pt idx="847">
                  <c:v>88.092740000000006</c:v>
                </c:pt>
                <c:pt idx="848">
                  <c:v>88.101380000000006</c:v>
                </c:pt>
                <c:pt idx="849">
                  <c:v>88.946655000000007</c:v>
                </c:pt>
                <c:pt idx="850">
                  <c:v>91.379069999999999</c:v>
                </c:pt>
                <c:pt idx="851">
                  <c:v>91.111670000000004</c:v>
                </c:pt>
                <c:pt idx="852">
                  <c:v>91.793075999999999</c:v>
                </c:pt>
                <c:pt idx="853">
                  <c:v>91.361823999999999</c:v>
                </c:pt>
                <c:pt idx="854">
                  <c:v>92.71602</c:v>
                </c:pt>
                <c:pt idx="855">
                  <c:v>93.388810000000007</c:v>
                </c:pt>
                <c:pt idx="856">
                  <c:v>93.940865000000002</c:v>
                </c:pt>
                <c:pt idx="857">
                  <c:v>93.837363999999994</c:v>
                </c:pt>
                <c:pt idx="858">
                  <c:v>94.803430000000006</c:v>
                </c:pt>
                <c:pt idx="859">
                  <c:v>94.846535000000003</c:v>
                </c:pt>
                <c:pt idx="860">
                  <c:v>94.587789999999998</c:v>
                </c:pt>
                <c:pt idx="861">
                  <c:v>94.199614999999994</c:v>
                </c:pt>
                <c:pt idx="862">
                  <c:v>94.475639999999999</c:v>
                </c:pt>
                <c:pt idx="863">
                  <c:v>93.949479999999994</c:v>
                </c:pt>
                <c:pt idx="864">
                  <c:v>93.656229999999994</c:v>
                </c:pt>
                <c:pt idx="865">
                  <c:v>94.182370000000006</c:v>
                </c:pt>
                <c:pt idx="866">
                  <c:v>94.035736</c:v>
                </c:pt>
                <c:pt idx="867">
                  <c:v>93.328429999999997</c:v>
                </c:pt>
                <c:pt idx="868">
                  <c:v>92.707409999999996</c:v>
                </c:pt>
                <c:pt idx="869">
                  <c:v>93.268050000000002</c:v>
                </c:pt>
                <c:pt idx="870">
                  <c:v>93.949479999999994</c:v>
                </c:pt>
                <c:pt idx="871">
                  <c:v>93.958110000000005</c:v>
                </c:pt>
                <c:pt idx="872">
                  <c:v>93.776970000000006</c:v>
                </c:pt>
                <c:pt idx="873">
                  <c:v>93.190444999999997</c:v>
                </c:pt>
                <c:pt idx="874">
                  <c:v>93.518196000000003</c:v>
                </c:pt>
                <c:pt idx="875">
                  <c:v>93.725229999999996</c:v>
                </c:pt>
                <c:pt idx="876">
                  <c:v>93.276690000000002</c:v>
                </c:pt>
                <c:pt idx="877">
                  <c:v>93.397446000000002</c:v>
                </c:pt>
                <c:pt idx="878">
                  <c:v>93.863235000000003</c:v>
                </c:pt>
                <c:pt idx="879">
                  <c:v>93.569969999999998</c:v>
                </c:pt>
                <c:pt idx="880">
                  <c:v>93.664829999999995</c:v>
                </c:pt>
                <c:pt idx="881">
                  <c:v>93.776970000000006</c:v>
                </c:pt>
                <c:pt idx="882">
                  <c:v>93.155945000000003</c:v>
                </c:pt>
                <c:pt idx="883">
                  <c:v>93.561340000000001</c:v>
                </c:pt>
                <c:pt idx="884">
                  <c:v>93.397446000000002</c:v>
                </c:pt>
                <c:pt idx="885">
                  <c:v>93.302574000000007</c:v>
                </c:pt>
                <c:pt idx="886">
                  <c:v>93.121440000000007</c:v>
                </c:pt>
                <c:pt idx="887">
                  <c:v>93.052419999999998</c:v>
                </c:pt>
                <c:pt idx="888">
                  <c:v>93.250820000000004</c:v>
                </c:pt>
                <c:pt idx="889">
                  <c:v>93.052419999999998</c:v>
                </c:pt>
                <c:pt idx="890">
                  <c:v>92.681526000000005</c:v>
                </c:pt>
                <c:pt idx="891">
                  <c:v>93.147316000000004</c:v>
                </c:pt>
                <c:pt idx="892">
                  <c:v>92.474500000000006</c:v>
                </c:pt>
                <c:pt idx="893">
                  <c:v>92.729029999999995</c:v>
                </c:pt>
                <c:pt idx="894">
                  <c:v>93.198104999999998</c:v>
                </c:pt>
                <c:pt idx="895">
                  <c:v>93.701930000000004</c:v>
                </c:pt>
                <c:pt idx="896">
                  <c:v>93.745350000000002</c:v>
                </c:pt>
                <c:pt idx="897">
                  <c:v>93.128609999999995</c:v>
                </c:pt>
                <c:pt idx="898">
                  <c:v>92.84196</c:v>
                </c:pt>
                <c:pt idx="899">
                  <c:v>90.383660000000006</c:v>
                </c:pt>
                <c:pt idx="900">
                  <c:v>92.094899999999996</c:v>
                </c:pt>
                <c:pt idx="901">
                  <c:v>90.852720000000005</c:v>
                </c:pt>
                <c:pt idx="902">
                  <c:v>91.252330000000001</c:v>
                </c:pt>
                <c:pt idx="903">
                  <c:v>91.625839999999997</c:v>
                </c:pt>
                <c:pt idx="904">
                  <c:v>91.452100000000002</c:v>
                </c:pt>
                <c:pt idx="905">
                  <c:v>91.790886</c:v>
                </c:pt>
                <c:pt idx="906">
                  <c:v>92.338130000000007</c:v>
                </c:pt>
                <c:pt idx="907">
                  <c:v>93.059100000000001</c:v>
                </c:pt>
                <c:pt idx="908">
                  <c:v>93.658479999999997</c:v>
                </c:pt>
                <c:pt idx="909">
                  <c:v>93.241529999999997</c:v>
                </c:pt>
                <c:pt idx="910">
                  <c:v>92.972244000000003</c:v>
                </c:pt>
                <c:pt idx="911">
                  <c:v>93.371840000000006</c:v>
                </c:pt>
                <c:pt idx="912">
                  <c:v>93.27628</c:v>
                </c:pt>
                <c:pt idx="913">
                  <c:v>93.606380000000001</c:v>
                </c:pt>
                <c:pt idx="914">
                  <c:v>94.483710000000002</c:v>
                </c:pt>
                <c:pt idx="915">
                  <c:v>94.032030000000006</c:v>
                </c:pt>
                <c:pt idx="916">
                  <c:v>93.033066000000005</c:v>
                </c:pt>
                <c:pt idx="917">
                  <c:v>92.086219999999997</c:v>
                </c:pt>
                <c:pt idx="918">
                  <c:v>92.424999999999997</c:v>
                </c:pt>
                <c:pt idx="919">
                  <c:v>92.068839999999994</c:v>
                </c:pt>
                <c:pt idx="920">
                  <c:v>92.268630000000002</c:v>
                </c:pt>
                <c:pt idx="921">
                  <c:v>91.704009999999997</c:v>
                </c:pt>
                <c:pt idx="922">
                  <c:v>92.147030000000001</c:v>
                </c:pt>
                <c:pt idx="923">
                  <c:v>92.008049999999997</c:v>
                </c:pt>
                <c:pt idx="924">
                  <c:v>92.79853</c:v>
                </c:pt>
                <c:pt idx="925">
                  <c:v>92.815880000000007</c:v>
                </c:pt>
                <c:pt idx="926">
                  <c:v>92.902760000000001</c:v>
                </c:pt>
                <c:pt idx="927">
                  <c:v>92.303389999999993</c:v>
                </c:pt>
                <c:pt idx="928">
                  <c:v>91.964614999999995</c:v>
                </c:pt>
                <c:pt idx="929">
                  <c:v>91.747450000000001</c:v>
                </c:pt>
                <c:pt idx="930">
                  <c:v>93.215479999999999</c:v>
                </c:pt>
                <c:pt idx="931">
                  <c:v>93.145989999999998</c:v>
                </c:pt>
                <c:pt idx="932">
                  <c:v>93.007000000000005</c:v>
                </c:pt>
                <c:pt idx="933">
                  <c:v>92.624793999999994</c:v>
                </c:pt>
                <c:pt idx="934">
                  <c:v>93.007000000000005</c:v>
                </c:pt>
                <c:pt idx="935">
                  <c:v>93.119929999999997</c:v>
                </c:pt>
                <c:pt idx="936">
                  <c:v>92.694280000000006</c:v>
                </c:pt>
                <c:pt idx="937">
                  <c:v>92.694280000000006</c:v>
                </c:pt>
                <c:pt idx="938">
                  <c:v>92.624793999999994</c:v>
                </c:pt>
                <c:pt idx="939">
                  <c:v>91.912499999999994</c:v>
                </c:pt>
                <c:pt idx="940">
                  <c:v>92.911445999999998</c:v>
                </c:pt>
                <c:pt idx="941">
                  <c:v>94.440280000000001</c:v>
                </c:pt>
                <c:pt idx="942">
                  <c:v>93.16337</c:v>
                </c:pt>
                <c:pt idx="943">
                  <c:v>89.688720000000004</c:v>
                </c:pt>
                <c:pt idx="944">
                  <c:v>89.636604000000005</c:v>
                </c:pt>
                <c:pt idx="945">
                  <c:v>88.073030000000003</c:v>
                </c:pt>
                <c:pt idx="946">
                  <c:v>88.472610000000003</c:v>
                </c:pt>
                <c:pt idx="947">
                  <c:v>88.350999999999999</c:v>
                </c:pt>
                <c:pt idx="948">
                  <c:v>88.272819999999996</c:v>
                </c:pt>
                <c:pt idx="949">
                  <c:v>88.003540000000001</c:v>
                </c:pt>
                <c:pt idx="950">
                  <c:v>88.828789999999998</c:v>
                </c:pt>
                <c:pt idx="951">
                  <c:v>89.376014999999995</c:v>
                </c:pt>
                <c:pt idx="952">
                  <c:v>88.194630000000004</c:v>
                </c:pt>
                <c:pt idx="953">
                  <c:v>88.750579999999999</c:v>
                </c:pt>
                <c:pt idx="954">
                  <c:v>89.289150000000006</c:v>
                </c:pt>
                <c:pt idx="955">
                  <c:v>89.071979999999996</c:v>
                </c:pt>
                <c:pt idx="956">
                  <c:v>87.595725999999999</c:v>
                </c:pt>
                <c:pt idx="957">
                  <c:v>86.659409999999994</c:v>
                </c:pt>
                <c:pt idx="958">
                  <c:v>88.033264000000003</c:v>
                </c:pt>
                <c:pt idx="959">
                  <c:v>88.129519999999999</c:v>
                </c:pt>
                <c:pt idx="960">
                  <c:v>88.864586000000003</c:v>
                </c:pt>
                <c:pt idx="961">
                  <c:v>89.967190000000002</c:v>
                </c:pt>
                <c:pt idx="962">
                  <c:v>89.389660000000006</c:v>
                </c:pt>
                <c:pt idx="963">
                  <c:v>90.632249999999999</c:v>
                </c:pt>
                <c:pt idx="964">
                  <c:v>91.638596000000007</c:v>
                </c:pt>
                <c:pt idx="965">
                  <c:v>92.434905999999998</c:v>
                </c:pt>
                <c:pt idx="966">
                  <c:v>91.419849999999997</c:v>
                </c:pt>
                <c:pt idx="967">
                  <c:v>92.146150000000006</c:v>
                </c:pt>
                <c:pt idx="968">
                  <c:v>92.644959999999998</c:v>
                </c:pt>
                <c:pt idx="969">
                  <c:v>92.242410000000007</c:v>
                </c:pt>
                <c:pt idx="970">
                  <c:v>91.796120000000002</c:v>
                </c:pt>
                <c:pt idx="971">
                  <c:v>91.621099999999998</c:v>
                </c:pt>
                <c:pt idx="972">
                  <c:v>92.189920000000001</c:v>
                </c:pt>
                <c:pt idx="973">
                  <c:v>91.962379999999996</c:v>
                </c:pt>
                <c:pt idx="974">
                  <c:v>91.997389999999996</c:v>
                </c:pt>
                <c:pt idx="975">
                  <c:v>91.551094000000006</c:v>
                </c:pt>
                <c:pt idx="976">
                  <c:v>91.874886000000004</c:v>
                </c:pt>
                <c:pt idx="977">
                  <c:v>91.559849999999997</c:v>
                </c:pt>
                <c:pt idx="978">
                  <c:v>91.577354</c:v>
                </c:pt>
                <c:pt idx="979">
                  <c:v>91.752364999999998</c:v>
                </c:pt>
                <c:pt idx="980">
                  <c:v>91.629859999999994</c:v>
                </c:pt>
                <c:pt idx="981">
                  <c:v>91.498580000000004</c:v>
                </c:pt>
                <c:pt idx="982">
                  <c:v>90.536000000000001</c:v>
                </c:pt>
                <c:pt idx="983">
                  <c:v>89.232129999999998</c:v>
                </c:pt>
                <c:pt idx="984">
                  <c:v>89.092110000000005</c:v>
                </c:pt>
                <c:pt idx="985">
                  <c:v>89.118369999999999</c:v>
                </c:pt>
                <c:pt idx="986">
                  <c:v>88.864586000000003</c:v>
                </c:pt>
                <c:pt idx="987">
                  <c:v>89.42465</c:v>
                </c:pt>
                <c:pt idx="988">
                  <c:v>89.905945000000003</c:v>
                </c:pt>
                <c:pt idx="989">
                  <c:v>89.573400000000007</c:v>
                </c:pt>
                <c:pt idx="990">
                  <c:v>90.343500000000006</c:v>
                </c:pt>
                <c:pt idx="991">
                  <c:v>91.017290000000003</c:v>
                </c:pt>
                <c:pt idx="992">
                  <c:v>91.629859999999994</c:v>
                </c:pt>
                <c:pt idx="993">
                  <c:v>91.542336000000006</c:v>
                </c:pt>
                <c:pt idx="994">
                  <c:v>91.131065000000007</c:v>
                </c:pt>
                <c:pt idx="995">
                  <c:v>90.553520000000006</c:v>
                </c:pt>
                <c:pt idx="996">
                  <c:v>90.737269999999995</c:v>
                </c:pt>
                <c:pt idx="997">
                  <c:v>90.816029999999998</c:v>
                </c:pt>
                <c:pt idx="998">
                  <c:v>90.142219999999995</c:v>
                </c:pt>
                <c:pt idx="999">
                  <c:v>91.034800000000004</c:v>
                </c:pt>
                <c:pt idx="1000">
                  <c:v>91.979900000000001</c:v>
                </c:pt>
                <c:pt idx="1001">
                  <c:v>91.507350000000002</c:v>
                </c:pt>
                <c:pt idx="1002">
                  <c:v>92.417434999999998</c:v>
                </c:pt>
                <c:pt idx="1003">
                  <c:v>92.487440000000007</c:v>
                </c:pt>
                <c:pt idx="1004">
                  <c:v>92.732460000000003</c:v>
                </c:pt>
                <c:pt idx="1005">
                  <c:v>92.846209999999999</c:v>
                </c:pt>
                <c:pt idx="1006">
                  <c:v>93.213745000000003</c:v>
                </c:pt>
                <c:pt idx="1007">
                  <c:v>93.563773999999995</c:v>
                </c:pt>
                <c:pt idx="1008">
                  <c:v>93.397514000000001</c:v>
                </c:pt>
                <c:pt idx="1009">
                  <c:v>94.613879999999995</c:v>
                </c:pt>
                <c:pt idx="1010">
                  <c:v>94.640144000000006</c:v>
                </c:pt>
                <c:pt idx="1011">
                  <c:v>95.698989999999995</c:v>
                </c:pt>
                <c:pt idx="1012">
                  <c:v>95.742739999999998</c:v>
                </c:pt>
                <c:pt idx="1013">
                  <c:v>95.856514000000004</c:v>
                </c:pt>
                <c:pt idx="1014">
                  <c:v>96.110275000000001</c:v>
                </c:pt>
                <c:pt idx="1015">
                  <c:v>95.620239999999995</c:v>
                </c:pt>
                <c:pt idx="1016">
                  <c:v>96.591570000000004</c:v>
                </c:pt>
                <c:pt idx="1017">
                  <c:v>96.682334999999995</c:v>
                </c:pt>
                <c:pt idx="1018">
                  <c:v>97.017120000000006</c:v>
                </c:pt>
                <c:pt idx="1019">
                  <c:v>97.413629999999998</c:v>
                </c:pt>
                <c:pt idx="1020">
                  <c:v>96.594210000000004</c:v>
                </c:pt>
                <c:pt idx="1021">
                  <c:v>96.321060000000003</c:v>
                </c:pt>
                <c:pt idx="1022">
                  <c:v>96.303439999999995</c:v>
                </c:pt>
                <c:pt idx="1023">
                  <c:v>96.056749999999994</c:v>
                </c:pt>
                <c:pt idx="1024">
                  <c:v>96.558975000000004</c:v>
                </c:pt>
                <c:pt idx="1025">
                  <c:v>96.400369999999995</c:v>
                </c:pt>
                <c:pt idx="1026">
                  <c:v>96.33869</c:v>
                </c:pt>
                <c:pt idx="1027">
                  <c:v>97.898223999999999</c:v>
                </c:pt>
                <c:pt idx="1028">
                  <c:v>97.924674999999993</c:v>
                </c:pt>
                <c:pt idx="1029">
                  <c:v>98.144930000000002</c:v>
                </c:pt>
                <c:pt idx="1030">
                  <c:v>97.93347</c:v>
                </c:pt>
                <c:pt idx="1031">
                  <c:v>98.47972</c:v>
                </c:pt>
                <c:pt idx="1032">
                  <c:v>98.700040000000001</c:v>
                </c:pt>
                <c:pt idx="1033">
                  <c:v>98.488550000000004</c:v>
                </c:pt>
                <c:pt idx="1034">
                  <c:v>98.788123999999996</c:v>
                </c:pt>
                <c:pt idx="1035">
                  <c:v>98.532629999999997</c:v>
                </c:pt>
                <c:pt idx="1036">
                  <c:v>99.078896</c:v>
                </c:pt>
                <c:pt idx="1037">
                  <c:v>99.061263999999994</c:v>
                </c:pt>
                <c:pt idx="1038">
                  <c:v>98.840990000000005</c:v>
                </c:pt>
                <c:pt idx="1039">
                  <c:v>98.559049999999999</c:v>
                </c:pt>
                <c:pt idx="1040">
                  <c:v>98.559049999999999</c:v>
                </c:pt>
                <c:pt idx="1041">
                  <c:v>98.752883999999995</c:v>
                </c:pt>
                <c:pt idx="1042">
                  <c:v>98.629530000000003</c:v>
                </c:pt>
                <c:pt idx="1043">
                  <c:v>98.312349999999995</c:v>
                </c:pt>
                <c:pt idx="1044">
                  <c:v>98.338775999999996</c:v>
                </c:pt>
                <c:pt idx="1045">
                  <c:v>98.700040000000001</c:v>
                </c:pt>
                <c:pt idx="1046">
                  <c:v>98.444500000000005</c:v>
                </c:pt>
                <c:pt idx="1047">
                  <c:v>100.10095</c:v>
                </c:pt>
                <c:pt idx="1048">
                  <c:v>99.281559999999999</c:v>
                </c:pt>
                <c:pt idx="1049">
                  <c:v>99.845439999999996</c:v>
                </c:pt>
                <c:pt idx="1050">
                  <c:v>100.6913</c:v>
                </c:pt>
                <c:pt idx="1051">
                  <c:v>100.10978</c:v>
                </c:pt>
                <c:pt idx="1052">
                  <c:v>100.08335</c:v>
                </c:pt>
                <c:pt idx="1053">
                  <c:v>99.942374999999998</c:v>
                </c:pt>
                <c:pt idx="1054">
                  <c:v>100.726524</c:v>
                </c:pt>
                <c:pt idx="1055">
                  <c:v>100.585556</c:v>
                </c:pt>
                <c:pt idx="1056">
                  <c:v>99.85427</c:v>
                </c:pt>
                <c:pt idx="1057">
                  <c:v>99.246300000000005</c:v>
                </c:pt>
                <c:pt idx="1058">
                  <c:v>99.810190000000006</c:v>
                </c:pt>
                <c:pt idx="1059">
                  <c:v>98.929109999999994</c:v>
                </c:pt>
                <c:pt idx="1060">
                  <c:v>98.937910000000002</c:v>
                </c:pt>
                <c:pt idx="1061">
                  <c:v>98.497375000000005</c:v>
                </c:pt>
                <c:pt idx="1062">
                  <c:v>99.528260000000003</c:v>
                </c:pt>
                <c:pt idx="1063">
                  <c:v>99.757323999999997</c:v>
                </c:pt>
                <c:pt idx="1064">
                  <c:v>99.757323999999997</c:v>
                </c:pt>
                <c:pt idx="1065">
                  <c:v>99.316779999999994</c:v>
                </c:pt>
                <c:pt idx="1066">
                  <c:v>99.422516000000002</c:v>
                </c:pt>
                <c:pt idx="1067">
                  <c:v>99.598724000000004</c:v>
                </c:pt>
                <c:pt idx="1068">
                  <c:v>99.484189999999998</c:v>
                </c:pt>
                <c:pt idx="1069">
                  <c:v>100.39172000000001</c:v>
                </c:pt>
                <c:pt idx="1070">
                  <c:v>100.25955999999999</c:v>
                </c:pt>
                <c:pt idx="1071">
                  <c:v>100.21549</c:v>
                </c:pt>
                <c:pt idx="1072">
                  <c:v>100.47101000000001</c:v>
                </c:pt>
                <c:pt idx="1073">
                  <c:v>100.17144</c:v>
                </c:pt>
                <c:pt idx="1074">
                  <c:v>101.061356</c:v>
                </c:pt>
                <c:pt idx="1075">
                  <c:v>101.36972</c:v>
                </c:pt>
                <c:pt idx="1076">
                  <c:v>102.25964</c:v>
                </c:pt>
                <c:pt idx="1077">
                  <c:v>103.55485</c:v>
                </c:pt>
                <c:pt idx="1078">
                  <c:v>103.889656</c:v>
                </c:pt>
                <c:pt idx="1079">
                  <c:v>103.97777600000001</c:v>
                </c:pt>
                <c:pt idx="1080">
                  <c:v>103.68057</c:v>
                </c:pt>
                <c:pt idx="1081">
                  <c:v>103.99994</c:v>
                </c:pt>
                <c:pt idx="1082">
                  <c:v>104.3903</c:v>
                </c:pt>
                <c:pt idx="1083">
                  <c:v>104.57657</c:v>
                </c:pt>
                <c:pt idx="1084">
                  <c:v>104.4169</c:v>
                </c:pt>
                <c:pt idx="1085">
                  <c:v>103.84025</c:v>
                </c:pt>
                <c:pt idx="1086">
                  <c:v>102.81119</c:v>
                </c:pt>
                <c:pt idx="1087">
                  <c:v>102.85554999999999</c:v>
                </c:pt>
                <c:pt idx="1088">
                  <c:v>103.11282</c:v>
                </c:pt>
                <c:pt idx="1089">
                  <c:v>103.19264</c:v>
                </c:pt>
                <c:pt idx="1090">
                  <c:v>104.124146</c:v>
                </c:pt>
                <c:pt idx="1091">
                  <c:v>103.982185</c:v>
                </c:pt>
                <c:pt idx="1092">
                  <c:v>103.6717</c:v>
                </c:pt>
                <c:pt idx="1093">
                  <c:v>104.05316999999999</c:v>
                </c:pt>
                <c:pt idx="1094">
                  <c:v>104.63869</c:v>
                </c:pt>
                <c:pt idx="1095">
                  <c:v>104.16849499999999</c:v>
                </c:pt>
                <c:pt idx="1096">
                  <c:v>103.04183999999999</c:v>
                </c:pt>
                <c:pt idx="1097">
                  <c:v>103.76040999999999</c:v>
                </c:pt>
                <c:pt idx="1098">
                  <c:v>103.90235</c:v>
                </c:pt>
                <c:pt idx="1099">
                  <c:v>102.85554999999999</c:v>
                </c:pt>
                <c:pt idx="1100">
                  <c:v>103.24585</c:v>
                </c:pt>
                <c:pt idx="1101">
                  <c:v>102.18129999999999</c:v>
                </c:pt>
                <c:pt idx="1102">
                  <c:v>102.45631</c:v>
                </c:pt>
                <c:pt idx="1103">
                  <c:v>102.41194</c:v>
                </c:pt>
                <c:pt idx="1104">
                  <c:v>102.28776000000001</c:v>
                </c:pt>
                <c:pt idx="1105">
                  <c:v>102.13694</c:v>
                </c:pt>
                <c:pt idx="1106">
                  <c:v>102.474075</c:v>
                </c:pt>
                <c:pt idx="1107">
                  <c:v>101.373985</c:v>
                </c:pt>
                <c:pt idx="1108">
                  <c:v>100.9038</c:v>
                </c:pt>
                <c:pt idx="1109">
                  <c:v>101.81756</c:v>
                </c:pt>
                <c:pt idx="1110">
                  <c:v>101.15221</c:v>
                </c:pt>
                <c:pt idx="1111">
                  <c:v>101.95950000000001</c:v>
                </c:pt>
                <c:pt idx="1112">
                  <c:v>101.95950000000001</c:v>
                </c:pt>
                <c:pt idx="1113">
                  <c:v>102.03049</c:v>
                </c:pt>
                <c:pt idx="1114">
                  <c:v>102.323235</c:v>
                </c:pt>
                <c:pt idx="1115">
                  <c:v>102.474075</c:v>
                </c:pt>
                <c:pt idx="1116">
                  <c:v>103.46765000000001</c:v>
                </c:pt>
                <c:pt idx="1117">
                  <c:v>103.02409</c:v>
                </c:pt>
                <c:pt idx="1118">
                  <c:v>103.30795999999999</c:v>
                </c:pt>
                <c:pt idx="1119">
                  <c:v>103.96446</c:v>
                </c:pt>
                <c:pt idx="1120">
                  <c:v>104.09753000000001</c:v>
                </c:pt>
                <c:pt idx="1121">
                  <c:v>103.44992000000001</c:v>
                </c:pt>
                <c:pt idx="1122">
                  <c:v>103.44992000000001</c:v>
                </c:pt>
                <c:pt idx="1123">
                  <c:v>102.83777600000001</c:v>
                </c:pt>
                <c:pt idx="1124">
                  <c:v>102.56278</c:v>
                </c:pt>
                <c:pt idx="1125">
                  <c:v>103.17491</c:v>
                </c:pt>
                <c:pt idx="1126">
                  <c:v>103.237015</c:v>
                </c:pt>
                <c:pt idx="1127">
                  <c:v>103.76040999999999</c:v>
                </c:pt>
                <c:pt idx="1128">
                  <c:v>103.538635</c:v>
                </c:pt>
                <c:pt idx="1129">
                  <c:v>103.46765000000001</c:v>
                </c:pt>
                <c:pt idx="1130">
                  <c:v>103.24585</c:v>
                </c:pt>
                <c:pt idx="1131">
                  <c:v>103.36121</c:v>
                </c:pt>
                <c:pt idx="1132">
                  <c:v>104.5411</c:v>
                </c:pt>
                <c:pt idx="1133">
                  <c:v>105.54358999999999</c:v>
                </c:pt>
                <c:pt idx="1134">
                  <c:v>105.65891999999999</c:v>
                </c:pt>
                <c:pt idx="1135">
                  <c:v>105.02903000000001</c:v>
                </c:pt>
                <c:pt idx="1136">
                  <c:v>104.32818</c:v>
                </c:pt>
                <c:pt idx="1137">
                  <c:v>104.91370000000001</c:v>
                </c:pt>
                <c:pt idx="1138">
                  <c:v>104.61208000000001</c:v>
                </c:pt>
                <c:pt idx="1139">
                  <c:v>104.05316999999999</c:v>
                </c:pt>
                <c:pt idx="1140">
                  <c:v>103.10393500000001</c:v>
                </c:pt>
                <c:pt idx="1141">
                  <c:v>102.775696</c:v>
                </c:pt>
                <c:pt idx="1142">
                  <c:v>102.50069000000001</c:v>
                </c:pt>
                <c:pt idx="1143">
                  <c:v>102.76681499999999</c:v>
                </c:pt>
                <c:pt idx="1144">
                  <c:v>102.869545</c:v>
                </c:pt>
                <c:pt idx="1145">
                  <c:v>103.38769499999999</c:v>
                </c:pt>
                <c:pt idx="1146">
                  <c:v>103.48596999999999</c:v>
                </c:pt>
                <c:pt idx="1147">
                  <c:v>103.51273999999999</c:v>
                </c:pt>
                <c:pt idx="1148">
                  <c:v>103.94157</c:v>
                </c:pt>
                <c:pt idx="1149">
                  <c:v>104.51331</c:v>
                </c:pt>
                <c:pt idx="1150">
                  <c:v>102.77128999999999</c:v>
                </c:pt>
                <c:pt idx="1151">
                  <c:v>103.35196000000001</c:v>
                </c:pt>
                <c:pt idx="1152">
                  <c:v>102.73555</c:v>
                </c:pt>
                <c:pt idx="1153">
                  <c:v>102.24419</c:v>
                </c:pt>
                <c:pt idx="1154">
                  <c:v>102.01194</c:v>
                </c:pt>
                <c:pt idx="1155">
                  <c:v>102.60156000000001</c:v>
                </c:pt>
                <c:pt idx="1156">
                  <c:v>102.72662</c:v>
                </c:pt>
                <c:pt idx="1157">
                  <c:v>102.279945</c:v>
                </c:pt>
                <c:pt idx="1158">
                  <c:v>101.46698000000001</c:v>
                </c:pt>
                <c:pt idx="1159">
                  <c:v>100.77016999999999</c:v>
                </c:pt>
                <c:pt idx="1160">
                  <c:v>99.921480000000003</c:v>
                </c:pt>
                <c:pt idx="1161">
                  <c:v>100.001884</c:v>
                </c:pt>
                <c:pt idx="1162">
                  <c:v>99.885739999999998</c:v>
                </c:pt>
                <c:pt idx="1163">
                  <c:v>99.251464999999996</c:v>
                </c:pt>
                <c:pt idx="1164">
                  <c:v>99.733894000000006</c:v>
                </c:pt>
                <c:pt idx="1165">
                  <c:v>99.546270000000007</c:v>
                </c:pt>
                <c:pt idx="1166">
                  <c:v>97.482619999999997</c:v>
                </c:pt>
                <c:pt idx="1167">
                  <c:v>97.491560000000007</c:v>
                </c:pt>
                <c:pt idx="1168">
                  <c:v>97.679169999999999</c:v>
                </c:pt>
                <c:pt idx="1169">
                  <c:v>98.670779999999993</c:v>
                </c:pt>
                <c:pt idx="1170">
                  <c:v>98.626130000000003</c:v>
                </c:pt>
                <c:pt idx="1171">
                  <c:v>98.277709999999999</c:v>
                </c:pt>
                <c:pt idx="1172">
                  <c:v>98.965590000000006</c:v>
                </c:pt>
                <c:pt idx="1173">
                  <c:v>99.617750000000001</c:v>
                </c:pt>
                <c:pt idx="1174">
                  <c:v>100.457504</c:v>
                </c:pt>
                <c:pt idx="1175">
                  <c:v>100.60936</c:v>
                </c:pt>
                <c:pt idx="1176">
                  <c:v>101.45805</c:v>
                </c:pt>
                <c:pt idx="1177">
                  <c:v>100.22524</c:v>
                </c:pt>
                <c:pt idx="1178">
                  <c:v>100.01082</c:v>
                </c:pt>
                <c:pt idx="1179">
                  <c:v>100.654045</c:v>
                </c:pt>
                <c:pt idx="1180">
                  <c:v>99.707085000000006</c:v>
                </c:pt>
                <c:pt idx="1181">
                  <c:v>99.778559999999999</c:v>
                </c:pt>
                <c:pt idx="1182">
                  <c:v>98.938820000000007</c:v>
                </c:pt>
                <c:pt idx="1183">
                  <c:v>98.331329999999994</c:v>
                </c:pt>
                <c:pt idx="1184">
                  <c:v>98.920929999999998</c:v>
                </c:pt>
                <c:pt idx="1185">
                  <c:v>98.804789999999997</c:v>
                </c:pt>
                <c:pt idx="1186">
                  <c:v>97.956115999999994</c:v>
                </c:pt>
                <c:pt idx="1187">
                  <c:v>98.474249999999998</c:v>
                </c:pt>
                <c:pt idx="1188">
                  <c:v>98.384919999999994</c:v>
                </c:pt>
                <c:pt idx="1189">
                  <c:v>98.313445999999999</c:v>
                </c:pt>
                <c:pt idx="1190">
                  <c:v>98.465310000000002</c:v>
                </c:pt>
                <c:pt idx="1191">
                  <c:v>97.607709999999997</c:v>
                </c:pt>
                <c:pt idx="1192">
                  <c:v>98.688670000000002</c:v>
                </c:pt>
                <c:pt idx="1193">
                  <c:v>100.055504</c:v>
                </c:pt>
                <c:pt idx="1194">
                  <c:v>99.590940000000003</c:v>
                </c:pt>
                <c:pt idx="1195">
                  <c:v>100.72551</c:v>
                </c:pt>
                <c:pt idx="1196">
                  <c:v>101.87793000000001</c:v>
                </c:pt>
                <c:pt idx="1197">
                  <c:v>103.41449</c:v>
                </c:pt>
                <c:pt idx="1198">
                  <c:v>102.82489</c:v>
                </c:pt>
                <c:pt idx="1199">
                  <c:v>102.941025</c:v>
                </c:pt>
                <c:pt idx="1200">
                  <c:v>102.44965000000001</c:v>
                </c:pt>
                <c:pt idx="1201">
                  <c:v>102.65515000000001</c:v>
                </c:pt>
                <c:pt idx="1202">
                  <c:v>103.67357</c:v>
                </c:pt>
                <c:pt idx="1203">
                  <c:v>102.80701000000001</c:v>
                </c:pt>
                <c:pt idx="1204">
                  <c:v>103.53955999999999</c:v>
                </c:pt>
                <c:pt idx="1205">
                  <c:v>103.49491</c:v>
                </c:pt>
                <c:pt idx="1206">
                  <c:v>104.316765</c:v>
                </c:pt>
                <c:pt idx="1207">
                  <c:v>104.3793</c:v>
                </c:pt>
                <c:pt idx="1208">
                  <c:v>104.81559</c:v>
                </c:pt>
                <c:pt idx="1209">
                  <c:v>105.04946</c:v>
                </c:pt>
                <c:pt idx="1210">
                  <c:v>105.66117</c:v>
                </c:pt>
                <c:pt idx="1211">
                  <c:v>105.778114</c:v>
                </c:pt>
                <c:pt idx="1212">
                  <c:v>106.95652</c:v>
                </c:pt>
                <c:pt idx="1213">
                  <c:v>105.00451</c:v>
                </c:pt>
                <c:pt idx="1214">
                  <c:v>104.86057</c:v>
                </c:pt>
                <c:pt idx="1215">
                  <c:v>105.59820999999999</c:v>
                </c:pt>
                <c:pt idx="1216">
                  <c:v>105.60719</c:v>
                </c:pt>
                <c:pt idx="1217">
                  <c:v>105.967</c:v>
                </c:pt>
                <c:pt idx="1218">
                  <c:v>106.16492</c:v>
                </c:pt>
                <c:pt idx="1219">
                  <c:v>107.2444</c:v>
                </c:pt>
                <c:pt idx="1220">
                  <c:v>106.191925</c:v>
                </c:pt>
                <c:pt idx="1221">
                  <c:v>106.69565</c:v>
                </c:pt>
                <c:pt idx="1222">
                  <c:v>107.06447</c:v>
                </c:pt>
                <c:pt idx="1223">
                  <c:v>106.38082</c:v>
                </c:pt>
                <c:pt idx="1224">
                  <c:v>106.68665</c:v>
                </c:pt>
                <c:pt idx="1225">
                  <c:v>106.947525</c:v>
                </c:pt>
                <c:pt idx="1226">
                  <c:v>107.31636</c:v>
                </c:pt>
                <c:pt idx="1227">
                  <c:v>107.36133</c:v>
                </c:pt>
                <c:pt idx="1228">
                  <c:v>107.874054</c:v>
                </c:pt>
                <c:pt idx="1229">
                  <c:v>106.20090999999999</c:v>
                </c:pt>
                <c:pt idx="1230">
                  <c:v>105.92203000000001</c:v>
                </c:pt>
                <c:pt idx="1231">
                  <c:v>106.44378</c:v>
                </c:pt>
                <c:pt idx="1232">
                  <c:v>106.74962600000001</c:v>
                </c:pt>
                <c:pt idx="1233">
                  <c:v>106.13793</c:v>
                </c:pt>
                <c:pt idx="1234">
                  <c:v>106.21889</c:v>
                </c:pt>
                <c:pt idx="1235">
                  <c:v>105.67916</c:v>
                </c:pt>
                <c:pt idx="1236">
                  <c:v>105.13942</c:v>
                </c:pt>
                <c:pt idx="1237">
                  <c:v>105.58922</c:v>
                </c:pt>
                <c:pt idx="1238">
                  <c:v>106.02099</c:v>
                </c:pt>
                <c:pt idx="1239">
                  <c:v>107.208405</c:v>
                </c:pt>
                <c:pt idx="1240">
                  <c:v>107.09146</c:v>
                </c:pt>
                <c:pt idx="1241">
                  <c:v>108.09896000000001</c:v>
                </c:pt>
                <c:pt idx="1242">
                  <c:v>109.304344</c:v>
                </c:pt>
                <c:pt idx="1243">
                  <c:v>109.11545</c:v>
                </c:pt>
                <c:pt idx="1244">
                  <c:v>108.97153</c:v>
                </c:pt>
                <c:pt idx="1245">
                  <c:v>108.75563</c:v>
                </c:pt>
                <c:pt idx="1246">
                  <c:v>109.52924</c:v>
                </c:pt>
                <c:pt idx="1247">
                  <c:v>107.649185</c:v>
                </c:pt>
                <c:pt idx="1248">
                  <c:v>107.847084</c:v>
                </c:pt>
                <c:pt idx="1249">
                  <c:v>108.21590399999999</c:v>
                </c:pt>
                <c:pt idx="1250">
                  <c:v>108.21590399999999</c:v>
                </c:pt>
                <c:pt idx="1251">
                  <c:v>106.74962600000001</c:v>
                </c:pt>
                <c:pt idx="1252">
                  <c:v>102.96253</c:v>
                </c:pt>
                <c:pt idx="1253">
                  <c:v>102.15291999999999</c:v>
                </c:pt>
                <c:pt idx="1254">
                  <c:v>102.09895</c:v>
                </c:pt>
                <c:pt idx="1255">
                  <c:v>99.085464000000002</c:v>
                </c:pt>
                <c:pt idx="1256">
                  <c:v>100.01201</c:v>
                </c:pt>
                <c:pt idx="1257">
                  <c:v>100.68667000000001</c:v>
                </c:pt>
                <c:pt idx="1258">
                  <c:v>100.87558</c:v>
                </c:pt>
                <c:pt idx="1259">
                  <c:v>98.149940000000001</c:v>
                </c:pt>
                <c:pt idx="1260">
                  <c:v>99.823104999999998</c:v>
                </c:pt>
                <c:pt idx="1261">
                  <c:v>99.904049999999998</c:v>
                </c:pt>
                <c:pt idx="1262">
                  <c:v>98.482765000000001</c:v>
                </c:pt>
                <c:pt idx="1263">
                  <c:v>97.151420000000002</c:v>
                </c:pt>
                <c:pt idx="1264">
                  <c:v>98.284874000000002</c:v>
                </c:pt>
                <c:pt idx="1265">
                  <c:v>98.662660000000002</c:v>
                </c:pt>
                <c:pt idx="1266">
                  <c:v>99.796104</c:v>
                </c:pt>
                <c:pt idx="1267">
                  <c:v>99.751140000000007</c:v>
                </c:pt>
                <c:pt idx="1268">
                  <c:v>98.707663999999994</c:v>
                </c:pt>
                <c:pt idx="1269">
                  <c:v>97.978160000000003</c:v>
                </c:pt>
                <c:pt idx="1270">
                  <c:v>98.811859999999996</c:v>
                </c:pt>
                <c:pt idx="1271">
                  <c:v>99.165300000000002</c:v>
                </c:pt>
                <c:pt idx="1272">
                  <c:v>99.301215999999997</c:v>
                </c:pt>
                <c:pt idx="1273">
                  <c:v>99.536829999999995</c:v>
                </c:pt>
                <c:pt idx="1274">
                  <c:v>101.56671</c:v>
                </c:pt>
                <c:pt idx="1275">
                  <c:v>101.98354999999999</c:v>
                </c:pt>
                <c:pt idx="1276">
                  <c:v>102.17384</c:v>
                </c:pt>
                <c:pt idx="1277">
                  <c:v>102.94412</c:v>
                </c:pt>
                <c:pt idx="1278">
                  <c:v>102.047</c:v>
                </c:pt>
                <c:pt idx="1279">
                  <c:v>101.485146</c:v>
                </c:pt>
                <c:pt idx="1280">
                  <c:v>101.16799</c:v>
                </c:pt>
                <c:pt idx="1281">
                  <c:v>100.00805</c:v>
                </c:pt>
                <c:pt idx="1282">
                  <c:v>99.591194000000002</c:v>
                </c:pt>
                <c:pt idx="1283">
                  <c:v>98.540015999999994</c:v>
                </c:pt>
                <c:pt idx="1284">
                  <c:v>97.815055999999998</c:v>
                </c:pt>
                <c:pt idx="1285">
                  <c:v>96.192954999999998</c:v>
                </c:pt>
                <c:pt idx="1286">
                  <c:v>96.791039999999995</c:v>
                </c:pt>
                <c:pt idx="1287">
                  <c:v>97.543189999999996</c:v>
                </c:pt>
                <c:pt idx="1288">
                  <c:v>98.938739999999996</c:v>
                </c:pt>
                <c:pt idx="1289">
                  <c:v>98.911545000000004</c:v>
                </c:pt>
                <c:pt idx="1290">
                  <c:v>97.008529999999993</c:v>
                </c:pt>
                <c:pt idx="1291">
                  <c:v>98.041600000000003</c:v>
                </c:pt>
                <c:pt idx="1292">
                  <c:v>99.844930000000005</c:v>
                </c:pt>
                <c:pt idx="1293">
                  <c:v>100.19835999999999</c:v>
                </c:pt>
                <c:pt idx="1294">
                  <c:v>99.047484999999995</c:v>
                </c:pt>
                <c:pt idx="1295">
                  <c:v>99.119969999999995</c:v>
                </c:pt>
                <c:pt idx="1296">
                  <c:v>99.138090000000005</c:v>
                </c:pt>
                <c:pt idx="1297">
                  <c:v>98.485634000000005</c:v>
                </c:pt>
                <c:pt idx="1298">
                  <c:v>98.150319999999994</c:v>
                </c:pt>
                <c:pt idx="1299">
                  <c:v>99.011240000000001</c:v>
                </c:pt>
                <c:pt idx="1300">
                  <c:v>99.60933</c:v>
                </c:pt>
                <c:pt idx="1301">
                  <c:v>98.657820000000001</c:v>
                </c:pt>
                <c:pt idx="1302">
                  <c:v>96.94511</c:v>
                </c:pt>
                <c:pt idx="1303">
                  <c:v>95.667366000000001</c:v>
                </c:pt>
                <c:pt idx="1304">
                  <c:v>92.86721</c:v>
                </c:pt>
                <c:pt idx="1305">
                  <c:v>92.957830000000001</c:v>
                </c:pt>
                <c:pt idx="1306">
                  <c:v>91.924760000000006</c:v>
                </c:pt>
                <c:pt idx="1307">
                  <c:v>91.661969999999997</c:v>
                </c:pt>
                <c:pt idx="1308">
                  <c:v>93.574036000000007</c:v>
                </c:pt>
                <c:pt idx="1309">
                  <c:v>92.169426000000001</c:v>
                </c:pt>
                <c:pt idx="1310">
                  <c:v>91.471664000000004</c:v>
                </c:pt>
                <c:pt idx="1311">
                  <c:v>89.831440000000001</c:v>
                </c:pt>
                <c:pt idx="1312">
                  <c:v>88.109669999999994</c:v>
                </c:pt>
                <c:pt idx="1313">
                  <c:v>88.444940000000003</c:v>
                </c:pt>
                <c:pt idx="1314">
                  <c:v>89.704570000000004</c:v>
                </c:pt>
                <c:pt idx="1315">
                  <c:v>89.015854000000004</c:v>
                </c:pt>
                <c:pt idx="1316">
                  <c:v>87.710939999999994</c:v>
                </c:pt>
                <c:pt idx="1317">
                  <c:v>87.140029999999996</c:v>
                </c:pt>
                <c:pt idx="1318">
                  <c:v>88.145899999999997</c:v>
                </c:pt>
                <c:pt idx="1319">
                  <c:v>88.29092</c:v>
                </c:pt>
                <c:pt idx="1320">
                  <c:v>88.037170000000003</c:v>
                </c:pt>
                <c:pt idx="1321">
                  <c:v>87.719989999999996</c:v>
                </c:pt>
                <c:pt idx="1322">
                  <c:v>88.073419999999999</c:v>
                </c:pt>
                <c:pt idx="1323">
                  <c:v>88.734949999999998</c:v>
                </c:pt>
                <c:pt idx="1324">
                  <c:v>88.363399999999999</c:v>
                </c:pt>
                <c:pt idx="1325">
                  <c:v>90.175803999999999</c:v>
                </c:pt>
                <c:pt idx="1326">
                  <c:v>90.556404000000001</c:v>
                </c:pt>
                <c:pt idx="1327">
                  <c:v>91.027619999999999</c:v>
                </c:pt>
                <c:pt idx="1328">
                  <c:v>90.782960000000003</c:v>
                </c:pt>
                <c:pt idx="1329">
                  <c:v>90.900760000000005</c:v>
                </c:pt>
                <c:pt idx="1330">
                  <c:v>91.616646000000003</c:v>
                </c:pt>
                <c:pt idx="1331">
                  <c:v>92.278175000000005</c:v>
                </c:pt>
                <c:pt idx="1332">
                  <c:v>91.681889999999996</c:v>
                </c:pt>
                <c:pt idx="1333">
                  <c:v>91.681889999999996</c:v>
                </c:pt>
                <c:pt idx="1334">
                  <c:v>91.563000000000002</c:v>
                </c:pt>
                <c:pt idx="1335">
                  <c:v>91.645340000000004</c:v>
                </c:pt>
                <c:pt idx="1336">
                  <c:v>92.212339999999998</c:v>
                </c:pt>
                <c:pt idx="1337">
                  <c:v>92.514139999999998</c:v>
                </c:pt>
                <c:pt idx="1338">
                  <c:v>93.730450000000005</c:v>
                </c:pt>
                <c:pt idx="1339">
                  <c:v>94.388915999999995</c:v>
                </c:pt>
                <c:pt idx="1340">
                  <c:v>95.550380000000004</c:v>
                </c:pt>
                <c:pt idx="1341">
                  <c:v>96.272859999999994</c:v>
                </c:pt>
                <c:pt idx="1342">
                  <c:v>96.144819999999996</c:v>
                </c:pt>
                <c:pt idx="1343">
                  <c:v>98.412859999999995</c:v>
                </c:pt>
                <c:pt idx="1344">
                  <c:v>96.373450000000005</c:v>
                </c:pt>
                <c:pt idx="1345">
                  <c:v>96.903880000000001</c:v>
                </c:pt>
                <c:pt idx="1346">
                  <c:v>96.766689999999997</c:v>
                </c:pt>
                <c:pt idx="1347">
                  <c:v>98.074485999999993</c:v>
                </c:pt>
                <c:pt idx="1348">
                  <c:v>99.107910000000004</c:v>
                </c:pt>
                <c:pt idx="1349">
                  <c:v>99.674933999999993</c:v>
                </c:pt>
                <c:pt idx="1350">
                  <c:v>98.815250000000006</c:v>
                </c:pt>
                <c:pt idx="1351">
                  <c:v>99.016450000000006</c:v>
                </c:pt>
                <c:pt idx="1352">
                  <c:v>99.391419999999997</c:v>
                </c:pt>
                <c:pt idx="1353">
                  <c:v>99.565169999999995</c:v>
                </c:pt>
                <c:pt idx="1354">
                  <c:v>100.16876000000001</c:v>
                </c:pt>
                <c:pt idx="1355">
                  <c:v>99.501159999999999</c:v>
                </c:pt>
                <c:pt idx="1356">
                  <c:v>100.18707999999999</c:v>
                </c:pt>
                <c:pt idx="1357">
                  <c:v>100.19619</c:v>
                </c:pt>
                <c:pt idx="1358">
                  <c:v>98.550060000000002</c:v>
                </c:pt>
                <c:pt idx="1359">
                  <c:v>103.24159</c:v>
                </c:pt>
                <c:pt idx="1360">
                  <c:v>102.92151</c:v>
                </c:pt>
                <c:pt idx="1361">
                  <c:v>101.99784</c:v>
                </c:pt>
                <c:pt idx="1362">
                  <c:v>103.05868</c:v>
                </c:pt>
                <c:pt idx="1363">
                  <c:v>103.30562</c:v>
                </c:pt>
                <c:pt idx="1364">
                  <c:v>105.0615</c:v>
                </c:pt>
                <c:pt idx="1365">
                  <c:v>105.01578000000001</c:v>
                </c:pt>
                <c:pt idx="1366">
                  <c:v>105.87542999999999</c:v>
                </c:pt>
                <c:pt idx="1367">
                  <c:v>106.09491</c:v>
                </c:pt>
                <c:pt idx="1368">
                  <c:v>104.61339</c:v>
                </c:pt>
                <c:pt idx="1369">
                  <c:v>104.93348</c:v>
                </c:pt>
                <c:pt idx="1370">
                  <c:v>105.363304</c:v>
                </c:pt>
                <c:pt idx="1371">
                  <c:v>105.17127000000001</c:v>
                </c:pt>
                <c:pt idx="1372">
                  <c:v>104.512794</c:v>
                </c:pt>
                <c:pt idx="1373">
                  <c:v>104.42135</c:v>
                </c:pt>
                <c:pt idx="1374">
                  <c:v>105.17127000000001</c:v>
                </c:pt>
                <c:pt idx="1375">
                  <c:v>103.90005499999999</c:v>
                </c:pt>
                <c:pt idx="1376">
                  <c:v>104.88775</c:v>
                </c:pt>
                <c:pt idx="1377">
                  <c:v>106.36015999999999</c:v>
                </c:pt>
                <c:pt idx="1378">
                  <c:v>107.34784000000001</c:v>
                </c:pt>
                <c:pt idx="1379">
                  <c:v>104.45791</c:v>
                </c:pt>
                <c:pt idx="1380">
                  <c:v>103.790306</c:v>
                </c:pt>
                <c:pt idx="1381">
                  <c:v>103.98237</c:v>
                </c:pt>
                <c:pt idx="1382">
                  <c:v>103.22329999999999</c:v>
                </c:pt>
                <c:pt idx="1383">
                  <c:v>103.36048</c:v>
                </c:pt>
                <c:pt idx="1384">
                  <c:v>103.433655</c:v>
                </c:pt>
                <c:pt idx="1385">
                  <c:v>103.75373999999999</c:v>
                </c:pt>
                <c:pt idx="1386">
                  <c:v>104.48536</c:v>
                </c:pt>
                <c:pt idx="1387">
                  <c:v>105.13467</c:v>
                </c:pt>
                <c:pt idx="1388">
                  <c:v>105.02493</c:v>
                </c:pt>
                <c:pt idx="1389">
                  <c:v>104.00064999999999</c:v>
                </c:pt>
                <c:pt idx="1390">
                  <c:v>102.64713999999999</c:v>
                </c:pt>
                <c:pt idx="1391">
                  <c:v>102.36364</c:v>
                </c:pt>
                <c:pt idx="1392">
                  <c:v>102.56483</c:v>
                </c:pt>
                <c:pt idx="1393">
                  <c:v>102.80262</c:v>
                </c:pt>
                <c:pt idx="1394">
                  <c:v>101.6686</c:v>
                </c:pt>
                <c:pt idx="1395">
                  <c:v>102.47338999999999</c:v>
                </c:pt>
                <c:pt idx="1396">
                  <c:v>102.391075</c:v>
                </c:pt>
                <c:pt idx="1397">
                  <c:v>102.436806</c:v>
                </c:pt>
                <c:pt idx="1398">
                  <c:v>101.51313</c:v>
                </c:pt>
                <c:pt idx="1399">
                  <c:v>103.45193500000001</c:v>
                </c:pt>
                <c:pt idx="1400">
                  <c:v>104.65805</c:v>
                </c:pt>
                <c:pt idx="1401">
                  <c:v>103.95725</c:v>
                </c:pt>
                <c:pt idx="1402">
                  <c:v>104.72259</c:v>
                </c:pt>
                <c:pt idx="1403">
                  <c:v>104.50129</c:v>
                </c:pt>
                <c:pt idx="1404">
                  <c:v>104.980774</c:v>
                </c:pt>
                <c:pt idx="1405">
                  <c:v>106.03197</c:v>
                </c:pt>
                <c:pt idx="1406">
                  <c:v>105.64467</c:v>
                </c:pt>
                <c:pt idx="1407">
                  <c:v>106.41003000000001</c:v>
                </c:pt>
                <c:pt idx="1408">
                  <c:v>105.10063</c:v>
                </c:pt>
                <c:pt idx="1409">
                  <c:v>104.907</c:v>
                </c:pt>
                <c:pt idx="1410">
                  <c:v>106.24404</c:v>
                </c:pt>
                <c:pt idx="1411">
                  <c:v>105.95820000000001</c:v>
                </c:pt>
                <c:pt idx="1412">
                  <c:v>103.52386</c:v>
                </c:pt>
                <c:pt idx="1413">
                  <c:v>103.247246</c:v>
                </c:pt>
                <c:pt idx="1414">
                  <c:v>102.81384</c:v>
                </c:pt>
                <c:pt idx="1415">
                  <c:v>102.3989</c:v>
                </c:pt>
                <c:pt idx="1416">
                  <c:v>103.09047</c:v>
                </c:pt>
                <c:pt idx="1417">
                  <c:v>102.08539</c:v>
                </c:pt>
                <c:pt idx="1418">
                  <c:v>100.25042000000001</c:v>
                </c:pt>
                <c:pt idx="1419">
                  <c:v>99.143889999999999</c:v>
                </c:pt>
                <c:pt idx="1420">
                  <c:v>98.3048</c:v>
                </c:pt>
                <c:pt idx="1421">
                  <c:v>98.194145000000006</c:v>
                </c:pt>
                <c:pt idx="1422">
                  <c:v>99.761700000000005</c:v>
                </c:pt>
                <c:pt idx="1423">
                  <c:v>99.697159999999997</c:v>
                </c:pt>
                <c:pt idx="1424">
                  <c:v>98.977936</c:v>
                </c:pt>
                <c:pt idx="1425">
                  <c:v>96.875540000000001</c:v>
                </c:pt>
                <c:pt idx="1426">
                  <c:v>97.078400000000002</c:v>
                </c:pt>
                <c:pt idx="1427">
                  <c:v>97.401129999999995</c:v>
                </c:pt>
                <c:pt idx="1428">
                  <c:v>99.024024999999995</c:v>
                </c:pt>
                <c:pt idx="1429">
                  <c:v>99.872370000000004</c:v>
                </c:pt>
                <c:pt idx="1430">
                  <c:v>99.521950000000004</c:v>
                </c:pt>
                <c:pt idx="1431">
                  <c:v>101.69813000000001</c:v>
                </c:pt>
                <c:pt idx="1432">
                  <c:v>100.87746</c:v>
                </c:pt>
                <c:pt idx="1433">
                  <c:v>101.55057499999999</c:v>
                </c:pt>
                <c:pt idx="1434">
                  <c:v>104.1601</c:v>
                </c:pt>
                <c:pt idx="1435">
                  <c:v>104.05868</c:v>
                </c:pt>
                <c:pt idx="1436">
                  <c:v>101.845634</c:v>
                </c:pt>
                <c:pt idx="1437">
                  <c:v>104.09556000000001</c:v>
                </c:pt>
                <c:pt idx="1438">
                  <c:v>104.907</c:v>
                </c:pt>
                <c:pt idx="1439">
                  <c:v>103.62528</c:v>
                </c:pt>
                <c:pt idx="1440">
                  <c:v>102.82307400000001</c:v>
                </c:pt>
                <c:pt idx="1441">
                  <c:v>102.50955999999999</c:v>
                </c:pt>
                <c:pt idx="1442">
                  <c:v>105.47873</c:v>
                </c:pt>
                <c:pt idx="1443">
                  <c:v>106.23483</c:v>
                </c:pt>
                <c:pt idx="1444">
                  <c:v>106.60366999999999</c:v>
                </c:pt>
                <c:pt idx="1445">
                  <c:v>107.01861</c:v>
                </c:pt>
                <c:pt idx="1446">
                  <c:v>108.32799</c:v>
                </c:pt>
                <c:pt idx="1447">
                  <c:v>107.85773</c:v>
                </c:pt>
                <c:pt idx="1448">
                  <c:v>108.014465</c:v>
                </c:pt>
                <c:pt idx="1449">
                  <c:v>107.562645</c:v>
                </c:pt>
                <c:pt idx="1450">
                  <c:v>107.70096599999999</c:v>
                </c:pt>
                <c:pt idx="1451">
                  <c:v>109.13023</c:v>
                </c:pt>
                <c:pt idx="1452">
                  <c:v>109.7388</c:v>
                </c:pt>
                <c:pt idx="1453">
                  <c:v>106.96328</c:v>
                </c:pt>
                <c:pt idx="1454">
                  <c:v>106.29935999999999</c:v>
                </c:pt>
                <c:pt idx="1455">
                  <c:v>106.41924</c:v>
                </c:pt>
                <c:pt idx="1456">
                  <c:v>106.83419000000001</c:v>
                </c:pt>
                <c:pt idx="1457">
                  <c:v>107.36902000000001</c:v>
                </c:pt>
                <c:pt idx="1458">
                  <c:v>109.26853</c:v>
                </c:pt>
                <c:pt idx="1459">
                  <c:v>109.05645</c:v>
                </c:pt>
                <c:pt idx="1460">
                  <c:v>112.440544</c:v>
                </c:pt>
                <c:pt idx="1461">
                  <c:v>109.711136</c:v>
                </c:pt>
                <c:pt idx="1462">
                  <c:v>108.62308</c:v>
                </c:pt>
                <c:pt idx="1463">
                  <c:v>108.59331</c:v>
                </c:pt>
                <c:pt idx="1464">
                  <c:v>107.64530000000001</c:v>
                </c:pt>
                <c:pt idx="1465">
                  <c:v>107.98918999999999</c:v>
                </c:pt>
                <c:pt idx="1466">
                  <c:v>109.01156</c:v>
                </c:pt>
                <c:pt idx="1467">
                  <c:v>108.742035</c:v>
                </c:pt>
                <c:pt idx="1468">
                  <c:v>109.99673</c:v>
                </c:pt>
                <c:pt idx="1469">
                  <c:v>105.90730000000001</c:v>
                </c:pt>
                <c:pt idx="1470">
                  <c:v>104.90353399999999</c:v>
                </c:pt>
                <c:pt idx="1471">
                  <c:v>103.94623</c:v>
                </c:pt>
                <c:pt idx="1472">
                  <c:v>102.27328</c:v>
                </c:pt>
                <c:pt idx="1473">
                  <c:v>102.43127</c:v>
                </c:pt>
                <c:pt idx="1474">
                  <c:v>101.69703</c:v>
                </c:pt>
                <c:pt idx="1475">
                  <c:v>98.546300000000002</c:v>
                </c:pt>
                <c:pt idx="1476">
                  <c:v>100.68397</c:v>
                </c:pt>
                <c:pt idx="1477">
                  <c:v>101.69703</c:v>
                </c:pt>
                <c:pt idx="1478">
                  <c:v>102.57068</c:v>
                </c:pt>
                <c:pt idx="1479">
                  <c:v>102.68222</c:v>
                </c:pt>
                <c:pt idx="1480">
                  <c:v>101.5669</c:v>
                </c:pt>
                <c:pt idx="1481">
                  <c:v>100.61892</c:v>
                </c:pt>
                <c:pt idx="1482">
                  <c:v>102.68222</c:v>
                </c:pt>
                <c:pt idx="1483">
                  <c:v>101.799255</c:v>
                </c:pt>
                <c:pt idx="1484">
                  <c:v>102.77515</c:v>
                </c:pt>
                <c:pt idx="1485">
                  <c:v>99.903244000000001</c:v>
                </c:pt>
                <c:pt idx="1486">
                  <c:v>100.51667</c:v>
                </c:pt>
                <c:pt idx="1487">
                  <c:v>100.525955</c:v>
                </c:pt>
                <c:pt idx="1488">
                  <c:v>99.745260000000002</c:v>
                </c:pt>
                <c:pt idx="1489">
                  <c:v>101.297386</c:v>
                </c:pt>
                <c:pt idx="1490">
                  <c:v>100.69326</c:v>
                </c:pt>
                <c:pt idx="1491">
                  <c:v>101.51115</c:v>
                </c:pt>
                <c:pt idx="1492">
                  <c:v>102.30115499999999</c:v>
                </c:pt>
                <c:pt idx="1493">
                  <c:v>102.15243</c:v>
                </c:pt>
                <c:pt idx="1494">
                  <c:v>102.91457</c:v>
                </c:pt>
                <c:pt idx="1495">
                  <c:v>101.77137999999999</c:v>
                </c:pt>
                <c:pt idx="1496">
                  <c:v>101.63197</c:v>
                </c:pt>
                <c:pt idx="1497">
                  <c:v>101.13937</c:v>
                </c:pt>
                <c:pt idx="1498">
                  <c:v>101.30667</c:v>
                </c:pt>
                <c:pt idx="1499">
                  <c:v>102.99821</c:v>
                </c:pt>
                <c:pt idx="1500">
                  <c:v>104.71764</c:v>
                </c:pt>
                <c:pt idx="1501">
                  <c:v>104.27154</c:v>
                </c:pt>
                <c:pt idx="1502">
                  <c:v>105.10799400000001</c:v>
                </c:pt>
                <c:pt idx="1503">
                  <c:v>104.93142</c:v>
                </c:pt>
                <c:pt idx="1504">
                  <c:v>105.07082</c:v>
                </c:pt>
                <c:pt idx="1505">
                  <c:v>105.10799400000001</c:v>
                </c:pt>
                <c:pt idx="1506">
                  <c:v>105.04292</c:v>
                </c:pt>
                <c:pt idx="1507">
                  <c:v>104.99648000000001</c:v>
                </c:pt>
                <c:pt idx="1508">
                  <c:v>105.7586</c:v>
                </c:pt>
                <c:pt idx="1509">
                  <c:v>106.06528</c:v>
                </c:pt>
                <c:pt idx="1510">
                  <c:v>104.64328</c:v>
                </c:pt>
                <c:pt idx="1511">
                  <c:v>107.72895</c:v>
                </c:pt>
                <c:pt idx="1512">
                  <c:v>107.74755999999999</c:v>
                </c:pt>
                <c:pt idx="1513">
                  <c:v>107.654625</c:v>
                </c:pt>
                <c:pt idx="1514">
                  <c:v>107.90554</c:v>
                </c:pt>
                <c:pt idx="1515">
                  <c:v>108.51897</c:v>
                </c:pt>
                <c:pt idx="1516">
                  <c:v>107.86836</c:v>
                </c:pt>
                <c:pt idx="1517">
                  <c:v>107.78471</c:v>
                </c:pt>
                <c:pt idx="1518">
                  <c:v>107.22708</c:v>
                </c:pt>
                <c:pt idx="1519">
                  <c:v>108.34954999999999</c:v>
                </c:pt>
                <c:pt idx="1520">
                  <c:v>108.85551</c:v>
                </c:pt>
                <c:pt idx="1521">
                  <c:v>108.84614000000001</c:v>
                </c:pt>
                <c:pt idx="1522">
                  <c:v>108.71496</c:v>
                </c:pt>
                <c:pt idx="1523">
                  <c:v>109.30524</c:v>
                </c:pt>
                <c:pt idx="1524">
                  <c:v>108.78055000000001</c:v>
                </c:pt>
                <c:pt idx="1525">
                  <c:v>107.9654</c:v>
                </c:pt>
                <c:pt idx="1526">
                  <c:v>109.23965</c:v>
                </c:pt>
                <c:pt idx="1527">
                  <c:v>109.22091</c:v>
                </c:pt>
                <c:pt idx="1528">
                  <c:v>109.23028600000001</c:v>
                </c:pt>
                <c:pt idx="1529">
                  <c:v>108.21837600000001</c:v>
                </c:pt>
                <c:pt idx="1530">
                  <c:v>108.368286</c:v>
                </c:pt>
                <c:pt idx="1531">
                  <c:v>109.87678</c:v>
                </c:pt>
                <c:pt idx="1532">
                  <c:v>110.64509</c:v>
                </c:pt>
                <c:pt idx="1533">
                  <c:v>110.86059</c:v>
                </c:pt>
                <c:pt idx="1534">
                  <c:v>111.90998</c:v>
                </c:pt>
                <c:pt idx="1535">
                  <c:v>113.10928</c:v>
                </c:pt>
                <c:pt idx="1536">
                  <c:v>113.23108999999999</c:v>
                </c:pt>
                <c:pt idx="1537">
                  <c:v>114.327324</c:v>
                </c:pt>
                <c:pt idx="1538">
                  <c:v>114.20553</c:v>
                </c:pt>
                <c:pt idx="1539">
                  <c:v>114.15867</c:v>
                </c:pt>
                <c:pt idx="1540">
                  <c:v>114.82391</c:v>
                </c:pt>
                <c:pt idx="1541">
                  <c:v>114.30858600000001</c:v>
                </c:pt>
                <c:pt idx="1542">
                  <c:v>114.00875000000001</c:v>
                </c:pt>
                <c:pt idx="1543">
                  <c:v>113.89632400000001</c:v>
                </c:pt>
                <c:pt idx="1544">
                  <c:v>113.812004</c:v>
                </c:pt>
                <c:pt idx="1545">
                  <c:v>113.95255</c:v>
                </c:pt>
                <c:pt idx="1546">
                  <c:v>114.30858600000001</c:v>
                </c:pt>
                <c:pt idx="1547">
                  <c:v>114.467865</c:v>
                </c:pt>
                <c:pt idx="1548">
                  <c:v>114.346054</c:v>
                </c:pt>
                <c:pt idx="1549">
                  <c:v>113.99939999999999</c:v>
                </c:pt>
                <c:pt idx="1550">
                  <c:v>114.52408</c:v>
                </c:pt>
                <c:pt idx="1551">
                  <c:v>115.863945</c:v>
                </c:pt>
                <c:pt idx="1552">
                  <c:v>114.69275</c:v>
                </c:pt>
                <c:pt idx="1553">
                  <c:v>119.00274</c:v>
                </c:pt>
                <c:pt idx="1554">
                  <c:v>119.07769</c:v>
                </c:pt>
                <c:pt idx="1555">
                  <c:v>118.46867</c:v>
                </c:pt>
                <c:pt idx="1556">
                  <c:v>119.07769</c:v>
                </c:pt>
                <c:pt idx="1557">
                  <c:v>118.91840000000001</c:v>
                </c:pt>
                <c:pt idx="1558">
                  <c:v>118.17821499999999</c:v>
                </c:pt>
                <c:pt idx="1559">
                  <c:v>118.43118</c:v>
                </c:pt>
                <c:pt idx="1560">
                  <c:v>118.7029</c:v>
                </c:pt>
                <c:pt idx="1561">
                  <c:v>119.97716</c:v>
                </c:pt>
                <c:pt idx="1562">
                  <c:v>119.21823000000001</c:v>
                </c:pt>
                <c:pt idx="1563">
                  <c:v>118.83410000000001</c:v>
                </c:pt>
                <c:pt idx="1564">
                  <c:v>119.62112399999999</c:v>
                </c:pt>
                <c:pt idx="1565">
                  <c:v>119.24634</c:v>
                </c:pt>
                <c:pt idx="1566">
                  <c:v>118.03767000000001</c:v>
                </c:pt>
                <c:pt idx="1567">
                  <c:v>118.07513400000001</c:v>
                </c:pt>
                <c:pt idx="1568">
                  <c:v>118.10326000000001</c:v>
                </c:pt>
                <c:pt idx="1569">
                  <c:v>119.93968</c:v>
                </c:pt>
                <c:pt idx="1570">
                  <c:v>119.14327</c:v>
                </c:pt>
                <c:pt idx="1571">
                  <c:v>119.37751</c:v>
                </c:pt>
                <c:pt idx="1572">
                  <c:v>121.19521</c:v>
                </c:pt>
                <c:pt idx="1573">
                  <c:v>122.057236</c:v>
                </c:pt>
                <c:pt idx="1574">
                  <c:v>122.28206</c:v>
                </c:pt>
                <c:pt idx="1575">
                  <c:v>121.79487</c:v>
                </c:pt>
                <c:pt idx="1576">
                  <c:v>120.91413</c:v>
                </c:pt>
                <c:pt idx="1577">
                  <c:v>121.86982999999999</c:v>
                </c:pt>
                <c:pt idx="1578">
                  <c:v>121.77614</c:v>
                </c:pt>
                <c:pt idx="1579">
                  <c:v>121.33575</c:v>
                </c:pt>
                <c:pt idx="1580">
                  <c:v>119.58364</c:v>
                </c:pt>
                <c:pt idx="1581">
                  <c:v>120.0896</c:v>
                </c:pt>
                <c:pt idx="1582">
                  <c:v>120.50187</c:v>
                </c:pt>
                <c:pt idx="1583">
                  <c:v>119.93031000000001</c:v>
                </c:pt>
                <c:pt idx="1584">
                  <c:v>120.84852600000001</c:v>
                </c:pt>
                <c:pt idx="1585">
                  <c:v>120.93288</c:v>
                </c:pt>
                <c:pt idx="1586">
                  <c:v>123.1066</c:v>
                </c:pt>
                <c:pt idx="1587">
                  <c:v>124.564804</c:v>
                </c:pt>
                <c:pt idx="1588">
                  <c:v>125.97108</c:v>
                </c:pt>
                <c:pt idx="1589">
                  <c:v>126.08432999999999</c:v>
                </c:pt>
                <c:pt idx="1590">
                  <c:v>125.71626000000001</c:v>
                </c:pt>
                <c:pt idx="1591">
                  <c:v>125.659615</c:v>
                </c:pt>
                <c:pt idx="1592">
                  <c:v>125.47084</c:v>
                </c:pt>
                <c:pt idx="1593">
                  <c:v>125.272644</c:v>
                </c:pt>
                <c:pt idx="1594">
                  <c:v>125.07446</c:v>
                </c:pt>
                <c:pt idx="1595">
                  <c:v>124.6403</c:v>
                </c:pt>
                <c:pt idx="1596">
                  <c:v>125.38592</c:v>
                </c:pt>
                <c:pt idx="1597">
                  <c:v>126.62233000000001</c:v>
                </c:pt>
                <c:pt idx="1598">
                  <c:v>126.43356</c:v>
                </c:pt>
                <c:pt idx="1599">
                  <c:v>126.60343</c:v>
                </c:pt>
                <c:pt idx="1600">
                  <c:v>126.291954</c:v>
                </c:pt>
                <c:pt idx="1601">
                  <c:v>124.885704</c:v>
                </c:pt>
                <c:pt idx="1602">
                  <c:v>124.2911</c:v>
                </c:pt>
                <c:pt idx="1603">
                  <c:v>123.76256600000001</c:v>
                </c:pt>
                <c:pt idx="1604">
                  <c:v>124.46097</c:v>
                </c:pt>
                <c:pt idx="1605">
                  <c:v>124.98951</c:v>
                </c:pt>
                <c:pt idx="1606">
                  <c:v>126.46187</c:v>
                </c:pt>
                <c:pt idx="1607">
                  <c:v>125.54637</c:v>
                </c:pt>
                <c:pt idx="1608">
                  <c:v>125.112206</c:v>
                </c:pt>
                <c:pt idx="1609">
                  <c:v>124.33826999999999</c:v>
                </c:pt>
                <c:pt idx="1610">
                  <c:v>126.85826</c:v>
                </c:pt>
                <c:pt idx="1611">
                  <c:v>126.80162</c:v>
                </c:pt>
                <c:pt idx="1612">
                  <c:v>125.79174</c:v>
                </c:pt>
                <c:pt idx="1613">
                  <c:v>126.61286</c:v>
                </c:pt>
                <c:pt idx="1614">
                  <c:v>126.28254</c:v>
                </c:pt>
                <c:pt idx="1615">
                  <c:v>125.31984</c:v>
                </c:pt>
                <c:pt idx="1616">
                  <c:v>125.41421</c:v>
                </c:pt>
                <c:pt idx="1617">
                  <c:v>122.78098</c:v>
                </c:pt>
                <c:pt idx="1618">
                  <c:v>122.96031000000001</c:v>
                </c:pt>
                <c:pt idx="1619">
                  <c:v>123.39447</c:v>
                </c:pt>
                <c:pt idx="1620">
                  <c:v>121.950424</c:v>
                </c:pt>
                <c:pt idx="1621">
                  <c:v>121.7428</c:v>
                </c:pt>
                <c:pt idx="1622">
                  <c:v>123.84751</c:v>
                </c:pt>
                <c:pt idx="1623">
                  <c:v>124.14008</c:v>
                </c:pt>
                <c:pt idx="1624">
                  <c:v>123.149055</c:v>
                </c:pt>
                <c:pt idx="1625">
                  <c:v>120.62909000000001</c:v>
                </c:pt>
                <c:pt idx="1626">
                  <c:v>119.996735</c:v>
                </c:pt>
                <c:pt idx="1627">
                  <c:v>120.7329</c:v>
                </c:pt>
                <c:pt idx="1628">
                  <c:v>117.410675</c:v>
                </c:pt>
                <c:pt idx="1629">
                  <c:v>119.34549</c:v>
                </c:pt>
                <c:pt idx="1630">
                  <c:v>120.60075999999999</c:v>
                </c:pt>
                <c:pt idx="1631">
                  <c:v>122.19582</c:v>
                </c:pt>
                <c:pt idx="1632">
                  <c:v>121.3747</c:v>
                </c:pt>
                <c:pt idx="1633">
                  <c:v>121.13875</c:v>
                </c:pt>
                <c:pt idx="1634">
                  <c:v>122.62994999999999</c:v>
                </c:pt>
                <c:pt idx="1635">
                  <c:v>121.86548000000001</c:v>
                </c:pt>
                <c:pt idx="1636">
                  <c:v>123.37559</c:v>
                </c:pt>
                <c:pt idx="1637">
                  <c:v>124.35715</c:v>
                </c:pt>
                <c:pt idx="1638">
                  <c:v>125.121635</c:v>
                </c:pt>
                <c:pt idx="1639">
                  <c:v>124.6403</c:v>
                </c:pt>
                <c:pt idx="1640">
                  <c:v>124.90459</c:v>
                </c:pt>
                <c:pt idx="1641">
                  <c:v>125.206604</c:v>
                </c:pt>
                <c:pt idx="1642">
                  <c:v>122.95088</c:v>
                </c:pt>
                <c:pt idx="1643">
                  <c:v>126.225914</c:v>
                </c:pt>
                <c:pt idx="1644">
                  <c:v>127.18861</c:v>
                </c:pt>
                <c:pt idx="1645">
                  <c:v>127.59444999999999</c:v>
                </c:pt>
                <c:pt idx="1646">
                  <c:v>128.37782000000001</c:v>
                </c:pt>
                <c:pt idx="1647">
                  <c:v>129.04794000000001</c:v>
                </c:pt>
                <c:pt idx="1648">
                  <c:v>129.73692</c:v>
                </c:pt>
                <c:pt idx="1649">
                  <c:v>131.33194</c:v>
                </c:pt>
                <c:pt idx="1650">
                  <c:v>129.22695999999999</c:v>
                </c:pt>
                <c:pt idx="1651">
                  <c:v>130.54793000000001</c:v>
                </c:pt>
                <c:pt idx="1652">
                  <c:v>129.62610000000001</c:v>
                </c:pt>
                <c:pt idx="1653">
                  <c:v>129.11293000000001</c:v>
                </c:pt>
                <c:pt idx="1654">
                  <c:v>129.58806999999999</c:v>
                </c:pt>
                <c:pt idx="1655">
                  <c:v>130.47190000000001</c:v>
                </c:pt>
                <c:pt idx="1656">
                  <c:v>129.66410999999999</c:v>
                </c:pt>
                <c:pt idx="1657">
                  <c:v>128.1816</c:v>
                </c:pt>
                <c:pt idx="1658">
                  <c:v>128.96088</c:v>
                </c:pt>
                <c:pt idx="1659">
                  <c:v>128.77081000000001</c:v>
                </c:pt>
                <c:pt idx="1660">
                  <c:v>128.75176999999999</c:v>
                </c:pt>
                <c:pt idx="1661">
                  <c:v>128.02001999999999</c:v>
                </c:pt>
                <c:pt idx="1662">
                  <c:v>128.71378000000001</c:v>
                </c:pt>
                <c:pt idx="1663">
                  <c:v>128.63775999999999</c:v>
                </c:pt>
                <c:pt idx="1664">
                  <c:v>128.38114999999999</c:v>
                </c:pt>
                <c:pt idx="1665">
                  <c:v>128.97987000000001</c:v>
                </c:pt>
                <c:pt idx="1666">
                  <c:v>128.86583999999999</c:v>
                </c:pt>
                <c:pt idx="1667">
                  <c:v>130.29134999999999</c:v>
                </c:pt>
                <c:pt idx="1668">
                  <c:v>130.54793000000001</c:v>
                </c:pt>
                <c:pt idx="1669">
                  <c:v>127.28828</c:v>
                </c:pt>
                <c:pt idx="1670">
                  <c:v>131.08011999999999</c:v>
                </c:pt>
                <c:pt idx="1671">
                  <c:v>133.31342000000001</c:v>
                </c:pt>
                <c:pt idx="1672">
                  <c:v>131.46974</c:v>
                </c:pt>
                <c:pt idx="1673">
                  <c:v>130.42438000000001</c:v>
                </c:pt>
                <c:pt idx="1674">
                  <c:v>131.00409999999999</c:v>
                </c:pt>
                <c:pt idx="1675">
                  <c:v>131.04212999999999</c:v>
                </c:pt>
                <c:pt idx="1676">
                  <c:v>130.80449999999999</c:v>
                </c:pt>
                <c:pt idx="1677">
                  <c:v>130.62395000000001</c:v>
                </c:pt>
                <c:pt idx="1678">
                  <c:v>129.55957000000001</c:v>
                </c:pt>
                <c:pt idx="1679">
                  <c:v>129.64510000000001</c:v>
                </c:pt>
                <c:pt idx="1680">
                  <c:v>130.15827999999999</c:v>
                </c:pt>
                <c:pt idx="1681">
                  <c:v>129.48355000000001</c:v>
                </c:pt>
                <c:pt idx="1682">
                  <c:v>129.35999000000001</c:v>
                </c:pt>
                <c:pt idx="1683">
                  <c:v>129.87317999999999</c:v>
                </c:pt>
                <c:pt idx="1684">
                  <c:v>130.62395000000001</c:v>
                </c:pt>
                <c:pt idx="1685">
                  <c:v>131.04212999999999</c:v>
                </c:pt>
                <c:pt idx="1686">
                  <c:v>129.85418999999999</c:v>
                </c:pt>
                <c:pt idx="1687">
                  <c:v>129.78764000000001</c:v>
                </c:pt>
                <c:pt idx="1688">
                  <c:v>129.32198</c:v>
                </c:pt>
                <c:pt idx="1689">
                  <c:v>130.10126</c:v>
                </c:pt>
                <c:pt idx="1690">
                  <c:v>130.35785999999999</c:v>
                </c:pt>
                <c:pt idx="1691">
                  <c:v>130.12978000000001</c:v>
                </c:pt>
                <c:pt idx="1692">
                  <c:v>128.4477</c:v>
                </c:pt>
                <c:pt idx="1693">
                  <c:v>127.354805</c:v>
                </c:pt>
                <c:pt idx="1694">
                  <c:v>127.76342</c:v>
                </c:pt>
                <c:pt idx="1695">
                  <c:v>126.69906</c:v>
                </c:pt>
                <c:pt idx="1696">
                  <c:v>126.518486</c:v>
                </c:pt>
                <c:pt idx="1697">
                  <c:v>125.81524</c:v>
                </c:pt>
                <c:pt idx="1698">
                  <c:v>125.42561000000001</c:v>
                </c:pt>
                <c:pt idx="1699">
                  <c:v>126.67054</c:v>
                </c:pt>
                <c:pt idx="1700">
                  <c:v>126.70858</c:v>
                </c:pt>
                <c:pt idx="1701">
                  <c:v>127.16469600000001</c:v>
                </c:pt>
                <c:pt idx="1702">
                  <c:v>127.40228</c:v>
                </c:pt>
                <c:pt idx="1703">
                  <c:v>127.88699</c:v>
                </c:pt>
                <c:pt idx="1704">
                  <c:v>127.098206</c:v>
                </c:pt>
                <c:pt idx="1705">
                  <c:v>127.25975</c:v>
                </c:pt>
                <c:pt idx="1706">
                  <c:v>127.41182999999999</c:v>
                </c:pt>
                <c:pt idx="1707">
                  <c:v>127.18373</c:v>
                </c:pt>
                <c:pt idx="1708">
                  <c:v>128.96088</c:v>
                </c:pt>
                <c:pt idx="1709">
                  <c:v>129.16045</c:v>
                </c:pt>
                <c:pt idx="1710">
                  <c:v>129.08439999999999</c:v>
                </c:pt>
                <c:pt idx="1711">
                  <c:v>129.13195999999999</c:v>
                </c:pt>
                <c:pt idx="1712">
                  <c:v>128.73278999999999</c:v>
                </c:pt>
                <c:pt idx="1713">
                  <c:v>130.48140000000001</c:v>
                </c:pt>
                <c:pt idx="1714">
                  <c:v>130.47660999999999</c:v>
                </c:pt>
                <c:pt idx="1715">
                  <c:v>131.45276000000001</c:v>
                </c:pt>
                <c:pt idx="1716">
                  <c:v>131.26137</c:v>
                </c:pt>
                <c:pt idx="1717">
                  <c:v>130.40961999999999</c:v>
                </c:pt>
                <c:pt idx="1718">
                  <c:v>131.20394999999999</c:v>
                </c:pt>
                <c:pt idx="1719">
                  <c:v>131.28049999999999</c:v>
                </c:pt>
                <c:pt idx="1720">
                  <c:v>132.00783000000001</c:v>
                </c:pt>
                <c:pt idx="1721">
                  <c:v>131.16565</c:v>
                </c:pt>
                <c:pt idx="1722">
                  <c:v>130.31393</c:v>
                </c:pt>
                <c:pt idx="1723">
                  <c:v>130.12253000000001</c:v>
                </c:pt>
                <c:pt idx="1724">
                  <c:v>130.60104000000001</c:v>
                </c:pt>
                <c:pt idx="1725">
                  <c:v>131.98867999999999</c:v>
                </c:pt>
                <c:pt idx="1726">
                  <c:v>131.1465</c:v>
                </c:pt>
                <c:pt idx="1727">
                  <c:v>131.00296</c:v>
                </c:pt>
                <c:pt idx="1728">
                  <c:v>130.81156999999999</c:v>
                </c:pt>
                <c:pt idx="1729">
                  <c:v>131.62502000000001</c:v>
                </c:pt>
                <c:pt idx="1730">
                  <c:v>130.92642000000001</c:v>
                </c:pt>
                <c:pt idx="1731">
                  <c:v>130.79243</c:v>
                </c:pt>
                <c:pt idx="1732">
                  <c:v>129.97899000000001</c:v>
                </c:pt>
                <c:pt idx="1733">
                  <c:v>129.79714999999999</c:v>
                </c:pt>
                <c:pt idx="1734">
                  <c:v>130.29478</c:v>
                </c:pt>
                <c:pt idx="1735">
                  <c:v>128.24682999999999</c:v>
                </c:pt>
                <c:pt idx="1736">
                  <c:v>128.90715</c:v>
                </c:pt>
                <c:pt idx="1737">
                  <c:v>128.99327</c:v>
                </c:pt>
                <c:pt idx="1738">
                  <c:v>128.74446</c:v>
                </c:pt>
                <c:pt idx="1739">
                  <c:v>130.65844999999999</c:v>
                </c:pt>
                <c:pt idx="1740">
                  <c:v>130.96467999999999</c:v>
                </c:pt>
                <c:pt idx="1741">
                  <c:v>133.21364</c:v>
                </c:pt>
                <c:pt idx="1742">
                  <c:v>133.60598999999999</c:v>
                </c:pt>
                <c:pt idx="1743">
                  <c:v>135.18503999999999</c:v>
                </c:pt>
                <c:pt idx="1744">
                  <c:v>135.75923</c:v>
                </c:pt>
                <c:pt idx="1745">
                  <c:v>137.21385000000001</c:v>
                </c:pt>
                <c:pt idx="1746">
                  <c:v>137.47226000000001</c:v>
                </c:pt>
                <c:pt idx="1747">
                  <c:v>136.77365</c:v>
                </c:pt>
                <c:pt idx="1748">
                  <c:v>136.02718999999999</c:v>
                </c:pt>
                <c:pt idx="1749">
                  <c:v>136.3143</c:v>
                </c:pt>
                <c:pt idx="1750">
                  <c:v>135.63480999999999</c:v>
                </c:pt>
                <c:pt idx="1751">
                  <c:v>137.64449999999999</c:v>
                </c:pt>
                <c:pt idx="1752">
                  <c:v>135.91237000000001</c:v>
                </c:pt>
                <c:pt idx="1753">
                  <c:v>136.38127</c:v>
                </c:pt>
                <c:pt idx="1754">
                  <c:v>137.06073000000001</c:v>
                </c:pt>
                <c:pt idx="1755">
                  <c:v>138.0943</c:v>
                </c:pt>
                <c:pt idx="1756">
                  <c:v>138.12302</c:v>
                </c:pt>
                <c:pt idx="1757">
                  <c:v>139.11829</c:v>
                </c:pt>
                <c:pt idx="1758">
                  <c:v>139.39581000000001</c:v>
                </c:pt>
                <c:pt idx="1759">
                  <c:v>139.79774</c:v>
                </c:pt>
                <c:pt idx="1760">
                  <c:v>139.79774</c:v>
                </c:pt>
                <c:pt idx="1761">
                  <c:v>140.17097000000001</c:v>
                </c:pt>
                <c:pt idx="1762">
                  <c:v>140.66861</c:v>
                </c:pt>
                <c:pt idx="1763">
                  <c:v>139.33840000000001</c:v>
                </c:pt>
                <c:pt idx="1764">
                  <c:v>139.2714</c:v>
                </c:pt>
                <c:pt idx="1765">
                  <c:v>138.91730000000001</c:v>
                </c:pt>
                <c:pt idx="1766">
                  <c:v>139.57764</c:v>
                </c:pt>
                <c:pt idx="1767">
                  <c:v>136.50568999999999</c:v>
                </c:pt>
                <c:pt idx="1768">
                  <c:v>135.03190000000001</c:v>
                </c:pt>
                <c:pt idx="1769">
                  <c:v>135.87406999999999</c:v>
                </c:pt>
                <c:pt idx="1770">
                  <c:v>130.50532999999999</c:v>
                </c:pt>
                <c:pt idx="1771">
                  <c:v>126.35198</c:v>
                </c:pt>
                <c:pt idx="1772">
                  <c:v>131.66329999999999</c:v>
                </c:pt>
                <c:pt idx="1773">
                  <c:v>129.74931000000001</c:v>
                </c:pt>
                <c:pt idx="1774">
                  <c:v>136.26644999999999</c:v>
                </c:pt>
                <c:pt idx="1775">
                  <c:v>133.05331000000001</c:v>
                </c:pt>
                <c:pt idx="1776">
                  <c:v>132.244</c:v>
                </c:pt>
                <c:pt idx="1777">
                  <c:v>125.40348</c:v>
                </c:pt>
                <c:pt idx="1778">
                  <c:v>129.23802000000001</c:v>
                </c:pt>
                <c:pt idx="1779">
                  <c:v>125.00845</c:v>
                </c:pt>
                <c:pt idx="1780">
                  <c:v>111.12504</c:v>
                </c:pt>
                <c:pt idx="1781">
                  <c:v>122.7925</c:v>
                </c:pt>
                <c:pt idx="1782">
                  <c:v>108.95726999999999</c:v>
                </c:pt>
                <c:pt idx="1783">
                  <c:v>123.05264</c:v>
                </c:pt>
                <c:pt idx="1784">
                  <c:v>116.501114</c:v>
                </c:pt>
                <c:pt idx="1785">
                  <c:v>113.051956</c:v>
                </c:pt>
                <c:pt idx="1786">
                  <c:v>100.13200000000001</c:v>
                </c:pt>
                <c:pt idx="1787">
                  <c:v>101.33633</c:v>
                </c:pt>
                <c:pt idx="1788">
                  <c:v>109.67986000000001</c:v>
                </c:pt>
                <c:pt idx="1789">
                  <c:v>108.38884</c:v>
                </c:pt>
                <c:pt idx="1790">
                  <c:v>115.86526000000001</c:v>
                </c:pt>
                <c:pt idx="1791">
                  <c:v>116.05794</c:v>
                </c:pt>
                <c:pt idx="1792">
                  <c:v>120.89449999999999</c:v>
                </c:pt>
                <c:pt idx="1793">
                  <c:v>115.7111</c:v>
                </c:pt>
                <c:pt idx="1794">
                  <c:v>113.803444</c:v>
                </c:pt>
                <c:pt idx="1795">
                  <c:v>119.33369999999999</c:v>
                </c:pt>
                <c:pt idx="1796">
                  <c:v>120.03702</c:v>
                </c:pt>
                <c:pt idx="1797">
                  <c:v>126.36691999999999</c:v>
                </c:pt>
                <c:pt idx="1798">
                  <c:v>125.71177</c:v>
                </c:pt>
                <c:pt idx="1799">
                  <c:v>127.76394000000001</c:v>
                </c:pt>
                <c:pt idx="1800">
                  <c:v>128.74665999999999</c:v>
                </c:pt>
                <c:pt idx="1801">
                  <c:v>126.10677</c:v>
                </c:pt>
                <c:pt idx="1802">
                  <c:v>133.34233</c:v>
                </c:pt>
                <c:pt idx="1803">
                  <c:v>130.09547000000001</c:v>
                </c:pt>
                <c:pt idx="1804">
                  <c:v>130.68321</c:v>
                </c:pt>
                <c:pt idx="1805">
                  <c:v>132.52341999999999</c:v>
                </c:pt>
                <c:pt idx="1806">
                  <c:v>129.63302999999999</c:v>
                </c:pt>
                <c:pt idx="1807">
                  <c:v>126.15496</c:v>
                </c:pt>
                <c:pt idx="1808">
                  <c:v>127.77357000000001</c:v>
                </c:pt>
                <c:pt idx="1809">
                  <c:v>125.49979399999999</c:v>
                </c:pt>
                <c:pt idx="1810">
                  <c:v>129.44998000000001</c:v>
                </c:pt>
                <c:pt idx="1811">
                  <c:v>129.54633999999999</c:v>
                </c:pt>
                <c:pt idx="1812">
                  <c:v>131.33838</c:v>
                </c:pt>
                <c:pt idx="1813">
                  <c:v>128.48652999999999</c:v>
                </c:pt>
                <c:pt idx="1814">
                  <c:v>127.45563</c:v>
                </c:pt>
                <c:pt idx="1815">
                  <c:v>125.38419</c:v>
                </c:pt>
                <c:pt idx="1816">
                  <c:v>126.1357</c:v>
                </c:pt>
                <c:pt idx="1817">
                  <c:v>126.858284</c:v>
                </c:pt>
                <c:pt idx="1818">
                  <c:v>126.00081</c:v>
                </c:pt>
                <c:pt idx="1819">
                  <c:v>126.74267999999999</c:v>
                </c:pt>
                <c:pt idx="1820">
                  <c:v>129.32472000000001</c:v>
                </c:pt>
                <c:pt idx="1821">
                  <c:v>129.46924999999999</c:v>
                </c:pt>
                <c:pt idx="1822">
                  <c:v>128.08186000000001</c:v>
                </c:pt>
                <c:pt idx="1823">
                  <c:v>128.10114999999999</c:v>
                </c:pt>
                <c:pt idx="1824">
                  <c:v>128.21677</c:v>
                </c:pt>
                <c:pt idx="1825">
                  <c:v>130.98186999999999</c:v>
                </c:pt>
                <c:pt idx="1826">
                  <c:v>130.5676</c:v>
                </c:pt>
                <c:pt idx="1827">
                  <c:v>126.916084</c:v>
                </c:pt>
                <c:pt idx="1828">
                  <c:v>126.46326999999999</c:v>
                </c:pt>
                <c:pt idx="1829">
                  <c:v>125.451645</c:v>
                </c:pt>
                <c:pt idx="1830">
                  <c:v>125.71177</c:v>
                </c:pt>
                <c:pt idx="1831">
                  <c:v>125.00845</c:v>
                </c:pt>
                <c:pt idx="1832">
                  <c:v>126.029724</c:v>
                </c:pt>
                <c:pt idx="1833">
                  <c:v>127.45563</c:v>
                </c:pt>
                <c:pt idx="1834">
                  <c:v>126.74267999999999</c:v>
                </c:pt>
                <c:pt idx="1835">
                  <c:v>128.13005000000001</c:v>
                </c:pt>
                <c:pt idx="1836">
                  <c:v>127.78321</c:v>
                </c:pt>
                <c:pt idx="1837">
                  <c:v>127.966255</c:v>
                </c:pt>
                <c:pt idx="1838">
                  <c:v>126.774925</c:v>
                </c:pt>
                <c:pt idx="1839">
                  <c:v>128.59058999999999</c:v>
                </c:pt>
                <c:pt idx="1840">
                  <c:v>128.36725999999999</c:v>
                </c:pt>
                <c:pt idx="1841">
                  <c:v>129.10516000000001</c:v>
                </c:pt>
                <c:pt idx="1842">
                  <c:v>130.23146</c:v>
                </c:pt>
                <c:pt idx="1843">
                  <c:v>124.12426000000001</c:v>
                </c:pt>
                <c:pt idx="1844">
                  <c:v>125.25055999999999</c:v>
                </c:pt>
                <c:pt idx="1845">
                  <c:v>126.68754</c:v>
                </c:pt>
                <c:pt idx="1846">
                  <c:v>127.84294</c:v>
                </c:pt>
                <c:pt idx="1847">
                  <c:v>127.93031000000001</c:v>
                </c:pt>
                <c:pt idx="1848">
                  <c:v>128.92068</c:v>
                </c:pt>
                <c:pt idx="1849">
                  <c:v>127.46427</c:v>
                </c:pt>
                <c:pt idx="1850">
                  <c:v>127.24097999999999</c:v>
                </c:pt>
                <c:pt idx="1851">
                  <c:v>127.541954</c:v>
                </c:pt>
                <c:pt idx="1852">
                  <c:v>125.79428</c:v>
                </c:pt>
                <c:pt idx="1853">
                  <c:v>127.590515</c:v>
                </c:pt>
                <c:pt idx="1854">
                  <c:v>125.18259399999999</c:v>
                </c:pt>
                <c:pt idx="1855">
                  <c:v>127.27011</c:v>
                </c:pt>
                <c:pt idx="1856">
                  <c:v>128.41579999999999</c:v>
                </c:pt>
                <c:pt idx="1857">
                  <c:v>128.5129</c:v>
                </c:pt>
                <c:pt idx="1858">
                  <c:v>128.98866000000001</c:v>
                </c:pt>
                <c:pt idx="1859">
                  <c:v>129.42558</c:v>
                </c:pt>
                <c:pt idx="1860">
                  <c:v>129.68773999999999</c:v>
                </c:pt>
                <c:pt idx="1861">
                  <c:v>130.31882999999999</c:v>
                </c:pt>
                <c:pt idx="1862">
                  <c:v>128.85274000000001</c:v>
                </c:pt>
                <c:pt idx="1863">
                  <c:v>130.55188000000001</c:v>
                </c:pt>
                <c:pt idx="1864">
                  <c:v>130.98877999999999</c:v>
                </c:pt>
                <c:pt idx="1865">
                  <c:v>131.58105</c:v>
                </c:pt>
                <c:pt idx="1866">
                  <c:v>129.80423999999999</c:v>
                </c:pt>
                <c:pt idx="1867">
                  <c:v>129.98874000000001</c:v>
                </c:pt>
                <c:pt idx="1868">
                  <c:v>130.74605</c:v>
                </c:pt>
                <c:pt idx="1869">
                  <c:v>129.24109999999999</c:v>
                </c:pt>
                <c:pt idx="1870">
                  <c:v>130.52271999999999</c:v>
                </c:pt>
                <c:pt idx="1871">
                  <c:v>132.05680000000001</c:v>
                </c:pt>
                <c:pt idx="1872">
                  <c:v>133.09569999999999</c:v>
                </c:pt>
                <c:pt idx="1873">
                  <c:v>132.10535999999999</c:v>
                </c:pt>
                <c:pt idx="1874">
                  <c:v>133.66856000000001</c:v>
                </c:pt>
                <c:pt idx="1875">
                  <c:v>133.387</c:v>
                </c:pt>
                <c:pt idx="1876">
                  <c:v>133.92098999999999</c:v>
                </c:pt>
                <c:pt idx="1877">
                  <c:v>133.68799000000001</c:v>
                </c:pt>
                <c:pt idx="1878">
                  <c:v>133.65886</c:v>
                </c:pt>
                <c:pt idx="1879">
                  <c:v>132.72675000000001</c:v>
                </c:pt>
                <c:pt idx="1880">
                  <c:v>133.47436999999999</c:v>
                </c:pt>
                <c:pt idx="1881">
                  <c:v>132.28984</c:v>
                </c:pt>
                <c:pt idx="1882">
                  <c:v>131.91118</c:v>
                </c:pt>
                <c:pt idx="1883">
                  <c:v>132.76560000000001</c:v>
                </c:pt>
                <c:pt idx="1884">
                  <c:v>132.02766</c:v>
                </c:pt>
                <c:pt idx="1885">
                  <c:v>131.19266999999999</c:v>
                </c:pt>
                <c:pt idx="1886">
                  <c:v>133.79477</c:v>
                </c:pt>
                <c:pt idx="1887">
                  <c:v>134.08606</c:v>
                </c:pt>
                <c:pt idx="1888">
                  <c:v>133.56173999999999</c:v>
                </c:pt>
                <c:pt idx="1889">
                  <c:v>133.91130000000001</c:v>
                </c:pt>
                <c:pt idx="1890">
                  <c:v>134.09577999999999</c:v>
                </c:pt>
                <c:pt idx="1891">
                  <c:v>132.48401000000001</c:v>
                </c:pt>
                <c:pt idx="1892">
                  <c:v>132.74617000000001</c:v>
                </c:pt>
                <c:pt idx="1893">
                  <c:v>132.49373</c:v>
                </c:pt>
                <c:pt idx="1894">
                  <c:v>133.63943</c:v>
                </c:pt>
                <c:pt idx="1895">
                  <c:v>133.30932999999999</c:v>
                </c:pt>
                <c:pt idx="1896">
                  <c:v>134.44531000000001</c:v>
                </c:pt>
                <c:pt idx="1897">
                  <c:v>134.37733</c:v>
                </c:pt>
                <c:pt idx="1898">
                  <c:v>135.87259</c:v>
                </c:pt>
                <c:pt idx="1899">
                  <c:v>135.98909</c:v>
                </c:pt>
                <c:pt idx="1900">
                  <c:v>135.14438000000001</c:v>
                </c:pt>
                <c:pt idx="1901">
                  <c:v>139.12521000000001</c:v>
                </c:pt>
                <c:pt idx="1902">
                  <c:v>136.29219000000001</c:v>
                </c:pt>
                <c:pt idx="1903">
                  <c:v>135.69566</c:v>
                </c:pt>
                <c:pt idx="1904">
                  <c:v>132.55654999999999</c:v>
                </c:pt>
                <c:pt idx="1905">
                  <c:v>134.08208999999999</c:v>
                </c:pt>
                <c:pt idx="1906">
                  <c:v>131.78399999999999</c:v>
                </c:pt>
                <c:pt idx="1907">
                  <c:v>132.8108</c:v>
                </c:pt>
                <c:pt idx="1908">
                  <c:v>133.65181999999999</c:v>
                </c:pt>
                <c:pt idx="1909">
                  <c:v>132.62502000000001</c:v>
                </c:pt>
                <c:pt idx="1910">
                  <c:v>131.99914999999999</c:v>
                </c:pt>
                <c:pt idx="1911">
                  <c:v>130.25845000000001</c:v>
                </c:pt>
                <c:pt idx="1912">
                  <c:v>128.56665000000001</c:v>
                </c:pt>
                <c:pt idx="1913">
                  <c:v>128.34173999999999</c:v>
                </c:pt>
                <c:pt idx="1914">
                  <c:v>129.23163</c:v>
                </c:pt>
                <c:pt idx="1915">
                  <c:v>128.10704000000001</c:v>
                </c:pt>
                <c:pt idx="1916">
                  <c:v>128.67421999999999</c:v>
                </c:pt>
                <c:pt idx="1917">
                  <c:v>130.60072</c:v>
                </c:pt>
                <c:pt idx="1918">
                  <c:v>134.92311000000001</c:v>
                </c:pt>
                <c:pt idx="1919">
                  <c:v>134.13101</c:v>
                </c:pt>
                <c:pt idx="1920">
                  <c:v>135.53922</c:v>
                </c:pt>
                <c:pt idx="1921">
                  <c:v>137.69060999999999</c:v>
                </c:pt>
                <c:pt idx="1922">
                  <c:v>135.01112000000001</c:v>
                </c:pt>
                <c:pt idx="1923">
                  <c:v>134.88399999999999</c:v>
                </c:pt>
                <c:pt idx="1924">
                  <c:v>132.70325</c:v>
                </c:pt>
                <c:pt idx="1925">
                  <c:v>133.98429999999999</c:v>
                </c:pt>
                <c:pt idx="1926">
                  <c:v>134.80577</c:v>
                </c:pt>
                <c:pt idx="1927">
                  <c:v>135.38274000000001</c:v>
                </c:pt>
                <c:pt idx="1928">
                  <c:v>138.99124</c:v>
                </c:pt>
                <c:pt idx="1929">
                  <c:v>140.37010000000001</c:v>
                </c:pt>
                <c:pt idx="1930">
                  <c:v>139.37262999999999</c:v>
                </c:pt>
                <c:pt idx="1931">
                  <c:v>138.30669</c:v>
                </c:pt>
                <c:pt idx="1932">
                  <c:v>138.60006999999999</c:v>
                </c:pt>
                <c:pt idx="1933">
                  <c:v>136.59535</c:v>
                </c:pt>
                <c:pt idx="1934">
                  <c:v>136.62470999999999</c:v>
                </c:pt>
                <c:pt idx="1935">
                  <c:v>136.51712000000001</c:v>
                </c:pt>
                <c:pt idx="1936">
                  <c:v>136.52690000000001</c:v>
                </c:pt>
                <c:pt idx="1937">
                  <c:v>136.47800000000001</c:v>
                </c:pt>
                <c:pt idx="1938">
                  <c:v>135.01112000000001</c:v>
                </c:pt>
                <c:pt idx="1939">
                  <c:v>136.04771</c:v>
                </c:pt>
                <c:pt idx="1940">
                  <c:v>131.20703</c:v>
                </c:pt>
                <c:pt idx="1941">
                  <c:v>131.03100000000001</c:v>
                </c:pt>
                <c:pt idx="1942">
                  <c:v>130.34645</c:v>
                </c:pt>
                <c:pt idx="1943">
                  <c:v>132.16537</c:v>
                </c:pt>
                <c:pt idx="1944">
                  <c:v>134.01364000000001</c:v>
                </c:pt>
                <c:pt idx="1945">
                  <c:v>134.81554</c:v>
                </c:pt>
                <c:pt idx="1946">
                  <c:v>135.00136000000001</c:v>
                </c:pt>
                <c:pt idx="1947">
                  <c:v>135.32407000000001</c:v>
                </c:pt>
                <c:pt idx="1948">
                  <c:v>135.39250000000001</c:v>
                </c:pt>
                <c:pt idx="1949">
                  <c:v>138.59030000000001</c:v>
                </c:pt>
                <c:pt idx="1950">
                  <c:v>140.72214</c:v>
                </c:pt>
                <c:pt idx="1951">
                  <c:v>140.66346999999999</c:v>
                </c:pt>
                <c:pt idx="1952">
                  <c:v>141.51428000000001</c:v>
                </c:pt>
                <c:pt idx="1953">
                  <c:v>142.54107999999999</c:v>
                </c:pt>
                <c:pt idx="1954">
                  <c:v>142.03258</c:v>
                </c:pt>
                <c:pt idx="1955">
                  <c:v>140.21365</c:v>
                </c:pt>
                <c:pt idx="1956">
                  <c:v>140.15496999999999</c:v>
                </c:pt>
                <c:pt idx="1957">
                  <c:v>140.25274999999999</c:v>
                </c:pt>
                <c:pt idx="1958">
                  <c:v>139.86159000000001</c:v>
                </c:pt>
                <c:pt idx="1959">
                  <c:v>140.84929</c:v>
                </c:pt>
                <c:pt idx="1960">
                  <c:v>140.97640999999999</c:v>
                </c:pt>
                <c:pt idx="1961">
                  <c:v>141.4067</c:v>
                </c:pt>
                <c:pt idx="1962">
                  <c:v>141.04488000000001</c:v>
                </c:pt>
                <c:pt idx="1963">
                  <c:v>142.84424999999999</c:v>
                </c:pt>
                <c:pt idx="1964">
                  <c:v>141.42625000000001</c:v>
                </c:pt>
                <c:pt idx="1965">
                  <c:v>142.26635999999999</c:v>
                </c:pt>
                <c:pt idx="1966">
                  <c:v>143.64519999999999</c:v>
                </c:pt>
                <c:pt idx="1967">
                  <c:v>143.17243999999999</c:v>
                </c:pt>
                <c:pt idx="1968">
                  <c:v>143.32019</c:v>
                </c:pt>
                <c:pt idx="1969">
                  <c:v>143.48760999999999</c:v>
                </c:pt>
                <c:pt idx="1970">
                  <c:v>142.48302000000001</c:v>
                </c:pt>
                <c:pt idx="1971">
                  <c:v>142.77849000000001</c:v>
                </c:pt>
                <c:pt idx="1972">
                  <c:v>142.04968</c:v>
                </c:pt>
                <c:pt idx="1973">
                  <c:v>142.58151000000001</c:v>
                </c:pt>
                <c:pt idx="1974">
                  <c:v>142.69970000000001</c:v>
                </c:pt>
                <c:pt idx="1975">
                  <c:v>143.50731999999999</c:v>
                </c:pt>
                <c:pt idx="1976">
                  <c:v>144.70885999999999</c:v>
                </c:pt>
                <c:pt idx="1977">
                  <c:v>143.202</c:v>
                </c:pt>
                <c:pt idx="1978">
                  <c:v>141.84286</c:v>
                </c:pt>
                <c:pt idx="1979">
                  <c:v>142.22696999999999</c:v>
                </c:pt>
                <c:pt idx="1980">
                  <c:v>142.86714000000001</c:v>
                </c:pt>
                <c:pt idx="1981">
                  <c:v>144.68915999999999</c:v>
                </c:pt>
                <c:pt idx="1982">
                  <c:v>145.19147000000001</c:v>
                </c:pt>
                <c:pt idx="1983">
                  <c:v>145.08311</c:v>
                </c:pt>
                <c:pt idx="1984">
                  <c:v>146.05816999999999</c:v>
                </c:pt>
                <c:pt idx="1985">
                  <c:v>142.08908</c:v>
                </c:pt>
                <c:pt idx="1986">
                  <c:v>142.51257000000001</c:v>
                </c:pt>
                <c:pt idx="1987">
                  <c:v>140.76933</c:v>
                </c:pt>
                <c:pt idx="1988">
                  <c:v>140.31630000000001</c:v>
                </c:pt>
                <c:pt idx="1989">
                  <c:v>142.00042999999999</c:v>
                </c:pt>
                <c:pt idx="1990">
                  <c:v>139.94202999999999</c:v>
                </c:pt>
                <c:pt idx="1991">
                  <c:v>139.292</c:v>
                </c:pt>
                <c:pt idx="1992">
                  <c:v>140.43448000000001</c:v>
                </c:pt>
                <c:pt idx="1993">
                  <c:v>139.61702</c:v>
                </c:pt>
                <c:pt idx="1994">
                  <c:v>139.25261</c:v>
                </c:pt>
                <c:pt idx="1995">
                  <c:v>139.91248999999999</c:v>
                </c:pt>
                <c:pt idx="1996">
                  <c:v>139.19353000000001</c:v>
                </c:pt>
                <c:pt idx="1997">
                  <c:v>137.49952999999999</c:v>
                </c:pt>
                <c:pt idx="1998">
                  <c:v>136.49494999999999</c:v>
                </c:pt>
                <c:pt idx="1999">
                  <c:v>138.0609</c:v>
                </c:pt>
                <c:pt idx="2000">
                  <c:v>139.65642</c:v>
                </c:pt>
                <c:pt idx="2001">
                  <c:v>135.95325</c:v>
                </c:pt>
                <c:pt idx="2002">
                  <c:v>137.08588</c:v>
                </c:pt>
                <c:pt idx="2003">
                  <c:v>134.50550000000001</c:v>
                </c:pt>
                <c:pt idx="2004">
                  <c:v>134.90926999999999</c:v>
                </c:pt>
                <c:pt idx="2005">
                  <c:v>136.28813</c:v>
                </c:pt>
                <c:pt idx="2006">
                  <c:v>135.93356</c:v>
                </c:pt>
                <c:pt idx="2007">
                  <c:v>137.56846999999999</c:v>
                </c:pt>
                <c:pt idx="2008">
                  <c:v>138.82911999999999</c:v>
                </c:pt>
                <c:pt idx="2009">
                  <c:v>138.27759</c:v>
                </c:pt>
                <c:pt idx="2010">
                  <c:v>137.48969</c:v>
                </c:pt>
                <c:pt idx="2011">
                  <c:v>135.61840000000001</c:v>
                </c:pt>
                <c:pt idx="2012">
                  <c:v>132.92966999999999</c:v>
                </c:pt>
                <c:pt idx="2013">
                  <c:v>131.84628000000001</c:v>
                </c:pt>
                <c:pt idx="2014">
                  <c:v>132.34859</c:v>
                </c:pt>
                <c:pt idx="2015">
                  <c:v>132.42738</c:v>
                </c:pt>
                <c:pt idx="2016">
                  <c:v>133.32361</c:v>
                </c:pt>
                <c:pt idx="2017">
                  <c:v>130.50684999999999</c:v>
                </c:pt>
                <c:pt idx="2018">
                  <c:v>129.99472</c:v>
                </c:pt>
                <c:pt idx="2019">
                  <c:v>130.77277000000001</c:v>
                </c:pt>
                <c:pt idx="2020">
                  <c:v>130.0932</c:v>
                </c:pt>
                <c:pt idx="2021">
                  <c:v>128.03479999999999</c:v>
                </c:pt>
                <c:pt idx="2022">
                  <c:v>127.23704499999999</c:v>
                </c:pt>
                <c:pt idx="2023">
                  <c:v>128.64542</c:v>
                </c:pt>
                <c:pt idx="2024">
                  <c:v>129.08861999999999</c:v>
                </c:pt>
                <c:pt idx="2025">
                  <c:v>127.1878</c:v>
                </c:pt>
                <c:pt idx="2026">
                  <c:v>127.89563</c:v>
                </c:pt>
                <c:pt idx="2027">
                  <c:v>132.06516999999999</c:v>
                </c:pt>
                <c:pt idx="2028">
                  <c:v>131.17169000000001</c:v>
                </c:pt>
                <c:pt idx="2029">
                  <c:v>131.29082</c:v>
                </c:pt>
                <c:pt idx="2030">
                  <c:v>132.61117999999999</c:v>
                </c:pt>
                <c:pt idx="2031">
                  <c:v>132.25378000000001</c:v>
                </c:pt>
                <c:pt idx="2032">
                  <c:v>132.07508999999999</c:v>
                </c:pt>
                <c:pt idx="2033">
                  <c:v>132.06516999999999</c:v>
                </c:pt>
                <c:pt idx="2034">
                  <c:v>133.03806</c:v>
                </c:pt>
                <c:pt idx="2035">
                  <c:v>132.65088</c:v>
                </c:pt>
                <c:pt idx="2036">
                  <c:v>131.56879000000001</c:v>
                </c:pt>
                <c:pt idx="2037">
                  <c:v>133.52449999999999</c:v>
                </c:pt>
                <c:pt idx="2038">
                  <c:v>136.80056999999999</c:v>
                </c:pt>
                <c:pt idx="2039">
                  <c:v>138.44853000000001</c:v>
                </c:pt>
                <c:pt idx="2040">
                  <c:v>137.80323999999999</c:v>
                </c:pt>
                <c:pt idx="2041">
                  <c:v>138.61731</c:v>
                </c:pt>
                <c:pt idx="2042">
                  <c:v>141.66502</c:v>
                </c:pt>
                <c:pt idx="2043">
                  <c:v>143.75971999999999</c:v>
                </c:pt>
                <c:pt idx="2044">
                  <c:v>141.50618</c:v>
                </c:pt>
                <c:pt idx="2045">
                  <c:v>140.42409000000001</c:v>
                </c:pt>
                <c:pt idx="2046">
                  <c:v>140.25532999999999</c:v>
                </c:pt>
                <c:pt idx="2047">
                  <c:v>142.1217</c:v>
                </c:pt>
                <c:pt idx="2048">
                  <c:v>142.62799000000001</c:v>
                </c:pt>
                <c:pt idx="2049">
                  <c:v>142.36989</c:v>
                </c:pt>
                <c:pt idx="2050">
                  <c:v>141.50618</c:v>
                </c:pt>
                <c:pt idx="2051">
                  <c:v>141.53598</c:v>
                </c:pt>
                <c:pt idx="2052">
                  <c:v>141.98271</c:v>
                </c:pt>
                <c:pt idx="2053">
                  <c:v>142.01249999999999</c:v>
                </c:pt>
                <c:pt idx="2054">
                  <c:v>141.07932</c:v>
                </c:pt>
                <c:pt idx="2055">
                  <c:v>141.27786</c:v>
                </c:pt>
                <c:pt idx="2056">
                  <c:v>143.11444</c:v>
                </c:pt>
                <c:pt idx="2057">
                  <c:v>143.70016000000001</c:v>
                </c:pt>
                <c:pt idx="2058">
                  <c:v>144.65321</c:v>
                </c:pt>
                <c:pt idx="2059">
                  <c:v>145.91399000000001</c:v>
                </c:pt>
                <c:pt idx="2060">
                  <c:v>145.01060000000001</c:v>
                </c:pt>
                <c:pt idx="2061">
                  <c:v>144.77234000000001</c:v>
                </c:pt>
                <c:pt idx="2062">
                  <c:v>142.32024999999999</c:v>
                </c:pt>
                <c:pt idx="2063">
                  <c:v>141.85364999999999</c:v>
                </c:pt>
                <c:pt idx="2064">
                  <c:v>140.80135000000001</c:v>
                </c:pt>
                <c:pt idx="2065">
                  <c:v>142.89604</c:v>
                </c:pt>
                <c:pt idx="2066">
                  <c:v>143.11444</c:v>
                </c:pt>
                <c:pt idx="2067">
                  <c:v>144.73262</c:v>
                </c:pt>
                <c:pt idx="2068">
                  <c:v>142.91589999999999</c:v>
                </c:pt>
                <c:pt idx="2069">
                  <c:v>142.84639999999999</c:v>
                </c:pt>
                <c:pt idx="2070">
                  <c:v>144.50429</c:v>
                </c:pt>
                <c:pt idx="2071">
                  <c:v>144.50429</c:v>
                </c:pt>
                <c:pt idx="2072">
                  <c:v>145.65588</c:v>
                </c:pt>
                <c:pt idx="2073">
                  <c:v>144.59362999999999</c:v>
                </c:pt>
                <c:pt idx="2074">
                  <c:v>143.18393</c:v>
                </c:pt>
                <c:pt idx="2075">
                  <c:v>145.30841000000001</c:v>
                </c:pt>
                <c:pt idx="2076">
                  <c:v>145.52681000000001</c:v>
                </c:pt>
                <c:pt idx="2077">
                  <c:v>145.10986</c:v>
                </c:pt>
                <c:pt idx="2078">
                  <c:v>144.45464999999999</c:v>
                </c:pt>
                <c:pt idx="2079">
                  <c:v>144.37522999999999</c:v>
                </c:pt>
                <c:pt idx="2080">
                  <c:v>146.16217</c:v>
                </c:pt>
                <c:pt idx="2081">
                  <c:v>146.03313</c:v>
                </c:pt>
                <c:pt idx="2082">
                  <c:v>146.77768</c:v>
                </c:pt>
                <c:pt idx="2083">
                  <c:v>147.22443000000001</c:v>
                </c:pt>
                <c:pt idx="2084">
                  <c:v>147.22443000000001</c:v>
                </c:pt>
                <c:pt idx="2085">
                  <c:v>145.44739000000001</c:v>
                </c:pt>
                <c:pt idx="2086">
                  <c:v>146.86703</c:v>
                </c:pt>
                <c:pt idx="2087">
                  <c:v>146.55928</c:v>
                </c:pt>
                <c:pt idx="2088">
                  <c:v>147.14500000000001</c:v>
                </c:pt>
                <c:pt idx="2089">
                  <c:v>147.66999999999999</c:v>
                </c:pt>
                <c:pt idx="2090">
                  <c:v>147.84</c:v>
                </c:pt>
                <c:pt idx="2091">
                  <c:v>147.75</c:v>
                </c:pt>
                <c:pt idx="2092">
                  <c:v>146.37</c:v>
                </c:pt>
                <c:pt idx="2093">
                  <c:v>146.1</c:v>
                </c:pt>
                <c:pt idx="2094">
                  <c:v>147.59998999999999</c:v>
                </c:pt>
                <c:pt idx="2095">
                  <c:v>147.69</c:v>
                </c:pt>
                <c:pt idx="2096">
                  <c:v>148.57</c:v>
                </c:pt>
                <c:pt idx="2097">
                  <c:v>148.58000000000001</c:v>
                </c:pt>
                <c:pt idx="2098">
                  <c:v>147.1</c:v>
                </c:pt>
                <c:pt idx="2099">
                  <c:v>148.51999000000001</c:v>
                </c:pt>
                <c:pt idx="2100">
                  <c:v>145.41999999999999</c:v>
                </c:pt>
                <c:pt idx="2101">
                  <c:v>146.56</c:v>
                </c:pt>
                <c:pt idx="2102">
                  <c:v>146.78</c:v>
                </c:pt>
                <c:pt idx="2103">
                  <c:v>144.85</c:v>
                </c:pt>
                <c:pt idx="2104">
                  <c:v>145.66999999999999</c:v>
                </c:pt>
                <c:pt idx="2105">
                  <c:v>146.41</c:v>
                </c:pt>
                <c:pt idx="2106">
                  <c:v>147.04001</c:v>
                </c:pt>
                <c:pt idx="2107">
                  <c:v>146.93998999999999</c:v>
                </c:pt>
                <c:pt idx="2108">
                  <c:v>148.16999999999999</c:v>
                </c:pt>
                <c:pt idx="2109">
                  <c:v>148.19999999999999</c:v>
                </c:pt>
              </c:numCache>
            </c:numRef>
          </c:val>
          <c:smooth val="0"/>
          <c:extLst>
            <c:ext xmlns:c16="http://schemas.microsoft.com/office/drawing/2014/chart" uri="{C3380CC4-5D6E-409C-BE32-E72D297353CC}">
              <c16:uniqueId val="{00000000-B998-C442-B095-CD8526EFFC4E}"/>
            </c:ext>
          </c:extLst>
        </c:ser>
        <c:ser>
          <c:idx val="1"/>
          <c:order val="1"/>
          <c:tx>
            <c:strRef>
              <c:f>Sheet1!$C$1</c:f>
              <c:strCache>
                <c:ptCount val="1"/>
                <c:pt idx="0">
                  <c:v>Predicted</c:v>
                </c:pt>
              </c:strCache>
            </c:strRef>
          </c:tx>
          <c:spPr>
            <a:ln w="9525"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61.755436000000003</c:v>
                </c:pt>
                <c:pt idx="1">
                  <c:v>61.33081</c:v>
                </c:pt>
                <c:pt idx="2">
                  <c:v>61.306420000000003</c:v>
                </c:pt>
                <c:pt idx="3">
                  <c:v>61.380752999999999</c:v>
                </c:pt>
                <c:pt idx="4">
                  <c:v>61.106242999999999</c:v>
                </c:pt>
                <c:pt idx="5">
                  <c:v>61.055399999999999</c:v>
                </c:pt>
                <c:pt idx="6">
                  <c:v>61.268250000000002</c:v>
                </c:pt>
                <c:pt idx="7">
                  <c:v>61.182879999999997</c:v>
                </c:pt>
                <c:pt idx="8">
                  <c:v>61.114379999999997</c:v>
                </c:pt>
                <c:pt idx="9">
                  <c:v>61.330997000000004</c:v>
                </c:pt>
                <c:pt idx="10">
                  <c:v>61.44753</c:v>
                </c:pt>
                <c:pt idx="11">
                  <c:v>61.616973999999999</c:v>
                </c:pt>
                <c:pt idx="12">
                  <c:v>61.740004999999996</c:v>
                </c:pt>
                <c:pt idx="13">
                  <c:v>61.793404000000002</c:v>
                </c:pt>
                <c:pt idx="14">
                  <c:v>61.899002000000003</c:v>
                </c:pt>
                <c:pt idx="15">
                  <c:v>62.101309999999998</c:v>
                </c:pt>
                <c:pt idx="16">
                  <c:v>62.311686999999999</c:v>
                </c:pt>
                <c:pt idx="17">
                  <c:v>62.509880000000003</c:v>
                </c:pt>
                <c:pt idx="18">
                  <c:v>62.575232999999997</c:v>
                </c:pt>
                <c:pt idx="19">
                  <c:v>62.731845999999997</c:v>
                </c:pt>
                <c:pt idx="20">
                  <c:v>62.888779999999997</c:v>
                </c:pt>
                <c:pt idx="21">
                  <c:v>62.755090000000003</c:v>
                </c:pt>
                <c:pt idx="22">
                  <c:v>62.633583000000002</c:v>
                </c:pt>
                <c:pt idx="23">
                  <c:v>62.571716000000002</c:v>
                </c:pt>
                <c:pt idx="24">
                  <c:v>62.459319999999998</c:v>
                </c:pt>
                <c:pt idx="25">
                  <c:v>62.360244999999999</c:v>
                </c:pt>
                <c:pt idx="26">
                  <c:v>62.536686000000003</c:v>
                </c:pt>
                <c:pt idx="27">
                  <c:v>61.870890000000003</c:v>
                </c:pt>
                <c:pt idx="28">
                  <c:v>61.942810000000001</c:v>
                </c:pt>
                <c:pt idx="29">
                  <c:v>62.203086999999996</c:v>
                </c:pt>
                <c:pt idx="30">
                  <c:v>62.406948</c:v>
                </c:pt>
                <c:pt idx="31">
                  <c:v>62.535789999999999</c:v>
                </c:pt>
                <c:pt idx="32">
                  <c:v>62.746409999999997</c:v>
                </c:pt>
                <c:pt idx="33">
                  <c:v>62.796332999999997</c:v>
                </c:pt>
                <c:pt idx="34">
                  <c:v>62.756782999999999</c:v>
                </c:pt>
                <c:pt idx="35">
                  <c:v>62.729149999999997</c:v>
                </c:pt>
                <c:pt idx="36">
                  <c:v>62.886380000000003</c:v>
                </c:pt>
                <c:pt idx="37">
                  <c:v>63.048603</c:v>
                </c:pt>
                <c:pt idx="38">
                  <c:v>63.337479999999999</c:v>
                </c:pt>
                <c:pt idx="39">
                  <c:v>63.364452</c:v>
                </c:pt>
                <c:pt idx="40">
                  <c:v>63.219852000000003</c:v>
                </c:pt>
                <c:pt idx="41">
                  <c:v>62.850985999999999</c:v>
                </c:pt>
                <c:pt idx="42">
                  <c:v>62.804831999999998</c:v>
                </c:pt>
                <c:pt idx="43">
                  <c:v>62.545948000000003</c:v>
                </c:pt>
                <c:pt idx="44">
                  <c:v>63.103335999999999</c:v>
                </c:pt>
                <c:pt idx="45">
                  <c:v>62.172669999999997</c:v>
                </c:pt>
                <c:pt idx="46">
                  <c:v>62.124625999999999</c:v>
                </c:pt>
                <c:pt idx="47">
                  <c:v>62.281787999999999</c:v>
                </c:pt>
                <c:pt idx="48">
                  <c:v>62.365090000000002</c:v>
                </c:pt>
                <c:pt idx="49">
                  <c:v>62.482174000000001</c:v>
                </c:pt>
                <c:pt idx="50">
                  <c:v>62.792630000000003</c:v>
                </c:pt>
                <c:pt idx="51">
                  <c:v>63.290286999999999</c:v>
                </c:pt>
                <c:pt idx="52">
                  <c:v>63.565105000000003</c:v>
                </c:pt>
                <c:pt idx="53">
                  <c:v>63.655895000000001</c:v>
                </c:pt>
                <c:pt idx="54">
                  <c:v>64.020859999999999</c:v>
                </c:pt>
                <c:pt idx="55">
                  <c:v>64.189896000000005</c:v>
                </c:pt>
                <c:pt idx="56">
                  <c:v>64.401793999999995</c:v>
                </c:pt>
                <c:pt idx="57">
                  <c:v>64.608059999999995</c:v>
                </c:pt>
                <c:pt idx="58">
                  <c:v>64.690759999999997</c:v>
                </c:pt>
                <c:pt idx="59">
                  <c:v>64.710589999999996</c:v>
                </c:pt>
                <c:pt idx="60">
                  <c:v>64.911224000000004</c:v>
                </c:pt>
                <c:pt idx="61">
                  <c:v>65.131069999999994</c:v>
                </c:pt>
                <c:pt idx="62">
                  <c:v>65.184640000000002</c:v>
                </c:pt>
                <c:pt idx="63">
                  <c:v>65.194630000000004</c:v>
                </c:pt>
                <c:pt idx="64">
                  <c:v>65.064830000000001</c:v>
                </c:pt>
                <c:pt idx="65">
                  <c:v>65.059899999999999</c:v>
                </c:pt>
                <c:pt idx="66">
                  <c:v>65.068504000000004</c:v>
                </c:pt>
                <c:pt idx="67">
                  <c:v>65.122829999999993</c:v>
                </c:pt>
                <c:pt idx="68">
                  <c:v>64.915886</c:v>
                </c:pt>
                <c:pt idx="69">
                  <c:v>64.693839999999994</c:v>
                </c:pt>
                <c:pt idx="70">
                  <c:v>64.734089999999995</c:v>
                </c:pt>
                <c:pt idx="71">
                  <c:v>64.864699999999999</c:v>
                </c:pt>
                <c:pt idx="72">
                  <c:v>64.815505999999999</c:v>
                </c:pt>
                <c:pt idx="73">
                  <c:v>64.743780000000001</c:v>
                </c:pt>
                <c:pt idx="74">
                  <c:v>64.355599999999995</c:v>
                </c:pt>
                <c:pt idx="75">
                  <c:v>64.032169999999994</c:v>
                </c:pt>
                <c:pt idx="76">
                  <c:v>63.964953999999999</c:v>
                </c:pt>
                <c:pt idx="77">
                  <c:v>63.760216</c:v>
                </c:pt>
                <c:pt idx="78">
                  <c:v>63.618167999999997</c:v>
                </c:pt>
                <c:pt idx="79">
                  <c:v>63.745196999999997</c:v>
                </c:pt>
                <c:pt idx="80">
                  <c:v>63.817855999999999</c:v>
                </c:pt>
                <c:pt idx="81">
                  <c:v>63.787205</c:v>
                </c:pt>
                <c:pt idx="82">
                  <c:v>63.687309999999997</c:v>
                </c:pt>
                <c:pt idx="83">
                  <c:v>63.895583999999999</c:v>
                </c:pt>
                <c:pt idx="84">
                  <c:v>63.305990000000001</c:v>
                </c:pt>
                <c:pt idx="85">
                  <c:v>63.513638</c:v>
                </c:pt>
                <c:pt idx="86">
                  <c:v>63.838909999999998</c:v>
                </c:pt>
                <c:pt idx="87">
                  <c:v>63.791862000000002</c:v>
                </c:pt>
                <c:pt idx="88">
                  <c:v>63.259822999999997</c:v>
                </c:pt>
                <c:pt idx="89">
                  <c:v>62.948062999999998</c:v>
                </c:pt>
                <c:pt idx="90">
                  <c:v>62.476531999999999</c:v>
                </c:pt>
                <c:pt idx="91">
                  <c:v>62.477043000000002</c:v>
                </c:pt>
                <c:pt idx="92">
                  <c:v>62.704999999999998</c:v>
                </c:pt>
                <c:pt idx="93">
                  <c:v>63.008319999999998</c:v>
                </c:pt>
                <c:pt idx="94">
                  <c:v>63.095123000000001</c:v>
                </c:pt>
                <c:pt idx="95">
                  <c:v>63.243340000000003</c:v>
                </c:pt>
                <c:pt idx="96">
                  <c:v>62.976756999999999</c:v>
                </c:pt>
                <c:pt idx="97">
                  <c:v>63.515777999999997</c:v>
                </c:pt>
                <c:pt idx="98">
                  <c:v>63.898518000000003</c:v>
                </c:pt>
                <c:pt idx="99">
                  <c:v>64.214079999999996</c:v>
                </c:pt>
                <c:pt idx="100">
                  <c:v>64.481803999999997</c:v>
                </c:pt>
                <c:pt idx="101">
                  <c:v>64.450640000000007</c:v>
                </c:pt>
                <c:pt idx="102">
                  <c:v>64.490430000000003</c:v>
                </c:pt>
                <c:pt idx="103">
                  <c:v>64.63579</c:v>
                </c:pt>
                <c:pt idx="104">
                  <c:v>64.766159999999999</c:v>
                </c:pt>
                <c:pt idx="105">
                  <c:v>64.788659999999993</c:v>
                </c:pt>
                <c:pt idx="106">
                  <c:v>64.656949999999995</c:v>
                </c:pt>
                <c:pt idx="107">
                  <c:v>64.446430000000007</c:v>
                </c:pt>
                <c:pt idx="108">
                  <c:v>64.178794999999994</c:v>
                </c:pt>
                <c:pt idx="109">
                  <c:v>64.282036000000005</c:v>
                </c:pt>
                <c:pt idx="110">
                  <c:v>64.010440000000003</c:v>
                </c:pt>
                <c:pt idx="111">
                  <c:v>64.300759999999997</c:v>
                </c:pt>
                <c:pt idx="112">
                  <c:v>64.338973999999993</c:v>
                </c:pt>
                <c:pt idx="113">
                  <c:v>64.529409999999999</c:v>
                </c:pt>
                <c:pt idx="114">
                  <c:v>64.769400000000005</c:v>
                </c:pt>
                <c:pt idx="115">
                  <c:v>64.95487</c:v>
                </c:pt>
                <c:pt idx="116">
                  <c:v>64.85557</c:v>
                </c:pt>
                <c:pt idx="117">
                  <c:v>64.661285000000007</c:v>
                </c:pt>
                <c:pt idx="118">
                  <c:v>64.802689999999998</c:v>
                </c:pt>
                <c:pt idx="119">
                  <c:v>65.059079999999994</c:v>
                </c:pt>
                <c:pt idx="120">
                  <c:v>65.245636000000005</c:v>
                </c:pt>
                <c:pt idx="121">
                  <c:v>65.343559999999997</c:v>
                </c:pt>
                <c:pt idx="122">
                  <c:v>65.654754999999994</c:v>
                </c:pt>
                <c:pt idx="123">
                  <c:v>65.85745</c:v>
                </c:pt>
                <c:pt idx="124">
                  <c:v>66.054869999999994</c:v>
                </c:pt>
                <c:pt idx="125">
                  <c:v>66.352140000000006</c:v>
                </c:pt>
                <c:pt idx="126">
                  <c:v>66.526725999999996</c:v>
                </c:pt>
                <c:pt idx="127">
                  <c:v>66.121309999999994</c:v>
                </c:pt>
                <c:pt idx="128">
                  <c:v>65.526480000000006</c:v>
                </c:pt>
                <c:pt idx="129">
                  <c:v>65.057460000000006</c:v>
                </c:pt>
                <c:pt idx="130">
                  <c:v>65.038123999999996</c:v>
                </c:pt>
                <c:pt idx="131">
                  <c:v>64.860855000000001</c:v>
                </c:pt>
                <c:pt idx="132">
                  <c:v>64.884929999999997</c:v>
                </c:pt>
                <c:pt idx="133">
                  <c:v>65.192210000000003</c:v>
                </c:pt>
                <c:pt idx="134">
                  <c:v>65.293944999999994</c:v>
                </c:pt>
                <c:pt idx="135">
                  <c:v>64.986509999999996</c:v>
                </c:pt>
                <c:pt idx="136">
                  <c:v>64.743859999999998</c:v>
                </c:pt>
                <c:pt idx="137">
                  <c:v>64.563810000000004</c:v>
                </c:pt>
                <c:pt idx="138">
                  <c:v>64.496790000000004</c:v>
                </c:pt>
                <c:pt idx="139">
                  <c:v>64.452969999999993</c:v>
                </c:pt>
                <c:pt idx="140">
                  <c:v>64.443504000000004</c:v>
                </c:pt>
                <c:pt idx="141">
                  <c:v>64.576644999999999</c:v>
                </c:pt>
                <c:pt idx="142">
                  <c:v>63.829425999999998</c:v>
                </c:pt>
                <c:pt idx="143">
                  <c:v>64.104454000000004</c:v>
                </c:pt>
                <c:pt idx="144">
                  <c:v>64.340620000000001</c:v>
                </c:pt>
                <c:pt idx="145">
                  <c:v>64.468389999999999</c:v>
                </c:pt>
                <c:pt idx="146">
                  <c:v>64.643196000000003</c:v>
                </c:pt>
                <c:pt idx="147">
                  <c:v>64.932550000000006</c:v>
                </c:pt>
                <c:pt idx="148">
                  <c:v>65.126429999999999</c:v>
                </c:pt>
                <c:pt idx="149">
                  <c:v>65.240290000000002</c:v>
                </c:pt>
                <c:pt idx="150">
                  <c:v>65.357376000000002</c:v>
                </c:pt>
                <c:pt idx="151">
                  <c:v>65.256339999999994</c:v>
                </c:pt>
                <c:pt idx="152">
                  <c:v>65.039460000000005</c:v>
                </c:pt>
                <c:pt idx="153">
                  <c:v>64.808494999999994</c:v>
                </c:pt>
                <c:pt idx="154">
                  <c:v>64.611660000000001</c:v>
                </c:pt>
                <c:pt idx="155">
                  <c:v>64.461529999999996</c:v>
                </c:pt>
                <c:pt idx="156">
                  <c:v>64.555756000000002</c:v>
                </c:pt>
                <c:pt idx="157">
                  <c:v>64.776923999999994</c:v>
                </c:pt>
                <c:pt idx="158">
                  <c:v>64.754135000000005</c:v>
                </c:pt>
                <c:pt idx="159">
                  <c:v>64.791799999999995</c:v>
                </c:pt>
                <c:pt idx="160">
                  <c:v>64.786804000000004</c:v>
                </c:pt>
                <c:pt idx="161">
                  <c:v>64.675309999999996</c:v>
                </c:pt>
                <c:pt idx="162">
                  <c:v>65.002750000000006</c:v>
                </c:pt>
                <c:pt idx="163">
                  <c:v>65.012060000000005</c:v>
                </c:pt>
                <c:pt idx="164">
                  <c:v>64.651380000000003</c:v>
                </c:pt>
                <c:pt idx="165">
                  <c:v>64.383830000000003</c:v>
                </c:pt>
                <c:pt idx="166">
                  <c:v>64.538910000000001</c:v>
                </c:pt>
                <c:pt idx="167">
                  <c:v>64.822370000000006</c:v>
                </c:pt>
                <c:pt idx="168">
                  <c:v>65.141530000000003</c:v>
                </c:pt>
                <c:pt idx="169">
                  <c:v>65.144103999999999</c:v>
                </c:pt>
                <c:pt idx="170">
                  <c:v>65.088200000000001</c:v>
                </c:pt>
                <c:pt idx="171">
                  <c:v>65.046970000000002</c:v>
                </c:pt>
                <c:pt idx="172">
                  <c:v>65.262469999999993</c:v>
                </c:pt>
                <c:pt idx="173">
                  <c:v>65.329629999999995</c:v>
                </c:pt>
                <c:pt idx="174">
                  <c:v>65.587320000000005</c:v>
                </c:pt>
                <c:pt idx="175">
                  <c:v>65.616330000000005</c:v>
                </c:pt>
                <c:pt idx="176">
                  <c:v>65.674865999999994</c:v>
                </c:pt>
                <c:pt idx="177">
                  <c:v>65.799239999999998</c:v>
                </c:pt>
                <c:pt idx="178">
                  <c:v>65.940749999999994</c:v>
                </c:pt>
                <c:pt idx="179">
                  <c:v>66.043289999999999</c:v>
                </c:pt>
                <c:pt idx="180">
                  <c:v>66.215675000000005</c:v>
                </c:pt>
                <c:pt idx="181">
                  <c:v>66.29956</c:v>
                </c:pt>
                <c:pt idx="182">
                  <c:v>66.365589999999997</c:v>
                </c:pt>
                <c:pt idx="183">
                  <c:v>66.55874</c:v>
                </c:pt>
                <c:pt idx="184">
                  <c:v>66.793000000000006</c:v>
                </c:pt>
                <c:pt idx="185">
                  <c:v>66.806206000000003</c:v>
                </c:pt>
                <c:pt idx="186">
                  <c:v>66.304019999999994</c:v>
                </c:pt>
                <c:pt idx="187">
                  <c:v>66.203069999999997</c:v>
                </c:pt>
                <c:pt idx="188">
                  <c:v>66.251440000000002</c:v>
                </c:pt>
                <c:pt idx="189">
                  <c:v>66.330960000000005</c:v>
                </c:pt>
                <c:pt idx="190">
                  <c:v>66.623779999999996</c:v>
                </c:pt>
                <c:pt idx="191">
                  <c:v>67.119889999999998</c:v>
                </c:pt>
                <c:pt idx="192">
                  <c:v>67.594284000000002</c:v>
                </c:pt>
                <c:pt idx="193">
                  <c:v>67.725099999999998</c:v>
                </c:pt>
                <c:pt idx="194">
                  <c:v>67.686065999999997</c:v>
                </c:pt>
                <c:pt idx="195">
                  <c:v>67.544464000000005</c:v>
                </c:pt>
                <c:pt idx="196">
                  <c:v>67.683655000000002</c:v>
                </c:pt>
                <c:pt idx="197">
                  <c:v>68.013599999999997</c:v>
                </c:pt>
                <c:pt idx="198">
                  <c:v>68.379554999999996</c:v>
                </c:pt>
                <c:pt idx="199">
                  <c:v>68.457579999999993</c:v>
                </c:pt>
                <c:pt idx="200">
                  <c:v>68.434939999999997</c:v>
                </c:pt>
                <c:pt idx="201">
                  <c:v>68.673775000000006</c:v>
                </c:pt>
                <c:pt idx="202">
                  <c:v>68.641425999999996</c:v>
                </c:pt>
                <c:pt idx="203">
                  <c:v>68.189353999999994</c:v>
                </c:pt>
                <c:pt idx="204">
                  <c:v>67.578270000000003</c:v>
                </c:pt>
                <c:pt idx="205">
                  <c:v>67.04795</c:v>
                </c:pt>
                <c:pt idx="206">
                  <c:v>67.043760000000006</c:v>
                </c:pt>
                <c:pt idx="207">
                  <c:v>67.086150000000004</c:v>
                </c:pt>
                <c:pt idx="208">
                  <c:v>67.043019999999999</c:v>
                </c:pt>
                <c:pt idx="209">
                  <c:v>66.837135000000004</c:v>
                </c:pt>
                <c:pt idx="210">
                  <c:v>66.494450000000001</c:v>
                </c:pt>
                <c:pt idx="211">
                  <c:v>66.438500000000005</c:v>
                </c:pt>
                <c:pt idx="212">
                  <c:v>66.739130000000003</c:v>
                </c:pt>
                <c:pt idx="213">
                  <c:v>66.79504</c:v>
                </c:pt>
                <c:pt idx="214">
                  <c:v>66.655109999999993</c:v>
                </c:pt>
                <c:pt idx="215">
                  <c:v>66.658860000000004</c:v>
                </c:pt>
                <c:pt idx="216">
                  <c:v>67.041533999999999</c:v>
                </c:pt>
                <c:pt idx="217">
                  <c:v>67.227249999999998</c:v>
                </c:pt>
                <c:pt idx="218">
                  <c:v>67.872309999999999</c:v>
                </c:pt>
                <c:pt idx="219">
                  <c:v>68.912819999999996</c:v>
                </c:pt>
                <c:pt idx="220">
                  <c:v>67.976616000000007</c:v>
                </c:pt>
                <c:pt idx="221">
                  <c:v>68.672550000000001</c:v>
                </c:pt>
                <c:pt idx="222">
                  <c:v>69.222840000000005</c:v>
                </c:pt>
                <c:pt idx="223">
                  <c:v>69.325410000000005</c:v>
                </c:pt>
                <c:pt idx="224">
                  <c:v>69.381360000000001</c:v>
                </c:pt>
                <c:pt idx="225">
                  <c:v>69.224699999999999</c:v>
                </c:pt>
                <c:pt idx="226">
                  <c:v>68.617069999999998</c:v>
                </c:pt>
                <c:pt idx="227">
                  <c:v>67.846320000000006</c:v>
                </c:pt>
                <c:pt idx="228">
                  <c:v>67.396904000000006</c:v>
                </c:pt>
                <c:pt idx="229">
                  <c:v>67.334580000000003</c:v>
                </c:pt>
                <c:pt idx="230">
                  <c:v>67.093410000000006</c:v>
                </c:pt>
                <c:pt idx="231">
                  <c:v>67.048299999999998</c:v>
                </c:pt>
                <c:pt idx="232">
                  <c:v>67.117165</c:v>
                </c:pt>
                <c:pt idx="233">
                  <c:v>67.216800000000006</c:v>
                </c:pt>
                <c:pt idx="234">
                  <c:v>67.095969999999994</c:v>
                </c:pt>
                <c:pt idx="235">
                  <c:v>66.813156000000006</c:v>
                </c:pt>
                <c:pt idx="236">
                  <c:v>66.835400000000007</c:v>
                </c:pt>
                <c:pt idx="237">
                  <c:v>66.723365999999999</c:v>
                </c:pt>
                <c:pt idx="238">
                  <c:v>66.171769999999995</c:v>
                </c:pt>
                <c:pt idx="239">
                  <c:v>65.690200000000004</c:v>
                </c:pt>
                <c:pt idx="240">
                  <c:v>65.620350000000002</c:v>
                </c:pt>
                <c:pt idx="241">
                  <c:v>65.533905000000004</c:v>
                </c:pt>
                <c:pt idx="242">
                  <c:v>65.361599999999996</c:v>
                </c:pt>
                <c:pt idx="243">
                  <c:v>65.402429999999995</c:v>
                </c:pt>
                <c:pt idx="244">
                  <c:v>64.897379999999998</c:v>
                </c:pt>
                <c:pt idx="245">
                  <c:v>64.691413999999995</c:v>
                </c:pt>
                <c:pt idx="246">
                  <c:v>64.700749999999999</c:v>
                </c:pt>
                <c:pt idx="247">
                  <c:v>65.205299999999994</c:v>
                </c:pt>
                <c:pt idx="248">
                  <c:v>65.284750000000003</c:v>
                </c:pt>
                <c:pt idx="249">
                  <c:v>65.62379</c:v>
                </c:pt>
                <c:pt idx="250">
                  <c:v>65.975040000000007</c:v>
                </c:pt>
                <c:pt idx="251">
                  <c:v>66.735810000000001</c:v>
                </c:pt>
                <c:pt idx="252">
                  <c:v>66.580314999999999</c:v>
                </c:pt>
                <c:pt idx="253">
                  <c:v>66.446659999999994</c:v>
                </c:pt>
                <c:pt idx="254">
                  <c:v>65.877080000000007</c:v>
                </c:pt>
                <c:pt idx="255">
                  <c:v>65.840829999999997</c:v>
                </c:pt>
                <c:pt idx="256">
                  <c:v>65.807625000000002</c:v>
                </c:pt>
                <c:pt idx="257">
                  <c:v>65.726364000000004</c:v>
                </c:pt>
                <c:pt idx="258">
                  <c:v>65.982119999999995</c:v>
                </c:pt>
                <c:pt idx="259">
                  <c:v>66.084625000000003</c:v>
                </c:pt>
                <c:pt idx="260">
                  <c:v>66.132459999999995</c:v>
                </c:pt>
                <c:pt idx="261">
                  <c:v>66.380520000000004</c:v>
                </c:pt>
                <c:pt idx="262">
                  <c:v>66.607123999999999</c:v>
                </c:pt>
                <c:pt idx="263">
                  <c:v>67.309839999999994</c:v>
                </c:pt>
                <c:pt idx="264">
                  <c:v>66.642619999999994</c:v>
                </c:pt>
                <c:pt idx="265">
                  <c:v>66.713104000000001</c:v>
                </c:pt>
                <c:pt idx="266">
                  <c:v>66.886539999999997</c:v>
                </c:pt>
                <c:pt idx="267">
                  <c:v>67.110793999999999</c:v>
                </c:pt>
                <c:pt idx="268">
                  <c:v>67.477485999999999</c:v>
                </c:pt>
                <c:pt idx="269">
                  <c:v>67.583089999999999</c:v>
                </c:pt>
                <c:pt idx="270">
                  <c:v>67.456810000000004</c:v>
                </c:pt>
                <c:pt idx="271">
                  <c:v>67.178380000000004</c:v>
                </c:pt>
                <c:pt idx="272">
                  <c:v>66.960890000000006</c:v>
                </c:pt>
                <c:pt idx="273">
                  <c:v>66.801550000000006</c:v>
                </c:pt>
                <c:pt idx="274">
                  <c:v>66.857414000000006</c:v>
                </c:pt>
                <c:pt idx="275">
                  <c:v>67.250510000000006</c:v>
                </c:pt>
                <c:pt idx="276">
                  <c:v>67.58023</c:v>
                </c:pt>
                <c:pt idx="277">
                  <c:v>67.68168</c:v>
                </c:pt>
                <c:pt idx="278">
                  <c:v>67.033484999999999</c:v>
                </c:pt>
                <c:pt idx="279">
                  <c:v>67.166160000000005</c:v>
                </c:pt>
                <c:pt idx="280">
                  <c:v>67.239680000000007</c:v>
                </c:pt>
                <c:pt idx="281">
                  <c:v>67.084723999999994</c:v>
                </c:pt>
                <c:pt idx="282">
                  <c:v>67.462813999999995</c:v>
                </c:pt>
                <c:pt idx="283">
                  <c:v>68.44623</c:v>
                </c:pt>
                <c:pt idx="284">
                  <c:v>68.870949999999993</c:v>
                </c:pt>
                <c:pt idx="285">
                  <c:v>70.990105</c:v>
                </c:pt>
                <c:pt idx="286">
                  <c:v>72.154719999999998</c:v>
                </c:pt>
                <c:pt idx="287">
                  <c:v>72.514300000000006</c:v>
                </c:pt>
                <c:pt idx="288">
                  <c:v>71.964836000000005</c:v>
                </c:pt>
                <c:pt idx="289">
                  <c:v>71.090270000000004</c:v>
                </c:pt>
                <c:pt idx="290">
                  <c:v>71.149720000000002</c:v>
                </c:pt>
                <c:pt idx="291">
                  <c:v>71.003860000000003</c:v>
                </c:pt>
                <c:pt idx="292">
                  <c:v>71.030749999999998</c:v>
                </c:pt>
                <c:pt idx="293">
                  <c:v>71.942279999999997</c:v>
                </c:pt>
                <c:pt idx="294">
                  <c:v>71.085359999999994</c:v>
                </c:pt>
                <c:pt idx="295">
                  <c:v>70.143020000000007</c:v>
                </c:pt>
                <c:pt idx="296">
                  <c:v>69.518230000000003</c:v>
                </c:pt>
                <c:pt idx="297">
                  <c:v>69.390915000000007</c:v>
                </c:pt>
                <c:pt idx="298">
                  <c:v>69.631320000000002</c:v>
                </c:pt>
                <c:pt idx="299">
                  <c:v>69.128870000000006</c:v>
                </c:pt>
                <c:pt idx="300">
                  <c:v>68.776570000000007</c:v>
                </c:pt>
                <c:pt idx="301">
                  <c:v>68.888819999999996</c:v>
                </c:pt>
                <c:pt idx="302">
                  <c:v>69.016540000000006</c:v>
                </c:pt>
                <c:pt idx="303">
                  <c:v>68.567535000000007</c:v>
                </c:pt>
                <c:pt idx="304">
                  <c:v>68.963880000000003</c:v>
                </c:pt>
                <c:pt idx="305">
                  <c:v>69.071686</c:v>
                </c:pt>
                <c:pt idx="306">
                  <c:v>69.780495000000002</c:v>
                </c:pt>
                <c:pt idx="307">
                  <c:v>69.765169999999998</c:v>
                </c:pt>
                <c:pt idx="308">
                  <c:v>69.896889999999999</c:v>
                </c:pt>
                <c:pt idx="309">
                  <c:v>70.109070000000003</c:v>
                </c:pt>
                <c:pt idx="310">
                  <c:v>69.681830000000005</c:v>
                </c:pt>
                <c:pt idx="311">
                  <c:v>70.294659999999993</c:v>
                </c:pt>
                <c:pt idx="312">
                  <c:v>71.370360000000005</c:v>
                </c:pt>
                <c:pt idx="313">
                  <c:v>71.081829999999997</c:v>
                </c:pt>
                <c:pt idx="314">
                  <c:v>71.213160000000002</c:v>
                </c:pt>
                <c:pt idx="315">
                  <c:v>70.885300000000001</c:v>
                </c:pt>
                <c:pt idx="316">
                  <c:v>70.805533999999994</c:v>
                </c:pt>
                <c:pt idx="317">
                  <c:v>70.644035000000002</c:v>
                </c:pt>
                <c:pt idx="318">
                  <c:v>70.270589999999999</c:v>
                </c:pt>
                <c:pt idx="319">
                  <c:v>70.306659999999994</c:v>
                </c:pt>
                <c:pt idx="320">
                  <c:v>70.589889999999997</c:v>
                </c:pt>
                <c:pt idx="321">
                  <c:v>71.029650000000004</c:v>
                </c:pt>
                <c:pt idx="322">
                  <c:v>71.192509999999999</c:v>
                </c:pt>
                <c:pt idx="323">
                  <c:v>71.078860000000006</c:v>
                </c:pt>
                <c:pt idx="324">
                  <c:v>70.91883</c:v>
                </c:pt>
                <c:pt idx="325">
                  <c:v>70.609660000000005</c:v>
                </c:pt>
                <c:pt idx="326">
                  <c:v>70.591220000000007</c:v>
                </c:pt>
                <c:pt idx="327">
                  <c:v>70.519270000000006</c:v>
                </c:pt>
                <c:pt idx="328">
                  <c:v>70.372460000000004</c:v>
                </c:pt>
                <c:pt idx="329">
                  <c:v>70.657849999999996</c:v>
                </c:pt>
                <c:pt idx="330">
                  <c:v>71.044169999999994</c:v>
                </c:pt>
                <c:pt idx="331">
                  <c:v>71.515784999999994</c:v>
                </c:pt>
                <c:pt idx="332">
                  <c:v>71.929000000000002</c:v>
                </c:pt>
                <c:pt idx="333">
                  <c:v>71.990260000000006</c:v>
                </c:pt>
                <c:pt idx="334">
                  <c:v>71.801969999999997</c:v>
                </c:pt>
                <c:pt idx="335">
                  <c:v>71.075134000000006</c:v>
                </c:pt>
                <c:pt idx="336">
                  <c:v>71.099459999999993</c:v>
                </c:pt>
                <c:pt idx="337">
                  <c:v>71.140563999999998</c:v>
                </c:pt>
                <c:pt idx="338">
                  <c:v>71.036810000000003</c:v>
                </c:pt>
                <c:pt idx="339">
                  <c:v>70.615459999999999</c:v>
                </c:pt>
                <c:pt idx="340">
                  <c:v>70.205640000000002</c:v>
                </c:pt>
                <c:pt idx="341">
                  <c:v>69.944630000000004</c:v>
                </c:pt>
                <c:pt idx="342">
                  <c:v>69.832380000000001</c:v>
                </c:pt>
                <c:pt idx="343">
                  <c:v>69.936130000000006</c:v>
                </c:pt>
                <c:pt idx="344">
                  <c:v>70.13861</c:v>
                </c:pt>
                <c:pt idx="345">
                  <c:v>70.436179999999993</c:v>
                </c:pt>
                <c:pt idx="346">
                  <c:v>70.573920000000001</c:v>
                </c:pt>
                <c:pt idx="347">
                  <c:v>70.738784999999993</c:v>
                </c:pt>
                <c:pt idx="348">
                  <c:v>71.108279999999993</c:v>
                </c:pt>
                <c:pt idx="349">
                  <c:v>72.007416000000006</c:v>
                </c:pt>
                <c:pt idx="350">
                  <c:v>73.086783999999994</c:v>
                </c:pt>
                <c:pt idx="351">
                  <c:v>74.643585000000002</c:v>
                </c:pt>
                <c:pt idx="352">
                  <c:v>74.6511</c:v>
                </c:pt>
                <c:pt idx="353">
                  <c:v>74.964675999999997</c:v>
                </c:pt>
                <c:pt idx="354">
                  <c:v>74.538820000000001</c:v>
                </c:pt>
                <c:pt idx="355">
                  <c:v>73.757509999999996</c:v>
                </c:pt>
                <c:pt idx="356">
                  <c:v>74.53725</c:v>
                </c:pt>
                <c:pt idx="357">
                  <c:v>73.422520000000006</c:v>
                </c:pt>
                <c:pt idx="358">
                  <c:v>73.517129999999995</c:v>
                </c:pt>
                <c:pt idx="359">
                  <c:v>75.169460000000001</c:v>
                </c:pt>
                <c:pt idx="360">
                  <c:v>75.406649999999999</c:v>
                </c:pt>
                <c:pt idx="361">
                  <c:v>77.124756000000005</c:v>
                </c:pt>
                <c:pt idx="362">
                  <c:v>77.141846000000001</c:v>
                </c:pt>
                <c:pt idx="363">
                  <c:v>76.606499999999997</c:v>
                </c:pt>
                <c:pt idx="364">
                  <c:v>76.807816000000003</c:v>
                </c:pt>
                <c:pt idx="365">
                  <c:v>77.637330000000006</c:v>
                </c:pt>
                <c:pt idx="366">
                  <c:v>77.711524999999995</c:v>
                </c:pt>
                <c:pt idx="367">
                  <c:v>78.001850000000005</c:v>
                </c:pt>
                <c:pt idx="368">
                  <c:v>76.923484999999999</c:v>
                </c:pt>
                <c:pt idx="369">
                  <c:v>75.278059999999996</c:v>
                </c:pt>
                <c:pt idx="370">
                  <c:v>72.942099999999996</c:v>
                </c:pt>
                <c:pt idx="371">
                  <c:v>71.709419999999994</c:v>
                </c:pt>
                <c:pt idx="372">
                  <c:v>70.707660000000004</c:v>
                </c:pt>
                <c:pt idx="373">
                  <c:v>70.265540000000001</c:v>
                </c:pt>
                <c:pt idx="374">
                  <c:v>71.415306000000001</c:v>
                </c:pt>
                <c:pt idx="375">
                  <c:v>72.629524000000004</c:v>
                </c:pt>
                <c:pt idx="376">
                  <c:v>71.531295999999998</c:v>
                </c:pt>
                <c:pt idx="377">
                  <c:v>74.046936000000002</c:v>
                </c:pt>
                <c:pt idx="378">
                  <c:v>79.296109999999999</c:v>
                </c:pt>
                <c:pt idx="379">
                  <c:v>80.593549999999993</c:v>
                </c:pt>
                <c:pt idx="380">
                  <c:v>80.843900000000005</c:v>
                </c:pt>
                <c:pt idx="381">
                  <c:v>81.038849999999996</c:v>
                </c:pt>
                <c:pt idx="382">
                  <c:v>81.276700000000005</c:v>
                </c:pt>
                <c:pt idx="383">
                  <c:v>81.129419999999996</c:v>
                </c:pt>
                <c:pt idx="384">
                  <c:v>81.133930000000007</c:v>
                </c:pt>
                <c:pt idx="385">
                  <c:v>81.296036000000001</c:v>
                </c:pt>
                <c:pt idx="386">
                  <c:v>81.283569999999997</c:v>
                </c:pt>
                <c:pt idx="387">
                  <c:v>79.526420000000002</c:v>
                </c:pt>
                <c:pt idx="388">
                  <c:v>81.493065000000001</c:v>
                </c:pt>
                <c:pt idx="389">
                  <c:v>81.56268</c:v>
                </c:pt>
                <c:pt idx="390">
                  <c:v>81.576059999999998</c:v>
                </c:pt>
                <c:pt idx="391">
                  <c:v>81.394180000000006</c:v>
                </c:pt>
                <c:pt idx="392">
                  <c:v>81.248694999999998</c:v>
                </c:pt>
                <c:pt idx="393">
                  <c:v>80.359759999999994</c:v>
                </c:pt>
                <c:pt idx="394">
                  <c:v>80.530339999999995</c:v>
                </c:pt>
                <c:pt idx="395">
                  <c:v>80.420165999999995</c:v>
                </c:pt>
                <c:pt idx="396">
                  <c:v>80.420460000000006</c:v>
                </c:pt>
                <c:pt idx="397">
                  <c:v>80.353970000000004</c:v>
                </c:pt>
                <c:pt idx="398">
                  <c:v>80.187510000000003</c:v>
                </c:pt>
                <c:pt idx="399">
                  <c:v>80.050650000000005</c:v>
                </c:pt>
                <c:pt idx="400">
                  <c:v>80.051929999999999</c:v>
                </c:pt>
                <c:pt idx="401">
                  <c:v>79.962400000000002</c:v>
                </c:pt>
                <c:pt idx="402">
                  <c:v>80.015900000000002</c:v>
                </c:pt>
                <c:pt idx="403">
                  <c:v>80.335555999999997</c:v>
                </c:pt>
                <c:pt idx="404">
                  <c:v>79.441069999999996</c:v>
                </c:pt>
                <c:pt idx="405">
                  <c:v>80.200873999999999</c:v>
                </c:pt>
                <c:pt idx="406">
                  <c:v>80.727379999999997</c:v>
                </c:pt>
                <c:pt idx="407">
                  <c:v>80.573999999999998</c:v>
                </c:pt>
                <c:pt idx="408">
                  <c:v>80.621350000000007</c:v>
                </c:pt>
                <c:pt idx="409">
                  <c:v>80.628789999999995</c:v>
                </c:pt>
                <c:pt idx="410">
                  <c:v>80.638170000000002</c:v>
                </c:pt>
                <c:pt idx="411">
                  <c:v>80.241730000000004</c:v>
                </c:pt>
                <c:pt idx="412">
                  <c:v>79.827385000000007</c:v>
                </c:pt>
                <c:pt idx="413">
                  <c:v>79.941730000000007</c:v>
                </c:pt>
                <c:pt idx="414">
                  <c:v>79.164959999999994</c:v>
                </c:pt>
                <c:pt idx="415">
                  <c:v>79.504959999999997</c:v>
                </c:pt>
                <c:pt idx="416">
                  <c:v>79.744839999999996</c:v>
                </c:pt>
                <c:pt idx="417">
                  <c:v>79.717079999999996</c:v>
                </c:pt>
                <c:pt idx="418">
                  <c:v>79.215699999999998</c:v>
                </c:pt>
                <c:pt idx="419">
                  <c:v>78.712400000000002</c:v>
                </c:pt>
                <c:pt idx="420">
                  <c:v>78.798379999999995</c:v>
                </c:pt>
                <c:pt idx="421">
                  <c:v>78.825950000000006</c:v>
                </c:pt>
                <c:pt idx="422">
                  <c:v>78.604249999999993</c:v>
                </c:pt>
                <c:pt idx="423">
                  <c:v>78.890199999999993</c:v>
                </c:pt>
                <c:pt idx="424">
                  <c:v>79.368539999999996</c:v>
                </c:pt>
                <c:pt idx="425">
                  <c:v>80.290040000000005</c:v>
                </c:pt>
                <c:pt idx="426">
                  <c:v>80.210139999999996</c:v>
                </c:pt>
                <c:pt idx="427">
                  <c:v>80.740714999999994</c:v>
                </c:pt>
                <c:pt idx="428">
                  <c:v>81.097083999999995</c:v>
                </c:pt>
                <c:pt idx="429">
                  <c:v>81.356999999999999</c:v>
                </c:pt>
                <c:pt idx="430">
                  <c:v>81.739949999999993</c:v>
                </c:pt>
                <c:pt idx="431">
                  <c:v>81.844220000000007</c:v>
                </c:pt>
                <c:pt idx="432">
                  <c:v>81.910780000000003</c:v>
                </c:pt>
                <c:pt idx="433">
                  <c:v>82.188839999999999</c:v>
                </c:pt>
                <c:pt idx="434">
                  <c:v>82.150810000000007</c:v>
                </c:pt>
                <c:pt idx="435">
                  <c:v>82.123694999999998</c:v>
                </c:pt>
                <c:pt idx="436">
                  <c:v>82.225409999999997</c:v>
                </c:pt>
                <c:pt idx="437">
                  <c:v>82.417496</c:v>
                </c:pt>
                <c:pt idx="438">
                  <c:v>82.604004000000003</c:v>
                </c:pt>
                <c:pt idx="439">
                  <c:v>82.610420000000005</c:v>
                </c:pt>
                <c:pt idx="440">
                  <c:v>82.79522</c:v>
                </c:pt>
                <c:pt idx="441">
                  <c:v>82.903046000000003</c:v>
                </c:pt>
                <c:pt idx="442">
                  <c:v>83.122540000000001</c:v>
                </c:pt>
                <c:pt idx="443">
                  <c:v>82.885869999999997</c:v>
                </c:pt>
                <c:pt idx="444">
                  <c:v>82.896355</c:v>
                </c:pt>
                <c:pt idx="445">
                  <c:v>83.113770000000002</c:v>
                </c:pt>
                <c:pt idx="446">
                  <c:v>83.205960000000005</c:v>
                </c:pt>
                <c:pt idx="447">
                  <c:v>83.362970000000004</c:v>
                </c:pt>
                <c:pt idx="448">
                  <c:v>83.635339999999999</c:v>
                </c:pt>
                <c:pt idx="449">
                  <c:v>83.706549999999993</c:v>
                </c:pt>
                <c:pt idx="450">
                  <c:v>83.770089999999996</c:v>
                </c:pt>
                <c:pt idx="451">
                  <c:v>83.968670000000003</c:v>
                </c:pt>
                <c:pt idx="452">
                  <c:v>84.143219999999999</c:v>
                </c:pt>
                <c:pt idx="453">
                  <c:v>84.090800000000002</c:v>
                </c:pt>
                <c:pt idx="454">
                  <c:v>84.034225000000006</c:v>
                </c:pt>
                <c:pt idx="455">
                  <c:v>84.045180000000002</c:v>
                </c:pt>
                <c:pt idx="456">
                  <c:v>83.893640000000005</c:v>
                </c:pt>
                <c:pt idx="457">
                  <c:v>83.890249999999995</c:v>
                </c:pt>
                <c:pt idx="458">
                  <c:v>83.662170000000003</c:v>
                </c:pt>
                <c:pt idx="459">
                  <c:v>83.639854</c:v>
                </c:pt>
                <c:pt idx="460">
                  <c:v>83.373824999999997</c:v>
                </c:pt>
                <c:pt idx="461">
                  <c:v>83.283950000000004</c:v>
                </c:pt>
                <c:pt idx="462">
                  <c:v>82.817949999999996</c:v>
                </c:pt>
                <c:pt idx="463">
                  <c:v>82.437839999999994</c:v>
                </c:pt>
                <c:pt idx="464">
                  <c:v>82.063050000000004</c:v>
                </c:pt>
                <c:pt idx="465">
                  <c:v>82.080849999999998</c:v>
                </c:pt>
                <c:pt idx="466">
                  <c:v>82.913839999999993</c:v>
                </c:pt>
                <c:pt idx="467">
                  <c:v>83.533739999999995</c:v>
                </c:pt>
                <c:pt idx="468">
                  <c:v>83.986496000000002</c:v>
                </c:pt>
                <c:pt idx="469">
                  <c:v>84.767426</c:v>
                </c:pt>
                <c:pt idx="470">
                  <c:v>85.321309999999997</c:v>
                </c:pt>
                <c:pt idx="471">
                  <c:v>83.499030000000005</c:v>
                </c:pt>
                <c:pt idx="472">
                  <c:v>83.784700000000001</c:v>
                </c:pt>
                <c:pt idx="473">
                  <c:v>83.638279999999995</c:v>
                </c:pt>
                <c:pt idx="474">
                  <c:v>83.215620000000001</c:v>
                </c:pt>
                <c:pt idx="475">
                  <c:v>82.612489999999994</c:v>
                </c:pt>
                <c:pt idx="476">
                  <c:v>81.727135000000004</c:v>
                </c:pt>
                <c:pt idx="477">
                  <c:v>79.462249999999997</c:v>
                </c:pt>
                <c:pt idx="478">
                  <c:v>79.932320000000004</c:v>
                </c:pt>
                <c:pt idx="479">
                  <c:v>80.10033</c:v>
                </c:pt>
                <c:pt idx="480">
                  <c:v>80.248310000000004</c:v>
                </c:pt>
                <c:pt idx="481">
                  <c:v>80.561340000000001</c:v>
                </c:pt>
                <c:pt idx="482">
                  <c:v>80.833786000000003</c:v>
                </c:pt>
                <c:pt idx="483">
                  <c:v>80.831199999999995</c:v>
                </c:pt>
                <c:pt idx="484">
                  <c:v>80.659700000000001</c:v>
                </c:pt>
                <c:pt idx="485">
                  <c:v>80.943020000000004</c:v>
                </c:pt>
                <c:pt idx="486">
                  <c:v>81.293009999999995</c:v>
                </c:pt>
                <c:pt idx="487">
                  <c:v>81.310400000000001</c:v>
                </c:pt>
                <c:pt idx="488">
                  <c:v>82.030010000000004</c:v>
                </c:pt>
                <c:pt idx="489">
                  <c:v>82.069770000000005</c:v>
                </c:pt>
                <c:pt idx="490">
                  <c:v>82.416439999999994</c:v>
                </c:pt>
                <c:pt idx="491">
                  <c:v>82.559555000000003</c:v>
                </c:pt>
                <c:pt idx="492">
                  <c:v>81.944050000000004</c:v>
                </c:pt>
                <c:pt idx="493">
                  <c:v>81.798519999999996</c:v>
                </c:pt>
                <c:pt idx="494">
                  <c:v>81.795810000000003</c:v>
                </c:pt>
                <c:pt idx="495">
                  <c:v>81.717020000000005</c:v>
                </c:pt>
                <c:pt idx="496">
                  <c:v>82.041589999999999</c:v>
                </c:pt>
                <c:pt idx="497">
                  <c:v>82.38279</c:v>
                </c:pt>
                <c:pt idx="498">
                  <c:v>82.839100000000002</c:v>
                </c:pt>
                <c:pt idx="499">
                  <c:v>83.139309999999995</c:v>
                </c:pt>
                <c:pt idx="500">
                  <c:v>81.342926000000006</c:v>
                </c:pt>
                <c:pt idx="501">
                  <c:v>83.522679999999994</c:v>
                </c:pt>
                <c:pt idx="502">
                  <c:v>83.260130000000004</c:v>
                </c:pt>
                <c:pt idx="503">
                  <c:v>83.564880000000002</c:v>
                </c:pt>
                <c:pt idx="504">
                  <c:v>83.562775000000002</c:v>
                </c:pt>
                <c:pt idx="505">
                  <c:v>84.061850000000007</c:v>
                </c:pt>
                <c:pt idx="506">
                  <c:v>84.329359999999994</c:v>
                </c:pt>
                <c:pt idx="507">
                  <c:v>84.769940000000005</c:v>
                </c:pt>
                <c:pt idx="508">
                  <c:v>85.131680000000003</c:v>
                </c:pt>
                <c:pt idx="509">
                  <c:v>85.314766000000006</c:v>
                </c:pt>
                <c:pt idx="510">
                  <c:v>85.562209999999993</c:v>
                </c:pt>
                <c:pt idx="511">
                  <c:v>85.623130000000003</c:v>
                </c:pt>
                <c:pt idx="512">
                  <c:v>85.674679999999995</c:v>
                </c:pt>
                <c:pt idx="513">
                  <c:v>85.344764999999995</c:v>
                </c:pt>
                <c:pt idx="514">
                  <c:v>84.970439999999996</c:v>
                </c:pt>
                <c:pt idx="515">
                  <c:v>85.322716</c:v>
                </c:pt>
                <c:pt idx="516">
                  <c:v>84.796499999999995</c:v>
                </c:pt>
                <c:pt idx="517">
                  <c:v>84.744839999999996</c:v>
                </c:pt>
                <c:pt idx="518">
                  <c:v>84.543434000000005</c:v>
                </c:pt>
                <c:pt idx="519">
                  <c:v>84.058279999999996</c:v>
                </c:pt>
                <c:pt idx="520">
                  <c:v>83.516949999999994</c:v>
                </c:pt>
                <c:pt idx="521">
                  <c:v>83.052170000000004</c:v>
                </c:pt>
                <c:pt idx="522">
                  <c:v>83.156869999999998</c:v>
                </c:pt>
                <c:pt idx="523">
                  <c:v>83.201545999999993</c:v>
                </c:pt>
                <c:pt idx="524">
                  <c:v>83.523840000000007</c:v>
                </c:pt>
                <c:pt idx="525">
                  <c:v>83.681979999999996</c:v>
                </c:pt>
                <c:pt idx="526">
                  <c:v>84.273314999999997</c:v>
                </c:pt>
                <c:pt idx="527">
                  <c:v>84.050865000000002</c:v>
                </c:pt>
                <c:pt idx="528">
                  <c:v>85.107200000000006</c:v>
                </c:pt>
                <c:pt idx="529">
                  <c:v>84.088030000000003</c:v>
                </c:pt>
                <c:pt idx="530">
                  <c:v>84.758840000000006</c:v>
                </c:pt>
                <c:pt idx="531">
                  <c:v>84.603226000000006</c:v>
                </c:pt>
                <c:pt idx="532">
                  <c:v>84.447754000000003</c:v>
                </c:pt>
                <c:pt idx="533">
                  <c:v>84.410200000000003</c:v>
                </c:pt>
                <c:pt idx="534">
                  <c:v>84.053405999999995</c:v>
                </c:pt>
                <c:pt idx="535">
                  <c:v>84.421524000000005</c:v>
                </c:pt>
                <c:pt idx="536">
                  <c:v>83.757159999999999</c:v>
                </c:pt>
                <c:pt idx="537">
                  <c:v>84.634519999999995</c:v>
                </c:pt>
                <c:pt idx="538">
                  <c:v>84.864879999999999</c:v>
                </c:pt>
                <c:pt idx="539">
                  <c:v>84.753219999999999</c:v>
                </c:pt>
                <c:pt idx="540">
                  <c:v>84.871269999999996</c:v>
                </c:pt>
                <c:pt idx="541">
                  <c:v>84.96293</c:v>
                </c:pt>
                <c:pt idx="542">
                  <c:v>85.148570000000007</c:v>
                </c:pt>
                <c:pt idx="543">
                  <c:v>85.231139999999996</c:v>
                </c:pt>
                <c:pt idx="544">
                  <c:v>85.189719999999994</c:v>
                </c:pt>
                <c:pt idx="545">
                  <c:v>85.104004000000003</c:v>
                </c:pt>
                <c:pt idx="546">
                  <c:v>84.066986</c:v>
                </c:pt>
                <c:pt idx="547">
                  <c:v>84.852680000000007</c:v>
                </c:pt>
                <c:pt idx="548">
                  <c:v>84.690253999999996</c:v>
                </c:pt>
                <c:pt idx="549">
                  <c:v>83.670029999999997</c:v>
                </c:pt>
                <c:pt idx="550">
                  <c:v>83.415639999999996</c:v>
                </c:pt>
                <c:pt idx="551">
                  <c:v>84.958119999999994</c:v>
                </c:pt>
                <c:pt idx="552">
                  <c:v>84.852789999999999</c:v>
                </c:pt>
                <c:pt idx="553">
                  <c:v>84.981350000000006</c:v>
                </c:pt>
                <c:pt idx="554">
                  <c:v>85.236915999999994</c:v>
                </c:pt>
                <c:pt idx="555">
                  <c:v>85.426310000000001</c:v>
                </c:pt>
                <c:pt idx="556">
                  <c:v>85.428160000000005</c:v>
                </c:pt>
                <c:pt idx="557">
                  <c:v>85.458045999999996</c:v>
                </c:pt>
                <c:pt idx="558">
                  <c:v>85.770240000000001</c:v>
                </c:pt>
                <c:pt idx="559">
                  <c:v>85.820853999999997</c:v>
                </c:pt>
                <c:pt idx="560">
                  <c:v>85.727580000000003</c:v>
                </c:pt>
                <c:pt idx="561">
                  <c:v>85.944046</c:v>
                </c:pt>
                <c:pt idx="562">
                  <c:v>86.113190000000003</c:v>
                </c:pt>
                <c:pt idx="563">
                  <c:v>85.911950000000004</c:v>
                </c:pt>
                <c:pt idx="564">
                  <c:v>85.904629999999997</c:v>
                </c:pt>
                <c:pt idx="565">
                  <c:v>85.719059999999999</c:v>
                </c:pt>
                <c:pt idx="566">
                  <c:v>85.883889999999994</c:v>
                </c:pt>
                <c:pt idx="567">
                  <c:v>86.009020000000007</c:v>
                </c:pt>
                <c:pt idx="568">
                  <c:v>86.141469999999998</c:v>
                </c:pt>
                <c:pt idx="569">
                  <c:v>86.272155999999995</c:v>
                </c:pt>
                <c:pt idx="570">
                  <c:v>86.303740000000005</c:v>
                </c:pt>
                <c:pt idx="571">
                  <c:v>86.425185999999997</c:v>
                </c:pt>
                <c:pt idx="572">
                  <c:v>86.391090000000005</c:v>
                </c:pt>
                <c:pt idx="573">
                  <c:v>86.035933999999997</c:v>
                </c:pt>
                <c:pt idx="574">
                  <c:v>85.893810000000002</c:v>
                </c:pt>
                <c:pt idx="575">
                  <c:v>85.731219999999993</c:v>
                </c:pt>
                <c:pt idx="576">
                  <c:v>85.314025999999998</c:v>
                </c:pt>
                <c:pt idx="577">
                  <c:v>84.988579999999999</c:v>
                </c:pt>
                <c:pt idx="578">
                  <c:v>84.614379999999997</c:v>
                </c:pt>
                <c:pt idx="579">
                  <c:v>85.069980000000001</c:v>
                </c:pt>
                <c:pt idx="580">
                  <c:v>85.073340000000002</c:v>
                </c:pt>
                <c:pt idx="581">
                  <c:v>84.939440000000005</c:v>
                </c:pt>
                <c:pt idx="582">
                  <c:v>84.698166000000001</c:v>
                </c:pt>
                <c:pt idx="583">
                  <c:v>84.607029999999995</c:v>
                </c:pt>
                <c:pt idx="584">
                  <c:v>84.935109999999995</c:v>
                </c:pt>
                <c:pt idx="585">
                  <c:v>85.228560000000002</c:v>
                </c:pt>
                <c:pt idx="586">
                  <c:v>84.711715999999996</c:v>
                </c:pt>
                <c:pt idx="587">
                  <c:v>84.512630000000001</c:v>
                </c:pt>
                <c:pt idx="588">
                  <c:v>84.274760000000001</c:v>
                </c:pt>
                <c:pt idx="589">
                  <c:v>84.454093999999998</c:v>
                </c:pt>
                <c:pt idx="590">
                  <c:v>84.82732</c:v>
                </c:pt>
                <c:pt idx="591">
                  <c:v>84.95093</c:v>
                </c:pt>
                <c:pt idx="592">
                  <c:v>84.975819999999999</c:v>
                </c:pt>
                <c:pt idx="593">
                  <c:v>85.213139999999996</c:v>
                </c:pt>
                <c:pt idx="594">
                  <c:v>85.195880000000002</c:v>
                </c:pt>
                <c:pt idx="595">
                  <c:v>85.013919999999999</c:v>
                </c:pt>
                <c:pt idx="596">
                  <c:v>84.926730000000006</c:v>
                </c:pt>
                <c:pt idx="597">
                  <c:v>84.302850000000007</c:v>
                </c:pt>
                <c:pt idx="598">
                  <c:v>84.099090000000004</c:v>
                </c:pt>
                <c:pt idx="599">
                  <c:v>84.136759999999995</c:v>
                </c:pt>
                <c:pt idx="600">
                  <c:v>84.149895000000001</c:v>
                </c:pt>
                <c:pt idx="601">
                  <c:v>84.243780000000001</c:v>
                </c:pt>
                <c:pt idx="602">
                  <c:v>84.42886</c:v>
                </c:pt>
                <c:pt idx="603">
                  <c:v>83.422424000000007</c:v>
                </c:pt>
                <c:pt idx="604">
                  <c:v>83.634510000000006</c:v>
                </c:pt>
                <c:pt idx="605">
                  <c:v>83.692800000000005</c:v>
                </c:pt>
                <c:pt idx="606">
                  <c:v>84.273139999999998</c:v>
                </c:pt>
                <c:pt idx="607">
                  <c:v>84.782970000000006</c:v>
                </c:pt>
                <c:pt idx="608">
                  <c:v>86.826390000000004</c:v>
                </c:pt>
                <c:pt idx="609">
                  <c:v>86.048169999999999</c:v>
                </c:pt>
                <c:pt idx="610">
                  <c:v>86.563829999999996</c:v>
                </c:pt>
                <c:pt idx="611">
                  <c:v>86.969309999999993</c:v>
                </c:pt>
                <c:pt idx="612">
                  <c:v>86.084209999999999</c:v>
                </c:pt>
                <c:pt idx="613">
                  <c:v>85.297510000000003</c:v>
                </c:pt>
                <c:pt idx="614">
                  <c:v>86.853679999999997</c:v>
                </c:pt>
                <c:pt idx="615">
                  <c:v>86.415824999999998</c:v>
                </c:pt>
                <c:pt idx="616">
                  <c:v>85.793360000000007</c:v>
                </c:pt>
                <c:pt idx="617">
                  <c:v>85.447609999999997</c:v>
                </c:pt>
                <c:pt idx="618">
                  <c:v>85.330920000000006</c:v>
                </c:pt>
                <c:pt idx="619">
                  <c:v>85.371703999999994</c:v>
                </c:pt>
                <c:pt idx="620">
                  <c:v>85.497283999999993</c:v>
                </c:pt>
                <c:pt idx="621">
                  <c:v>85.281930000000003</c:v>
                </c:pt>
                <c:pt idx="622">
                  <c:v>85.214650000000006</c:v>
                </c:pt>
                <c:pt idx="623">
                  <c:v>85.244209999999995</c:v>
                </c:pt>
                <c:pt idx="624">
                  <c:v>85.120384000000001</c:v>
                </c:pt>
                <c:pt idx="625">
                  <c:v>84.729330000000004</c:v>
                </c:pt>
                <c:pt idx="626">
                  <c:v>84.946029999999993</c:v>
                </c:pt>
                <c:pt idx="627">
                  <c:v>84.911659999999998</c:v>
                </c:pt>
                <c:pt idx="628">
                  <c:v>85.055210000000002</c:v>
                </c:pt>
                <c:pt idx="629">
                  <c:v>85.136539999999997</c:v>
                </c:pt>
                <c:pt idx="630">
                  <c:v>83.003699999999995</c:v>
                </c:pt>
                <c:pt idx="631">
                  <c:v>85.466705000000005</c:v>
                </c:pt>
                <c:pt idx="632">
                  <c:v>85.600080000000005</c:v>
                </c:pt>
                <c:pt idx="633">
                  <c:v>85.282520000000005</c:v>
                </c:pt>
                <c:pt idx="634">
                  <c:v>84.554640000000006</c:v>
                </c:pt>
                <c:pt idx="635">
                  <c:v>84.378585999999999</c:v>
                </c:pt>
                <c:pt idx="636">
                  <c:v>81.615395000000007</c:v>
                </c:pt>
                <c:pt idx="637">
                  <c:v>81.631775000000005</c:v>
                </c:pt>
                <c:pt idx="638">
                  <c:v>79.895386000000002</c:v>
                </c:pt>
                <c:pt idx="639">
                  <c:v>80.834710000000001</c:v>
                </c:pt>
                <c:pt idx="640">
                  <c:v>81.643299999999996</c:v>
                </c:pt>
                <c:pt idx="641">
                  <c:v>82.028450000000007</c:v>
                </c:pt>
                <c:pt idx="642">
                  <c:v>81.83211</c:v>
                </c:pt>
                <c:pt idx="643">
                  <c:v>81.633644000000004</c:v>
                </c:pt>
                <c:pt idx="644">
                  <c:v>81.727159999999998</c:v>
                </c:pt>
                <c:pt idx="645">
                  <c:v>79.755645999999999</c:v>
                </c:pt>
                <c:pt idx="646">
                  <c:v>79.960809999999995</c:v>
                </c:pt>
                <c:pt idx="647">
                  <c:v>79.967339999999993</c:v>
                </c:pt>
                <c:pt idx="648">
                  <c:v>79.910285999999999</c:v>
                </c:pt>
                <c:pt idx="649">
                  <c:v>79.975170000000006</c:v>
                </c:pt>
                <c:pt idx="650">
                  <c:v>80.733879999999999</c:v>
                </c:pt>
                <c:pt idx="651">
                  <c:v>78.432550000000006</c:v>
                </c:pt>
                <c:pt idx="652">
                  <c:v>80.224204999999998</c:v>
                </c:pt>
                <c:pt idx="653">
                  <c:v>80.346530000000001</c:v>
                </c:pt>
                <c:pt idx="654">
                  <c:v>80.233665000000002</c:v>
                </c:pt>
                <c:pt idx="655">
                  <c:v>79.566733999999997</c:v>
                </c:pt>
                <c:pt idx="656">
                  <c:v>80.253320000000002</c:v>
                </c:pt>
                <c:pt idx="657">
                  <c:v>79.381979999999999</c:v>
                </c:pt>
                <c:pt idx="658">
                  <c:v>79.322789999999998</c:v>
                </c:pt>
                <c:pt idx="659">
                  <c:v>79.237849999999995</c:v>
                </c:pt>
                <c:pt idx="660">
                  <c:v>78.556430000000006</c:v>
                </c:pt>
                <c:pt idx="661">
                  <c:v>78.184910000000002</c:v>
                </c:pt>
                <c:pt idx="662">
                  <c:v>76.706069999999997</c:v>
                </c:pt>
                <c:pt idx="663">
                  <c:v>78.399770000000004</c:v>
                </c:pt>
                <c:pt idx="664">
                  <c:v>77.372339999999994</c:v>
                </c:pt>
                <c:pt idx="665">
                  <c:v>81.026089999999996</c:v>
                </c:pt>
                <c:pt idx="666">
                  <c:v>77.948099999999997</c:v>
                </c:pt>
                <c:pt idx="667">
                  <c:v>78.884299999999996</c:v>
                </c:pt>
                <c:pt idx="668">
                  <c:v>80.855225000000004</c:v>
                </c:pt>
                <c:pt idx="669">
                  <c:v>81.414190000000005</c:v>
                </c:pt>
                <c:pt idx="670">
                  <c:v>81.652214000000001</c:v>
                </c:pt>
                <c:pt idx="671">
                  <c:v>81.807659999999998</c:v>
                </c:pt>
                <c:pt idx="672">
                  <c:v>81.57329</c:v>
                </c:pt>
                <c:pt idx="673">
                  <c:v>81.962270000000004</c:v>
                </c:pt>
                <c:pt idx="674">
                  <c:v>81.029690000000002</c:v>
                </c:pt>
                <c:pt idx="675">
                  <c:v>82.365790000000004</c:v>
                </c:pt>
                <c:pt idx="676">
                  <c:v>80.772570000000002</c:v>
                </c:pt>
                <c:pt idx="677">
                  <c:v>81.590699999999998</c:v>
                </c:pt>
                <c:pt idx="678">
                  <c:v>82.884609999999995</c:v>
                </c:pt>
                <c:pt idx="679">
                  <c:v>83.207849999999993</c:v>
                </c:pt>
                <c:pt idx="680">
                  <c:v>83.414246000000006</c:v>
                </c:pt>
                <c:pt idx="681">
                  <c:v>83.621089999999995</c:v>
                </c:pt>
                <c:pt idx="682">
                  <c:v>84.733680000000007</c:v>
                </c:pt>
                <c:pt idx="683">
                  <c:v>84.109215000000006</c:v>
                </c:pt>
                <c:pt idx="684">
                  <c:v>84.355864999999994</c:v>
                </c:pt>
                <c:pt idx="685">
                  <c:v>84.495289999999997</c:v>
                </c:pt>
                <c:pt idx="686">
                  <c:v>84.658140000000003</c:v>
                </c:pt>
                <c:pt idx="687">
                  <c:v>84.750309999999999</c:v>
                </c:pt>
                <c:pt idx="688">
                  <c:v>84.849299999999999</c:v>
                </c:pt>
                <c:pt idx="689">
                  <c:v>85.033264000000003</c:v>
                </c:pt>
                <c:pt idx="690">
                  <c:v>84.631990000000002</c:v>
                </c:pt>
                <c:pt idx="691">
                  <c:v>82.607414000000006</c:v>
                </c:pt>
                <c:pt idx="692">
                  <c:v>84.146450000000002</c:v>
                </c:pt>
                <c:pt idx="693">
                  <c:v>83.036820000000006</c:v>
                </c:pt>
                <c:pt idx="694">
                  <c:v>82.963200000000001</c:v>
                </c:pt>
                <c:pt idx="695">
                  <c:v>82.741355999999996</c:v>
                </c:pt>
                <c:pt idx="696">
                  <c:v>82.620410000000007</c:v>
                </c:pt>
                <c:pt idx="697">
                  <c:v>82.928635</c:v>
                </c:pt>
                <c:pt idx="698">
                  <c:v>83.054749999999999</c:v>
                </c:pt>
                <c:pt idx="699">
                  <c:v>83.331429999999997</c:v>
                </c:pt>
                <c:pt idx="700">
                  <c:v>83.344949999999997</c:v>
                </c:pt>
                <c:pt idx="701">
                  <c:v>83.365639999999999</c:v>
                </c:pt>
                <c:pt idx="702">
                  <c:v>83.512150000000005</c:v>
                </c:pt>
                <c:pt idx="703">
                  <c:v>83.723129999999998</c:v>
                </c:pt>
                <c:pt idx="704">
                  <c:v>83.89761</c:v>
                </c:pt>
                <c:pt idx="705">
                  <c:v>83.764899999999997</c:v>
                </c:pt>
                <c:pt idx="706">
                  <c:v>82.978089999999995</c:v>
                </c:pt>
                <c:pt idx="707">
                  <c:v>82.989779999999996</c:v>
                </c:pt>
                <c:pt idx="708">
                  <c:v>83.030410000000003</c:v>
                </c:pt>
                <c:pt idx="709">
                  <c:v>82.945983999999996</c:v>
                </c:pt>
                <c:pt idx="710">
                  <c:v>83.074325999999999</c:v>
                </c:pt>
                <c:pt idx="711">
                  <c:v>83.047349999999994</c:v>
                </c:pt>
                <c:pt idx="712">
                  <c:v>83.019159999999999</c:v>
                </c:pt>
                <c:pt idx="713">
                  <c:v>82.644570000000002</c:v>
                </c:pt>
                <c:pt idx="714">
                  <c:v>82.348799999999997</c:v>
                </c:pt>
                <c:pt idx="715">
                  <c:v>82.312934999999996</c:v>
                </c:pt>
                <c:pt idx="716">
                  <c:v>82.816450000000003</c:v>
                </c:pt>
                <c:pt idx="717">
                  <c:v>82.966483999999994</c:v>
                </c:pt>
                <c:pt idx="718">
                  <c:v>82.878690000000006</c:v>
                </c:pt>
                <c:pt idx="719">
                  <c:v>82.590530000000001</c:v>
                </c:pt>
                <c:pt idx="720">
                  <c:v>82.985564999999994</c:v>
                </c:pt>
                <c:pt idx="721">
                  <c:v>83.447590000000005</c:v>
                </c:pt>
                <c:pt idx="722">
                  <c:v>83.031136000000004</c:v>
                </c:pt>
                <c:pt idx="723">
                  <c:v>83.327200000000005</c:v>
                </c:pt>
                <c:pt idx="724">
                  <c:v>83.323740000000001</c:v>
                </c:pt>
                <c:pt idx="725">
                  <c:v>83.222885000000005</c:v>
                </c:pt>
                <c:pt idx="726">
                  <c:v>82.883285999999998</c:v>
                </c:pt>
                <c:pt idx="727">
                  <c:v>82.213489999999993</c:v>
                </c:pt>
                <c:pt idx="728">
                  <c:v>81.272316000000004</c:v>
                </c:pt>
                <c:pt idx="729">
                  <c:v>80.473429999999993</c:v>
                </c:pt>
                <c:pt idx="730">
                  <c:v>79.491529999999997</c:v>
                </c:pt>
                <c:pt idx="731">
                  <c:v>78.823560000000001</c:v>
                </c:pt>
                <c:pt idx="732">
                  <c:v>78.614295999999996</c:v>
                </c:pt>
                <c:pt idx="733">
                  <c:v>78.736373999999998</c:v>
                </c:pt>
                <c:pt idx="734">
                  <c:v>78.470529999999997</c:v>
                </c:pt>
                <c:pt idx="735">
                  <c:v>78.717449999999999</c:v>
                </c:pt>
                <c:pt idx="736">
                  <c:v>78.533005000000003</c:v>
                </c:pt>
                <c:pt idx="737">
                  <c:v>78.288150000000002</c:v>
                </c:pt>
                <c:pt idx="738">
                  <c:v>78.147729999999996</c:v>
                </c:pt>
                <c:pt idx="739">
                  <c:v>78.123459999999994</c:v>
                </c:pt>
                <c:pt idx="740">
                  <c:v>78.702126000000007</c:v>
                </c:pt>
                <c:pt idx="741">
                  <c:v>78.621894999999995</c:v>
                </c:pt>
                <c:pt idx="742">
                  <c:v>78.971029999999999</c:v>
                </c:pt>
                <c:pt idx="743">
                  <c:v>79.030180000000001</c:v>
                </c:pt>
                <c:pt idx="744">
                  <c:v>78.909220000000005</c:v>
                </c:pt>
                <c:pt idx="745">
                  <c:v>79.464780000000005</c:v>
                </c:pt>
                <c:pt idx="746">
                  <c:v>79.457620000000006</c:v>
                </c:pt>
                <c:pt idx="747">
                  <c:v>79.597335999999999</c:v>
                </c:pt>
                <c:pt idx="748">
                  <c:v>77.381559999999993</c:v>
                </c:pt>
                <c:pt idx="749">
                  <c:v>79.252685999999997</c:v>
                </c:pt>
                <c:pt idx="750">
                  <c:v>78.873109999999997</c:v>
                </c:pt>
                <c:pt idx="751">
                  <c:v>78.366489999999999</c:v>
                </c:pt>
                <c:pt idx="752">
                  <c:v>78.167469999999994</c:v>
                </c:pt>
                <c:pt idx="753">
                  <c:v>77.199969999999993</c:v>
                </c:pt>
                <c:pt idx="754">
                  <c:v>77.693089999999998</c:v>
                </c:pt>
                <c:pt idx="755">
                  <c:v>77.782264999999995</c:v>
                </c:pt>
                <c:pt idx="756">
                  <c:v>78.172610000000006</c:v>
                </c:pt>
                <c:pt idx="757">
                  <c:v>78.7149</c:v>
                </c:pt>
                <c:pt idx="758">
                  <c:v>78.894930000000002</c:v>
                </c:pt>
                <c:pt idx="759">
                  <c:v>78.990859999999998</c:v>
                </c:pt>
                <c:pt idx="760">
                  <c:v>79.203370000000007</c:v>
                </c:pt>
                <c:pt idx="761">
                  <c:v>79.026825000000002</c:v>
                </c:pt>
                <c:pt idx="762">
                  <c:v>79.067170000000004</c:v>
                </c:pt>
                <c:pt idx="763">
                  <c:v>78.973724000000004</c:v>
                </c:pt>
                <c:pt idx="764">
                  <c:v>79.238810000000001</c:v>
                </c:pt>
                <c:pt idx="765">
                  <c:v>78.745729999999995</c:v>
                </c:pt>
                <c:pt idx="766">
                  <c:v>79.126495000000006</c:v>
                </c:pt>
                <c:pt idx="767">
                  <c:v>79.488839999999996</c:v>
                </c:pt>
                <c:pt idx="768">
                  <c:v>80.194230000000005</c:v>
                </c:pt>
                <c:pt idx="769">
                  <c:v>80.075599999999994</c:v>
                </c:pt>
                <c:pt idx="770">
                  <c:v>80.569029999999998</c:v>
                </c:pt>
                <c:pt idx="771">
                  <c:v>80.891139999999993</c:v>
                </c:pt>
                <c:pt idx="772">
                  <c:v>81.297939999999997</c:v>
                </c:pt>
                <c:pt idx="773">
                  <c:v>81.542209999999997</c:v>
                </c:pt>
                <c:pt idx="774">
                  <c:v>82.114310000000003</c:v>
                </c:pt>
                <c:pt idx="775">
                  <c:v>82.04477</c:v>
                </c:pt>
                <c:pt idx="776">
                  <c:v>82.419169999999994</c:v>
                </c:pt>
                <c:pt idx="777">
                  <c:v>82.822819999999993</c:v>
                </c:pt>
                <c:pt idx="778">
                  <c:v>83.141180000000006</c:v>
                </c:pt>
                <c:pt idx="779">
                  <c:v>83.004005000000006</c:v>
                </c:pt>
                <c:pt idx="780">
                  <c:v>82.904219999999995</c:v>
                </c:pt>
                <c:pt idx="781">
                  <c:v>83.171599999999998</c:v>
                </c:pt>
                <c:pt idx="782">
                  <c:v>83.284355000000005</c:v>
                </c:pt>
                <c:pt idx="783">
                  <c:v>83.334860000000006</c:v>
                </c:pt>
                <c:pt idx="784">
                  <c:v>83.337720000000004</c:v>
                </c:pt>
                <c:pt idx="785">
                  <c:v>83.399090000000001</c:v>
                </c:pt>
                <c:pt idx="786">
                  <c:v>83.599180000000004</c:v>
                </c:pt>
                <c:pt idx="787">
                  <c:v>83.556219999999996</c:v>
                </c:pt>
                <c:pt idx="788">
                  <c:v>83.538290000000003</c:v>
                </c:pt>
                <c:pt idx="789">
                  <c:v>83.575553999999997</c:v>
                </c:pt>
                <c:pt idx="790">
                  <c:v>84.226519999999994</c:v>
                </c:pt>
                <c:pt idx="791">
                  <c:v>83.505989999999997</c:v>
                </c:pt>
                <c:pt idx="792">
                  <c:v>83.390366</c:v>
                </c:pt>
                <c:pt idx="793">
                  <c:v>83.181656000000004</c:v>
                </c:pt>
                <c:pt idx="794">
                  <c:v>82.979029999999995</c:v>
                </c:pt>
                <c:pt idx="795">
                  <c:v>83.067089999999993</c:v>
                </c:pt>
                <c:pt idx="796">
                  <c:v>83.762330000000006</c:v>
                </c:pt>
                <c:pt idx="797">
                  <c:v>84.289635000000004</c:v>
                </c:pt>
                <c:pt idx="798">
                  <c:v>84.406310000000005</c:v>
                </c:pt>
                <c:pt idx="799">
                  <c:v>84.895759999999996</c:v>
                </c:pt>
                <c:pt idx="800">
                  <c:v>84.826804999999993</c:v>
                </c:pt>
                <c:pt idx="801">
                  <c:v>84.722179999999994</c:v>
                </c:pt>
                <c:pt idx="802">
                  <c:v>85.364999999999995</c:v>
                </c:pt>
                <c:pt idx="803">
                  <c:v>85.231255000000004</c:v>
                </c:pt>
                <c:pt idx="804">
                  <c:v>85.187545999999998</c:v>
                </c:pt>
                <c:pt idx="805">
                  <c:v>85.456990000000005</c:v>
                </c:pt>
                <c:pt idx="806">
                  <c:v>85.729389999999995</c:v>
                </c:pt>
                <c:pt idx="807">
                  <c:v>85.620930000000001</c:v>
                </c:pt>
                <c:pt idx="808">
                  <c:v>85.307760000000002</c:v>
                </c:pt>
                <c:pt idx="809">
                  <c:v>85.153625000000005</c:v>
                </c:pt>
                <c:pt idx="810">
                  <c:v>84.887259999999998</c:v>
                </c:pt>
                <c:pt idx="811">
                  <c:v>84.536590000000004</c:v>
                </c:pt>
                <c:pt idx="812">
                  <c:v>84.252660000000006</c:v>
                </c:pt>
                <c:pt idx="813">
                  <c:v>84.177909999999997</c:v>
                </c:pt>
                <c:pt idx="814">
                  <c:v>84.128844999999998</c:v>
                </c:pt>
                <c:pt idx="815">
                  <c:v>84.255160000000004</c:v>
                </c:pt>
                <c:pt idx="816">
                  <c:v>84.14143</c:v>
                </c:pt>
                <c:pt idx="817">
                  <c:v>84.063193999999996</c:v>
                </c:pt>
                <c:pt idx="818">
                  <c:v>84.057599999999994</c:v>
                </c:pt>
                <c:pt idx="819">
                  <c:v>83.603309999999993</c:v>
                </c:pt>
                <c:pt idx="820">
                  <c:v>82.894165000000001</c:v>
                </c:pt>
                <c:pt idx="821">
                  <c:v>84.748440000000002</c:v>
                </c:pt>
                <c:pt idx="822">
                  <c:v>83.198369999999997</c:v>
                </c:pt>
                <c:pt idx="823">
                  <c:v>83.520079999999993</c:v>
                </c:pt>
                <c:pt idx="824">
                  <c:v>83.619789999999995</c:v>
                </c:pt>
                <c:pt idx="825">
                  <c:v>84.160613999999995</c:v>
                </c:pt>
                <c:pt idx="826">
                  <c:v>84.774240000000006</c:v>
                </c:pt>
                <c:pt idx="827">
                  <c:v>85.237110000000001</c:v>
                </c:pt>
                <c:pt idx="828">
                  <c:v>85.638855000000007</c:v>
                </c:pt>
                <c:pt idx="829">
                  <c:v>85.810400000000001</c:v>
                </c:pt>
                <c:pt idx="830">
                  <c:v>85.588470000000001</c:v>
                </c:pt>
                <c:pt idx="831">
                  <c:v>85.597244000000003</c:v>
                </c:pt>
                <c:pt idx="832">
                  <c:v>85.715323999999995</c:v>
                </c:pt>
                <c:pt idx="833">
                  <c:v>85.772549999999995</c:v>
                </c:pt>
                <c:pt idx="834">
                  <c:v>86.056229999999999</c:v>
                </c:pt>
                <c:pt idx="835">
                  <c:v>86.176439999999999</c:v>
                </c:pt>
                <c:pt idx="836">
                  <c:v>86.333984000000001</c:v>
                </c:pt>
                <c:pt idx="837">
                  <c:v>85.644149999999996</c:v>
                </c:pt>
                <c:pt idx="838">
                  <c:v>85.238159999999993</c:v>
                </c:pt>
                <c:pt idx="839">
                  <c:v>84.753394999999998</c:v>
                </c:pt>
                <c:pt idx="840">
                  <c:v>84.315070000000006</c:v>
                </c:pt>
                <c:pt idx="841">
                  <c:v>84.179503999999994</c:v>
                </c:pt>
                <c:pt idx="842">
                  <c:v>84.103899999999996</c:v>
                </c:pt>
                <c:pt idx="843">
                  <c:v>83.934616000000005</c:v>
                </c:pt>
                <c:pt idx="844">
                  <c:v>84.079834000000005</c:v>
                </c:pt>
                <c:pt idx="845">
                  <c:v>84.214020000000005</c:v>
                </c:pt>
                <c:pt idx="846">
                  <c:v>84.610305999999994</c:v>
                </c:pt>
                <c:pt idx="847">
                  <c:v>84.257773999999998</c:v>
                </c:pt>
                <c:pt idx="848">
                  <c:v>82.825069999999997</c:v>
                </c:pt>
                <c:pt idx="849">
                  <c:v>82.470190000000002</c:v>
                </c:pt>
                <c:pt idx="850">
                  <c:v>82.906949999999995</c:v>
                </c:pt>
                <c:pt idx="851">
                  <c:v>83.824776</c:v>
                </c:pt>
                <c:pt idx="852">
                  <c:v>84.219359999999995</c:v>
                </c:pt>
                <c:pt idx="853">
                  <c:v>84.1875</c:v>
                </c:pt>
                <c:pt idx="854">
                  <c:v>86.723730000000003</c:v>
                </c:pt>
                <c:pt idx="855">
                  <c:v>85.650930000000002</c:v>
                </c:pt>
                <c:pt idx="856">
                  <c:v>85.702939999999998</c:v>
                </c:pt>
                <c:pt idx="857">
                  <c:v>86.296329999999998</c:v>
                </c:pt>
                <c:pt idx="858">
                  <c:v>88.026820000000001</c:v>
                </c:pt>
                <c:pt idx="859">
                  <c:v>87.511110000000002</c:v>
                </c:pt>
                <c:pt idx="860">
                  <c:v>88.002219999999994</c:v>
                </c:pt>
                <c:pt idx="861">
                  <c:v>88.402569999999997</c:v>
                </c:pt>
                <c:pt idx="862">
                  <c:v>88.599580000000003</c:v>
                </c:pt>
                <c:pt idx="863">
                  <c:v>91.786100000000005</c:v>
                </c:pt>
                <c:pt idx="864">
                  <c:v>89.143249999999995</c:v>
                </c:pt>
                <c:pt idx="865">
                  <c:v>89.3309</c:v>
                </c:pt>
                <c:pt idx="866">
                  <c:v>89.606430000000003</c:v>
                </c:pt>
                <c:pt idx="867">
                  <c:v>89.696624999999997</c:v>
                </c:pt>
                <c:pt idx="868">
                  <c:v>89.665595999999994</c:v>
                </c:pt>
                <c:pt idx="869">
                  <c:v>89.538039999999995</c:v>
                </c:pt>
                <c:pt idx="870">
                  <c:v>89.185874999999996</c:v>
                </c:pt>
                <c:pt idx="871">
                  <c:v>89.069823999999997</c:v>
                </c:pt>
                <c:pt idx="872">
                  <c:v>88.831559999999996</c:v>
                </c:pt>
                <c:pt idx="873">
                  <c:v>88.462159999999997</c:v>
                </c:pt>
                <c:pt idx="874">
                  <c:v>88.299865999999994</c:v>
                </c:pt>
                <c:pt idx="875">
                  <c:v>88.1631</c:v>
                </c:pt>
                <c:pt idx="876">
                  <c:v>88.362930000000006</c:v>
                </c:pt>
                <c:pt idx="877">
                  <c:v>88.483009999999993</c:v>
                </c:pt>
                <c:pt idx="878">
                  <c:v>88.597189999999998</c:v>
                </c:pt>
                <c:pt idx="879">
                  <c:v>88.728089999999995</c:v>
                </c:pt>
                <c:pt idx="880">
                  <c:v>88.967770000000002</c:v>
                </c:pt>
                <c:pt idx="881">
                  <c:v>89.194755999999998</c:v>
                </c:pt>
                <c:pt idx="882">
                  <c:v>89.533164999999997</c:v>
                </c:pt>
                <c:pt idx="883">
                  <c:v>89.618679999999998</c:v>
                </c:pt>
                <c:pt idx="884">
                  <c:v>89.342439999999996</c:v>
                </c:pt>
                <c:pt idx="885">
                  <c:v>88.881280000000004</c:v>
                </c:pt>
                <c:pt idx="886">
                  <c:v>88.582920000000001</c:v>
                </c:pt>
                <c:pt idx="887">
                  <c:v>89.893439999999998</c:v>
                </c:pt>
                <c:pt idx="888">
                  <c:v>90.851820000000004</c:v>
                </c:pt>
                <c:pt idx="889">
                  <c:v>92.151820000000001</c:v>
                </c:pt>
                <c:pt idx="890">
                  <c:v>94.181984</c:v>
                </c:pt>
                <c:pt idx="891">
                  <c:v>95.051640000000006</c:v>
                </c:pt>
                <c:pt idx="892">
                  <c:v>95.441999999999993</c:v>
                </c:pt>
                <c:pt idx="893">
                  <c:v>95.103089999999995</c:v>
                </c:pt>
                <c:pt idx="894">
                  <c:v>94.590294</c:v>
                </c:pt>
                <c:pt idx="895">
                  <c:v>93.981480000000005</c:v>
                </c:pt>
                <c:pt idx="896">
                  <c:v>92.474463999999998</c:v>
                </c:pt>
                <c:pt idx="897">
                  <c:v>92.90325</c:v>
                </c:pt>
                <c:pt idx="898">
                  <c:v>92.98827</c:v>
                </c:pt>
                <c:pt idx="899">
                  <c:v>92.928820000000002</c:v>
                </c:pt>
                <c:pt idx="900">
                  <c:v>91.029529999999994</c:v>
                </c:pt>
                <c:pt idx="901">
                  <c:v>90.999639999999999</c:v>
                </c:pt>
                <c:pt idx="902">
                  <c:v>90.728080000000006</c:v>
                </c:pt>
                <c:pt idx="903">
                  <c:v>90.848489999999998</c:v>
                </c:pt>
                <c:pt idx="904">
                  <c:v>91.158450000000002</c:v>
                </c:pt>
                <c:pt idx="905">
                  <c:v>90.902860000000004</c:v>
                </c:pt>
                <c:pt idx="906">
                  <c:v>91.574669999999998</c:v>
                </c:pt>
                <c:pt idx="907">
                  <c:v>91.950329999999994</c:v>
                </c:pt>
                <c:pt idx="908">
                  <c:v>92.229033999999999</c:v>
                </c:pt>
                <c:pt idx="909">
                  <c:v>92.596779999999995</c:v>
                </c:pt>
                <c:pt idx="910">
                  <c:v>93.054400000000001</c:v>
                </c:pt>
                <c:pt idx="911">
                  <c:v>92.808014</c:v>
                </c:pt>
                <c:pt idx="912">
                  <c:v>93.050285000000002</c:v>
                </c:pt>
                <c:pt idx="913">
                  <c:v>91.603840000000005</c:v>
                </c:pt>
                <c:pt idx="914">
                  <c:v>92.141810000000007</c:v>
                </c:pt>
                <c:pt idx="915">
                  <c:v>92.057190000000006</c:v>
                </c:pt>
                <c:pt idx="916">
                  <c:v>92.858419999999995</c:v>
                </c:pt>
                <c:pt idx="917">
                  <c:v>92.630920000000003</c:v>
                </c:pt>
                <c:pt idx="918">
                  <c:v>92.240729999999999</c:v>
                </c:pt>
                <c:pt idx="919">
                  <c:v>92.371110000000002</c:v>
                </c:pt>
                <c:pt idx="920">
                  <c:v>90.407870000000003</c:v>
                </c:pt>
                <c:pt idx="921">
                  <c:v>87.516559999999998</c:v>
                </c:pt>
                <c:pt idx="922">
                  <c:v>87.527479999999997</c:v>
                </c:pt>
                <c:pt idx="923">
                  <c:v>87.636349999999993</c:v>
                </c:pt>
                <c:pt idx="924">
                  <c:v>87.614630000000005</c:v>
                </c:pt>
                <c:pt idx="925">
                  <c:v>87.606200000000001</c:v>
                </c:pt>
                <c:pt idx="926">
                  <c:v>87.313500000000005</c:v>
                </c:pt>
                <c:pt idx="927">
                  <c:v>87.309974999999994</c:v>
                </c:pt>
                <c:pt idx="928">
                  <c:v>87.389949999999999</c:v>
                </c:pt>
                <c:pt idx="929">
                  <c:v>87.329920000000001</c:v>
                </c:pt>
                <c:pt idx="930">
                  <c:v>87.30386</c:v>
                </c:pt>
                <c:pt idx="931">
                  <c:v>87.473939999999999</c:v>
                </c:pt>
                <c:pt idx="932">
                  <c:v>87.269890000000004</c:v>
                </c:pt>
                <c:pt idx="933">
                  <c:v>87.205969999999994</c:v>
                </c:pt>
                <c:pt idx="934">
                  <c:v>87.15401</c:v>
                </c:pt>
                <c:pt idx="935">
                  <c:v>86.917113999999998</c:v>
                </c:pt>
                <c:pt idx="936">
                  <c:v>86.828479999999999</c:v>
                </c:pt>
                <c:pt idx="937">
                  <c:v>86.626999999999995</c:v>
                </c:pt>
                <c:pt idx="938">
                  <c:v>86.147729999999996</c:v>
                </c:pt>
                <c:pt idx="939">
                  <c:v>85.715416000000005</c:v>
                </c:pt>
                <c:pt idx="940">
                  <c:v>85.401534999999996</c:v>
                </c:pt>
                <c:pt idx="941">
                  <c:v>85.78689</c:v>
                </c:pt>
                <c:pt idx="942">
                  <c:v>85.911545000000004</c:v>
                </c:pt>
                <c:pt idx="943">
                  <c:v>86.378739999999993</c:v>
                </c:pt>
                <c:pt idx="944">
                  <c:v>86.646460000000005</c:v>
                </c:pt>
                <c:pt idx="945">
                  <c:v>86.425740000000005</c:v>
                </c:pt>
                <c:pt idx="946">
                  <c:v>86.694810000000004</c:v>
                </c:pt>
                <c:pt idx="947">
                  <c:v>86.994619999999998</c:v>
                </c:pt>
                <c:pt idx="948">
                  <c:v>87.386443999999997</c:v>
                </c:pt>
                <c:pt idx="949">
                  <c:v>90.072940000000003</c:v>
                </c:pt>
                <c:pt idx="950">
                  <c:v>88.661445999999998</c:v>
                </c:pt>
                <c:pt idx="951">
                  <c:v>89.263540000000006</c:v>
                </c:pt>
                <c:pt idx="952">
                  <c:v>89.834984000000006</c:v>
                </c:pt>
                <c:pt idx="953">
                  <c:v>90.226746000000006</c:v>
                </c:pt>
                <c:pt idx="954">
                  <c:v>90.557106000000005</c:v>
                </c:pt>
                <c:pt idx="955">
                  <c:v>90.768294999999995</c:v>
                </c:pt>
                <c:pt idx="956">
                  <c:v>90.665840000000003</c:v>
                </c:pt>
                <c:pt idx="957">
                  <c:v>90.843980000000002</c:v>
                </c:pt>
                <c:pt idx="958">
                  <c:v>90.247609999999995</c:v>
                </c:pt>
                <c:pt idx="959">
                  <c:v>89.843919999999997</c:v>
                </c:pt>
                <c:pt idx="960">
                  <c:v>90.067170000000004</c:v>
                </c:pt>
                <c:pt idx="961">
                  <c:v>91.393150000000006</c:v>
                </c:pt>
                <c:pt idx="962">
                  <c:v>91.208209999999994</c:v>
                </c:pt>
                <c:pt idx="963">
                  <c:v>92.730069999999998</c:v>
                </c:pt>
                <c:pt idx="964">
                  <c:v>92.586759999999998</c:v>
                </c:pt>
                <c:pt idx="965">
                  <c:v>93.010130000000004</c:v>
                </c:pt>
                <c:pt idx="966">
                  <c:v>93.500680000000003</c:v>
                </c:pt>
                <c:pt idx="967">
                  <c:v>93.674706</c:v>
                </c:pt>
                <c:pt idx="968">
                  <c:v>93.813479999999998</c:v>
                </c:pt>
                <c:pt idx="969">
                  <c:v>94.06711</c:v>
                </c:pt>
                <c:pt idx="970">
                  <c:v>93.753579999999999</c:v>
                </c:pt>
                <c:pt idx="971">
                  <c:v>94.076009999999997</c:v>
                </c:pt>
                <c:pt idx="972">
                  <c:v>94.184203999999994</c:v>
                </c:pt>
                <c:pt idx="973">
                  <c:v>94.475623999999996</c:v>
                </c:pt>
                <c:pt idx="974">
                  <c:v>94.946889999999996</c:v>
                </c:pt>
                <c:pt idx="975">
                  <c:v>95.578819999999993</c:v>
                </c:pt>
                <c:pt idx="976">
                  <c:v>95.890469999999993</c:v>
                </c:pt>
                <c:pt idx="977">
                  <c:v>96.050970000000007</c:v>
                </c:pt>
                <c:pt idx="978">
                  <c:v>93.965003999999993</c:v>
                </c:pt>
                <c:pt idx="979">
                  <c:v>93.860460000000003</c:v>
                </c:pt>
                <c:pt idx="980">
                  <c:v>93.766289999999998</c:v>
                </c:pt>
                <c:pt idx="981">
                  <c:v>93.565449999999998</c:v>
                </c:pt>
                <c:pt idx="982">
                  <c:v>93.163570000000007</c:v>
                </c:pt>
                <c:pt idx="983">
                  <c:v>92.35324</c:v>
                </c:pt>
                <c:pt idx="984">
                  <c:v>91.438509999999994</c:v>
                </c:pt>
                <c:pt idx="985">
                  <c:v>90.688866000000004</c:v>
                </c:pt>
                <c:pt idx="986">
                  <c:v>90.713629999999995</c:v>
                </c:pt>
                <c:pt idx="987">
                  <c:v>90.593279999999993</c:v>
                </c:pt>
                <c:pt idx="988">
                  <c:v>89.863380000000006</c:v>
                </c:pt>
                <c:pt idx="989">
                  <c:v>89.974379999999996</c:v>
                </c:pt>
                <c:pt idx="990">
                  <c:v>90.893485999999996</c:v>
                </c:pt>
                <c:pt idx="991">
                  <c:v>92.102789999999999</c:v>
                </c:pt>
                <c:pt idx="992">
                  <c:v>93.475059999999999</c:v>
                </c:pt>
                <c:pt idx="993">
                  <c:v>94.167439999999999</c:v>
                </c:pt>
                <c:pt idx="994">
                  <c:v>95.45729</c:v>
                </c:pt>
                <c:pt idx="995">
                  <c:v>95.099556000000007</c:v>
                </c:pt>
                <c:pt idx="996">
                  <c:v>95.677719999999994</c:v>
                </c:pt>
                <c:pt idx="997">
                  <c:v>95.477196000000006</c:v>
                </c:pt>
                <c:pt idx="998">
                  <c:v>95.07159</c:v>
                </c:pt>
                <c:pt idx="999">
                  <c:v>94.887370000000004</c:v>
                </c:pt>
                <c:pt idx="1000">
                  <c:v>95.124880000000005</c:v>
                </c:pt>
                <c:pt idx="1001">
                  <c:v>95.046875</c:v>
                </c:pt>
                <c:pt idx="1002">
                  <c:v>95.100340000000003</c:v>
                </c:pt>
                <c:pt idx="1003">
                  <c:v>95.406270000000006</c:v>
                </c:pt>
                <c:pt idx="1004">
                  <c:v>95.564430000000002</c:v>
                </c:pt>
                <c:pt idx="1005">
                  <c:v>95.655270000000002</c:v>
                </c:pt>
                <c:pt idx="1006">
                  <c:v>96.472014999999999</c:v>
                </c:pt>
                <c:pt idx="1007">
                  <c:v>94.870514</c:v>
                </c:pt>
                <c:pt idx="1008">
                  <c:v>92.652240000000006</c:v>
                </c:pt>
                <c:pt idx="1009">
                  <c:v>90.384780000000006</c:v>
                </c:pt>
                <c:pt idx="1010">
                  <c:v>90.418030000000002</c:v>
                </c:pt>
                <c:pt idx="1011">
                  <c:v>91.292699999999996</c:v>
                </c:pt>
                <c:pt idx="1012">
                  <c:v>91.984245000000001</c:v>
                </c:pt>
                <c:pt idx="1013">
                  <c:v>95.475669999999994</c:v>
                </c:pt>
                <c:pt idx="1014">
                  <c:v>97.049480000000003</c:v>
                </c:pt>
                <c:pt idx="1015">
                  <c:v>97.253296000000006</c:v>
                </c:pt>
                <c:pt idx="1016">
                  <c:v>96.796149999999997</c:v>
                </c:pt>
                <c:pt idx="1017">
                  <c:v>96.433459999999997</c:v>
                </c:pt>
                <c:pt idx="1018">
                  <c:v>96.173659999999998</c:v>
                </c:pt>
                <c:pt idx="1019">
                  <c:v>96.556139999999999</c:v>
                </c:pt>
                <c:pt idx="1020">
                  <c:v>96.566474999999997</c:v>
                </c:pt>
                <c:pt idx="1021">
                  <c:v>96.263059999999996</c:v>
                </c:pt>
                <c:pt idx="1022">
                  <c:v>95.887535</c:v>
                </c:pt>
                <c:pt idx="1023">
                  <c:v>95.156000000000006</c:v>
                </c:pt>
                <c:pt idx="1024">
                  <c:v>97.289169999999999</c:v>
                </c:pt>
                <c:pt idx="1025">
                  <c:v>96.298599999999993</c:v>
                </c:pt>
                <c:pt idx="1026">
                  <c:v>96.818020000000004</c:v>
                </c:pt>
                <c:pt idx="1027">
                  <c:v>97.119730000000004</c:v>
                </c:pt>
                <c:pt idx="1028">
                  <c:v>96.833625999999995</c:v>
                </c:pt>
                <c:pt idx="1029">
                  <c:v>96.924773999999999</c:v>
                </c:pt>
                <c:pt idx="1030">
                  <c:v>96.239630000000005</c:v>
                </c:pt>
                <c:pt idx="1031">
                  <c:v>97.140339999999995</c:v>
                </c:pt>
                <c:pt idx="1032">
                  <c:v>96.218639999999994</c:v>
                </c:pt>
                <c:pt idx="1033">
                  <c:v>97.232389999999995</c:v>
                </c:pt>
                <c:pt idx="1034">
                  <c:v>97.936779999999999</c:v>
                </c:pt>
                <c:pt idx="1035">
                  <c:v>97.884569999999997</c:v>
                </c:pt>
                <c:pt idx="1036">
                  <c:v>95.541259999999994</c:v>
                </c:pt>
                <c:pt idx="1037">
                  <c:v>96.314359999999994</c:v>
                </c:pt>
                <c:pt idx="1038">
                  <c:v>97.530829999999995</c:v>
                </c:pt>
                <c:pt idx="1039">
                  <c:v>99.673730000000006</c:v>
                </c:pt>
                <c:pt idx="1040">
                  <c:v>98.763379999999998</c:v>
                </c:pt>
                <c:pt idx="1041">
                  <c:v>97.78819</c:v>
                </c:pt>
                <c:pt idx="1042">
                  <c:v>97.772970000000001</c:v>
                </c:pt>
                <c:pt idx="1043">
                  <c:v>97.800219999999996</c:v>
                </c:pt>
                <c:pt idx="1044">
                  <c:v>98.387879999999996</c:v>
                </c:pt>
                <c:pt idx="1045">
                  <c:v>98.823295999999999</c:v>
                </c:pt>
                <c:pt idx="1046">
                  <c:v>99.592339999999993</c:v>
                </c:pt>
                <c:pt idx="1047">
                  <c:v>99.726969999999994</c:v>
                </c:pt>
                <c:pt idx="1048">
                  <c:v>97.983620000000002</c:v>
                </c:pt>
                <c:pt idx="1049">
                  <c:v>99.249380000000002</c:v>
                </c:pt>
                <c:pt idx="1050">
                  <c:v>101.45255</c:v>
                </c:pt>
                <c:pt idx="1051">
                  <c:v>100.18853</c:v>
                </c:pt>
                <c:pt idx="1052">
                  <c:v>101.790054</c:v>
                </c:pt>
                <c:pt idx="1053">
                  <c:v>103.735146</c:v>
                </c:pt>
                <c:pt idx="1054">
                  <c:v>102.11717</c:v>
                </c:pt>
                <c:pt idx="1055">
                  <c:v>102.34278999999999</c:v>
                </c:pt>
                <c:pt idx="1056">
                  <c:v>102.901</c:v>
                </c:pt>
                <c:pt idx="1057">
                  <c:v>101.72835499999999</c:v>
                </c:pt>
                <c:pt idx="1058">
                  <c:v>102.22149</c:v>
                </c:pt>
                <c:pt idx="1059">
                  <c:v>101.90127</c:v>
                </c:pt>
                <c:pt idx="1060">
                  <c:v>101.94884500000001</c:v>
                </c:pt>
                <c:pt idx="1061">
                  <c:v>102.49585</c:v>
                </c:pt>
                <c:pt idx="1062">
                  <c:v>102.33324399999999</c:v>
                </c:pt>
                <c:pt idx="1063">
                  <c:v>102.03943</c:v>
                </c:pt>
                <c:pt idx="1064">
                  <c:v>101.98698</c:v>
                </c:pt>
                <c:pt idx="1065">
                  <c:v>101.628624</c:v>
                </c:pt>
                <c:pt idx="1066">
                  <c:v>101.37647</c:v>
                </c:pt>
                <c:pt idx="1067">
                  <c:v>101.45471000000001</c:v>
                </c:pt>
                <c:pt idx="1068">
                  <c:v>101.27187000000001</c:v>
                </c:pt>
                <c:pt idx="1069">
                  <c:v>101.30476</c:v>
                </c:pt>
                <c:pt idx="1070">
                  <c:v>100.90067000000001</c:v>
                </c:pt>
                <c:pt idx="1071">
                  <c:v>101.54288</c:v>
                </c:pt>
                <c:pt idx="1072">
                  <c:v>101.64359</c:v>
                </c:pt>
                <c:pt idx="1073">
                  <c:v>101.67739</c:v>
                </c:pt>
                <c:pt idx="1074">
                  <c:v>100.57961</c:v>
                </c:pt>
                <c:pt idx="1075">
                  <c:v>101.77855</c:v>
                </c:pt>
                <c:pt idx="1076">
                  <c:v>102.49851</c:v>
                </c:pt>
                <c:pt idx="1077">
                  <c:v>103.285484</c:v>
                </c:pt>
                <c:pt idx="1078">
                  <c:v>103.16254000000001</c:v>
                </c:pt>
                <c:pt idx="1079">
                  <c:v>103.75002000000001</c:v>
                </c:pt>
                <c:pt idx="1080">
                  <c:v>104.032715</c:v>
                </c:pt>
                <c:pt idx="1081">
                  <c:v>102.887856</c:v>
                </c:pt>
                <c:pt idx="1082">
                  <c:v>102.99972</c:v>
                </c:pt>
                <c:pt idx="1083">
                  <c:v>103.76752999999999</c:v>
                </c:pt>
                <c:pt idx="1084">
                  <c:v>103.02437999999999</c:v>
                </c:pt>
                <c:pt idx="1085">
                  <c:v>104.55937</c:v>
                </c:pt>
                <c:pt idx="1086">
                  <c:v>104.12083</c:v>
                </c:pt>
                <c:pt idx="1087">
                  <c:v>103.98268</c:v>
                </c:pt>
                <c:pt idx="1088">
                  <c:v>104.30329</c:v>
                </c:pt>
                <c:pt idx="1089">
                  <c:v>104.19410999999999</c:v>
                </c:pt>
                <c:pt idx="1090">
                  <c:v>104.56813</c:v>
                </c:pt>
                <c:pt idx="1091">
                  <c:v>104.20246</c:v>
                </c:pt>
                <c:pt idx="1092">
                  <c:v>104.12159</c:v>
                </c:pt>
                <c:pt idx="1093">
                  <c:v>102.24590999999999</c:v>
                </c:pt>
                <c:pt idx="1094">
                  <c:v>103.277916</c:v>
                </c:pt>
                <c:pt idx="1095">
                  <c:v>102.74284</c:v>
                </c:pt>
                <c:pt idx="1096">
                  <c:v>102.36185999999999</c:v>
                </c:pt>
                <c:pt idx="1097">
                  <c:v>101.52019</c:v>
                </c:pt>
                <c:pt idx="1098">
                  <c:v>102.548805</c:v>
                </c:pt>
                <c:pt idx="1099">
                  <c:v>103.19801</c:v>
                </c:pt>
                <c:pt idx="1100">
                  <c:v>103.37179</c:v>
                </c:pt>
                <c:pt idx="1101">
                  <c:v>103.53570000000001</c:v>
                </c:pt>
                <c:pt idx="1102">
                  <c:v>103.34453000000001</c:v>
                </c:pt>
                <c:pt idx="1103">
                  <c:v>103.39882</c:v>
                </c:pt>
                <c:pt idx="1104">
                  <c:v>104.02169000000001</c:v>
                </c:pt>
                <c:pt idx="1105">
                  <c:v>103.279106</c:v>
                </c:pt>
                <c:pt idx="1106">
                  <c:v>102.94354</c:v>
                </c:pt>
                <c:pt idx="1107">
                  <c:v>102.96641</c:v>
                </c:pt>
                <c:pt idx="1108">
                  <c:v>101.21504</c:v>
                </c:pt>
                <c:pt idx="1109">
                  <c:v>100.83471</c:v>
                </c:pt>
                <c:pt idx="1110">
                  <c:v>102.098</c:v>
                </c:pt>
                <c:pt idx="1111">
                  <c:v>103.12034</c:v>
                </c:pt>
                <c:pt idx="1112">
                  <c:v>103.85303999999999</c:v>
                </c:pt>
                <c:pt idx="1113">
                  <c:v>104.65321</c:v>
                </c:pt>
                <c:pt idx="1114">
                  <c:v>104.99682</c:v>
                </c:pt>
                <c:pt idx="1115">
                  <c:v>105.26818</c:v>
                </c:pt>
                <c:pt idx="1116">
                  <c:v>104.72721</c:v>
                </c:pt>
                <c:pt idx="1117">
                  <c:v>104.31071</c:v>
                </c:pt>
                <c:pt idx="1118">
                  <c:v>103.77754</c:v>
                </c:pt>
                <c:pt idx="1119">
                  <c:v>103.77745</c:v>
                </c:pt>
                <c:pt idx="1120">
                  <c:v>105.6981</c:v>
                </c:pt>
                <c:pt idx="1121">
                  <c:v>103.80731</c:v>
                </c:pt>
                <c:pt idx="1122">
                  <c:v>103.74737</c:v>
                </c:pt>
                <c:pt idx="1123">
                  <c:v>103.794426</c:v>
                </c:pt>
                <c:pt idx="1124">
                  <c:v>104.00646999999999</c:v>
                </c:pt>
                <c:pt idx="1125">
                  <c:v>102.67609</c:v>
                </c:pt>
                <c:pt idx="1126">
                  <c:v>104.22462</c:v>
                </c:pt>
                <c:pt idx="1127">
                  <c:v>104.28297999999999</c:v>
                </c:pt>
                <c:pt idx="1128">
                  <c:v>104.54602</c:v>
                </c:pt>
                <c:pt idx="1129">
                  <c:v>104.71643</c:v>
                </c:pt>
                <c:pt idx="1130">
                  <c:v>104.716774</c:v>
                </c:pt>
                <c:pt idx="1131">
                  <c:v>104.67364499999999</c:v>
                </c:pt>
                <c:pt idx="1132">
                  <c:v>104.26857</c:v>
                </c:pt>
                <c:pt idx="1133">
                  <c:v>103.81950999999999</c:v>
                </c:pt>
                <c:pt idx="1134">
                  <c:v>105.41016999999999</c:v>
                </c:pt>
                <c:pt idx="1135">
                  <c:v>103.84023000000001</c:v>
                </c:pt>
                <c:pt idx="1136">
                  <c:v>103.35992400000001</c:v>
                </c:pt>
                <c:pt idx="1137">
                  <c:v>102.84596000000001</c:v>
                </c:pt>
                <c:pt idx="1138">
                  <c:v>103.702484</c:v>
                </c:pt>
                <c:pt idx="1139">
                  <c:v>103.80479</c:v>
                </c:pt>
                <c:pt idx="1140">
                  <c:v>103.68822</c:v>
                </c:pt>
                <c:pt idx="1141">
                  <c:v>102.49097999999999</c:v>
                </c:pt>
                <c:pt idx="1142">
                  <c:v>103.05586</c:v>
                </c:pt>
                <c:pt idx="1143">
                  <c:v>103.372696</c:v>
                </c:pt>
                <c:pt idx="1144">
                  <c:v>103.73267</c:v>
                </c:pt>
                <c:pt idx="1145">
                  <c:v>103.74169000000001</c:v>
                </c:pt>
                <c:pt idx="1146">
                  <c:v>102.56031</c:v>
                </c:pt>
                <c:pt idx="1147">
                  <c:v>103.65546399999999</c:v>
                </c:pt>
                <c:pt idx="1148">
                  <c:v>103.73112999999999</c:v>
                </c:pt>
                <c:pt idx="1149">
                  <c:v>103.82741</c:v>
                </c:pt>
                <c:pt idx="1150">
                  <c:v>103.898224</c:v>
                </c:pt>
                <c:pt idx="1151">
                  <c:v>101.737976</c:v>
                </c:pt>
                <c:pt idx="1152">
                  <c:v>102.50546</c:v>
                </c:pt>
                <c:pt idx="1153">
                  <c:v>102.824844</c:v>
                </c:pt>
                <c:pt idx="1154">
                  <c:v>101.70707</c:v>
                </c:pt>
                <c:pt idx="1155">
                  <c:v>102.47503</c:v>
                </c:pt>
                <c:pt idx="1156">
                  <c:v>101.42304</c:v>
                </c:pt>
                <c:pt idx="1157">
                  <c:v>102.98802000000001</c:v>
                </c:pt>
                <c:pt idx="1158">
                  <c:v>103.40478</c:v>
                </c:pt>
                <c:pt idx="1159">
                  <c:v>102.784584</c:v>
                </c:pt>
                <c:pt idx="1160">
                  <c:v>102.94776</c:v>
                </c:pt>
                <c:pt idx="1161">
                  <c:v>102.94589999999999</c:v>
                </c:pt>
                <c:pt idx="1162">
                  <c:v>102.819435</c:v>
                </c:pt>
                <c:pt idx="1163">
                  <c:v>103.3237</c:v>
                </c:pt>
                <c:pt idx="1164">
                  <c:v>102.88634</c:v>
                </c:pt>
                <c:pt idx="1165">
                  <c:v>98.345870000000005</c:v>
                </c:pt>
                <c:pt idx="1166">
                  <c:v>100.27030000000001</c:v>
                </c:pt>
                <c:pt idx="1167">
                  <c:v>98.658349999999999</c:v>
                </c:pt>
                <c:pt idx="1168">
                  <c:v>98.831199999999995</c:v>
                </c:pt>
                <c:pt idx="1169">
                  <c:v>98.235990000000001</c:v>
                </c:pt>
                <c:pt idx="1170">
                  <c:v>99.190020000000004</c:v>
                </c:pt>
                <c:pt idx="1171">
                  <c:v>100.75053</c:v>
                </c:pt>
                <c:pt idx="1172">
                  <c:v>101.69135</c:v>
                </c:pt>
                <c:pt idx="1173">
                  <c:v>101.70071</c:v>
                </c:pt>
                <c:pt idx="1174">
                  <c:v>101.16526</c:v>
                </c:pt>
                <c:pt idx="1175">
                  <c:v>100.87766999999999</c:v>
                </c:pt>
                <c:pt idx="1176">
                  <c:v>100.35833</c:v>
                </c:pt>
                <c:pt idx="1177">
                  <c:v>100.25561</c:v>
                </c:pt>
                <c:pt idx="1178">
                  <c:v>99.649169999999998</c:v>
                </c:pt>
                <c:pt idx="1179">
                  <c:v>100.24347</c:v>
                </c:pt>
                <c:pt idx="1180">
                  <c:v>101.09820000000001</c:v>
                </c:pt>
                <c:pt idx="1181">
                  <c:v>100.99933</c:v>
                </c:pt>
                <c:pt idx="1182">
                  <c:v>102.4498</c:v>
                </c:pt>
                <c:pt idx="1183">
                  <c:v>101.51090000000001</c:v>
                </c:pt>
                <c:pt idx="1184">
                  <c:v>102.62518</c:v>
                </c:pt>
                <c:pt idx="1185">
                  <c:v>103.62815000000001</c:v>
                </c:pt>
                <c:pt idx="1186">
                  <c:v>103.82679</c:v>
                </c:pt>
                <c:pt idx="1187">
                  <c:v>104.62733</c:v>
                </c:pt>
                <c:pt idx="1188">
                  <c:v>103.64303</c:v>
                </c:pt>
                <c:pt idx="1189">
                  <c:v>104.26743999999999</c:v>
                </c:pt>
                <c:pt idx="1190">
                  <c:v>104.80653</c:v>
                </c:pt>
                <c:pt idx="1191">
                  <c:v>105.42259</c:v>
                </c:pt>
                <c:pt idx="1192">
                  <c:v>105.0912</c:v>
                </c:pt>
                <c:pt idx="1193">
                  <c:v>105.637314</c:v>
                </c:pt>
                <c:pt idx="1194">
                  <c:v>106.22642500000001</c:v>
                </c:pt>
                <c:pt idx="1195">
                  <c:v>105.60256</c:v>
                </c:pt>
                <c:pt idx="1196">
                  <c:v>105.20544</c:v>
                </c:pt>
                <c:pt idx="1197">
                  <c:v>105.12629</c:v>
                </c:pt>
                <c:pt idx="1198">
                  <c:v>104.07890999999999</c:v>
                </c:pt>
                <c:pt idx="1199">
                  <c:v>103.41996</c:v>
                </c:pt>
                <c:pt idx="1200">
                  <c:v>104.77951</c:v>
                </c:pt>
                <c:pt idx="1201">
                  <c:v>105.072266</c:v>
                </c:pt>
                <c:pt idx="1202">
                  <c:v>104.64976</c:v>
                </c:pt>
                <c:pt idx="1203">
                  <c:v>104.90017</c:v>
                </c:pt>
                <c:pt idx="1204">
                  <c:v>104.799446</c:v>
                </c:pt>
                <c:pt idx="1205">
                  <c:v>106.128494</c:v>
                </c:pt>
                <c:pt idx="1206">
                  <c:v>105.68439499999999</c:v>
                </c:pt>
                <c:pt idx="1207">
                  <c:v>105.45114</c:v>
                </c:pt>
                <c:pt idx="1208">
                  <c:v>105.721344</c:v>
                </c:pt>
                <c:pt idx="1209">
                  <c:v>104.46347</c:v>
                </c:pt>
                <c:pt idx="1210">
                  <c:v>104.580215</c:v>
                </c:pt>
                <c:pt idx="1211">
                  <c:v>104.70476499999999</c:v>
                </c:pt>
                <c:pt idx="1212">
                  <c:v>105.08906</c:v>
                </c:pt>
                <c:pt idx="1213">
                  <c:v>105.18850999999999</c:v>
                </c:pt>
                <c:pt idx="1214">
                  <c:v>104.05759399999999</c:v>
                </c:pt>
                <c:pt idx="1215">
                  <c:v>104.86948</c:v>
                </c:pt>
                <c:pt idx="1216">
                  <c:v>105.53082000000001</c:v>
                </c:pt>
                <c:pt idx="1217">
                  <c:v>105.62738</c:v>
                </c:pt>
                <c:pt idx="1218">
                  <c:v>105.78532</c:v>
                </c:pt>
                <c:pt idx="1219">
                  <c:v>105.37842999999999</c:v>
                </c:pt>
                <c:pt idx="1220">
                  <c:v>103.53628500000001</c:v>
                </c:pt>
                <c:pt idx="1221">
                  <c:v>104.60083</c:v>
                </c:pt>
                <c:pt idx="1222">
                  <c:v>104.56762999999999</c:v>
                </c:pt>
                <c:pt idx="1223">
                  <c:v>104.407005</c:v>
                </c:pt>
                <c:pt idx="1224">
                  <c:v>105.26269000000001</c:v>
                </c:pt>
                <c:pt idx="1225">
                  <c:v>106.124565</c:v>
                </c:pt>
                <c:pt idx="1226">
                  <c:v>106.75374600000001</c:v>
                </c:pt>
                <c:pt idx="1227">
                  <c:v>107.21218</c:v>
                </c:pt>
                <c:pt idx="1228">
                  <c:v>108.02247</c:v>
                </c:pt>
                <c:pt idx="1229">
                  <c:v>104.22981</c:v>
                </c:pt>
                <c:pt idx="1230">
                  <c:v>103.95622</c:v>
                </c:pt>
                <c:pt idx="1231">
                  <c:v>104.04727</c:v>
                </c:pt>
                <c:pt idx="1232">
                  <c:v>104.73577</c:v>
                </c:pt>
                <c:pt idx="1233">
                  <c:v>105.51783</c:v>
                </c:pt>
                <c:pt idx="1234">
                  <c:v>104.54185</c:v>
                </c:pt>
                <c:pt idx="1235">
                  <c:v>105.30624</c:v>
                </c:pt>
                <c:pt idx="1236">
                  <c:v>106.48739999999999</c:v>
                </c:pt>
                <c:pt idx="1237">
                  <c:v>107.34656</c:v>
                </c:pt>
                <c:pt idx="1238">
                  <c:v>108.245895</c:v>
                </c:pt>
                <c:pt idx="1239">
                  <c:v>107.729164</c:v>
                </c:pt>
                <c:pt idx="1240">
                  <c:v>107.908424</c:v>
                </c:pt>
                <c:pt idx="1241">
                  <c:v>106.9528</c:v>
                </c:pt>
                <c:pt idx="1242">
                  <c:v>106.27923</c:v>
                </c:pt>
                <c:pt idx="1243">
                  <c:v>106.46348</c:v>
                </c:pt>
                <c:pt idx="1244">
                  <c:v>107.18848</c:v>
                </c:pt>
                <c:pt idx="1245">
                  <c:v>108.27245000000001</c:v>
                </c:pt>
                <c:pt idx="1246">
                  <c:v>110.38511</c:v>
                </c:pt>
                <c:pt idx="1247">
                  <c:v>111.74741</c:v>
                </c:pt>
                <c:pt idx="1248">
                  <c:v>110.92107</c:v>
                </c:pt>
                <c:pt idx="1249">
                  <c:v>110.92657</c:v>
                </c:pt>
                <c:pt idx="1250">
                  <c:v>111.852806</c:v>
                </c:pt>
                <c:pt idx="1251">
                  <c:v>111.21947</c:v>
                </c:pt>
                <c:pt idx="1252">
                  <c:v>108.87271</c:v>
                </c:pt>
                <c:pt idx="1253">
                  <c:v>107.87488999999999</c:v>
                </c:pt>
                <c:pt idx="1254">
                  <c:v>105.12734</c:v>
                </c:pt>
                <c:pt idx="1255">
                  <c:v>103.16603000000001</c:v>
                </c:pt>
                <c:pt idx="1256">
                  <c:v>100.55701000000001</c:v>
                </c:pt>
                <c:pt idx="1257">
                  <c:v>98.689800000000005</c:v>
                </c:pt>
                <c:pt idx="1258">
                  <c:v>98.424000000000007</c:v>
                </c:pt>
                <c:pt idx="1259">
                  <c:v>96.991500000000002</c:v>
                </c:pt>
                <c:pt idx="1260">
                  <c:v>95.865589999999997</c:v>
                </c:pt>
                <c:pt idx="1261">
                  <c:v>96.954480000000004</c:v>
                </c:pt>
                <c:pt idx="1262">
                  <c:v>96.631799999999998</c:v>
                </c:pt>
                <c:pt idx="1263">
                  <c:v>98.004000000000005</c:v>
                </c:pt>
                <c:pt idx="1264">
                  <c:v>97.604349999999997</c:v>
                </c:pt>
                <c:pt idx="1265">
                  <c:v>97.175139999999999</c:v>
                </c:pt>
                <c:pt idx="1266">
                  <c:v>98.247696000000005</c:v>
                </c:pt>
                <c:pt idx="1267">
                  <c:v>99.260869999999997</c:v>
                </c:pt>
                <c:pt idx="1268">
                  <c:v>99.31823</c:v>
                </c:pt>
                <c:pt idx="1269">
                  <c:v>99.455740000000006</c:v>
                </c:pt>
                <c:pt idx="1270">
                  <c:v>98.498829999999998</c:v>
                </c:pt>
                <c:pt idx="1271">
                  <c:v>97.699669999999998</c:v>
                </c:pt>
                <c:pt idx="1272">
                  <c:v>97.335920000000002</c:v>
                </c:pt>
                <c:pt idx="1273">
                  <c:v>97.514830000000003</c:v>
                </c:pt>
                <c:pt idx="1274">
                  <c:v>97.256439999999998</c:v>
                </c:pt>
                <c:pt idx="1275">
                  <c:v>96.873405000000005</c:v>
                </c:pt>
                <c:pt idx="1276">
                  <c:v>98.423379999999995</c:v>
                </c:pt>
                <c:pt idx="1277">
                  <c:v>98.697919999999996</c:v>
                </c:pt>
                <c:pt idx="1278">
                  <c:v>99.107414000000006</c:v>
                </c:pt>
                <c:pt idx="1279">
                  <c:v>99.097279999999998</c:v>
                </c:pt>
                <c:pt idx="1280">
                  <c:v>99.659719999999993</c:v>
                </c:pt>
                <c:pt idx="1281">
                  <c:v>99.207830000000001</c:v>
                </c:pt>
                <c:pt idx="1282">
                  <c:v>101.36458</c:v>
                </c:pt>
                <c:pt idx="1283">
                  <c:v>101.92019000000001</c:v>
                </c:pt>
                <c:pt idx="1284">
                  <c:v>100.90501399999999</c:v>
                </c:pt>
                <c:pt idx="1285">
                  <c:v>101.45611</c:v>
                </c:pt>
                <c:pt idx="1286">
                  <c:v>101.74118</c:v>
                </c:pt>
                <c:pt idx="1287">
                  <c:v>101.55689</c:v>
                </c:pt>
                <c:pt idx="1288">
                  <c:v>100.64586</c:v>
                </c:pt>
                <c:pt idx="1289">
                  <c:v>99.132710000000003</c:v>
                </c:pt>
                <c:pt idx="1290">
                  <c:v>98.795876000000007</c:v>
                </c:pt>
                <c:pt idx="1291">
                  <c:v>98.001059999999995</c:v>
                </c:pt>
                <c:pt idx="1292">
                  <c:v>97.10915</c:v>
                </c:pt>
                <c:pt idx="1293">
                  <c:v>97.345245000000006</c:v>
                </c:pt>
                <c:pt idx="1294">
                  <c:v>98.226799999999997</c:v>
                </c:pt>
                <c:pt idx="1295">
                  <c:v>97.951689999999999</c:v>
                </c:pt>
                <c:pt idx="1296">
                  <c:v>98.796030000000002</c:v>
                </c:pt>
                <c:pt idx="1297">
                  <c:v>99.672269999999997</c:v>
                </c:pt>
                <c:pt idx="1298">
                  <c:v>99.306250000000006</c:v>
                </c:pt>
                <c:pt idx="1299">
                  <c:v>100.87551000000001</c:v>
                </c:pt>
                <c:pt idx="1300">
                  <c:v>101.14651499999999</c:v>
                </c:pt>
                <c:pt idx="1301">
                  <c:v>102.08432999999999</c:v>
                </c:pt>
                <c:pt idx="1302">
                  <c:v>101.983116</c:v>
                </c:pt>
                <c:pt idx="1303">
                  <c:v>101.49608600000001</c:v>
                </c:pt>
                <c:pt idx="1304">
                  <c:v>100.63970999999999</c:v>
                </c:pt>
                <c:pt idx="1305">
                  <c:v>97.990844999999993</c:v>
                </c:pt>
                <c:pt idx="1306">
                  <c:v>97.192695999999998</c:v>
                </c:pt>
                <c:pt idx="1307">
                  <c:v>93.639769999999999</c:v>
                </c:pt>
                <c:pt idx="1308">
                  <c:v>95.336685000000003</c:v>
                </c:pt>
                <c:pt idx="1309">
                  <c:v>94.4191</c:v>
                </c:pt>
                <c:pt idx="1310">
                  <c:v>94.649019999999993</c:v>
                </c:pt>
                <c:pt idx="1311">
                  <c:v>93.754930000000002</c:v>
                </c:pt>
                <c:pt idx="1312">
                  <c:v>93.944569999999999</c:v>
                </c:pt>
                <c:pt idx="1313">
                  <c:v>93.491579999999999</c:v>
                </c:pt>
                <c:pt idx="1314">
                  <c:v>92.668075999999999</c:v>
                </c:pt>
                <c:pt idx="1315">
                  <c:v>93.702895999999996</c:v>
                </c:pt>
                <c:pt idx="1316">
                  <c:v>94.882210000000001</c:v>
                </c:pt>
                <c:pt idx="1317">
                  <c:v>94.915440000000004</c:v>
                </c:pt>
                <c:pt idx="1318">
                  <c:v>94.717545000000001</c:v>
                </c:pt>
                <c:pt idx="1319">
                  <c:v>96.083969999999994</c:v>
                </c:pt>
                <c:pt idx="1320">
                  <c:v>97.060450000000003</c:v>
                </c:pt>
                <c:pt idx="1321">
                  <c:v>97.379326000000006</c:v>
                </c:pt>
                <c:pt idx="1322">
                  <c:v>96.496179999999995</c:v>
                </c:pt>
                <c:pt idx="1323">
                  <c:v>96.529560000000004</c:v>
                </c:pt>
                <c:pt idx="1324">
                  <c:v>94.643814000000006</c:v>
                </c:pt>
                <c:pt idx="1325">
                  <c:v>95.534869999999998</c:v>
                </c:pt>
                <c:pt idx="1326">
                  <c:v>95.489850000000004</c:v>
                </c:pt>
                <c:pt idx="1327">
                  <c:v>93.833780000000004</c:v>
                </c:pt>
                <c:pt idx="1328">
                  <c:v>95.299270000000007</c:v>
                </c:pt>
                <c:pt idx="1329">
                  <c:v>96.075869999999995</c:v>
                </c:pt>
                <c:pt idx="1330">
                  <c:v>96.824650000000005</c:v>
                </c:pt>
                <c:pt idx="1331">
                  <c:v>98.561165000000003</c:v>
                </c:pt>
                <c:pt idx="1332">
                  <c:v>99.798839999999998</c:v>
                </c:pt>
                <c:pt idx="1333">
                  <c:v>99.037260000000003</c:v>
                </c:pt>
                <c:pt idx="1334">
                  <c:v>100.32597</c:v>
                </c:pt>
                <c:pt idx="1335">
                  <c:v>99.700530000000001</c:v>
                </c:pt>
                <c:pt idx="1336">
                  <c:v>99.312430000000006</c:v>
                </c:pt>
                <c:pt idx="1337">
                  <c:v>100.080574</c:v>
                </c:pt>
                <c:pt idx="1338">
                  <c:v>100.85384999999999</c:v>
                </c:pt>
                <c:pt idx="1339">
                  <c:v>101.19119000000001</c:v>
                </c:pt>
                <c:pt idx="1340">
                  <c:v>102.97469</c:v>
                </c:pt>
                <c:pt idx="1341">
                  <c:v>103.47226000000001</c:v>
                </c:pt>
                <c:pt idx="1342">
                  <c:v>103.85889400000001</c:v>
                </c:pt>
                <c:pt idx="1343">
                  <c:v>104.35906</c:v>
                </c:pt>
                <c:pt idx="1344">
                  <c:v>100.99728399999999</c:v>
                </c:pt>
                <c:pt idx="1345">
                  <c:v>101.03771999999999</c:v>
                </c:pt>
                <c:pt idx="1346">
                  <c:v>102.30515</c:v>
                </c:pt>
                <c:pt idx="1347">
                  <c:v>102.353424</c:v>
                </c:pt>
                <c:pt idx="1348">
                  <c:v>100.77871</c:v>
                </c:pt>
                <c:pt idx="1349">
                  <c:v>102.05231000000001</c:v>
                </c:pt>
                <c:pt idx="1350">
                  <c:v>103.05840999999999</c:v>
                </c:pt>
                <c:pt idx="1351">
                  <c:v>104.07472</c:v>
                </c:pt>
                <c:pt idx="1352">
                  <c:v>102.9333</c:v>
                </c:pt>
                <c:pt idx="1353">
                  <c:v>103.66982</c:v>
                </c:pt>
                <c:pt idx="1354">
                  <c:v>103.46223000000001</c:v>
                </c:pt>
                <c:pt idx="1355">
                  <c:v>103.06693</c:v>
                </c:pt>
                <c:pt idx="1356">
                  <c:v>103.166725</c:v>
                </c:pt>
                <c:pt idx="1357">
                  <c:v>102.789185</c:v>
                </c:pt>
                <c:pt idx="1358">
                  <c:v>100.98719</c:v>
                </c:pt>
                <c:pt idx="1359">
                  <c:v>103.64386</c:v>
                </c:pt>
                <c:pt idx="1360">
                  <c:v>102.81706</c:v>
                </c:pt>
                <c:pt idx="1361">
                  <c:v>103.56981</c:v>
                </c:pt>
                <c:pt idx="1362">
                  <c:v>103.80786999999999</c:v>
                </c:pt>
                <c:pt idx="1363">
                  <c:v>103.014275</c:v>
                </c:pt>
                <c:pt idx="1364">
                  <c:v>103.38836000000001</c:v>
                </c:pt>
                <c:pt idx="1365">
                  <c:v>103.91968</c:v>
                </c:pt>
                <c:pt idx="1366">
                  <c:v>104.43613000000001</c:v>
                </c:pt>
                <c:pt idx="1367">
                  <c:v>104.330185</c:v>
                </c:pt>
                <c:pt idx="1368">
                  <c:v>100.81171000000001</c:v>
                </c:pt>
                <c:pt idx="1369">
                  <c:v>105.18231</c:v>
                </c:pt>
                <c:pt idx="1370">
                  <c:v>107.51723</c:v>
                </c:pt>
                <c:pt idx="1371">
                  <c:v>109.34583000000001</c:v>
                </c:pt>
                <c:pt idx="1372">
                  <c:v>108.62350499999999</c:v>
                </c:pt>
                <c:pt idx="1373">
                  <c:v>110.3634</c:v>
                </c:pt>
                <c:pt idx="1374">
                  <c:v>109.14809</c:v>
                </c:pt>
                <c:pt idx="1375">
                  <c:v>109.11449</c:v>
                </c:pt>
                <c:pt idx="1376">
                  <c:v>109.54131</c:v>
                </c:pt>
                <c:pt idx="1377">
                  <c:v>110.47705000000001</c:v>
                </c:pt>
                <c:pt idx="1378">
                  <c:v>110.81095999999999</c:v>
                </c:pt>
                <c:pt idx="1379">
                  <c:v>110.30249999999999</c:v>
                </c:pt>
                <c:pt idx="1380">
                  <c:v>109.98526</c:v>
                </c:pt>
                <c:pt idx="1381">
                  <c:v>110.1896</c:v>
                </c:pt>
                <c:pt idx="1382">
                  <c:v>110.11608</c:v>
                </c:pt>
                <c:pt idx="1383">
                  <c:v>110.36905</c:v>
                </c:pt>
                <c:pt idx="1384">
                  <c:v>110.52852</c:v>
                </c:pt>
                <c:pt idx="1385">
                  <c:v>109.11374000000001</c:v>
                </c:pt>
                <c:pt idx="1386">
                  <c:v>110.13466</c:v>
                </c:pt>
                <c:pt idx="1387">
                  <c:v>110.22323</c:v>
                </c:pt>
                <c:pt idx="1388">
                  <c:v>109.719894</c:v>
                </c:pt>
                <c:pt idx="1389">
                  <c:v>110.76906</c:v>
                </c:pt>
                <c:pt idx="1390">
                  <c:v>110.46986</c:v>
                </c:pt>
                <c:pt idx="1391">
                  <c:v>110.66324</c:v>
                </c:pt>
                <c:pt idx="1392">
                  <c:v>110.530945</c:v>
                </c:pt>
                <c:pt idx="1393">
                  <c:v>111.280846</c:v>
                </c:pt>
                <c:pt idx="1394">
                  <c:v>112.03718600000001</c:v>
                </c:pt>
                <c:pt idx="1395">
                  <c:v>111.79749</c:v>
                </c:pt>
                <c:pt idx="1396">
                  <c:v>112.98787</c:v>
                </c:pt>
                <c:pt idx="1397">
                  <c:v>111.85294</c:v>
                </c:pt>
                <c:pt idx="1398">
                  <c:v>117.47333</c:v>
                </c:pt>
                <c:pt idx="1399">
                  <c:v>114.82531</c:v>
                </c:pt>
                <c:pt idx="1400">
                  <c:v>114.3561</c:v>
                </c:pt>
                <c:pt idx="1401">
                  <c:v>113.86922</c:v>
                </c:pt>
                <c:pt idx="1402">
                  <c:v>112.81339</c:v>
                </c:pt>
                <c:pt idx="1403">
                  <c:v>112.59832</c:v>
                </c:pt>
                <c:pt idx="1404">
                  <c:v>113.4508</c:v>
                </c:pt>
                <c:pt idx="1405">
                  <c:v>113.06881</c:v>
                </c:pt>
                <c:pt idx="1406">
                  <c:v>113.51894</c:v>
                </c:pt>
                <c:pt idx="1407">
                  <c:v>114.43129999999999</c:v>
                </c:pt>
                <c:pt idx="1408">
                  <c:v>116.97633</c:v>
                </c:pt>
                <c:pt idx="1409">
                  <c:v>114.45672</c:v>
                </c:pt>
                <c:pt idx="1410">
                  <c:v>112.99092</c:v>
                </c:pt>
                <c:pt idx="1411">
                  <c:v>112.99427</c:v>
                </c:pt>
                <c:pt idx="1412">
                  <c:v>112.84551</c:v>
                </c:pt>
                <c:pt idx="1413">
                  <c:v>113.58728000000001</c:v>
                </c:pt>
                <c:pt idx="1414">
                  <c:v>114.88705</c:v>
                </c:pt>
                <c:pt idx="1415">
                  <c:v>116.751366</c:v>
                </c:pt>
                <c:pt idx="1416">
                  <c:v>114.37329</c:v>
                </c:pt>
                <c:pt idx="1417">
                  <c:v>113.786995</c:v>
                </c:pt>
                <c:pt idx="1418">
                  <c:v>113.911896</c:v>
                </c:pt>
                <c:pt idx="1419">
                  <c:v>115.72706599999999</c:v>
                </c:pt>
                <c:pt idx="1420">
                  <c:v>114.78797</c:v>
                </c:pt>
                <c:pt idx="1421">
                  <c:v>116.03075</c:v>
                </c:pt>
                <c:pt idx="1422">
                  <c:v>115.14484400000001</c:v>
                </c:pt>
                <c:pt idx="1423">
                  <c:v>114.84422000000001</c:v>
                </c:pt>
                <c:pt idx="1424">
                  <c:v>115.098495</c:v>
                </c:pt>
                <c:pt idx="1425">
                  <c:v>111.666466</c:v>
                </c:pt>
                <c:pt idx="1426">
                  <c:v>110.11866999999999</c:v>
                </c:pt>
                <c:pt idx="1427">
                  <c:v>111.86481000000001</c:v>
                </c:pt>
                <c:pt idx="1428">
                  <c:v>110.86655</c:v>
                </c:pt>
                <c:pt idx="1429">
                  <c:v>110.403915</c:v>
                </c:pt>
                <c:pt idx="1430">
                  <c:v>110.42368</c:v>
                </c:pt>
                <c:pt idx="1431">
                  <c:v>109.01473</c:v>
                </c:pt>
                <c:pt idx="1432">
                  <c:v>108.286095</c:v>
                </c:pt>
                <c:pt idx="1433">
                  <c:v>107.92431999999999</c:v>
                </c:pt>
                <c:pt idx="1434">
                  <c:v>108.86309</c:v>
                </c:pt>
                <c:pt idx="1435">
                  <c:v>106.69898000000001</c:v>
                </c:pt>
                <c:pt idx="1436">
                  <c:v>105.378395</c:v>
                </c:pt>
                <c:pt idx="1437">
                  <c:v>105.83942399999999</c:v>
                </c:pt>
                <c:pt idx="1438">
                  <c:v>106.20738</c:v>
                </c:pt>
                <c:pt idx="1439">
                  <c:v>104.22033999999999</c:v>
                </c:pt>
                <c:pt idx="1440">
                  <c:v>107.15192399999999</c:v>
                </c:pt>
                <c:pt idx="1441">
                  <c:v>111.05791000000001</c:v>
                </c:pt>
                <c:pt idx="1442">
                  <c:v>104.16083</c:v>
                </c:pt>
                <c:pt idx="1443">
                  <c:v>105.184746</c:v>
                </c:pt>
                <c:pt idx="1444">
                  <c:v>106.8883</c:v>
                </c:pt>
                <c:pt idx="1445">
                  <c:v>108.084114</c:v>
                </c:pt>
                <c:pt idx="1446">
                  <c:v>110.09641999999999</c:v>
                </c:pt>
                <c:pt idx="1447">
                  <c:v>108.48724</c:v>
                </c:pt>
                <c:pt idx="1448">
                  <c:v>107.60317999999999</c:v>
                </c:pt>
                <c:pt idx="1449">
                  <c:v>106.342094</c:v>
                </c:pt>
                <c:pt idx="1450">
                  <c:v>104.903885</c:v>
                </c:pt>
                <c:pt idx="1451">
                  <c:v>104.44808</c:v>
                </c:pt>
                <c:pt idx="1452">
                  <c:v>104.86304</c:v>
                </c:pt>
                <c:pt idx="1453">
                  <c:v>104.67975</c:v>
                </c:pt>
                <c:pt idx="1454">
                  <c:v>104.191154</c:v>
                </c:pt>
                <c:pt idx="1455">
                  <c:v>104.06416</c:v>
                </c:pt>
                <c:pt idx="1456">
                  <c:v>104.73435000000001</c:v>
                </c:pt>
                <c:pt idx="1457">
                  <c:v>105.029144</c:v>
                </c:pt>
                <c:pt idx="1458">
                  <c:v>105.98617</c:v>
                </c:pt>
                <c:pt idx="1459">
                  <c:v>105.46687</c:v>
                </c:pt>
                <c:pt idx="1460">
                  <c:v>107.80968</c:v>
                </c:pt>
                <c:pt idx="1461">
                  <c:v>105.70285</c:v>
                </c:pt>
                <c:pt idx="1462">
                  <c:v>104.531105</c:v>
                </c:pt>
                <c:pt idx="1463">
                  <c:v>103.746376</c:v>
                </c:pt>
                <c:pt idx="1464">
                  <c:v>104.088905</c:v>
                </c:pt>
                <c:pt idx="1465">
                  <c:v>102.68822</c:v>
                </c:pt>
                <c:pt idx="1466">
                  <c:v>102.00842</c:v>
                </c:pt>
                <c:pt idx="1467">
                  <c:v>100.840935</c:v>
                </c:pt>
                <c:pt idx="1468">
                  <c:v>100.24794</c:v>
                </c:pt>
                <c:pt idx="1469">
                  <c:v>99.519645999999995</c:v>
                </c:pt>
                <c:pt idx="1470">
                  <c:v>97.493920000000003</c:v>
                </c:pt>
                <c:pt idx="1471">
                  <c:v>96.494804000000002</c:v>
                </c:pt>
                <c:pt idx="1472">
                  <c:v>95.083960000000005</c:v>
                </c:pt>
                <c:pt idx="1473">
                  <c:v>93.598870000000005</c:v>
                </c:pt>
                <c:pt idx="1474">
                  <c:v>92.415599999999998</c:v>
                </c:pt>
                <c:pt idx="1475">
                  <c:v>90.590329999999994</c:v>
                </c:pt>
                <c:pt idx="1476">
                  <c:v>94.656265000000005</c:v>
                </c:pt>
                <c:pt idx="1477">
                  <c:v>96.416679999999999</c:v>
                </c:pt>
                <c:pt idx="1478">
                  <c:v>97.597819999999999</c:v>
                </c:pt>
                <c:pt idx="1479">
                  <c:v>100.4683</c:v>
                </c:pt>
                <c:pt idx="1480">
                  <c:v>102.19105</c:v>
                </c:pt>
                <c:pt idx="1481">
                  <c:v>103.663765</c:v>
                </c:pt>
                <c:pt idx="1482">
                  <c:v>103.99097999999999</c:v>
                </c:pt>
                <c:pt idx="1483">
                  <c:v>104.63144</c:v>
                </c:pt>
                <c:pt idx="1484">
                  <c:v>105.070564</c:v>
                </c:pt>
                <c:pt idx="1485">
                  <c:v>104.593704</c:v>
                </c:pt>
                <c:pt idx="1486">
                  <c:v>103.48826</c:v>
                </c:pt>
                <c:pt idx="1487">
                  <c:v>102.50796</c:v>
                </c:pt>
                <c:pt idx="1488">
                  <c:v>102.0568</c:v>
                </c:pt>
                <c:pt idx="1489">
                  <c:v>101.29574</c:v>
                </c:pt>
                <c:pt idx="1490">
                  <c:v>101.3342</c:v>
                </c:pt>
                <c:pt idx="1491">
                  <c:v>100.571304</c:v>
                </c:pt>
                <c:pt idx="1492">
                  <c:v>101.20368999999999</c:v>
                </c:pt>
                <c:pt idx="1493">
                  <c:v>101.10451</c:v>
                </c:pt>
                <c:pt idx="1494">
                  <c:v>100.624016</c:v>
                </c:pt>
                <c:pt idx="1495">
                  <c:v>100.011765</c:v>
                </c:pt>
                <c:pt idx="1496">
                  <c:v>98.942535000000007</c:v>
                </c:pt>
                <c:pt idx="1497">
                  <c:v>98.619519999999994</c:v>
                </c:pt>
                <c:pt idx="1498">
                  <c:v>102.121796</c:v>
                </c:pt>
                <c:pt idx="1499">
                  <c:v>106.98393</c:v>
                </c:pt>
                <c:pt idx="1500">
                  <c:v>105.805145</c:v>
                </c:pt>
                <c:pt idx="1501">
                  <c:v>107.37764</c:v>
                </c:pt>
                <c:pt idx="1502">
                  <c:v>111.35907</c:v>
                </c:pt>
                <c:pt idx="1503">
                  <c:v>108.49397</c:v>
                </c:pt>
                <c:pt idx="1504">
                  <c:v>103.16676</c:v>
                </c:pt>
                <c:pt idx="1505">
                  <c:v>100.16262999999999</c:v>
                </c:pt>
                <c:pt idx="1506">
                  <c:v>102.46182</c:v>
                </c:pt>
                <c:pt idx="1507">
                  <c:v>104.45538999999999</c:v>
                </c:pt>
                <c:pt idx="1508">
                  <c:v>105.16267999999999</c:v>
                </c:pt>
                <c:pt idx="1509">
                  <c:v>106.24038</c:v>
                </c:pt>
                <c:pt idx="1510">
                  <c:v>105.11753</c:v>
                </c:pt>
                <c:pt idx="1511">
                  <c:v>107.695984</c:v>
                </c:pt>
                <c:pt idx="1512">
                  <c:v>105.19051</c:v>
                </c:pt>
                <c:pt idx="1513">
                  <c:v>105.21239</c:v>
                </c:pt>
                <c:pt idx="1514">
                  <c:v>105.97806</c:v>
                </c:pt>
                <c:pt idx="1515">
                  <c:v>106.08015399999999</c:v>
                </c:pt>
                <c:pt idx="1516">
                  <c:v>105.07778</c:v>
                </c:pt>
                <c:pt idx="1517">
                  <c:v>104.73904400000001</c:v>
                </c:pt>
                <c:pt idx="1518">
                  <c:v>105.15175000000001</c:v>
                </c:pt>
                <c:pt idx="1519">
                  <c:v>105.43261</c:v>
                </c:pt>
                <c:pt idx="1520">
                  <c:v>107.122795</c:v>
                </c:pt>
                <c:pt idx="1521">
                  <c:v>107.344826</c:v>
                </c:pt>
                <c:pt idx="1522">
                  <c:v>108.01267</c:v>
                </c:pt>
                <c:pt idx="1523">
                  <c:v>109.2628</c:v>
                </c:pt>
                <c:pt idx="1524">
                  <c:v>109.25461</c:v>
                </c:pt>
                <c:pt idx="1525">
                  <c:v>108.96957</c:v>
                </c:pt>
                <c:pt idx="1526">
                  <c:v>108.674286</c:v>
                </c:pt>
                <c:pt idx="1527">
                  <c:v>108.62546500000001</c:v>
                </c:pt>
                <c:pt idx="1528">
                  <c:v>108.92583</c:v>
                </c:pt>
                <c:pt idx="1529">
                  <c:v>108.58488</c:v>
                </c:pt>
                <c:pt idx="1530">
                  <c:v>107.41043999999999</c:v>
                </c:pt>
                <c:pt idx="1531">
                  <c:v>107.23397</c:v>
                </c:pt>
                <c:pt idx="1532">
                  <c:v>106.51984</c:v>
                </c:pt>
                <c:pt idx="1533">
                  <c:v>107.635544</c:v>
                </c:pt>
                <c:pt idx="1534">
                  <c:v>108.13893</c:v>
                </c:pt>
                <c:pt idx="1535">
                  <c:v>109.744225</c:v>
                </c:pt>
                <c:pt idx="1536">
                  <c:v>106.39670599999999</c:v>
                </c:pt>
                <c:pt idx="1537">
                  <c:v>108.69565</c:v>
                </c:pt>
                <c:pt idx="1538">
                  <c:v>110.60058600000001</c:v>
                </c:pt>
                <c:pt idx="1539">
                  <c:v>109.55301</c:v>
                </c:pt>
                <c:pt idx="1540">
                  <c:v>110.73111</c:v>
                </c:pt>
                <c:pt idx="1541">
                  <c:v>110.20265999999999</c:v>
                </c:pt>
                <c:pt idx="1542">
                  <c:v>108.932076</c:v>
                </c:pt>
                <c:pt idx="1543">
                  <c:v>109.81352</c:v>
                </c:pt>
                <c:pt idx="1544">
                  <c:v>109.98633</c:v>
                </c:pt>
                <c:pt idx="1545">
                  <c:v>111.139854</c:v>
                </c:pt>
                <c:pt idx="1546">
                  <c:v>111.912735</c:v>
                </c:pt>
                <c:pt idx="1547">
                  <c:v>113.05461</c:v>
                </c:pt>
                <c:pt idx="1548">
                  <c:v>113.41601</c:v>
                </c:pt>
                <c:pt idx="1549">
                  <c:v>114.247185</c:v>
                </c:pt>
                <c:pt idx="1550">
                  <c:v>114.73736</c:v>
                </c:pt>
                <c:pt idx="1551">
                  <c:v>115.11185</c:v>
                </c:pt>
                <c:pt idx="1552">
                  <c:v>115.029816</c:v>
                </c:pt>
                <c:pt idx="1553">
                  <c:v>115.16078</c:v>
                </c:pt>
                <c:pt idx="1554">
                  <c:v>115.27003000000001</c:v>
                </c:pt>
                <c:pt idx="1555">
                  <c:v>115.99921399999999</c:v>
                </c:pt>
                <c:pt idx="1556">
                  <c:v>116.66155999999999</c:v>
                </c:pt>
                <c:pt idx="1557">
                  <c:v>118.06726999999999</c:v>
                </c:pt>
                <c:pt idx="1558">
                  <c:v>121.56629</c:v>
                </c:pt>
                <c:pt idx="1559">
                  <c:v>123.085785</c:v>
                </c:pt>
                <c:pt idx="1560">
                  <c:v>122.437546</c:v>
                </c:pt>
                <c:pt idx="1561">
                  <c:v>125.52608499999999</c:v>
                </c:pt>
                <c:pt idx="1562">
                  <c:v>120.90175000000001</c:v>
                </c:pt>
                <c:pt idx="1563">
                  <c:v>118.444176</c:v>
                </c:pt>
                <c:pt idx="1564">
                  <c:v>117.35783000000001</c:v>
                </c:pt>
                <c:pt idx="1565">
                  <c:v>120.09421500000001</c:v>
                </c:pt>
                <c:pt idx="1566">
                  <c:v>116.6857</c:v>
                </c:pt>
                <c:pt idx="1567">
                  <c:v>118.002045</c:v>
                </c:pt>
                <c:pt idx="1568">
                  <c:v>118.06225999999999</c:v>
                </c:pt>
                <c:pt idx="1569">
                  <c:v>116.09517</c:v>
                </c:pt>
                <c:pt idx="1570">
                  <c:v>117.9588</c:v>
                </c:pt>
                <c:pt idx="1571">
                  <c:v>114.25547</c:v>
                </c:pt>
                <c:pt idx="1572">
                  <c:v>112.11905</c:v>
                </c:pt>
                <c:pt idx="1573">
                  <c:v>113.94654</c:v>
                </c:pt>
                <c:pt idx="1574">
                  <c:v>113.6541</c:v>
                </c:pt>
                <c:pt idx="1575">
                  <c:v>114.63719</c:v>
                </c:pt>
                <c:pt idx="1576">
                  <c:v>114.24178000000001</c:v>
                </c:pt>
                <c:pt idx="1577">
                  <c:v>117.07545500000001</c:v>
                </c:pt>
                <c:pt idx="1578">
                  <c:v>116.73292499999999</c:v>
                </c:pt>
                <c:pt idx="1579">
                  <c:v>121.6615</c:v>
                </c:pt>
                <c:pt idx="1580">
                  <c:v>123.80096399999999</c:v>
                </c:pt>
                <c:pt idx="1581">
                  <c:v>123.62768</c:v>
                </c:pt>
                <c:pt idx="1582">
                  <c:v>122.74578</c:v>
                </c:pt>
                <c:pt idx="1583">
                  <c:v>122.71715</c:v>
                </c:pt>
                <c:pt idx="1584">
                  <c:v>118.43584</c:v>
                </c:pt>
                <c:pt idx="1585">
                  <c:v>110.58541</c:v>
                </c:pt>
                <c:pt idx="1586">
                  <c:v>110.18340000000001</c:v>
                </c:pt>
                <c:pt idx="1587">
                  <c:v>109.02706000000001</c:v>
                </c:pt>
                <c:pt idx="1588">
                  <c:v>108.63033</c:v>
                </c:pt>
                <c:pt idx="1589">
                  <c:v>107.87054999999999</c:v>
                </c:pt>
                <c:pt idx="1590">
                  <c:v>109.30191000000001</c:v>
                </c:pt>
                <c:pt idx="1591">
                  <c:v>110.77375000000001</c:v>
                </c:pt>
                <c:pt idx="1592">
                  <c:v>110.95766999999999</c:v>
                </c:pt>
                <c:pt idx="1593">
                  <c:v>112.01327999999999</c:v>
                </c:pt>
                <c:pt idx="1594">
                  <c:v>112.38887</c:v>
                </c:pt>
                <c:pt idx="1595">
                  <c:v>113.80737000000001</c:v>
                </c:pt>
                <c:pt idx="1596">
                  <c:v>114.77012999999999</c:v>
                </c:pt>
                <c:pt idx="1597">
                  <c:v>115.28770400000001</c:v>
                </c:pt>
                <c:pt idx="1598">
                  <c:v>116.20068999999999</c:v>
                </c:pt>
                <c:pt idx="1599">
                  <c:v>115.55692000000001</c:v>
                </c:pt>
                <c:pt idx="1600">
                  <c:v>116.18727</c:v>
                </c:pt>
                <c:pt idx="1601">
                  <c:v>115.799835</c:v>
                </c:pt>
                <c:pt idx="1602">
                  <c:v>114.88912999999999</c:v>
                </c:pt>
                <c:pt idx="1603">
                  <c:v>114.749245</c:v>
                </c:pt>
                <c:pt idx="1604">
                  <c:v>114.27818000000001</c:v>
                </c:pt>
                <c:pt idx="1605">
                  <c:v>114.92740999999999</c:v>
                </c:pt>
                <c:pt idx="1606">
                  <c:v>115.51578000000001</c:v>
                </c:pt>
                <c:pt idx="1607">
                  <c:v>116.54765</c:v>
                </c:pt>
                <c:pt idx="1608">
                  <c:v>117.48524999999999</c:v>
                </c:pt>
                <c:pt idx="1609">
                  <c:v>117.81744399999999</c:v>
                </c:pt>
                <c:pt idx="1610">
                  <c:v>120.97329999999999</c:v>
                </c:pt>
                <c:pt idx="1611">
                  <c:v>119.33712</c:v>
                </c:pt>
                <c:pt idx="1612">
                  <c:v>119.384254</c:v>
                </c:pt>
                <c:pt idx="1613">
                  <c:v>122.50888</c:v>
                </c:pt>
                <c:pt idx="1614">
                  <c:v>124.44544</c:v>
                </c:pt>
                <c:pt idx="1615">
                  <c:v>126.897896</c:v>
                </c:pt>
                <c:pt idx="1616">
                  <c:v>127.4808</c:v>
                </c:pt>
                <c:pt idx="1617">
                  <c:v>127.43294</c:v>
                </c:pt>
                <c:pt idx="1618">
                  <c:v>126.88379</c:v>
                </c:pt>
                <c:pt idx="1619">
                  <c:v>125.55946</c:v>
                </c:pt>
                <c:pt idx="1620">
                  <c:v>126.56124</c:v>
                </c:pt>
                <c:pt idx="1621">
                  <c:v>126.94219</c:v>
                </c:pt>
                <c:pt idx="1622">
                  <c:v>127.18941</c:v>
                </c:pt>
                <c:pt idx="1623">
                  <c:v>127.7504</c:v>
                </c:pt>
                <c:pt idx="1624">
                  <c:v>128.0292</c:v>
                </c:pt>
                <c:pt idx="1625">
                  <c:v>125.82352400000001</c:v>
                </c:pt>
                <c:pt idx="1626">
                  <c:v>128.17805000000001</c:v>
                </c:pt>
                <c:pt idx="1627">
                  <c:v>127.63867999999999</c:v>
                </c:pt>
                <c:pt idx="1628">
                  <c:v>127.13172</c:v>
                </c:pt>
                <c:pt idx="1629">
                  <c:v>125.736374</c:v>
                </c:pt>
                <c:pt idx="1630">
                  <c:v>125.17815</c:v>
                </c:pt>
                <c:pt idx="1631">
                  <c:v>124.83269</c:v>
                </c:pt>
                <c:pt idx="1632">
                  <c:v>125.17427000000001</c:v>
                </c:pt>
                <c:pt idx="1633">
                  <c:v>125.87738</c:v>
                </c:pt>
                <c:pt idx="1634">
                  <c:v>126.17614</c:v>
                </c:pt>
                <c:pt idx="1635">
                  <c:v>126.658325</c:v>
                </c:pt>
                <c:pt idx="1636">
                  <c:v>125.99003999999999</c:v>
                </c:pt>
                <c:pt idx="1637">
                  <c:v>125.718605</c:v>
                </c:pt>
                <c:pt idx="1638">
                  <c:v>126.13930999999999</c:v>
                </c:pt>
                <c:pt idx="1639">
                  <c:v>126.851585</c:v>
                </c:pt>
                <c:pt idx="1640">
                  <c:v>127.210724</c:v>
                </c:pt>
                <c:pt idx="1641">
                  <c:v>127.77158</c:v>
                </c:pt>
                <c:pt idx="1642">
                  <c:v>128.52753000000001</c:v>
                </c:pt>
                <c:pt idx="1643">
                  <c:v>127.76739499999999</c:v>
                </c:pt>
                <c:pt idx="1644">
                  <c:v>127.44689</c:v>
                </c:pt>
                <c:pt idx="1645">
                  <c:v>126.533005</c:v>
                </c:pt>
                <c:pt idx="1646">
                  <c:v>126.14621</c:v>
                </c:pt>
                <c:pt idx="1647">
                  <c:v>128.77112</c:v>
                </c:pt>
                <c:pt idx="1648">
                  <c:v>126.96379</c:v>
                </c:pt>
                <c:pt idx="1649">
                  <c:v>127.19331</c:v>
                </c:pt>
                <c:pt idx="1650">
                  <c:v>127.66974</c:v>
                </c:pt>
                <c:pt idx="1651">
                  <c:v>127.79571</c:v>
                </c:pt>
                <c:pt idx="1652">
                  <c:v>127.65339</c:v>
                </c:pt>
                <c:pt idx="1653">
                  <c:v>127.75212999999999</c:v>
                </c:pt>
                <c:pt idx="1654">
                  <c:v>127.5518</c:v>
                </c:pt>
                <c:pt idx="1655">
                  <c:v>127.88961999999999</c:v>
                </c:pt>
                <c:pt idx="1656">
                  <c:v>127.89655</c:v>
                </c:pt>
                <c:pt idx="1657">
                  <c:v>127.72896</c:v>
                </c:pt>
                <c:pt idx="1658">
                  <c:v>127.72362</c:v>
                </c:pt>
                <c:pt idx="1659">
                  <c:v>126.540695</c:v>
                </c:pt>
                <c:pt idx="1660">
                  <c:v>123.90752000000001</c:v>
                </c:pt>
                <c:pt idx="1661">
                  <c:v>121.09422000000001</c:v>
                </c:pt>
                <c:pt idx="1662">
                  <c:v>120.75081</c:v>
                </c:pt>
                <c:pt idx="1663">
                  <c:v>121.81065</c:v>
                </c:pt>
                <c:pt idx="1664">
                  <c:v>123.48260000000001</c:v>
                </c:pt>
                <c:pt idx="1665">
                  <c:v>125.14869</c:v>
                </c:pt>
                <c:pt idx="1666">
                  <c:v>123.20448</c:v>
                </c:pt>
                <c:pt idx="1667">
                  <c:v>123.16207</c:v>
                </c:pt>
                <c:pt idx="1668">
                  <c:v>123.23130999999999</c:v>
                </c:pt>
                <c:pt idx="1669">
                  <c:v>123.37061</c:v>
                </c:pt>
                <c:pt idx="1670">
                  <c:v>122.81433</c:v>
                </c:pt>
                <c:pt idx="1671">
                  <c:v>123.44365999999999</c:v>
                </c:pt>
                <c:pt idx="1672">
                  <c:v>124.8612</c:v>
                </c:pt>
                <c:pt idx="1673">
                  <c:v>125.29755400000001</c:v>
                </c:pt>
                <c:pt idx="1674">
                  <c:v>125.385864</c:v>
                </c:pt>
                <c:pt idx="1675">
                  <c:v>125.55521400000001</c:v>
                </c:pt>
                <c:pt idx="1676">
                  <c:v>126.61653</c:v>
                </c:pt>
                <c:pt idx="1677">
                  <c:v>127.84757999999999</c:v>
                </c:pt>
                <c:pt idx="1678">
                  <c:v>128.93025</c:v>
                </c:pt>
                <c:pt idx="1679">
                  <c:v>129.67812000000001</c:v>
                </c:pt>
                <c:pt idx="1680">
                  <c:v>130.29920999999999</c:v>
                </c:pt>
                <c:pt idx="1681">
                  <c:v>128.65737999999999</c:v>
                </c:pt>
                <c:pt idx="1682">
                  <c:v>130.69417000000001</c:v>
                </c:pt>
                <c:pt idx="1683">
                  <c:v>130.65906000000001</c:v>
                </c:pt>
                <c:pt idx="1684">
                  <c:v>130.28479999999999</c:v>
                </c:pt>
                <c:pt idx="1685">
                  <c:v>129.92359999999999</c:v>
                </c:pt>
                <c:pt idx="1686">
                  <c:v>129.67789999999999</c:v>
                </c:pt>
                <c:pt idx="1687">
                  <c:v>129.39597000000001</c:v>
                </c:pt>
                <c:pt idx="1688">
                  <c:v>129.50554</c:v>
                </c:pt>
                <c:pt idx="1689">
                  <c:v>129.20021</c:v>
                </c:pt>
                <c:pt idx="1690">
                  <c:v>129.70345</c:v>
                </c:pt>
                <c:pt idx="1691">
                  <c:v>129.4863</c:v>
                </c:pt>
                <c:pt idx="1692">
                  <c:v>129.40346</c:v>
                </c:pt>
                <c:pt idx="1693">
                  <c:v>129.88874999999999</c:v>
                </c:pt>
                <c:pt idx="1694">
                  <c:v>129.54241999999999</c:v>
                </c:pt>
                <c:pt idx="1695">
                  <c:v>129.61931999999999</c:v>
                </c:pt>
                <c:pt idx="1696">
                  <c:v>127.99464399999999</c:v>
                </c:pt>
                <c:pt idx="1697">
                  <c:v>129.91200000000001</c:v>
                </c:pt>
                <c:pt idx="1698">
                  <c:v>130.26464999999999</c:v>
                </c:pt>
                <c:pt idx="1699">
                  <c:v>130.72362000000001</c:v>
                </c:pt>
                <c:pt idx="1700">
                  <c:v>130.69319999999999</c:v>
                </c:pt>
                <c:pt idx="1701">
                  <c:v>130.20003</c:v>
                </c:pt>
                <c:pt idx="1702">
                  <c:v>129.92703</c:v>
                </c:pt>
                <c:pt idx="1703">
                  <c:v>129.84628000000001</c:v>
                </c:pt>
                <c:pt idx="1704">
                  <c:v>129.81218000000001</c:v>
                </c:pt>
                <c:pt idx="1705">
                  <c:v>129.83674999999999</c:v>
                </c:pt>
                <c:pt idx="1706">
                  <c:v>129.95918</c:v>
                </c:pt>
                <c:pt idx="1707">
                  <c:v>130.07006999999999</c:v>
                </c:pt>
                <c:pt idx="1708">
                  <c:v>130.35435000000001</c:v>
                </c:pt>
                <c:pt idx="1709">
                  <c:v>130.37051</c:v>
                </c:pt>
                <c:pt idx="1710">
                  <c:v>130.79199</c:v>
                </c:pt>
                <c:pt idx="1711">
                  <c:v>131.18446</c:v>
                </c:pt>
                <c:pt idx="1712">
                  <c:v>131.03146000000001</c:v>
                </c:pt>
                <c:pt idx="1713">
                  <c:v>130.74037000000001</c:v>
                </c:pt>
                <c:pt idx="1714">
                  <c:v>130.58034000000001</c:v>
                </c:pt>
                <c:pt idx="1715">
                  <c:v>130.68686</c:v>
                </c:pt>
                <c:pt idx="1716">
                  <c:v>131.01793000000001</c:v>
                </c:pt>
                <c:pt idx="1717">
                  <c:v>131.13986</c:v>
                </c:pt>
                <c:pt idx="1718">
                  <c:v>131.28386</c:v>
                </c:pt>
                <c:pt idx="1719">
                  <c:v>129.30255</c:v>
                </c:pt>
                <c:pt idx="1720">
                  <c:v>131.68892</c:v>
                </c:pt>
                <c:pt idx="1721">
                  <c:v>131.80573000000001</c:v>
                </c:pt>
                <c:pt idx="1722">
                  <c:v>131.89049</c:v>
                </c:pt>
                <c:pt idx="1723">
                  <c:v>131.87530000000001</c:v>
                </c:pt>
                <c:pt idx="1724">
                  <c:v>131.77896000000001</c:v>
                </c:pt>
                <c:pt idx="1725">
                  <c:v>131.91129000000001</c:v>
                </c:pt>
                <c:pt idx="1726">
                  <c:v>132.64166</c:v>
                </c:pt>
                <c:pt idx="1727">
                  <c:v>132.63677999999999</c:v>
                </c:pt>
                <c:pt idx="1728">
                  <c:v>133.57889</c:v>
                </c:pt>
                <c:pt idx="1729">
                  <c:v>133.92357000000001</c:v>
                </c:pt>
                <c:pt idx="1730">
                  <c:v>132.495</c:v>
                </c:pt>
                <c:pt idx="1731">
                  <c:v>132.57400000000001</c:v>
                </c:pt>
                <c:pt idx="1732">
                  <c:v>132.53761</c:v>
                </c:pt>
                <c:pt idx="1733">
                  <c:v>132.43745000000001</c:v>
                </c:pt>
                <c:pt idx="1734">
                  <c:v>132.21420000000001</c:v>
                </c:pt>
                <c:pt idx="1735">
                  <c:v>131.99961999999999</c:v>
                </c:pt>
                <c:pt idx="1736">
                  <c:v>131.72388000000001</c:v>
                </c:pt>
                <c:pt idx="1737">
                  <c:v>131.55665999999999</c:v>
                </c:pt>
                <c:pt idx="1738">
                  <c:v>131.57599999999999</c:v>
                </c:pt>
                <c:pt idx="1739">
                  <c:v>131.60114999999999</c:v>
                </c:pt>
                <c:pt idx="1740">
                  <c:v>131.70955000000001</c:v>
                </c:pt>
                <c:pt idx="1741">
                  <c:v>131.75261</c:v>
                </c:pt>
                <c:pt idx="1742">
                  <c:v>131.82451</c:v>
                </c:pt>
                <c:pt idx="1743">
                  <c:v>131.93279999999999</c:v>
                </c:pt>
                <c:pt idx="1744">
                  <c:v>132.18124</c:v>
                </c:pt>
                <c:pt idx="1745">
                  <c:v>132.19954999999999</c:v>
                </c:pt>
                <c:pt idx="1746">
                  <c:v>132.31323</c:v>
                </c:pt>
                <c:pt idx="1747">
                  <c:v>132.41504</c:v>
                </c:pt>
                <c:pt idx="1748">
                  <c:v>132.62818999999999</c:v>
                </c:pt>
                <c:pt idx="1749">
                  <c:v>132.4589</c:v>
                </c:pt>
                <c:pt idx="1750">
                  <c:v>132.49334999999999</c:v>
                </c:pt>
                <c:pt idx="1751">
                  <c:v>132.52246</c:v>
                </c:pt>
                <c:pt idx="1752">
                  <c:v>132.45406</c:v>
                </c:pt>
                <c:pt idx="1753">
                  <c:v>132.12128000000001</c:v>
                </c:pt>
                <c:pt idx="1754">
                  <c:v>131.85785000000001</c:v>
                </c:pt>
                <c:pt idx="1755">
                  <c:v>131.91853</c:v>
                </c:pt>
                <c:pt idx="1756">
                  <c:v>132.01971</c:v>
                </c:pt>
                <c:pt idx="1757">
                  <c:v>132.35944000000001</c:v>
                </c:pt>
                <c:pt idx="1758">
                  <c:v>132.73322999999999</c:v>
                </c:pt>
                <c:pt idx="1759">
                  <c:v>132.97018</c:v>
                </c:pt>
                <c:pt idx="1760">
                  <c:v>133.16945000000001</c:v>
                </c:pt>
                <c:pt idx="1761">
                  <c:v>133.34961999999999</c:v>
                </c:pt>
                <c:pt idx="1762">
                  <c:v>133.39125000000001</c:v>
                </c:pt>
                <c:pt idx="1763">
                  <c:v>133.56980999999999</c:v>
                </c:pt>
                <c:pt idx="1764">
                  <c:v>133.56573</c:v>
                </c:pt>
                <c:pt idx="1765">
                  <c:v>133.76732999999999</c:v>
                </c:pt>
                <c:pt idx="1766">
                  <c:v>133.99959000000001</c:v>
                </c:pt>
                <c:pt idx="1767">
                  <c:v>135.33461</c:v>
                </c:pt>
                <c:pt idx="1768">
                  <c:v>133.31929</c:v>
                </c:pt>
                <c:pt idx="1769">
                  <c:v>132.75066000000001</c:v>
                </c:pt>
                <c:pt idx="1770">
                  <c:v>131.87836999999999</c:v>
                </c:pt>
                <c:pt idx="1771">
                  <c:v>131.21073999999999</c:v>
                </c:pt>
                <c:pt idx="1772">
                  <c:v>131.58205000000001</c:v>
                </c:pt>
                <c:pt idx="1773">
                  <c:v>130.27202</c:v>
                </c:pt>
                <c:pt idx="1774">
                  <c:v>129.48648</c:v>
                </c:pt>
                <c:pt idx="1775">
                  <c:v>129.43647999999999</c:v>
                </c:pt>
                <c:pt idx="1776">
                  <c:v>128.91331</c:v>
                </c:pt>
                <c:pt idx="1777">
                  <c:v>128.25818000000001</c:v>
                </c:pt>
                <c:pt idx="1778">
                  <c:v>126.40362500000001</c:v>
                </c:pt>
                <c:pt idx="1779">
                  <c:v>124.45064000000001</c:v>
                </c:pt>
                <c:pt idx="1780">
                  <c:v>123.51878000000001</c:v>
                </c:pt>
                <c:pt idx="1781">
                  <c:v>120.10787999999999</c:v>
                </c:pt>
                <c:pt idx="1782">
                  <c:v>118.51520499999999</c:v>
                </c:pt>
                <c:pt idx="1783">
                  <c:v>113.40322</c:v>
                </c:pt>
                <c:pt idx="1784">
                  <c:v>111.58364</c:v>
                </c:pt>
                <c:pt idx="1785">
                  <c:v>108.57011</c:v>
                </c:pt>
                <c:pt idx="1786">
                  <c:v>106.766785</c:v>
                </c:pt>
                <c:pt idx="1787">
                  <c:v>105.74433999999999</c:v>
                </c:pt>
                <c:pt idx="1788">
                  <c:v>105.29514</c:v>
                </c:pt>
                <c:pt idx="1789">
                  <c:v>109.61987000000001</c:v>
                </c:pt>
                <c:pt idx="1790">
                  <c:v>113.31492</c:v>
                </c:pt>
                <c:pt idx="1791">
                  <c:v>117.91366600000001</c:v>
                </c:pt>
                <c:pt idx="1792">
                  <c:v>119.85736</c:v>
                </c:pt>
                <c:pt idx="1793">
                  <c:v>122.11356000000001</c:v>
                </c:pt>
                <c:pt idx="1794">
                  <c:v>123.44156</c:v>
                </c:pt>
                <c:pt idx="1795">
                  <c:v>122.81967</c:v>
                </c:pt>
                <c:pt idx="1796">
                  <c:v>122.98401</c:v>
                </c:pt>
                <c:pt idx="1797">
                  <c:v>122.83866</c:v>
                </c:pt>
                <c:pt idx="1798">
                  <c:v>124.358345</c:v>
                </c:pt>
                <c:pt idx="1799">
                  <c:v>125.33487</c:v>
                </c:pt>
                <c:pt idx="1800">
                  <c:v>127.40072000000001</c:v>
                </c:pt>
                <c:pt idx="1801">
                  <c:v>129.32026999999999</c:v>
                </c:pt>
                <c:pt idx="1802">
                  <c:v>130.78998000000001</c:v>
                </c:pt>
                <c:pt idx="1803">
                  <c:v>131.71216000000001</c:v>
                </c:pt>
                <c:pt idx="1804">
                  <c:v>131.40145999999999</c:v>
                </c:pt>
                <c:pt idx="1805">
                  <c:v>131.01526000000001</c:v>
                </c:pt>
                <c:pt idx="1806">
                  <c:v>130.40729999999999</c:v>
                </c:pt>
                <c:pt idx="1807">
                  <c:v>128.20398</c:v>
                </c:pt>
                <c:pt idx="1808">
                  <c:v>126.514824</c:v>
                </c:pt>
                <c:pt idx="1809">
                  <c:v>125.76651</c:v>
                </c:pt>
                <c:pt idx="1810">
                  <c:v>125.31072</c:v>
                </c:pt>
                <c:pt idx="1811">
                  <c:v>125.41548</c:v>
                </c:pt>
                <c:pt idx="1812">
                  <c:v>125.948875</c:v>
                </c:pt>
                <c:pt idx="1813">
                  <c:v>125.97414999999999</c:v>
                </c:pt>
                <c:pt idx="1814">
                  <c:v>126.34658</c:v>
                </c:pt>
                <c:pt idx="1815">
                  <c:v>126.417404</c:v>
                </c:pt>
                <c:pt idx="1816">
                  <c:v>125.86055</c:v>
                </c:pt>
                <c:pt idx="1817">
                  <c:v>125.39431999999999</c:v>
                </c:pt>
                <c:pt idx="1818">
                  <c:v>125.18652</c:v>
                </c:pt>
                <c:pt idx="1819">
                  <c:v>124.78770400000001</c:v>
                </c:pt>
                <c:pt idx="1820">
                  <c:v>124.12577</c:v>
                </c:pt>
                <c:pt idx="1821">
                  <c:v>124.76900999999999</c:v>
                </c:pt>
                <c:pt idx="1822">
                  <c:v>123.700935</c:v>
                </c:pt>
                <c:pt idx="1823">
                  <c:v>125.11247</c:v>
                </c:pt>
                <c:pt idx="1824">
                  <c:v>124.29004999999999</c:v>
                </c:pt>
                <c:pt idx="1825">
                  <c:v>121.56827</c:v>
                </c:pt>
                <c:pt idx="1826">
                  <c:v>120.18170000000001</c:v>
                </c:pt>
                <c:pt idx="1827">
                  <c:v>120.34074</c:v>
                </c:pt>
                <c:pt idx="1828">
                  <c:v>117.44519</c:v>
                </c:pt>
                <c:pt idx="1829">
                  <c:v>116.58878</c:v>
                </c:pt>
                <c:pt idx="1830">
                  <c:v>117.90083</c:v>
                </c:pt>
                <c:pt idx="1831">
                  <c:v>118.65814</c:v>
                </c:pt>
                <c:pt idx="1832">
                  <c:v>122.913055</c:v>
                </c:pt>
                <c:pt idx="1833">
                  <c:v>123.21017000000001</c:v>
                </c:pt>
                <c:pt idx="1834">
                  <c:v>123.28836</c:v>
                </c:pt>
                <c:pt idx="1835">
                  <c:v>124.67202</c:v>
                </c:pt>
                <c:pt idx="1836">
                  <c:v>127.51433</c:v>
                </c:pt>
                <c:pt idx="1837">
                  <c:v>130.17873</c:v>
                </c:pt>
                <c:pt idx="1838">
                  <c:v>131.24089000000001</c:v>
                </c:pt>
                <c:pt idx="1839">
                  <c:v>131.23344</c:v>
                </c:pt>
                <c:pt idx="1840">
                  <c:v>131.98247000000001</c:v>
                </c:pt>
                <c:pt idx="1841">
                  <c:v>132.29245</c:v>
                </c:pt>
                <c:pt idx="1842">
                  <c:v>132.1944</c:v>
                </c:pt>
                <c:pt idx="1843">
                  <c:v>132.4023</c:v>
                </c:pt>
                <c:pt idx="1844">
                  <c:v>131.67612</c:v>
                </c:pt>
                <c:pt idx="1845">
                  <c:v>130.14229</c:v>
                </c:pt>
                <c:pt idx="1846">
                  <c:v>129.30255</c:v>
                </c:pt>
                <c:pt idx="1847">
                  <c:v>127.43535</c:v>
                </c:pt>
                <c:pt idx="1848">
                  <c:v>129.24297999999999</c:v>
                </c:pt>
                <c:pt idx="1849">
                  <c:v>129.42572000000001</c:v>
                </c:pt>
                <c:pt idx="1850">
                  <c:v>130.46758</c:v>
                </c:pt>
                <c:pt idx="1851">
                  <c:v>130.21384</c:v>
                </c:pt>
                <c:pt idx="1852">
                  <c:v>129.95747</c:v>
                </c:pt>
                <c:pt idx="1853">
                  <c:v>129.61834999999999</c:v>
                </c:pt>
                <c:pt idx="1854">
                  <c:v>129.45375000000001</c:v>
                </c:pt>
                <c:pt idx="1855">
                  <c:v>129.10704000000001</c:v>
                </c:pt>
                <c:pt idx="1856">
                  <c:v>128.76544000000001</c:v>
                </c:pt>
                <c:pt idx="1857">
                  <c:v>128.96571</c:v>
                </c:pt>
                <c:pt idx="1858">
                  <c:v>129.29992999999999</c:v>
                </c:pt>
                <c:pt idx="1859">
                  <c:v>129.87350000000001</c:v>
                </c:pt>
                <c:pt idx="1860">
                  <c:v>127.56876</c:v>
                </c:pt>
                <c:pt idx="1861">
                  <c:v>130.61286999999999</c:v>
                </c:pt>
                <c:pt idx="1862">
                  <c:v>127.56768</c:v>
                </c:pt>
                <c:pt idx="1863">
                  <c:v>131.01962</c:v>
                </c:pt>
                <c:pt idx="1864">
                  <c:v>131.08684</c:v>
                </c:pt>
                <c:pt idx="1865">
                  <c:v>131.28859</c:v>
                </c:pt>
                <c:pt idx="1866">
                  <c:v>131.14436000000001</c:v>
                </c:pt>
                <c:pt idx="1867">
                  <c:v>131.29257000000001</c:v>
                </c:pt>
                <c:pt idx="1868">
                  <c:v>131.49755999999999</c:v>
                </c:pt>
                <c:pt idx="1869">
                  <c:v>131.84268</c:v>
                </c:pt>
                <c:pt idx="1870">
                  <c:v>132.16443000000001</c:v>
                </c:pt>
                <c:pt idx="1871">
                  <c:v>132.27797000000001</c:v>
                </c:pt>
                <c:pt idx="1872">
                  <c:v>132.52194</c:v>
                </c:pt>
                <c:pt idx="1873">
                  <c:v>132.49038999999999</c:v>
                </c:pt>
                <c:pt idx="1874">
                  <c:v>132.4402</c:v>
                </c:pt>
                <c:pt idx="1875">
                  <c:v>133.04965000000001</c:v>
                </c:pt>
                <c:pt idx="1876">
                  <c:v>132.38861</c:v>
                </c:pt>
                <c:pt idx="1877">
                  <c:v>132.50317000000001</c:v>
                </c:pt>
                <c:pt idx="1878">
                  <c:v>130.33969999999999</c:v>
                </c:pt>
                <c:pt idx="1879">
                  <c:v>132.72798</c:v>
                </c:pt>
                <c:pt idx="1880">
                  <c:v>132.90951999999999</c:v>
                </c:pt>
                <c:pt idx="1881">
                  <c:v>133.30072000000001</c:v>
                </c:pt>
                <c:pt idx="1882">
                  <c:v>133.63683</c:v>
                </c:pt>
                <c:pt idx="1883">
                  <c:v>134.01931999999999</c:v>
                </c:pt>
                <c:pt idx="1884">
                  <c:v>134.19586000000001</c:v>
                </c:pt>
                <c:pt idx="1885">
                  <c:v>134.38054</c:v>
                </c:pt>
                <c:pt idx="1886">
                  <c:v>134.46225000000001</c:v>
                </c:pt>
                <c:pt idx="1887">
                  <c:v>134.45175</c:v>
                </c:pt>
                <c:pt idx="1888">
                  <c:v>134.77734000000001</c:v>
                </c:pt>
                <c:pt idx="1889">
                  <c:v>135.14009999999999</c:v>
                </c:pt>
                <c:pt idx="1890">
                  <c:v>135.59215</c:v>
                </c:pt>
                <c:pt idx="1891">
                  <c:v>135.51244</c:v>
                </c:pt>
                <c:pt idx="1892">
                  <c:v>135.40253999999999</c:v>
                </c:pt>
                <c:pt idx="1893">
                  <c:v>135.61707999999999</c:v>
                </c:pt>
                <c:pt idx="1894">
                  <c:v>135.39160000000001</c:v>
                </c:pt>
                <c:pt idx="1895">
                  <c:v>135.38533000000001</c:v>
                </c:pt>
                <c:pt idx="1896">
                  <c:v>135.57740000000001</c:v>
                </c:pt>
                <c:pt idx="1897">
                  <c:v>135.29581999999999</c:v>
                </c:pt>
                <c:pt idx="1898">
                  <c:v>135.27680000000001</c:v>
                </c:pt>
                <c:pt idx="1899">
                  <c:v>135.57083</c:v>
                </c:pt>
                <c:pt idx="1900">
                  <c:v>135.64994999999999</c:v>
                </c:pt>
                <c:pt idx="1901">
                  <c:v>135.75569999999999</c:v>
                </c:pt>
                <c:pt idx="1902">
                  <c:v>135.80783</c:v>
                </c:pt>
                <c:pt idx="1903">
                  <c:v>135.41005000000001</c:v>
                </c:pt>
                <c:pt idx="1904">
                  <c:v>134.38445999999999</c:v>
                </c:pt>
                <c:pt idx="1905">
                  <c:v>133.92762999999999</c:v>
                </c:pt>
                <c:pt idx="1906">
                  <c:v>133.70613</c:v>
                </c:pt>
                <c:pt idx="1907">
                  <c:v>133.54697999999999</c:v>
                </c:pt>
                <c:pt idx="1908">
                  <c:v>133.28319999999999</c:v>
                </c:pt>
                <c:pt idx="1909">
                  <c:v>133.31620000000001</c:v>
                </c:pt>
                <c:pt idx="1910">
                  <c:v>133.37894</c:v>
                </c:pt>
                <c:pt idx="1911">
                  <c:v>133.36942999999999</c:v>
                </c:pt>
                <c:pt idx="1912">
                  <c:v>132.22557</c:v>
                </c:pt>
                <c:pt idx="1913">
                  <c:v>132.59627</c:v>
                </c:pt>
                <c:pt idx="1914">
                  <c:v>133.01181</c:v>
                </c:pt>
                <c:pt idx="1915">
                  <c:v>132.92431999999999</c:v>
                </c:pt>
                <c:pt idx="1916">
                  <c:v>132.70981</c:v>
                </c:pt>
                <c:pt idx="1917">
                  <c:v>132.34148999999999</c:v>
                </c:pt>
                <c:pt idx="1918">
                  <c:v>132.39500000000001</c:v>
                </c:pt>
                <c:pt idx="1919">
                  <c:v>132.87621999999999</c:v>
                </c:pt>
                <c:pt idx="1920">
                  <c:v>132.82207</c:v>
                </c:pt>
                <c:pt idx="1921">
                  <c:v>132.93510000000001</c:v>
                </c:pt>
                <c:pt idx="1922">
                  <c:v>133.27007</c:v>
                </c:pt>
                <c:pt idx="1923">
                  <c:v>133.29070999999999</c:v>
                </c:pt>
                <c:pt idx="1924">
                  <c:v>133.5453</c:v>
                </c:pt>
                <c:pt idx="1925">
                  <c:v>133.60703000000001</c:v>
                </c:pt>
                <c:pt idx="1926">
                  <c:v>133.82696999999999</c:v>
                </c:pt>
                <c:pt idx="1927">
                  <c:v>134.30124000000001</c:v>
                </c:pt>
                <c:pt idx="1928">
                  <c:v>134.83005</c:v>
                </c:pt>
                <c:pt idx="1929">
                  <c:v>135.03194999999999</c:v>
                </c:pt>
                <c:pt idx="1930">
                  <c:v>135.22241</c:v>
                </c:pt>
                <c:pt idx="1931">
                  <c:v>135.4716</c:v>
                </c:pt>
                <c:pt idx="1932">
                  <c:v>135.66732999999999</c:v>
                </c:pt>
                <c:pt idx="1933">
                  <c:v>135.52772999999999</c:v>
                </c:pt>
                <c:pt idx="1934">
                  <c:v>135.47104999999999</c:v>
                </c:pt>
                <c:pt idx="1935">
                  <c:v>135.60097999999999</c:v>
                </c:pt>
                <c:pt idx="1936">
                  <c:v>135.7499</c:v>
                </c:pt>
                <c:pt idx="1937">
                  <c:v>135.81057999999999</c:v>
                </c:pt>
                <c:pt idx="1938">
                  <c:v>136.05133000000001</c:v>
                </c:pt>
                <c:pt idx="1939">
                  <c:v>135.94647000000001</c:v>
                </c:pt>
                <c:pt idx="1940">
                  <c:v>135.7389</c:v>
                </c:pt>
                <c:pt idx="1941">
                  <c:v>135.04239000000001</c:v>
                </c:pt>
                <c:pt idx="1942">
                  <c:v>134.54121000000001</c:v>
                </c:pt>
                <c:pt idx="1943">
                  <c:v>134.02249</c:v>
                </c:pt>
                <c:pt idx="1944">
                  <c:v>133.82866999999999</c:v>
                </c:pt>
                <c:pt idx="1945">
                  <c:v>133.94626</c:v>
                </c:pt>
                <c:pt idx="1946">
                  <c:v>134.16566</c:v>
                </c:pt>
                <c:pt idx="1947">
                  <c:v>134.64223999999999</c:v>
                </c:pt>
                <c:pt idx="1948">
                  <c:v>135.26949999999999</c:v>
                </c:pt>
                <c:pt idx="1949">
                  <c:v>135.40950000000001</c:v>
                </c:pt>
                <c:pt idx="1950">
                  <c:v>135.51103000000001</c:v>
                </c:pt>
                <c:pt idx="1951">
                  <c:v>135.76881</c:v>
                </c:pt>
                <c:pt idx="1952">
                  <c:v>136.24374</c:v>
                </c:pt>
                <c:pt idx="1953">
                  <c:v>135.28531000000001</c:v>
                </c:pt>
                <c:pt idx="1954">
                  <c:v>137.17080000000001</c:v>
                </c:pt>
                <c:pt idx="1955">
                  <c:v>139.1525</c:v>
                </c:pt>
                <c:pt idx="1956">
                  <c:v>137.32246000000001</c:v>
                </c:pt>
                <c:pt idx="1957">
                  <c:v>137.22644</c:v>
                </c:pt>
                <c:pt idx="1958">
                  <c:v>137.16116</c:v>
                </c:pt>
                <c:pt idx="1959">
                  <c:v>136.78549000000001</c:v>
                </c:pt>
                <c:pt idx="1960">
                  <c:v>136.60778999999999</c:v>
                </c:pt>
                <c:pt idx="1961">
                  <c:v>136.96625</c:v>
                </c:pt>
                <c:pt idx="1962">
                  <c:v>137.62015</c:v>
                </c:pt>
                <c:pt idx="1963">
                  <c:v>137.13184999999999</c:v>
                </c:pt>
                <c:pt idx="1964">
                  <c:v>137.20509999999999</c:v>
                </c:pt>
                <c:pt idx="1965">
                  <c:v>137.32246000000001</c:v>
                </c:pt>
                <c:pt idx="1966">
                  <c:v>137.35339999999999</c:v>
                </c:pt>
                <c:pt idx="1967">
                  <c:v>137.65858</c:v>
                </c:pt>
                <c:pt idx="1968">
                  <c:v>137.73515</c:v>
                </c:pt>
                <c:pt idx="1969">
                  <c:v>137.84916999999999</c:v>
                </c:pt>
                <c:pt idx="1970">
                  <c:v>137.80878999999999</c:v>
                </c:pt>
                <c:pt idx="1971">
                  <c:v>137.59383</c:v>
                </c:pt>
                <c:pt idx="1972">
                  <c:v>137.70393000000001</c:v>
                </c:pt>
                <c:pt idx="1973">
                  <c:v>137.50897000000001</c:v>
                </c:pt>
                <c:pt idx="1974">
                  <c:v>137.68172999999999</c:v>
                </c:pt>
                <c:pt idx="1975">
                  <c:v>137.50810000000001</c:v>
                </c:pt>
                <c:pt idx="1976">
                  <c:v>137.4606</c:v>
                </c:pt>
                <c:pt idx="1977">
                  <c:v>137.50922</c:v>
                </c:pt>
                <c:pt idx="1978">
                  <c:v>137.38516000000001</c:v>
                </c:pt>
                <c:pt idx="1979">
                  <c:v>137.63939999999999</c:v>
                </c:pt>
                <c:pt idx="1980">
                  <c:v>137.72772000000001</c:v>
                </c:pt>
                <c:pt idx="1981">
                  <c:v>135.74629999999999</c:v>
                </c:pt>
                <c:pt idx="1982">
                  <c:v>135.77562</c:v>
                </c:pt>
                <c:pt idx="1983">
                  <c:v>135.70752999999999</c:v>
                </c:pt>
                <c:pt idx="1984">
                  <c:v>135.5428</c:v>
                </c:pt>
                <c:pt idx="1985">
                  <c:v>135.49297999999999</c:v>
                </c:pt>
                <c:pt idx="1986">
                  <c:v>135.47620000000001</c:v>
                </c:pt>
                <c:pt idx="1987">
                  <c:v>135.22636</c:v>
                </c:pt>
                <c:pt idx="1988">
                  <c:v>135.34941000000001</c:v>
                </c:pt>
                <c:pt idx="1989">
                  <c:v>135.51616999999999</c:v>
                </c:pt>
                <c:pt idx="1990">
                  <c:v>135.76399000000001</c:v>
                </c:pt>
                <c:pt idx="1991">
                  <c:v>135.93402</c:v>
                </c:pt>
                <c:pt idx="1992">
                  <c:v>136.10512</c:v>
                </c:pt>
                <c:pt idx="1993">
                  <c:v>136.13401999999999</c:v>
                </c:pt>
                <c:pt idx="1994">
                  <c:v>135.72176999999999</c:v>
                </c:pt>
                <c:pt idx="1995">
                  <c:v>136.15834000000001</c:v>
                </c:pt>
                <c:pt idx="1996">
                  <c:v>136.21549999999999</c:v>
                </c:pt>
                <c:pt idx="1997">
                  <c:v>136.33917</c:v>
                </c:pt>
                <c:pt idx="1998">
                  <c:v>136.56137000000001</c:v>
                </c:pt>
                <c:pt idx="1999">
                  <c:v>136.70106999999999</c:v>
                </c:pt>
                <c:pt idx="2000">
                  <c:v>136.98554999999999</c:v>
                </c:pt>
                <c:pt idx="2001">
                  <c:v>135.08176</c:v>
                </c:pt>
                <c:pt idx="2002">
                  <c:v>136.97702000000001</c:v>
                </c:pt>
                <c:pt idx="2003">
                  <c:v>137</c:v>
                </c:pt>
                <c:pt idx="2004">
                  <c:v>137.26396</c:v>
                </c:pt>
                <c:pt idx="2005">
                  <c:v>137.57921999999999</c:v>
                </c:pt>
                <c:pt idx="2006">
                  <c:v>137.87897000000001</c:v>
                </c:pt>
                <c:pt idx="2007">
                  <c:v>138.35787999999999</c:v>
                </c:pt>
                <c:pt idx="2008">
                  <c:v>137.61081999999999</c:v>
                </c:pt>
                <c:pt idx="2009">
                  <c:v>137.73721</c:v>
                </c:pt>
                <c:pt idx="2010">
                  <c:v>136.744</c:v>
                </c:pt>
                <c:pt idx="2011">
                  <c:v>137.31598</c:v>
                </c:pt>
                <c:pt idx="2012">
                  <c:v>137.45824999999999</c:v>
                </c:pt>
                <c:pt idx="2013">
                  <c:v>137.50055</c:v>
                </c:pt>
                <c:pt idx="2014">
                  <c:v>137.60947999999999</c:v>
                </c:pt>
                <c:pt idx="2015">
                  <c:v>137.81564</c:v>
                </c:pt>
                <c:pt idx="2016">
                  <c:v>138.20570000000001</c:v>
                </c:pt>
                <c:pt idx="2017">
                  <c:v>138.40195</c:v>
                </c:pt>
                <c:pt idx="2018">
                  <c:v>138.28351000000001</c:v>
                </c:pt>
                <c:pt idx="2019">
                  <c:v>138.11144999999999</c:v>
                </c:pt>
                <c:pt idx="2020">
                  <c:v>137.97841</c:v>
                </c:pt>
                <c:pt idx="2021">
                  <c:v>138.12378000000001</c:v>
                </c:pt>
                <c:pt idx="2022">
                  <c:v>137.88469000000001</c:v>
                </c:pt>
                <c:pt idx="2023">
                  <c:v>137.851</c:v>
                </c:pt>
                <c:pt idx="2024">
                  <c:v>137.83586</c:v>
                </c:pt>
                <c:pt idx="2025">
                  <c:v>137.85830000000001</c:v>
                </c:pt>
                <c:pt idx="2026">
                  <c:v>137.80734000000001</c:v>
                </c:pt>
                <c:pt idx="2027">
                  <c:v>137.91136</c:v>
                </c:pt>
                <c:pt idx="2028">
                  <c:v>138.28200000000001</c:v>
                </c:pt>
                <c:pt idx="2029">
                  <c:v>138.12517</c:v>
                </c:pt>
                <c:pt idx="2030">
                  <c:v>138.21466000000001</c:v>
                </c:pt>
                <c:pt idx="2031">
                  <c:v>138.36372</c:v>
                </c:pt>
                <c:pt idx="2032">
                  <c:v>138.96274</c:v>
                </c:pt>
                <c:pt idx="2033">
                  <c:v>139.22020000000001</c:v>
                </c:pt>
                <c:pt idx="2034">
                  <c:v>139.36512999999999</c:v>
                </c:pt>
                <c:pt idx="2035">
                  <c:v>139.24059</c:v>
                </c:pt>
                <c:pt idx="2036">
                  <c:v>139.07968</c:v>
                </c:pt>
                <c:pt idx="2037">
                  <c:v>138.85203999999999</c:v>
                </c:pt>
                <c:pt idx="2038">
                  <c:v>140.07164</c:v>
                </c:pt>
                <c:pt idx="2039">
                  <c:v>139.4204</c:v>
                </c:pt>
                <c:pt idx="2040">
                  <c:v>139.16252</c:v>
                </c:pt>
                <c:pt idx="2041">
                  <c:v>140.42161999999999</c:v>
                </c:pt>
                <c:pt idx="2042">
                  <c:v>139.04704000000001</c:v>
                </c:pt>
                <c:pt idx="2043">
                  <c:v>139.05159</c:v>
                </c:pt>
                <c:pt idx="2044">
                  <c:v>139.03644</c:v>
                </c:pt>
                <c:pt idx="2045">
                  <c:v>139.27734000000001</c:v>
                </c:pt>
                <c:pt idx="2046">
                  <c:v>138.58974000000001</c:v>
                </c:pt>
                <c:pt idx="2047">
                  <c:v>139.45316</c:v>
                </c:pt>
                <c:pt idx="2048">
                  <c:v>139.60454999999999</c:v>
                </c:pt>
                <c:pt idx="2049">
                  <c:v>140.07076000000001</c:v>
                </c:pt>
                <c:pt idx="2050">
                  <c:v>140.47497999999999</c:v>
                </c:pt>
                <c:pt idx="2051">
                  <c:v>140.35298</c:v>
                </c:pt>
                <c:pt idx="2052">
                  <c:v>140.90286</c:v>
                </c:pt>
                <c:pt idx="2053">
                  <c:v>141.53185999999999</c:v>
                </c:pt>
                <c:pt idx="2054">
                  <c:v>141.83353</c:v>
                </c:pt>
                <c:pt idx="2055">
                  <c:v>142.34954999999999</c:v>
                </c:pt>
                <c:pt idx="2056">
                  <c:v>142.8783</c:v>
                </c:pt>
                <c:pt idx="2057">
                  <c:v>142.34216000000001</c:v>
                </c:pt>
                <c:pt idx="2058">
                  <c:v>141.9126</c:v>
                </c:pt>
                <c:pt idx="2059">
                  <c:v>142.08356000000001</c:v>
                </c:pt>
                <c:pt idx="2060">
                  <c:v>141.80345</c:v>
                </c:pt>
                <c:pt idx="2061">
                  <c:v>140.75729999999999</c:v>
                </c:pt>
                <c:pt idx="2062">
                  <c:v>142.71021999999999</c:v>
                </c:pt>
                <c:pt idx="2063">
                  <c:v>142.726</c:v>
                </c:pt>
                <c:pt idx="2064">
                  <c:v>143.24198999999999</c:v>
                </c:pt>
                <c:pt idx="2065">
                  <c:v>143.47707</c:v>
                </c:pt>
                <c:pt idx="2066">
                  <c:v>143.65439000000001</c:v>
                </c:pt>
                <c:pt idx="2067">
                  <c:v>143.42552000000001</c:v>
                </c:pt>
                <c:pt idx="2068">
                  <c:v>142.56116</c:v>
                </c:pt>
                <c:pt idx="2069">
                  <c:v>142.24168</c:v>
                </c:pt>
                <c:pt idx="2070">
                  <c:v>142.31515999999999</c:v>
                </c:pt>
                <c:pt idx="2071">
                  <c:v>142.57764</c:v>
                </c:pt>
                <c:pt idx="2072">
                  <c:v>142.90108000000001</c:v>
                </c:pt>
                <c:pt idx="2073">
                  <c:v>142.98434</c:v>
                </c:pt>
                <c:pt idx="2074">
                  <c:v>143.06279000000001</c:v>
                </c:pt>
                <c:pt idx="2075">
                  <c:v>142.98903000000001</c:v>
                </c:pt>
                <c:pt idx="2076">
                  <c:v>143.10132999999999</c:v>
                </c:pt>
                <c:pt idx="2077">
                  <c:v>143.24506</c:v>
                </c:pt>
                <c:pt idx="2078">
                  <c:v>143.4442</c:v>
                </c:pt>
                <c:pt idx="2079">
                  <c:v>143.36942999999999</c:v>
                </c:pt>
                <c:pt idx="2080">
                  <c:v>143.48079000000001</c:v>
                </c:pt>
                <c:pt idx="2081">
                  <c:v>145.48145</c:v>
                </c:pt>
                <c:pt idx="2082">
                  <c:v>143.72391999999999</c:v>
                </c:pt>
                <c:pt idx="2083">
                  <c:v>143.81345999999999</c:v>
                </c:pt>
                <c:pt idx="2084">
                  <c:v>143.88892000000001</c:v>
                </c:pt>
                <c:pt idx="2085">
                  <c:v>143.98822000000001</c:v>
                </c:pt>
                <c:pt idx="2086">
                  <c:v>144.54504</c:v>
                </c:pt>
                <c:pt idx="2087">
                  <c:v>145.8956</c:v>
                </c:pt>
                <c:pt idx="2088">
                  <c:v>146.90169</c:v>
                </c:pt>
                <c:pt idx="2089">
                  <c:v>147.76635999999999</c:v>
                </c:pt>
                <c:pt idx="2090">
                  <c:v>149.125</c:v>
                </c:pt>
                <c:pt idx="2091">
                  <c:v>149.09829999999999</c:v>
                </c:pt>
                <c:pt idx="2092">
                  <c:v>149.28172000000001</c:v>
                </c:pt>
                <c:pt idx="2093">
                  <c:v>149.86263</c:v>
                </c:pt>
                <c:pt idx="2094">
                  <c:v>150.33994999999999</c:v>
                </c:pt>
                <c:pt idx="2095">
                  <c:v>150.55770000000001</c:v>
                </c:pt>
                <c:pt idx="2096">
                  <c:v>150.51355000000001</c:v>
                </c:pt>
                <c:pt idx="2097">
                  <c:v>154.12110000000001</c:v>
                </c:pt>
                <c:pt idx="2098">
                  <c:v>159.26811000000001</c:v>
                </c:pt>
                <c:pt idx="2099">
                  <c:v>160.93922000000001</c:v>
                </c:pt>
                <c:pt idx="2100">
                  <c:v>160.88788</c:v>
                </c:pt>
                <c:pt idx="2101">
                  <c:v>155.75009</c:v>
                </c:pt>
                <c:pt idx="2102">
                  <c:v>156.81433000000001</c:v>
                </c:pt>
                <c:pt idx="2103">
                  <c:v>158.48134999999999</c:v>
                </c:pt>
                <c:pt idx="2104">
                  <c:v>159.51396</c:v>
                </c:pt>
                <c:pt idx="2105">
                  <c:v>160.60425000000001</c:v>
                </c:pt>
                <c:pt idx="2106">
                  <c:v>159.21678</c:v>
                </c:pt>
                <c:pt idx="2107">
                  <c:v>159.96477999999999</c:v>
                </c:pt>
                <c:pt idx="2108">
                  <c:v>160.87625</c:v>
                </c:pt>
                <c:pt idx="2109">
                  <c:v>160.51146</c:v>
                </c:pt>
              </c:numCache>
            </c:numRef>
          </c:val>
          <c:smooth val="0"/>
          <c:extLst>
            <c:ext xmlns:c16="http://schemas.microsoft.com/office/drawing/2014/chart" uri="{C3380CC4-5D6E-409C-BE32-E72D297353CC}">
              <c16:uniqueId val="{00000001-B998-C442-B095-CD8526EFFC4E}"/>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65"/>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min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589287496279628E-2"/>
          <c:y val="6.1312719005795303E-2"/>
          <c:w val="0.93640979677608016"/>
          <c:h val="0.80444506052374321"/>
        </c:manualLayout>
      </c:layout>
      <c:lineChart>
        <c:grouping val="standard"/>
        <c:varyColors val="0"/>
        <c:ser>
          <c:idx val="0"/>
          <c:order val="0"/>
          <c:tx>
            <c:strRef>
              <c:f>Sheet1!$B$1</c:f>
              <c:strCache>
                <c:ptCount val="1"/>
                <c:pt idx="0">
                  <c:v>Actual</c:v>
                </c:pt>
              </c:strCache>
            </c:strRef>
          </c:tx>
          <c:spPr>
            <a:ln w="12700" cap="rnd">
              <a:solidFill>
                <a:schemeClr val="accent4"/>
              </a:solidFill>
              <a:round/>
            </a:ln>
            <a:effectLst/>
          </c:spPr>
          <c:marker>
            <c:symbol val="none"/>
          </c:marker>
          <c:cat>
            <c:numRef>
              <c:f>Sheet1!$A$2:$A$348</c:f>
              <c:numCache>
                <c:formatCode>m/d/yy</c:formatCode>
                <c:ptCount val="347"/>
                <c:pt idx="0">
                  <c:v>43833</c:v>
                </c:pt>
                <c:pt idx="1">
                  <c:v>43836</c:v>
                </c:pt>
                <c:pt idx="2">
                  <c:v>43837</c:v>
                </c:pt>
                <c:pt idx="3">
                  <c:v>43838</c:v>
                </c:pt>
                <c:pt idx="4">
                  <c:v>43839</c:v>
                </c:pt>
                <c:pt idx="5">
                  <c:v>43840</c:v>
                </c:pt>
                <c:pt idx="6">
                  <c:v>43843</c:v>
                </c:pt>
                <c:pt idx="7">
                  <c:v>43844</c:v>
                </c:pt>
                <c:pt idx="8">
                  <c:v>43845</c:v>
                </c:pt>
                <c:pt idx="9">
                  <c:v>43846</c:v>
                </c:pt>
                <c:pt idx="10">
                  <c:v>43847</c:v>
                </c:pt>
                <c:pt idx="11">
                  <c:v>43851</c:v>
                </c:pt>
                <c:pt idx="12">
                  <c:v>43852</c:v>
                </c:pt>
                <c:pt idx="13">
                  <c:v>43853</c:v>
                </c:pt>
                <c:pt idx="14">
                  <c:v>43854</c:v>
                </c:pt>
                <c:pt idx="15">
                  <c:v>43857</c:v>
                </c:pt>
                <c:pt idx="16">
                  <c:v>43858</c:v>
                </c:pt>
                <c:pt idx="17">
                  <c:v>43859</c:v>
                </c:pt>
                <c:pt idx="18">
                  <c:v>43860</c:v>
                </c:pt>
                <c:pt idx="19">
                  <c:v>43861</c:v>
                </c:pt>
                <c:pt idx="20">
                  <c:v>43864</c:v>
                </c:pt>
                <c:pt idx="21">
                  <c:v>43865</c:v>
                </c:pt>
                <c:pt idx="22">
                  <c:v>43866</c:v>
                </c:pt>
                <c:pt idx="23">
                  <c:v>43867</c:v>
                </c:pt>
                <c:pt idx="24">
                  <c:v>43868</c:v>
                </c:pt>
                <c:pt idx="25">
                  <c:v>43871</c:v>
                </c:pt>
                <c:pt idx="26">
                  <c:v>43872</c:v>
                </c:pt>
                <c:pt idx="27">
                  <c:v>43873</c:v>
                </c:pt>
                <c:pt idx="28">
                  <c:v>43874</c:v>
                </c:pt>
                <c:pt idx="29">
                  <c:v>43875</c:v>
                </c:pt>
                <c:pt idx="30">
                  <c:v>43879</c:v>
                </c:pt>
                <c:pt idx="31">
                  <c:v>43880</c:v>
                </c:pt>
                <c:pt idx="32">
                  <c:v>43881</c:v>
                </c:pt>
                <c:pt idx="33">
                  <c:v>43882</c:v>
                </c:pt>
                <c:pt idx="34">
                  <c:v>43885</c:v>
                </c:pt>
                <c:pt idx="35">
                  <c:v>43886</c:v>
                </c:pt>
                <c:pt idx="36">
                  <c:v>43887</c:v>
                </c:pt>
                <c:pt idx="37">
                  <c:v>43888</c:v>
                </c:pt>
                <c:pt idx="38">
                  <c:v>43889</c:v>
                </c:pt>
                <c:pt idx="39">
                  <c:v>43892</c:v>
                </c:pt>
                <c:pt idx="40">
                  <c:v>43893</c:v>
                </c:pt>
                <c:pt idx="41">
                  <c:v>43894</c:v>
                </c:pt>
                <c:pt idx="42">
                  <c:v>43895</c:v>
                </c:pt>
                <c:pt idx="43">
                  <c:v>43896</c:v>
                </c:pt>
                <c:pt idx="44">
                  <c:v>43899</c:v>
                </c:pt>
                <c:pt idx="45">
                  <c:v>43900</c:v>
                </c:pt>
                <c:pt idx="46">
                  <c:v>43901</c:v>
                </c:pt>
                <c:pt idx="47">
                  <c:v>43902</c:v>
                </c:pt>
                <c:pt idx="48">
                  <c:v>43903</c:v>
                </c:pt>
                <c:pt idx="49">
                  <c:v>43906</c:v>
                </c:pt>
                <c:pt idx="50">
                  <c:v>43907</c:v>
                </c:pt>
                <c:pt idx="51">
                  <c:v>43908</c:v>
                </c:pt>
                <c:pt idx="52">
                  <c:v>43909</c:v>
                </c:pt>
                <c:pt idx="53">
                  <c:v>43910</c:v>
                </c:pt>
                <c:pt idx="54">
                  <c:v>43913</c:v>
                </c:pt>
                <c:pt idx="55">
                  <c:v>43914</c:v>
                </c:pt>
                <c:pt idx="56">
                  <c:v>43915</c:v>
                </c:pt>
                <c:pt idx="57">
                  <c:v>43916</c:v>
                </c:pt>
                <c:pt idx="58">
                  <c:v>43917</c:v>
                </c:pt>
                <c:pt idx="59">
                  <c:v>43920</c:v>
                </c:pt>
                <c:pt idx="60">
                  <c:v>43921</c:v>
                </c:pt>
                <c:pt idx="61">
                  <c:v>43922</c:v>
                </c:pt>
                <c:pt idx="62">
                  <c:v>43923</c:v>
                </c:pt>
                <c:pt idx="63">
                  <c:v>43924</c:v>
                </c:pt>
                <c:pt idx="64">
                  <c:v>43927</c:v>
                </c:pt>
                <c:pt idx="65">
                  <c:v>43928</c:v>
                </c:pt>
                <c:pt idx="66">
                  <c:v>43929</c:v>
                </c:pt>
                <c:pt idx="67">
                  <c:v>43930</c:v>
                </c:pt>
                <c:pt idx="68">
                  <c:v>43934</c:v>
                </c:pt>
                <c:pt idx="69">
                  <c:v>43935</c:v>
                </c:pt>
                <c:pt idx="70">
                  <c:v>43936</c:v>
                </c:pt>
                <c:pt idx="71">
                  <c:v>43937</c:v>
                </c:pt>
                <c:pt idx="72">
                  <c:v>43938</c:v>
                </c:pt>
                <c:pt idx="73">
                  <c:v>43941</c:v>
                </c:pt>
                <c:pt idx="74">
                  <c:v>43942</c:v>
                </c:pt>
                <c:pt idx="75">
                  <c:v>43943</c:v>
                </c:pt>
                <c:pt idx="76">
                  <c:v>43944</c:v>
                </c:pt>
                <c:pt idx="77">
                  <c:v>43945</c:v>
                </c:pt>
                <c:pt idx="78">
                  <c:v>43948</c:v>
                </c:pt>
                <c:pt idx="79">
                  <c:v>43949</c:v>
                </c:pt>
                <c:pt idx="80">
                  <c:v>43950</c:v>
                </c:pt>
                <c:pt idx="81">
                  <c:v>43951</c:v>
                </c:pt>
                <c:pt idx="82">
                  <c:v>43952</c:v>
                </c:pt>
                <c:pt idx="83">
                  <c:v>43955</c:v>
                </c:pt>
                <c:pt idx="84">
                  <c:v>43956</c:v>
                </c:pt>
                <c:pt idx="85">
                  <c:v>43957</c:v>
                </c:pt>
                <c:pt idx="86">
                  <c:v>43958</c:v>
                </c:pt>
                <c:pt idx="87">
                  <c:v>43959</c:v>
                </c:pt>
                <c:pt idx="88">
                  <c:v>43962</c:v>
                </c:pt>
                <c:pt idx="89">
                  <c:v>43963</c:v>
                </c:pt>
                <c:pt idx="90">
                  <c:v>43964</c:v>
                </c:pt>
                <c:pt idx="91">
                  <c:v>43965</c:v>
                </c:pt>
                <c:pt idx="92">
                  <c:v>43966</c:v>
                </c:pt>
                <c:pt idx="93">
                  <c:v>43969</c:v>
                </c:pt>
                <c:pt idx="94">
                  <c:v>43970</c:v>
                </c:pt>
                <c:pt idx="95">
                  <c:v>43971</c:v>
                </c:pt>
                <c:pt idx="96">
                  <c:v>43972</c:v>
                </c:pt>
                <c:pt idx="97">
                  <c:v>43973</c:v>
                </c:pt>
                <c:pt idx="98">
                  <c:v>43977</c:v>
                </c:pt>
                <c:pt idx="99">
                  <c:v>43978</c:v>
                </c:pt>
                <c:pt idx="100">
                  <c:v>43979</c:v>
                </c:pt>
                <c:pt idx="101">
                  <c:v>43980</c:v>
                </c:pt>
                <c:pt idx="102">
                  <c:v>43983</c:v>
                </c:pt>
                <c:pt idx="103">
                  <c:v>43984</c:v>
                </c:pt>
                <c:pt idx="104">
                  <c:v>43985</c:v>
                </c:pt>
                <c:pt idx="105">
                  <c:v>43986</c:v>
                </c:pt>
                <c:pt idx="106">
                  <c:v>43987</c:v>
                </c:pt>
                <c:pt idx="107">
                  <c:v>43990</c:v>
                </c:pt>
                <c:pt idx="108">
                  <c:v>43991</c:v>
                </c:pt>
                <c:pt idx="109">
                  <c:v>43992</c:v>
                </c:pt>
                <c:pt idx="110">
                  <c:v>43993</c:v>
                </c:pt>
                <c:pt idx="111">
                  <c:v>43994</c:v>
                </c:pt>
                <c:pt idx="112">
                  <c:v>43997</c:v>
                </c:pt>
                <c:pt idx="113">
                  <c:v>43998</c:v>
                </c:pt>
                <c:pt idx="114">
                  <c:v>43999</c:v>
                </c:pt>
                <c:pt idx="115">
                  <c:v>44000</c:v>
                </c:pt>
                <c:pt idx="116">
                  <c:v>44001</c:v>
                </c:pt>
                <c:pt idx="117">
                  <c:v>44004</c:v>
                </c:pt>
                <c:pt idx="118">
                  <c:v>44005</c:v>
                </c:pt>
                <c:pt idx="119">
                  <c:v>44006</c:v>
                </c:pt>
                <c:pt idx="120">
                  <c:v>44007</c:v>
                </c:pt>
                <c:pt idx="121">
                  <c:v>44008</c:v>
                </c:pt>
                <c:pt idx="122">
                  <c:v>44011</c:v>
                </c:pt>
                <c:pt idx="123">
                  <c:v>44012</c:v>
                </c:pt>
                <c:pt idx="124">
                  <c:v>44013</c:v>
                </c:pt>
                <c:pt idx="125">
                  <c:v>44014</c:v>
                </c:pt>
                <c:pt idx="126">
                  <c:v>44018</c:v>
                </c:pt>
                <c:pt idx="127">
                  <c:v>44019</c:v>
                </c:pt>
                <c:pt idx="128">
                  <c:v>44020</c:v>
                </c:pt>
                <c:pt idx="129">
                  <c:v>44021</c:v>
                </c:pt>
                <c:pt idx="130">
                  <c:v>44022</c:v>
                </c:pt>
                <c:pt idx="131">
                  <c:v>44025</c:v>
                </c:pt>
                <c:pt idx="132">
                  <c:v>44026</c:v>
                </c:pt>
                <c:pt idx="133">
                  <c:v>44027</c:v>
                </c:pt>
                <c:pt idx="134">
                  <c:v>44028</c:v>
                </c:pt>
                <c:pt idx="135">
                  <c:v>44029</c:v>
                </c:pt>
                <c:pt idx="136">
                  <c:v>44032</c:v>
                </c:pt>
                <c:pt idx="137">
                  <c:v>44033</c:v>
                </c:pt>
                <c:pt idx="138">
                  <c:v>44034</c:v>
                </c:pt>
                <c:pt idx="139">
                  <c:v>44035</c:v>
                </c:pt>
                <c:pt idx="140">
                  <c:v>44036</c:v>
                </c:pt>
                <c:pt idx="141">
                  <c:v>44039</c:v>
                </c:pt>
                <c:pt idx="142">
                  <c:v>44040</c:v>
                </c:pt>
                <c:pt idx="143">
                  <c:v>44041</c:v>
                </c:pt>
                <c:pt idx="144">
                  <c:v>44042</c:v>
                </c:pt>
                <c:pt idx="145">
                  <c:v>44043</c:v>
                </c:pt>
                <c:pt idx="146">
                  <c:v>44046</c:v>
                </c:pt>
                <c:pt idx="147">
                  <c:v>44047</c:v>
                </c:pt>
                <c:pt idx="148">
                  <c:v>44048</c:v>
                </c:pt>
                <c:pt idx="149">
                  <c:v>44049</c:v>
                </c:pt>
                <c:pt idx="150">
                  <c:v>44050</c:v>
                </c:pt>
                <c:pt idx="151">
                  <c:v>44053</c:v>
                </c:pt>
                <c:pt idx="152">
                  <c:v>44054</c:v>
                </c:pt>
                <c:pt idx="153">
                  <c:v>44055</c:v>
                </c:pt>
                <c:pt idx="154">
                  <c:v>44056</c:v>
                </c:pt>
                <c:pt idx="155">
                  <c:v>44057</c:v>
                </c:pt>
                <c:pt idx="156">
                  <c:v>44060</c:v>
                </c:pt>
                <c:pt idx="157">
                  <c:v>44061</c:v>
                </c:pt>
                <c:pt idx="158">
                  <c:v>44062</c:v>
                </c:pt>
                <c:pt idx="159">
                  <c:v>44063</c:v>
                </c:pt>
                <c:pt idx="160">
                  <c:v>44064</c:v>
                </c:pt>
                <c:pt idx="161">
                  <c:v>44067</c:v>
                </c:pt>
                <c:pt idx="162">
                  <c:v>44068</c:v>
                </c:pt>
                <c:pt idx="163">
                  <c:v>44069</c:v>
                </c:pt>
                <c:pt idx="164">
                  <c:v>44070</c:v>
                </c:pt>
                <c:pt idx="165">
                  <c:v>44071</c:v>
                </c:pt>
                <c:pt idx="166">
                  <c:v>44074</c:v>
                </c:pt>
                <c:pt idx="167">
                  <c:v>44075</c:v>
                </c:pt>
                <c:pt idx="168">
                  <c:v>44076</c:v>
                </c:pt>
                <c:pt idx="169">
                  <c:v>44077</c:v>
                </c:pt>
                <c:pt idx="170">
                  <c:v>44078</c:v>
                </c:pt>
                <c:pt idx="171">
                  <c:v>44082</c:v>
                </c:pt>
                <c:pt idx="172">
                  <c:v>44083</c:v>
                </c:pt>
                <c:pt idx="173">
                  <c:v>44084</c:v>
                </c:pt>
                <c:pt idx="174">
                  <c:v>44085</c:v>
                </c:pt>
                <c:pt idx="175">
                  <c:v>44088</c:v>
                </c:pt>
                <c:pt idx="176">
                  <c:v>44089</c:v>
                </c:pt>
                <c:pt idx="177">
                  <c:v>44090</c:v>
                </c:pt>
                <c:pt idx="178">
                  <c:v>44091</c:v>
                </c:pt>
                <c:pt idx="179">
                  <c:v>44092</c:v>
                </c:pt>
                <c:pt idx="180">
                  <c:v>44095</c:v>
                </c:pt>
                <c:pt idx="181">
                  <c:v>44096</c:v>
                </c:pt>
                <c:pt idx="182">
                  <c:v>44097</c:v>
                </c:pt>
                <c:pt idx="183">
                  <c:v>44098</c:v>
                </c:pt>
                <c:pt idx="184">
                  <c:v>44099</c:v>
                </c:pt>
                <c:pt idx="185">
                  <c:v>44102</c:v>
                </c:pt>
                <c:pt idx="186">
                  <c:v>44103</c:v>
                </c:pt>
                <c:pt idx="187">
                  <c:v>44104</c:v>
                </c:pt>
                <c:pt idx="188">
                  <c:v>44105</c:v>
                </c:pt>
                <c:pt idx="189">
                  <c:v>44106</c:v>
                </c:pt>
                <c:pt idx="190">
                  <c:v>44109</c:v>
                </c:pt>
                <c:pt idx="191">
                  <c:v>44110</c:v>
                </c:pt>
                <c:pt idx="192">
                  <c:v>44111</c:v>
                </c:pt>
                <c:pt idx="193">
                  <c:v>44112</c:v>
                </c:pt>
                <c:pt idx="194">
                  <c:v>44113</c:v>
                </c:pt>
                <c:pt idx="195">
                  <c:v>44116</c:v>
                </c:pt>
                <c:pt idx="196">
                  <c:v>44117</c:v>
                </c:pt>
                <c:pt idx="197">
                  <c:v>44118</c:v>
                </c:pt>
                <c:pt idx="198">
                  <c:v>44119</c:v>
                </c:pt>
                <c:pt idx="199">
                  <c:v>44120</c:v>
                </c:pt>
                <c:pt idx="200">
                  <c:v>44123</c:v>
                </c:pt>
                <c:pt idx="201">
                  <c:v>44124</c:v>
                </c:pt>
                <c:pt idx="202">
                  <c:v>44125</c:v>
                </c:pt>
                <c:pt idx="203">
                  <c:v>44126</c:v>
                </c:pt>
                <c:pt idx="204">
                  <c:v>44127</c:v>
                </c:pt>
                <c:pt idx="205">
                  <c:v>44130</c:v>
                </c:pt>
                <c:pt idx="206">
                  <c:v>44131</c:v>
                </c:pt>
                <c:pt idx="207">
                  <c:v>44132</c:v>
                </c:pt>
                <c:pt idx="208">
                  <c:v>44133</c:v>
                </c:pt>
                <c:pt idx="209">
                  <c:v>44134</c:v>
                </c:pt>
                <c:pt idx="210">
                  <c:v>44137</c:v>
                </c:pt>
                <c:pt idx="211">
                  <c:v>44138</c:v>
                </c:pt>
                <c:pt idx="212">
                  <c:v>44139</c:v>
                </c:pt>
                <c:pt idx="213">
                  <c:v>44140</c:v>
                </c:pt>
                <c:pt idx="214">
                  <c:v>44141</c:v>
                </c:pt>
                <c:pt idx="215">
                  <c:v>44144</c:v>
                </c:pt>
                <c:pt idx="216">
                  <c:v>44145</c:v>
                </c:pt>
                <c:pt idx="217">
                  <c:v>44146</c:v>
                </c:pt>
                <c:pt idx="218">
                  <c:v>44147</c:v>
                </c:pt>
                <c:pt idx="219">
                  <c:v>44148</c:v>
                </c:pt>
                <c:pt idx="220">
                  <c:v>44151</c:v>
                </c:pt>
                <c:pt idx="221">
                  <c:v>44152</c:v>
                </c:pt>
                <c:pt idx="222">
                  <c:v>44153</c:v>
                </c:pt>
                <c:pt idx="223">
                  <c:v>44154</c:v>
                </c:pt>
                <c:pt idx="224">
                  <c:v>44155</c:v>
                </c:pt>
                <c:pt idx="225">
                  <c:v>44158</c:v>
                </c:pt>
                <c:pt idx="226">
                  <c:v>44159</c:v>
                </c:pt>
                <c:pt idx="227">
                  <c:v>44160</c:v>
                </c:pt>
                <c:pt idx="228">
                  <c:v>44162</c:v>
                </c:pt>
                <c:pt idx="229">
                  <c:v>44165</c:v>
                </c:pt>
                <c:pt idx="230">
                  <c:v>44166</c:v>
                </c:pt>
                <c:pt idx="231">
                  <c:v>44167</c:v>
                </c:pt>
                <c:pt idx="232">
                  <c:v>44168</c:v>
                </c:pt>
                <c:pt idx="233">
                  <c:v>44169</c:v>
                </c:pt>
                <c:pt idx="234">
                  <c:v>44172</c:v>
                </c:pt>
                <c:pt idx="235">
                  <c:v>44173</c:v>
                </c:pt>
                <c:pt idx="236">
                  <c:v>44174</c:v>
                </c:pt>
                <c:pt idx="237">
                  <c:v>44175</c:v>
                </c:pt>
                <c:pt idx="238">
                  <c:v>44176</c:v>
                </c:pt>
                <c:pt idx="239">
                  <c:v>44179</c:v>
                </c:pt>
                <c:pt idx="240">
                  <c:v>44180</c:v>
                </c:pt>
                <c:pt idx="241">
                  <c:v>44181</c:v>
                </c:pt>
                <c:pt idx="242">
                  <c:v>44182</c:v>
                </c:pt>
                <c:pt idx="243">
                  <c:v>44183</c:v>
                </c:pt>
                <c:pt idx="244">
                  <c:v>44186</c:v>
                </c:pt>
                <c:pt idx="245">
                  <c:v>44187</c:v>
                </c:pt>
                <c:pt idx="246">
                  <c:v>44188</c:v>
                </c:pt>
                <c:pt idx="247">
                  <c:v>44189</c:v>
                </c:pt>
                <c:pt idx="248">
                  <c:v>44193</c:v>
                </c:pt>
                <c:pt idx="249">
                  <c:v>44194</c:v>
                </c:pt>
                <c:pt idx="250">
                  <c:v>44195</c:v>
                </c:pt>
                <c:pt idx="251">
                  <c:v>44196</c:v>
                </c:pt>
                <c:pt idx="252">
                  <c:v>44200</c:v>
                </c:pt>
                <c:pt idx="253">
                  <c:v>44201</c:v>
                </c:pt>
                <c:pt idx="254">
                  <c:v>44202</c:v>
                </c:pt>
                <c:pt idx="255">
                  <c:v>44203</c:v>
                </c:pt>
                <c:pt idx="256">
                  <c:v>44204</c:v>
                </c:pt>
                <c:pt idx="257">
                  <c:v>44207</c:v>
                </c:pt>
                <c:pt idx="258">
                  <c:v>44208</c:v>
                </c:pt>
                <c:pt idx="259">
                  <c:v>44209</c:v>
                </c:pt>
                <c:pt idx="260">
                  <c:v>44210</c:v>
                </c:pt>
                <c:pt idx="261">
                  <c:v>44211</c:v>
                </c:pt>
                <c:pt idx="262">
                  <c:v>44215</c:v>
                </c:pt>
                <c:pt idx="263">
                  <c:v>44216</c:v>
                </c:pt>
                <c:pt idx="264">
                  <c:v>44217</c:v>
                </c:pt>
                <c:pt idx="265">
                  <c:v>44218</c:v>
                </c:pt>
                <c:pt idx="266">
                  <c:v>44221</c:v>
                </c:pt>
                <c:pt idx="267">
                  <c:v>44222</c:v>
                </c:pt>
                <c:pt idx="268">
                  <c:v>44223</c:v>
                </c:pt>
                <c:pt idx="269">
                  <c:v>44224</c:v>
                </c:pt>
                <c:pt idx="270">
                  <c:v>44225</c:v>
                </c:pt>
                <c:pt idx="271">
                  <c:v>44228</c:v>
                </c:pt>
                <c:pt idx="272">
                  <c:v>44229</c:v>
                </c:pt>
                <c:pt idx="273">
                  <c:v>44230</c:v>
                </c:pt>
                <c:pt idx="274">
                  <c:v>44231</c:v>
                </c:pt>
                <c:pt idx="275">
                  <c:v>44232</c:v>
                </c:pt>
                <c:pt idx="276">
                  <c:v>44235</c:v>
                </c:pt>
                <c:pt idx="277">
                  <c:v>44236</c:v>
                </c:pt>
                <c:pt idx="278">
                  <c:v>44237</c:v>
                </c:pt>
                <c:pt idx="279">
                  <c:v>44238</c:v>
                </c:pt>
                <c:pt idx="280">
                  <c:v>44239</c:v>
                </c:pt>
                <c:pt idx="281">
                  <c:v>44243</c:v>
                </c:pt>
                <c:pt idx="282">
                  <c:v>44244</c:v>
                </c:pt>
                <c:pt idx="283">
                  <c:v>44245</c:v>
                </c:pt>
                <c:pt idx="284">
                  <c:v>44246</c:v>
                </c:pt>
                <c:pt idx="285">
                  <c:v>44249</c:v>
                </c:pt>
                <c:pt idx="286">
                  <c:v>44250</c:v>
                </c:pt>
                <c:pt idx="287">
                  <c:v>44251</c:v>
                </c:pt>
                <c:pt idx="288">
                  <c:v>44252</c:v>
                </c:pt>
                <c:pt idx="289">
                  <c:v>44253</c:v>
                </c:pt>
                <c:pt idx="290">
                  <c:v>44256</c:v>
                </c:pt>
                <c:pt idx="291">
                  <c:v>44257</c:v>
                </c:pt>
                <c:pt idx="292">
                  <c:v>44258</c:v>
                </c:pt>
                <c:pt idx="293">
                  <c:v>44259</c:v>
                </c:pt>
                <c:pt idx="294">
                  <c:v>44260</c:v>
                </c:pt>
                <c:pt idx="295">
                  <c:v>44263</c:v>
                </c:pt>
                <c:pt idx="296">
                  <c:v>44264</c:v>
                </c:pt>
                <c:pt idx="297">
                  <c:v>44265</c:v>
                </c:pt>
                <c:pt idx="298">
                  <c:v>44266</c:v>
                </c:pt>
                <c:pt idx="299">
                  <c:v>44267</c:v>
                </c:pt>
                <c:pt idx="300">
                  <c:v>44270</c:v>
                </c:pt>
                <c:pt idx="301">
                  <c:v>44271</c:v>
                </c:pt>
                <c:pt idx="302">
                  <c:v>44272</c:v>
                </c:pt>
                <c:pt idx="303">
                  <c:v>44273</c:v>
                </c:pt>
                <c:pt idx="304">
                  <c:v>44274</c:v>
                </c:pt>
                <c:pt idx="305">
                  <c:v>44277</c:v>
                </c:pt>
                <c:pt idx="306">
                  <c:v>44278</c:v>
                </c:pt>
                <c:pt idx="307">
                  <c:v>44279</c:v>
                </c:pt>
                <c:pt idx="308">
                  <c:v>44280</c:v>
                </c:pt>
                <c:pt idx="309">
                  <c:v>44281</c:v>
                </c:pt>
                <c:pt idx="310">
                  <c:v>44284</c:v>
                </c:pt>
                <c:pt idx="311">
                  <c:v>44285</c:v>
                </c:pt>
                <c:pt idx="312">
                  <c:v>44286</c:v>
                </c:pt>
                <c:pt idx="313">
                  <c:v>44287</c:v>
                </c:pt>
                <c:pt idx="314">
                  <c:v>44291</c:v>
                </c:pt>
                <c:pt idx="315">
                  <c:v>44292</c:v>
                </c:pt>
                <c:pt idx="316">
                  <c:v>44293</c:v>
                </c:pt>
                <c:pt idx="317">
                  <c:v>44294</c:v>
                </c:pt>
                <c:pt idx="318">
                  <c:v>44295</c:v>
                </c:pt>
                <c:pt idx="319">
                  <c:v>44298</c:v>
                </c:pt>
                <c:pt idx="320">
                  <c:v>44299</c:v>
                </c:pt>
                <c:pt idx="321">
                  <c:v>44300</c:v>
                </c:pt>
                <c:pt idx="322">
                  <c:v>44301</c:v>
                </c:pt>
                <c:pt idx="323">
                  <c:v>44302</c:v>
                </c:pt>
                <c:pt idx="324">
                  <c:v>44305</c:v>
                </c:pt>
                <c:pt idx="325">
                  <c:v>44306</c:v>
                </c:pt>
                <c:pt idx="326">
                  <c:v>44307</c:v>
                </c:pt>
                <c:pt idx="327">
                  <c:v>44308</c:v>
                </c:pt>
                <c:pt idx="328">
                  <c:v>44309</c:v>
                </c:pt>
                <c:pt idx="329">
                  <c:v>44312</c:v>
                </c:pt>
                <c:pt idx="330">
                  <c:v>44313</c:v>
                </c:pt>
                <c:pt idx="331">
                  <c:v>44314</c:v>
                </c:pt>
                <c:pt idx="332">
                  <c:v>44315</c:v>
                </c:pt>
                <c:pt idx="333">
                  <c:v>44316</c:v>
                </c:pt>
                <c:pt idx="334">
                  <c:v>44319</c:v>
                </c:pt>
                <c:pt idx="335">
                  <c:v>44320</c:v>
                </c:pt>
                <c:pt idx="336">
                  <c:v>44321</c:v>
                </c:pt>
                <c:pt idx="337">
                  <c:v>44322</c:v>
                </c:pt>
                <c:pt idx="338">
                  <c:v>44323</c:v>
                </c:pt>
                <c:pt idx="339">
                  <c:v>44326</c:v>
                </c:pt>
                <c:pt idx="340">
                  <c:v>44327</c:v>
                </c:pt>
                <c:pt idx="341">
                  <c:v>44328</c:v>
                </c:pt>
                <c:pt idx="342">
                  <c:v>44329</c:v>
                </c:pt>
                <c:pt idx="343">
                  <c:v>44330</c:v>
                </c:pt>
                <c:pt idx="344">
                  <c:v>44333</c:v>
                </c:pt>
                <c:pt idx="345">
                  <c:v>44334</c:v>
                </c:pt>
                <c:pt idx="346">
                  <c:v>44335</c:v>
                </c:pt>
              </c:numCache>
            </c:numRef>
          </c:cat>
          <c:val>
            <c:numRef>
              <c:f>Sheet1!$B$2:$B$348</c:f>
              <c:numCache>
                <c:formatCode>General</c:formatCode>
                <c:ptCount val="347"/>
                <c:pt idx="0">
                  <c:v>28.629996999999999</c:v>
                </c:pt>
                <c:pt idx="1">
                  <c:v>28.33</c:v>
                </c:pt>
                <c:pt idx="2">
                  <c:v>28.51</c:v>
                </c:pt>
                <c:pt idx="3">
                  <c:v>27.820001999999999</c:v>
                </c:pt>
                <c:pt idx="4">
                  <c:v>25.45</c:v>
                </c:pt>
                <c:pt idx="5">
                  <c:v>23.12</c:v>
                </c:pt>
                <c:pt idx="6">
                  <c:v>22.309998</c:v>
                </c:pt>
                <c:pt idx="7">
                  <c:v>20.6</c:v>
                </c:pt>
                <c:pt idx="8">
                  <c:v>19.05</c:v>
                </c:pt>
                <c:pt idx="9">
                  <c:v>18.86</c:v>
                </c:pt>
                <c:pt idx="10">
                  <c:v>17.850000000000001</c:v>
                </c:pt>
                <c:pt idx="11">
                  <c:v>18.53</c:v>
                </c:pt>
                <c:pt idx="12">
                  <c:v>16.04</c:v>
                </c:pt>
                <c:pt idx="13">
                  <c:v>15.97</c:v>
                </c:pt>
                <c:pt idx="14">
                  <c:v>14.75</c:v>
                </c:pt>
                <c:pt idx="15">
                  <c:v>17</c:v>
                </c:pt>
                <c:pt idx="16">
                  <c:v>16.260000000000002</c:v>
                </c:pt>
                <c:pt idx="17">
                  <c:v>13.45</c:v>
                </c:pt>
                <c:pt idx="18">
                  <c:v>14.31</c:v>
                </c:pt>
                <c:pt idx="19">
                  <c:v>15.92</c:v>
                </c:pt>
                <c:pt idx="20">
                  <c:v>15.579999000000001</c:v>
                </c:pt>
                <c:pt idx="21">
                  <c:v>11.65</c:v>
                </c:pt>
                <c:pt idx="22">
                  <c:v>10.29</c:v>
                </c:pt>
                <c:pt idx="23">
                  <c:v>10.38</c:v>
                </c:pt>
                <c:pt idx="24">
                  <c:v>10.25</c:v>
                </c:pt>
                <c:pt idx="25">
                  <c:v>13.919999000000001</c:v>
                </c:pt>
                <c:pt idx="26">
                  <c:v>15.39</c:v>
                </c:pt>
                <c:pt idx="27">
                  <c:v>15.66</c:v>
                </c:pt>
                <c:pt idx="28">
                  <c:v>14.04</c:v>
                </c:pt>
                <c:pt idx="29">
                  <c:v>12.249999000000001</c:v>
                </c:pt>
                <c:pt idx="30">
                  <c:v>12.190001000000001</c:v>
                </c:pt>
                <c:pt idx="31">
                  <c:v>10.690001000000001</c:v>
                </c:pt>
                <c:pt idx="32">
                  <c:v>10.059998999999999</c:v>
                </c:pt>
                <c:pt idx="33">
                  <c:v>9.39</c:v>
                </c:pt>
                <c:pt idx="34">
                  <c:v>9.5</c:v>
                </c:pt>
                <c:pt idx="35">
                  <c:v>10.219999</c:v>
                </c:pt>
                <c:pt idx="36">
                  <c:v>11.33</c:v>
                </c:pt>
                <c:pt idx="37">
                  <c:v>12.51</c:v>
                </c:pt>
                <c:pt idx="38">
                  <c:v>11.56</c:v>
                </c:pt>
                <c:pt idx="39">
                  <c:v>11.95</c:v>
                </c:pt>
                <c:pt idx="40">
                  <c:v>12.289999</c:v>
                </c:pt>
                <c:pt idx="41">
                  <c:v>11.07</c:v>
                </c:pt>
                <c:pt idx="42">
                  <c:v>11.570001</c:v>
                </c:pt>
                <c:pt idx="43">
                  <c:v>11.059998999999999</c:v>
                </c:pt>
                <c:pt idx="44">
                  <c:v>11</c:v>
                </c:pt>
                <c:pt idx="45">
                  <c:v>10.269999500000001</c:v>
                </c:pt>
                <c:pt idx="46">
                  <c:v>10.25</c:v>
                </c:pt>
                <c:pt idx="47">
                  <c:v>10.309998999999999</c:v>
                </c:pt>
                <c:pt idx="48">
                  <c:v>10.019999500000001</c:v>
                </c:pt>
                <c:pt idx="49">
                  <c:v>11.26</c:v>
                </c:pt>
                <c:pt idx="50">
                  <c:v>12.63</c:v>
                </c:pt>
                <c:pt idx="51">
                  <c:v>12.01</c:v>
                </c:pt>
                <c:pt idx="52">
                  <c:v>10.64</c:v>
                </c:pt>
                <c:pt idx="53">
                  <c:v>9.82</c:v>
                </c:pt>
                <c:pt idx="54">
                  <c:v>9.51</c:v>
                </c:pt>
                <c:pt idx="55">
                  <c:v>9.25</c:v>
                </c:pt>
                <c:pt idx="56">
                  <c:v>9.5399999999999991</c:v>
                </c:pt>
                <c:pt idx="57">
                  <c:v>10.14</c:v>
                </c:pt>
                <c:pt idx="58">
                  <c:v>10.1</c:v>
                </c:pt>
                <c:pt idx="59">
                  <c:v>9.6500009999999996</c:v>
                </c:pt>
                <c:pt idx="60">
                  <c:v>9.1100010000000005</c:v>
                </c:pt>
                <c:pt idx="61">
                  <c:v>9.15</c:v>
                </c:pt>
                <c:pt idx="62">
                  <c:v>9.0399999999999991</c:v>
                </c:pt>
                <c:pt idx="63">
                  <c:v>9.8699999999999992</c:v>
                </c:pt>
                <c:pt idx="64">
                  <c:v>9.64</c:v>
                </c:pt>
                <c:pt idx="65">
                  <c:v>9.8699999999999992</c:v>
                </c:pt>
                <c:pt idx="66">
                  <c:v>9.89</c:v>
                </c:pt>
                <c:pt idx="67">
                  <c:v>9.6999999999999993</c:v>
                </c:pt>
                <c:pt idx="68">
                  <c:v>11.14</c:v>
                </c:pt>
                <c:pt idx="69">
                  <c:v>11.98</c:v>
                </c:pt>
                <c:pt idx="70">
                  <c:v>10.980000499999999</c:v>
                </c:pt>
                <c:pt idx="71">
                  <c:v>10.5</c:v>
                </c:pt>
                <c:pt idx="72">
                  <c:v>11.11</c:v>
                </c:pt>
                <c:pt idx="73">
                  <c:v>11.22</c:v>
                </c:pt>
                <c:pt idx="74">
                  <c:v>11.85</c:v>
                </c:pt>
                <c:pt idx="75">
                  <c:v>16.719996999999999</c:v>
                </c:pt>
                <c:pt idx="76">
                  <c:v>18.59</c:v>
                </c:pt>
                <c:pt idx="77">
                  <c:v>20.309999999999999</c:v>
                </c:pt>
                <c:pt idx="78">
                  <c:v>18.55</c:v>
                </c:pt>
                <c:pt idx="79">
                  <c:v>17.02</c:v>
                </c:pt>
                <c:pt idx="80">
                  <c:v>14.38</c:v>
                </c:pt>
                <c:pt idx="81">
                  <c:v>16.739999999999998</c:v>
                </c:pt>
                <c:pt idx="82">
                  <c:v>16.7</c:v>
                </c:pt>
                <c:pt idx="83">
                  <c:v>17.03</c:v>
                </c:pt>
                <c:pt idx="84">
                  <c:v>16.98</c:v>
                </c:pt>
                <c:pt idx="85">
                  <c:v>16.489999999999998</c:v>
                </c:pt>
                <c:pt idx="86">
                  <c:v>15.999999000000001</c:v>
                </c:pt>
                <c:pt idx="87">
                  <c:v>14.92</c:v>
                </c:pt>
                <c:pt idx="88">
                  <c:v>13.999999000000001</c:v>
                </c:pt>
                <c:pt idx="89">
                  <c:v>13.04</c:v>
                </c:pt>
                <c:pt idx="90">
                  <c:v>13.17</c:v>
                </c:pt>
                <c:pt idx="91">
                  <c:v>12.379999</c:v>
                </c:pt>
                <c:pt idx="92">
                  <c:v>13.320001</c:v>
                </c:pt>
                <c:pt idx="93">
                  <c:v>13.07</c:v>
                </c:pt>
                <c:pt idx="94">
                  <c:v>12.809998999999999</c:v>
                </c:pt>
                <c:pt idx="95">
                  <c:v>12.5</c:v>
                </c:pt>
                <c:pt idx="96">
                  <c:v>12.799999</c:v>
                </c:pt>
                <c:pt idx="97">
                  <c:v>11.91</c:v>
                </c:pt>
                <c:pt idx="98">
                  <c:v>11.99</c:v>
                </c:pt>
                <c:pt idx="99">
                  <c:v>11.18</c:v>
                </c:pt>
                <c:pt idx="100">
                  <c:v>11.94</c:v>
                </c:pt>
                <c:pt idx="101">
                  <c:v>11.63</c:v>
                </c:pt>
                <c:pt idx="102">
                  <c:v>11.570001</c:v>
                </c:pt>
                <c:pt idx="103">
                  <c:v>13.44</c:v>
                </c:pt>
                <c:pt idx="104">
                  <c:v>12.45</c:v>
                </c:pt>
                <c:pt idx="105">
                  <c:v>11.91</c:v>
                </c:pt>
                <c:pt idx="106">
                  <c:v>11.47</c:v>
                </c:pt>
                <c:pt idx="107">
                  <c:v>11.47</c:v>
                </c:pt>
                <c:pt idx="108">
                  <c:v>11.36</c:v>
                </c:pt>
                <c:pt idx="109">
                  <c:v>11.77</c:v>
                </c:pt>
                <c:pt idx="110">
                  <c:v>11.389999</c:v>
                </c:pt>
                <c:pt idx="111">
                  <c:v>11.389999</c:v>
                </c:pt>
                <c:pt idx="112">
                  <c:v>11.77</c:v>
                </c:pt>
                <c:pt idx="113">
                  <c:v>11.4</c:v>
                </c:pt>
                <c:pt idx="114">
                  <c:v>11.18</c:v>
                </c:pt>
                <c:pt idx="115">
                  <c:v>11.12</c:v>
                </c:pt>
                <c:pt idx="116">
                  <c:v>11.08</c:v>
                </c:pt>
                <c:pt idx="117">
                  <c:v>11.47</c:v>
                </c:pt>
                <c:pt idx="118">
                  <c:v>12.56</c:v>
                </c:pt>
                <c:pt idx="119">
                  <c:v>13.04</c:v>
                </c:pt>
                <c:pt idx="120">
                  <c:v>13.03</c:v>
                </c:pt>
                <c:pt idx="121">
                  <c:v>13.999999000000001</c:v>
                </c:pt>
                <c:pt idx="122">
                  <c:v>13.730000499999999</c:v>
                </c:pt>
                <c:pt idx="123">
                  <c:v>13.54</c:v>
                </c:pt>
                <c:pt idx="124">
                  <c:v>13.3</c:v>
                </c:pt>
                <c:pt idx="125">
                  <c:v>13.330000999999999</c:v>
                </c:pt>
                <c:pt idx="126">
                  <c:v>12.62</c:v>
                </c:pt>
                <c:pt idx="127">
                  <c:v>12.6</c:v>
                </c:pt>
                <c:pt idx="128">
                  <c:v>12.68</c:v>
                </c:pt>
                <c:pt idx="129">
                  <c:v>12.5</c:v>
                </c:pt>
                <c:pt idx="130">
                  <c:v>12.160000999999999</c:v>
                </c:pt>
                <c:pt idx="131">
                  <c:v>13.44</c:v>
                </c:pt>
                <c:pt idx="132">
                  <c:v>13.14</c:v>
                </c:pt>
                <c:pt idx="133">
                  <c:v>12.790001</c:v>
                </c:pt>
                <c:pt idx="134">
                  <c:v>13.280001</c:v>
                </c:pt>
                <c:pt idx="135">
                  <c:v>13.59</c:v>
                </c:pt>
                <c:pt idx="136">
                  <c:v>13.05</c:v>
                </c:pt>
                <c:pt idx="137">
                  <c:v>13.1</c:v>
                </c:pt>
                <c:pt idx="138">
                  <c:v>13.230000499999999</c:v>
                </c:pt>
                <c:pt idx="139">
                  <c:v>13.36</c:v>
                </c:pt>
                <c:pt idx="140">
                  <c:v>13.61</c:v>
                </c:pt>
                <c:pt idx="141">
                  <c:v>13.63</c:v>
                </c:pt>
                <c:pt idx="142">
                  <c:v>13.05</c:v>
                </c:pt>
                <c:pt idx="143">
                  <c:v>13.01</c:v>
                </c:pt>
                <c:pt idx="144">
                  <c:v>12.95</c:v>
                </c:pt>
                <c:pt idx="145">
                  <c:v>13.26</c:v>
                </c:pt>
                <c:pt idx="146">
                  <c:v>13.14</c:v>
                </c:pt>
                <c:pt idx="147">
                  <c:v>13.8</c:v>
                </c:pt>
                <c:pt idx="148">
                  <c:v>13.63</c:v>
                </c:pt>
                <c:pt idx="149">
                  <c:v>13.190001000000001</c:v>
                </c:pt>
                <c:pt idx="150">
                  <c:v>12.210001</c:v>
                </c:pt>
                <c:pt idx="151">
                  <c:v>12.339999000000001</c:v>
                </c:pt>
                <c:pt idx="152">
                  <c:v>11.929999</c:v>
                </c:pt>
                <c:pt idx="153">
                  <c:v>11.77</c:v>
                </c:pt>
                <c:pt idx="154">
                  <c:v>12.289999</c:v>
                </c:pt>
                <c:pt idx="155">
                  <c:v>12.76</c:v>
                </c:pt>
                <c:pt idx="156">
                  <c:v>12.249999000000001</c:v>
                </c:pt>
                <c:pt idx="157">
                  <c:v>12.289999</c:v>
                </c:pt>
                <c:pt idx="158">
                  <c:v>12.58</c:v>
                </c:pt>
                <c:pt idx="159">
                  <c:v>13</c:v>
                </c:pt>
                <c:pt idx="160">
                  <c:v>13.12</c:v>
                </c:pt>
                <c:pt idx="161">
                  <c:v>12.53</c:v>
                </c:pt>
                <c:pt idx="162">
                  <c:v>13.07</c:v>
                </c:pt>
                <c:pt idx="163">
                  <c:v>13.16</c:v>
                </c:pt>
                <c:pt idx="164">
                  <c:v>13.2</c:v>
                </c:pt>
                <c:pt idx="165">
                  <c:v>12.919999000000001</c:v>
                </c:pt>
                <c:pt idx="166">
                  <c:v>12.22</c:v>
                </c:pt>
                <c:pt idx="167">
                  <c:v>12.36</c:v>
                </c:pt>
                <c:pt idx="168">
                  <c:v>12.230000499999999</c:v>
                </c:pt>
                <c:pt idx="169">
                  <c:v>12.46</c:v>
                </c:pt>
                <c:pt idx="170">
                  <c:v>12.56</c:v>
                </c:pt>
                <c:pt idx="171">
                  <c:v>12.799999</c:v>
                </c:pt>
                <c:pt idx="172">
                  <c:v>12.750000999999999</c:v>
                </c:pt>
                <c:pt idx="173">
                  <c:v>13.150001</c:v>
                </c:pt>
                <c:pt idx="174">
                  <c:v>12.6</c:v>
                </c:pt>
                <c:pt idx="175">
                  <c:v>11.8</c:v>
                </c:pt>
                <c:pt idx="176">
                  <c:v>11.230000499999999</c:v>
                </c:pt>
                <c:pt idx="177">
                  <c:v>10.95</c:v>
                </c:pt>
                <c:pt idx="178">
                  <c:v>11.16</c:v>
                </c:pt>
                <c:pt idx="179">
                  <c:v>11.280001</c:v>
                </c:pt>
                <c:pt idx="180">
                  <c:v>11.19</c:v>
                </c:pt>
                <c:pt idx="181">
                  <c:v>11.25</c:v>
                </c:pt>
                <c:pt idx="182">
                  <c:v>11.01</c:v>
                </c:pt>
                <c:pt idx="183">
                  <c:v>11.599999</c:v>
                </c:pt>
                <c:pt idx="184">
                  <c:v>11.46</c:v>
                </c:pt>
                <c:pt idx="185">
                  <c:v>13.2</c:v>
                </c:pt>
                <c:pt idx="186">
                  <c:v>12.379999</c:v>
                </c:pt>
                <c:pt idx="187">
                  <c:v>12.04</c:v>
                </c:pt>
                <c:pt idx="188">
                  <c:v>11.74</c:v>
                </c:pt>
                <c:pt idx="189">
                  <c:v>12.240000999999999</c:v>
                </c:pt>
                <c:pt idx="190">
                  <c:v>12.790001</c:v>
                </c:pt>
                <c:pt idx="191">
                  <c:v>12.700001</c:v>
                </c:pt>
                <c:pt idx="192">
                  <c:v>12.740000999999999</c:v>
                </c:pt>
                <c:pt idx="193">
                  <c:v>12.790001</c:v>
                </c:pt>
                <c:pt idx="194">
                  <c:v>12.53</c:v>
                </c:pt>
                <c:pt idx="195">
                  <c:v>13.559998999999999</c:v>
                </c:pt>
                <c:pt idx="196">
                  <c:v>14.820001</c:v>
                </c:pt>
                <c:pt idx="197">
                  <c:v>14.940001000000001</c:v>
                </c:pt>
                <c:pt idx="198">
                  <c:v>14.98</c:v>
                </c:pt>
                <c:pt idx="199">
                  <c:v>14.13</c:v>
                </c:pt>
                <c:pt idx="200">
                  <c:v>14.27</c:v>
                </c:pt>
                <c:pt idx="201">
                  <c:v>14.860001</c:v>
                </c:pt>
                <c:pt idx="202">
                  <c:v>16.09</c:v>
                </c:pt>
                <c:pt idx="203">
                  <c:v>16.399999999999999</c:v>
                </c:pt>
                <c:pt idx="204">
                  <c:v>17.21</c:v>
                </c:pt>
                <c:pt idx="205">
                  <c:v>17.63</c:v>
                </c:pt>
                <c:pt idx="206">
                  <c:v>17.16</c:v>
                </c:pt>
                <c:pt idx="207">
                  <c:v>17.989999999999998</c:v>
                </c:pt>
                <c:pt idx="208">
                  <c:v>17.05</c:v>
                </c:pt>
                <c:pt idx="209">
                  <c:v>16.7</c:v>
                </c:pt>
                <c:pt idx="210">
                  <c:v>17.010000000000002</c:v>
                </c:pt>
                <c:pt idx="211">
                  <c:v>16.86</c:v>
                </c:pt>
                <c:pt idx="212">
                  <c:v>16.799997000000001</c:v>
                </c:pt>
                <c:pt idx="213">
                  <c:v>16.510000000000002</c:v>
                </c:pt>
                <c:pt idx="214">
                  <c:v>16.099997999999999</c:v>
                </c:pt>
                <c:pt idx="215">
                  <c:v>15.48</c:v>
                </c:pt>
                <c:pt idx="216">
                  <c:v>15.89</c:v>
                </c:pt>
                <c:pt idx="217">
                  <c:v>15.66</c:v>
                </c:pt>
                <c:pt idx="218">
                  <c:v>16.059999999999999</c:v>
                </c:pt>
                <c:pt idx="219">
                  <c:v>15.86</c:v>
                </c:pt>
                <c:pt idx="220">
                  <c:v>16.149999999999999</c:v>
                </c:pt>
                <c:pt idx="221">
                  <c:v>15.769999500000001</c:v>
                </c:pt>
                <c:pt idx="222">
                  <c:v>15.129999</c:v>
                </c:pt>
                <c:pt idx="223">
                  <c:v>15.43</c:v>
                </c:pt>
                <c:pt idx="224">
                  <c:v>15.519999500000001</c:v>
                </c:pt>
                <c:pt idx="225">
                  <c:v>15.38</c:v>
                </c:pt>
                <c:pt idx="226">
                  <c:v>15.129999</c:v>
                </c:pt>
                <c:pt idx="227">
                  <c:v>14.999999000000001</c:v>
                </c:pt>
                <c:pt idx="228">
                  <c:v>15.38</c:v>
                </c:pt>
                <c:pt idx="229">
                  <c:v>15.529999</c:v>
                </c:pt>
                <c:pt idx="230">
                  <c:v>16.440000000000001</c:v>
                </c:pt>
                <c:pt idx="231">
                  <c:v>15.76</c:v>
                </c:pt>
                <c:pt idx="232">
                  <c:v>15.97</c:v>
                </c:pt>
                <c:pt idx="233">
                  <c:v>16.170000000000002</c:v>
                </c:pt>
                <c:pt idx="234">
                  <c:v>15.83</c:v>
                </c:pt>
                <c:pt idx="235">
                  <c:v>15.82</c:v>
                </c:pt>
                <c:pt idx="236">
                  <c:v>15.43</c:v>
                </c:pt>
                <c:pt idx="237">
                  <c:v>15.529999</c:v>
                </c:pt>
                <c:pt idx="238">
                  <c:v>16.559999999999999</c:v>
                </c:pt>
                <c:pt idx="239">
                  <c:v>18.100000000000001</c:v>
                </c:pt>
                <c:pt idx="240">
                  <c:v>17.170000000000002</c:v>
                </c:pt>
                <c:pt idx="241">
                  <c:v>16.84</c:v>
                </c:pt>
                <c:pt idx="242">
                  <c:v>16.589998000000001</c:v>
                </c:pt>
                <c:pt idx="243">
                  <c:v>17.600000000000001</c:v>
                </c:pt>
                <c:pt idx="244">
                  <c:v>17.399999999999999</c:v>
                </c:pt>
                <c:pt idx="245">
                  <c:v>17.190000000000001</c:v>
                </c:pt>
                <c:pt idx="246">
                  <c:v>17.769998999999999</c:v>
                </c:pt>
                <c:pt idx="247">
                  <c:v>17.440000000000001</c:v>
                </c:pt>
                <c:pt idx="248">
                  <c:v>17.41</c:v>
                </c:pt>
                <c:pt idx="249">
                  <c:v>16.989999999999998</c:v>
                </c:pt>
                <c:pt idx="250">
                  <c:v>17.269998999999999</c:v>
                </c:pt>
                <c:pt idx="251">
                  <c:v>17.82</c:v>
                </c:pt>
                <c:pt idx="252">
                  <c:v>17.989999999999998</c:v>
                </c:pt>
                <c:pt idx="253">
                  <c:v>17.71</c:v>
                </c:pt>
                <c:pt idx="254">
                  <c:v>18.68</c:v>
                </c:pt>
                <c:pt idx="255">
                  <c:v>20.440000000000001</c:v>
                </c:pt>
                <c:pt idx="256">
                  <c:v>20.66</c:v>
                </c:pt>
                <c:pt idx="257">
                  <c:v>21.82</c:v>
                </c:pt>
                <c:pt idx="258">
                  <c:v>20.86</c:v>
                </c:pt>
                <c:pt idx="259">
                  <c:v>20.94</c:v>
                </c:pt>
                <c:pt idx="260">
                  <c:v>21.18</c:v>
                </c:pt>
                <c:pt idx="261">
                  <c:v>21.44</c:v>
                </c:pt>
                <c:pt idx="262">
                  <c:v>22.17</c:v>
                </c:pt>
                <c:pt idx="263">
                  <c:v>21.24</c:v>
                </c:pt>
                <c:pt idx="264">
                  <c:v>20.45</c:v>
                </c:pt>
                <c:pt idx="265">
                  <c:v>21.47</c:v>
                </c:pt>
                <c:pt idx="266">
                  <c:v>21.599997999999999</c:v>
                </c:pt>
                <c:pt idx="267">
                  <c:v>21.75</c:v>
                </c:pt>
                <c:pt idx="268">
                  <c:v>22.15</c:v>
                </c:pt>
                <c:pt idx="269">
                  <c:v>23.369999</c:v>
                </c:pt>
                <c:pt idx="270">
                  <c:v>25.17</c:v>
                </c:pt>
                <c:pt idx="271">
                  <c:v>24.469996999999999</c:v>
                </c:pt>
                <c:pt idx="272">
                  <c:v>25.16</c:v>
                </c:pt>
                <c:pt idx="273">
                  <c:v>24.700002999999999</c:v>
                </c:pt>
                <c:pt idx="274">
                  <c:v>24.97</c:v>
                </c:pt>
                <c:pt idx="275">
                  <c:v>23.83</c:v>
                </c:pt>
                <c:pt idx="276">
                  <c:v>22.27</c:v>
                </c:pt>
                <c:pt idx="277">
                  <c:v>21.81</c:v>
                </c:pt>
                <c:pt idx="278">
                  <c:v>22.77</c:v>
                </c:pt>
                <c:pt idx="279">
                  <c:v>22.93</c:v>
                </c:pt>
                <c:pt idx="280">
                  <c:v>22.91</c:v>
                </c:pt>
                <c:pt idx="281">
                  <c:v>24.12</c:v>
                </c:pt>
                <c:pt idx="282">
                  <c:v>23.9</c:v>
                </c:pt>
                <c:pt idx="283">
                  <c:v>23.86</c:v>
                </c:pt>
                <c:pt idx="284">
                  <c:v>24.230001000000001</c:v>
                </c:pt>
                <c:pt idx="285">
                  <c:v>24.06</c:v>
                </c:pt>
                <c:pt idx="286">
                  <c:v>23.93</c:v>
                </c:pt>
                <c:pt idx="287">
                  <c:v>23.65</c:v>
                </c:pt>
                <c:pt idx="288">
                  <c:v>23.54</c:v>
                </c:pt>
                <c:pt idx="289">
                  <c:v>22.91</c:v>
                </c:pt>
                <c:pt idx="290">
                  <c:v>22.56</c:v>
                </c:pt>
                <c:pt idx="291">
                  <c:v>22.37</c:v>
                </c:pt>
                <c:pt idx="292">
                  <c:v>22.13</c:v>
                </c:pt>
                <c:pt idx="293">
                  <c:v>22.029999</c:v>
                </c:pt>
                <c:pt idx="294">
                  <c:v>21.55</c:v>
                </c:pt>
                <c:pt idx="295">
                  <c:v>20.369999</c:v>
                </c:pt>
                <c:pt idx="296">
                  <c:v>21.01</c:v>
                </c:pt>
                <c:pt idx="297">
                  <c:v>20.07</c:v>
                </c:pt>
                <c:pt idx="298">
                  <c:v>21.109998999999998</c:v>
                </c:pt>
                <c:pt idx="299">
                  <c:v>22.039999000000002</c:v>
                </c:pt>
                <c:pt idx="300">
                  <c:v>21.76</c:v>
                </c:pt>
                <c:pt idx="301">
                  <c:v>21.699998999999998</c:v>
                </c:pt>
                <c:pt idx="302">
                  <c:v>21.3</c:v>
                </c:pt>
                <c:pt idx="303">
                  <c:v>21.72</c:v>
                </c:pt>
                <c:pt idx="304">
                  <c:v>21.949998999999998</c:v>
                </c:pt>
                <c:pt idx="305">
                  <c:v>21.419998</c:v>
                </c:pt>
                <c:pt idx="306">
                  <c:v>21.57</c:v>
                </c:pt>
                <c:pt idx="307">
                  <c:v>21.49</c:v>
                </c:pt>
                <c:pt idx="308">
                  <c:v>21.999998000000001</c:v>
                </c:pt>
                <c:pt idx="309">
                  <c:v>21.999998000000001</c:v>
                </c:pt>
                <c:pt idx="310">
                  <c:v>21.57</c:v>
                </c:pt>
                <c:pt idx="311">
                  <c:v>20.76</c:v>
                </c:pt>
                <c:pt idx="312">
                  <c:v>21.21</c:v>
                </c:pt>
                <c:pt idx="313">
                  <c:v>22.4</c:v>
                </c:pt>
                <c:pt idx="314">
                  <c:v>23.35</c:v>
                </c:pt>
                <c:pt idx="315">
                  <c:v>23.56</c:v>
                </c:pt>
                <c:pt idx="316">
                  <c:v>22.97</c:v>
                </c:pt>
                <c:pt idx="317">
                  <c:v>22.599997999999999</c:v>
                </c:pt>
                <c:pt idx="318">
                  <c:v>22.57</c:v>
                </c:pt>
                <c:pt idx="319">
                  <c:v>22.989998</c:v>
                </c:pt>
                <c:pt idx="320">
                  <c:v>23.21</c:v>
                </c:pt>
                <c:pt idx="321">
                  <c:v>23.9</c:v>
                </c:pt>
                <c:pt idx="322">
                  <c:v>24.43</c:v>
                </c:pt>
                <c:pt idx="323">
                  <c:v>24.24</c:v>
                </c:pt>
                <c:pt idx="324">
                  <c:v>24.669998</c:v>
                </c:pt>
                <c:pt idx="325">
                  <c:v>25.82</c:v>
                </c:pt>
                <c:pt idx="326">
                  <c:v>24.93</c:v>
                </c:pt>
                <c:pt idx="327">
                  <c:v>24.300001000000002</c:v>
                </c:pt>
                <c:pt idx="328">
                  <c:v>24.25</c:v>
                </c:pt>
                <c:pt idx="329">
                  <c:v>24.220001</c:v>
                </c:pt>
                <c:pt idx="330">
                  <c:v>23.85</c:v>
                </c:pt>
                <c:pt idx="331">
                  <c:v>23.46</c:v>
                </c:pt>
                <c:pt idx="332">
                  <c:v>23.529999</c:v>
                </c:pt>
                <c:pt idx="333">
                  <c:v>22.989998</c:v>
                </c:pt>
                <c:pt idx="334">
                  <c:v>22.789999000000002</c:v>
                </c:pt>
                <c:pt idx="335">
                  <c:v>22.83</c:v>
                </c:pt>
                <c:pt idx="336">
                  <c:v>22.23</c:v>
                </c:pt>
                <c:pt idx="337">
                  <c:v>22.289999000000002</c:v>
                </c:pt>
                <c:pt idx="338">
                  <c:v>22.449998999999998</c:v>
                </c:pt>
                <c:pt idx="339">
                  <c:v>22.109998999999998</c:v>
                </c:pt>
                <c:pt idx="340">
                  <c:v>22.199998999999998</c:v>
                </c:pt>
                <c:pt idx="341">
                  <c:v>22.35</c:v>
                </c:pt>
                <c:pt idx="342">
                  <c:v>22.22</c:v>
                </c:pt>
                <c:pt idx="343">
                  <c:v>21.39</c:v>
                </c:pt>
                <c:pt idx="344">
                  <c:v>21.08</c:v>
                </c:pt>
                <c:pt idx="345">
                  <c:v>21.21</c:v>
                </c:pt>
                <c:pt idx="346">
                  <c:v>21.509998</c:v>
                </c:pt>
              </c:numCache>
            </c:numRef>
          </c:val>
          <c:smooth val="0"/>
          <c:extLst>
            <c:ext xmlns:c16="http://schemas.microsoft.com/office/drawing/2014/chart" uri="{C3380CC4-5D6E-409C-BE32-E72D297353CC}">
              <c16:uniqueId val="{00000000-3C68-844B-86D4-EE0672CD779A}"/>
            </c:ext>
          </c:extLst>
        </c:ser>
        <c:ser>
          <c:idx val="1"/>
          <c:order val="1"/>
          <c:tx>
            <c:strRef>
              <c:f>Sheet1!$C$1</c:f>
              <c:strCache>
                <c:ptCount val="1"/>
                <c:pt idx="0">
                  <c:v>Predicted</c:v>
                </c:pt>
              </c:strCache>
            </c:strRef>
          </c:tx>
          <c:spPr>
            <a:ln w="12700" cap="rnd">
              <a:solidFill>
                <a:schemeClr val="accent2"/>
              </a:solidFill>
              <a:round/>
            </a:ln>
            <a:effectLst/>
          </c:spPr>
          <c:marker>
            <c:symbol val="none"/>
          </c:marker>
          <c:cat>
            <c:numRef>
              <c:f>Sheet1!$A$2:$A$348</c:f>
              <c:numCache>
                <c:formatCode>m/d/yy</c:formatCode>
                <c:ptCount val="347"/>
                <c:pt idx="0">
                  <c:v>43833</c:v>
                </c:pt>
                <c:pt idx="1">
                  <c:v>43836</c:v>
                </c:pt>
                <c:pt idx="2">
                  <c:v>43837</c:v>
                </c:pt>
                <c:pt idx="3">
                  <c:v>43838</c:v>
                </c:pt>
                <c:pt idx="4">
                  <c:v>43839</c:v>
                </c:pt>
                <c:pt idx="5">
                  <c:v>43840</c:v>
                </c:pt>
                <c:pt idx="6">
                  <c:v>43843</c:v>
                </c:pt>
                <c:pt idx="7">
                  <c:v>43844</c:v>
                </c:pt>
                <c:pt idx="8">
                  <c:v>43845</c:v>
                </c:pt>
                <c:pt idx="9">
                  <c:v>43846</c:v>
                </c:pt>
                <c:pt idx="10">
                  <c:v>43847</c:v>
                </c:pt>
                <c:pt idx="11">
                  <c:v>43851</c:v>
                </c:pt>
                <c:pt idx="12">
                  <c:v>43852</c:v>
                </c:pt>
                <c:pt idx="13">
                  <c:v>43853</c:v>
                </c:pt>
                <c:pt idx="14">
                  <c:v>43854</c:v>
                </c:pt>
                <c:pt idx="15">
                  <c:v>43857</c:v>
                </c:pt>
                <c:pt idx="16">
                  <c:v>43858</c:v>
                </c:pt>
                <c:pt idx="17">
                  <c:v>43859</c:v>
                </c:pt>
                <c:pt idx="18">
                  <c:v>43860</c:v>
                </c:pt>
                <c:pt idx="19">
                  <c:v>43861</c:v>
                </c:pt>
                <c:pt idx="20">
                  <c:v>43864</c:v>
                </c:pt>
                <c:pt idx="21">
                  <c:v>43865</c:v>
                </c:pt>
                <c:pt idx="22">
                  <c:v>43866</c:v>
                </c:pt>
                <c:pt idx="23">
                  <c:v>43867</c:v>
                </c:pt>
                <c:pt idx="24">
                  <c:v>43868</c:v>
                </c:pt>
                <c:pt idx="25">
                  <c:v>43871</c:v>
                </c:pt>
                <c:pt idx="26">
                  <c:v>43872</c:v>
                </c:pt>
                <c:pt idx="27">
                  <c:v>43873</c:v>
                </c:pt>
                <c:pt idx="28">
                  <c:v>43874</c:v>
                </c:pt>
                <c:pt idx="29">
                  <c:v>43875</c:v>
                </c:pt>
                <c:pt idx="30">
                  <c:v>43879</c:v>
                </c:pt>
                <c:pt idx="31">
                  <c:v>43880</c:v>
                </c:pt>
                <c:pt idx="32">
                  <c:v>43881</c:v>
                </c:pt>
                <c:pt idx="33">
                  <c:v>43882</c:v>
                </c:pt>
                <c:pt idx="34">
                  <c:v>43885</c:v>
                </c:pt>
                <c:pt idx="35">
                  <c:v>43886</c:v>
                </c:pt>
                <c:pt idx="36">
                  <c:v>43887</c:v>
                </c:pt>
                <c:pt idx="37">
                  <c:v>43888</c:v>
                </c:pt>
                <c:pt idx="38">
                  <c:v>43889</c:v>
                </c:pt>
                <c:pt idx="39">
                  <c:v>43892</c:v>
                </c:pt>
                <c:pt idx="40">
                  <c:v>43893</c:v>
                </c:pt>
                <c:pt idx="41">
                  <c:v>43894</c:v>
                </c:pt>
                <c:pt idx="42">
                  <c:v>43895</c:v>
                </c:pt>
                <c:pt idx="43">
                  <c:v>43896</c:v>
                </c:pt>
                <c:pt idx="44">
                  <c:v>43899</c:v>
                </c:pt>
                <c:pt idx="45">
                  <c:v>43900</c:v>
                </c:pt>
                <c:pt idx="46">
                  <c:v>43901</c:v>
                </c:pt>
                <c:pt idx="47">
                  <c:v>43902</c:v>
                </c:pt>
                <c:pt idx="48">
                  <c:v>43903</c:v>
                </c:pt>
                <c:pt idx="49">
                  <c:v>43906</c:v>
                </c:pt>
                <c:pt idx="50">
                  <c:v>43907</c:v>
                </c:pt>
                <c:pt idx="51">
                  <c:v>43908</c:v>
                </c:pt>
                <c:pt idx="52">
                  <c:v>43909</c:v>
                </c:pt>
                <c:pt idx="53">
                  <c:v>43910</c:v>
                </c:pt>
                <c:pt idx="54">
                  <c:v>43913</c:v>
                </c:pt>
                <c:pt idx="55">
                  <c:v>43914</c:v>
                </c:pt>
                <c:pt idx="56">
                  <c:v>43915</c:v>
                </c:pt>
                <c:pt idx="57">
                  <c:v>43916</c:v>
                </c:pt>
                <c:pt idx="58">
                  <c:v>43917</c:v>
                </c:pt>
                <c:pt idx="59">
                  <c:v>43920</c:v>
                </c:pt>
                <c:pt idx="60">
                  <c:v>43921</c:v>
                </c:pt>
                <c:pt idx="61">
                  <c:v>43922</c:v>
                </c:pt>
                <c:pt idx="62">
                  <c:v>43923</c:v>
                </c:pt>
                <c:pt idx="63">
                  <c:v>43924</c:v>
                </c:pt>
                <c:pt idx="64">
                  <c:v>43927</c:v>
                </c:pt>
                <c:pt idx="65">
                  <c:v>43928</c:v>
                </c:pt>
                <c:pt idx="66">
                  <c:v>43929</c:v>
                </c:pt>
                <c:pt idx="67">
                  <c:v>43930</c:v>
                </c:pt>
                <c:pt idx="68">
                  <c:v>43934</c:v>
                </c:pt>
                <c:pt idx="69">
                  <c:v>43935</c:v>
                </c:pt>
                <c:pt idx="70">
                  <c:v>43936</c:v>
                </c:pt>
                <c:pt idx="71">
                  <c:v>43937</c:v>
                </c:pt>
                <c:pt idx="72">
                  <c:v>43938</c:v>
                </c:pt>
                <c:pt idx="73">
                  <c:v>43941</c:v>
                </c:pt>
                <c:pt idx="74">
                  <c:v>43942</c:v>
                </c:pt>
                <c:pt idx="75">
                  <c:v>43943</c:v>
                </c:pt>
                <c:pt idx="76">
                  <c:v>43944</c:v>
                </c:pt>
                <c:pt idx="77">
                  <c:v>43945</c:v>
                </c:pt>
                <c:pt idx="78">
                  <c:v>43948</c:v>
                </c:pt>
                <c:pt idx="79">
                  <c:v>43949</c:v>
                </c:pt>
                <c:pt idx="80">
                  <c:v>43950</c:v>
                </c:pt>
                <c:pt idx="81">
                  <c:v>43951</c:v>
                </c:pt>
                <c:pt idx="82">
                  <c:v>43952</c:v>
                </c:pt>
                <c:pt idx="83">
                  <c:v>43955</c:v>
                </c:pt>
                <c:pt idx="84">
                  <c:v>43956</c:v>
                </c:pt>
                <c:pt idx="85">
                  <c:v>43957</c:v>
                </c:pt>
                <c:pt idx="86">
                  <c:v>43958</c:v>
                </c:pt>
                <c:pt idx="87">
                  <c:v>43959</c:v>
                </c:pt>
                <c:pt idx="88">
                  <c:v>43962</c:v>
                </c:pt>
                <c:pt idx="89">
                  <c:v>43963</c:v>
                </c:pt>
                <c:pt idx="90">
                  <c:v>43964</c:v>
                </c:pt>
                <c:pt idx="91">
                  <c:v>43965</c:v>
                </c:pt>
                <c:pt idx="92">
                  <c:v>43966</c:v>
                </c:pt>
                <c:pt idx="93">
                  <c:v>43969</c:v>
                </c:pt>
                <c:pt idx="94">
                  <c:v>43970</c:v>
                </c:pt>
                <c:pt idx="95">
                  <c:v>43971</c:v>
                </c:pt>
                <c:pt idx="96">
                  <c:v>43972</c:v>
                </c:pt>
                <c:pt idx="97">
                  <c:v>43973</c:v>
                </c:pt>
                <c:pt idx="98">
                  <c:v>43977</c:v>
                </c:pt>
                <c:pt idx="99">
                  <c:v>43978</c:v>
                </c:pt>
                <c:pt idx="100">
                  <c:v>43979</c:v>
                </c:pt>
                <c:pt idx="101">
                  <c:v>43980</c:v>
                </c:pt>
                <c:pt idx="102">
                  <c:v>43983</c:v>
                </c:pt>
                <c:pt idx="103">
                  <c:v>43984</c:v>
                </c:pt>
                <c:pt idx="104">
                  <c:v>43985</c:v>
                </c:pt>
                <c:pt idx="105">
                  <c:v>43986</c:v>
                </c:pt>
                <c:pt idx="106">
                  <c:v>43987</c:v>
                </c:pt>
                <c:pt idx="107">
                  <c:v>43990</c:v>
                </c:pt>
                <c:pt idx="108">
                  <c:v>43991</c:v>
                </c:pt>
                <c:pt idx="109">
                  <c:v>43992</c:v>
                </c:pt>
                <c:pt idx="110">
                  <c:v>43993</c:v>
                </c:pt>
                <c:pt idx="111">
                  <c:v>43994</c:v>
                </c:pt>
                <c:pt idx="112">
                  <c:v>43997</c:v>
                </c:pt>
                <c:pt idx="113">
                  <c:v>43998</c:v>
                </c:pt>
                <c:pt idx="114">
                  <c:v>43999</c:v>
                </c:pt>
                <c:pt idx="115">
                  <c:v>44000</c:v>
                </c:pt>
                <c:pt idx="116">
                  <c:v>44001</c:v>
                </c:pt>
                <c:pt idx="117">
                  <c:v>44004</c:v>
                </c:pt>
                <c:pt idx="118">
                  <c:v>44005</c:v>
                </c:pt>
                <c:pt idx="119">
                  <c:v>44006</c:v>
                </c:pt>
                <c:pt idx="120">
                  <c:v>44007</c:v>
                </c:pt>
                <c:pt idx="121">
                  <c:v>44008</c:v>
                </c:pt>
                <c:pt idx="122">
                  <c:v>44011</c:v>
                </c:pt>
                <c:pt idx="123">
                  <c:v>44012</c:v>
                </c:pt>
                <c:pt idx="124">
                  <c:v>44013</c:v>
                </c:pt>
                <c:pt idx="125">
                  <c:v>44014</c:v>
                </c:pt>
                <c:pt idx="126">
                  <c:v>44018</c:v>
                </c:pt>
                <c:pt idx="127">
                  <c:v>44019</c:v>
                </c:pt>
                <c:pt idx="128">
                  <c:v>44020</c:v>
                </c:pt>
                <c:pt idx="129">
                  <c:v>44021</c:v>
                </c:pt>
                <c:pt idx="130">
                  <c:v>44022</c:v>
                </c:pt>
                <c:pt idx="131">
                  <c:v>44025</c:v>
                </c:pt>
                <c:pt idx="132">
                  <c:v>44026</c:v>
                </c:pt>
                <c:pt idx="133">
                  <c:v>44027</c:v>
                </c:pt>
                <c:pt idx="134">
                  <c:v>44028</c:v>
                </c:pt>
                <c:pt idx="135">
                  <c:v>44029</c:v>
                </c:pt>
                <c:pt idx="136">
                  <c:v>44032</c:v>
                </c:pt>
                <c:pt idx="137">
                  <c:v>44033</c:v>
                </c:pt>
                <c:pt idx="138">
                  <c:v>44034</c:v>
                </c:pt>
                <c:pt idx="139">
                  <c:v>44035</c:v>
                </c:pt>
                <c:pt idx="140">
                  <c:v>44036</c:v>
                </c:pt>
                <c:pt idx="141">
                  <c:v>44039</c:v>
                </c:pt>
                <c:pt idx="142">
                  <c:v>44040</c:v>
                </c:pt>
                <c:pt idx="143">
                  <c:v>44041</c:v>
                </c:pt>
                <c:pt idx="144">
                  <c:v>44042</c:v>
                </c:pt>
                <c:pt idx="145">
                  <c:v>44043</c:v>
                </c:pt>
                <c:pt idx="146">
                  <c:v>44046</c:v>
                </c:pt>
                <c:pt idx="147">
                  <c:v>44047</c:v>
                </c:pt>
                <c:pt idx="148">
                  <c:v>44048</c:v>
                </c:pt>
                <c:pt idx="149">
                  <c:v>44049</c:v>
                </c:pt>
                <c:pt idx="150">
                  <c:v>44050</c:v>
                </c:pt>
                <c:pt idx="151">
                  <c:v>44053</c:v>
                </c:pt>
                <c:pt idx="152">
                  <c:v>44054</c:v>
                </c:pt>
                <c:pt idx="153">
                  <c:v>44055</c:v>
                </c:pt>
                <c:pt idx="154">
                  <c:v>44056</c:v>
                </c:pt>
                <c:pt idx="155">
                  <c:v>44057</c:v>
                </c:pt>
                <c:pt idx="156">
                  <c:v>44060</c:v>
                </c:pt>
                <c:pt idx="157">
                  <c:v>44061</c:v>
                </c:pt>
                <c:pt idx="158">
                  <c:v>44062</c:v>
                </c:pt>
                <c:pt idx="159">
                  <c:v>44063</c:v>
                </c:pt>
                <c:pt idx="160">
                  <c:v>44064</c:v>
                </c:pt>
                <c:pt idx="161">
                  <c:v>44067</c:v>
                </c:pt>
                <c:pt idx="162">
                  <c:v>44068</c:v>
                </c:pt>
                <c:pt idx="163">
                  <c:v>44069</c:v>
                </c:pt>
                <c:pt idx="164">
                  <c:v>44070</c:v>
                </c:pt>
                <c:pt idx="165">
                  <c:v>44071</c:v>
                </c:pt>
                <c:pt idx="166">
                  <c:v>44074</c:v>
                </c:pt>
                <c:pt idx="167">
                  <c:v>44075</c:v>
                </c:pt>
                <c:pt idx="168">
                  <c:v>44076</c:v>
                </c:pt>
                <c:pt idx="169">
                  <c:v>44077</c:v>
                </c:pt>
                <c:pt idx="170">
                  <c:v>44078</c:v>
                </c:pt>
                <c:pt idx="171">
                  <c:v>44082</c:v>
                </c:pt>
                <c:pt idx="172">
                  <c:v>44083</c:v>
                </c:pt>
                <c:pt idx="173">
                  <c:v>44084</c:v>
                </c:pt>
                <c:pt idx="174">
                  <c:v>44085</c:v>
                </c:pt>
                <c:pt idx="175">
                  <c:v>44088</c:v>
                </c:pt>
                <c:pt idx="176">
                  <c:v>44089</c:v>
                </c:pt>
                <c:pt idx="177">
                  <c:v>44090</c:v>
                </c:pt>
                <c:pt idx="178">
                  <c:v>44091</c:v>
                </c:pt>
                <c:pt idx="179">
                  <c:v>44092</c:v>
                </c:pt>
                <c:pt idx="180">
                  <c:v>44095</c:v>
                </c:pt>
                <c:pt idx="181">
                  <c:v>44096</c:v>
                </c:pt>
                <c:pt idx="182">
                  <c:v>44097</c:v>
                </c:pt>
                <c:pt idx="183">
                  <c:v>44098</c:v>
                </c:pt>
                <c:pt idx="184">
                  <c:v>44099</c:v>
                </c:pt>
                <c:pt idx="185">
                  <c:v>44102</c:v>
                </c:pt>
                <c:pt idx="186">
                  <c:v>44103</c:v>
                </c:pt>
                <c:pt idx="187">
                  <c:v>44104</c:v>
                </c:pt>
                <c:pt idx="188">
                  <c:v>44105</c:v>
                </c:pt>
                <c:pt idx="189">
                  <c:v>44106</c:v>
                </c:pt>
                <c:pt idx="190">
                  <c:v>44109</c:v>
                </c:pt>
                <c:pt idx="191">
                  <c:v>44110</c:v>
                </c:pt>
                <c:pt idx="192">
                  <c:v>44111</c:v>
                </c:pt>
                <c:pt idx="193">
                  <c:v>44112</c:v>
                </c:pt>
                <c:pt idx="194">
                  <c:v>44113</c:v>
                </c:pt>
                <c:pt idx="195">
                  <c:v>44116</c:v>
                </c:pt>
                <c:pt idx="196">
                  <c:v>44117</c:v>
                </c:pt>
                <c:pt idx="197">
                  <c:v>44118</c:v>
                </c:pt>
                <c:pt idx="198">
                  <c:v>44119</c:v>
                </c:pt>
                <c:pt idx="199">
                  <c:v>44120</c:v>
                </c:pt>
                <c:pt idx="200">
                  <c:v>44123</c:v>
                </c:pt>
                <c:pt idx="201">
                  <c:v>44124</c:v>
                </c:pt>
                <c:pt idx="202">
                  <c:v>44125</c:v>
                </c:pt>
                <c:pt idx="203">
                  <c:v>44126</c:v>
                </c:pt>
                <c:pt idx="204">
                  <c:v>44127</c:v>
                </c:pt>
                <c:pt idx="205">
                  <c:v>44130</c:v>
                </c:pt>
                <c:pt idx="206">
                  <c:v>44131</c:v>
                </c:pt>
                <c:pt idx="207">
                  <c:v>44132</c:v>
                </c:pt>
                <c:pt idx="208">
                  <c:v>44133</c:v>
                </c:pt>
                <c:pt idx="209">
                  <c:v>44134</c:v>
                </c:pt>
                <c:pt idx="210">
                  <c:v>44137</c:v>
                </c:pt>
                <c:pt idx="211">
                  <c:v>44138</c:v>
                </c:pt>
                <c:pt idx="212">
                  <c:v>44139</c:v>
                </c:pt>
                <c:pt idx="213">
                  <c:v>44140</c:v>
                </c:pt>
                <c:pt idx="214">
                  <c:v>44141</c:v>
                </c:pt>
                <c:pt idx="215">
                  <c:v>44144</c:v>
                </c:pt>
                <c:pt idx="216">
                  <c:v>44145</c:v>
                </c:pt>
                <c:pt idx="217">
                  <c:v>44146</c:v>
                </c:pt>
                <c:pt idx="218">
                  <c:v>44147</c:v>
                </c:pt>
                <c:pt idx="219">
                  <c:v>44148</c:v>
                </c:pt>
                <c:pt idx="220">
                  <c:v>44151</c:v>
                </c:pt>
                <c:pt idx="221">
                  <c:v>44152</c:v>
                </c:pt>
                <c:pt idx="222">
                  <c:v>44153</c:v>
                </c:pt>
                <c:pt idx="223">
                  <c:v>44154</c:v>
                </c:pt>
                <c:pt idx="224">
                  <c:v>44155</c:v>
                </c:pt>
                <c:pt idx="225">
                  <c:v>44158</c:v>
                </c:pt>
                <c:pt idx="226">
                  <c:v>44159</c:v>
                </c:pt>
                <c:pt idx="227">
                  <c:v>44160</c:v>
                </c:pt>
                <c:pt idx="228">
                  <c:v>44162</c:v>
                </c:pt>
                <c:pt idx="229">
                  <c:v>44165</c:v>
                </c:pt>
                <c:pt idx="230">
                  <c:v>44166</c:v>
                </c:pt>
                <c:pt idx="231">
                  <c:v>44167</c:v>
                </c:pt>
                <c:pt idx="232">
                  <c:v>44168</c:v>
                </c:pt>
                <c:pt idx="233">
                  <c:v>44169</c:v>
                </c:pt>
                <c:pt idx="234">
                  <c:v>44172</c:v>
                </c:pt>
                <c:pt idx="235">
                  <c:v>44173</c:v>
                </c:pt>
                <c:pt idx="236">
                  <c:v>44174</c:v>
                </c:pt>
                <c:pt idx="237">
                  <c:v>44175</c:v>
                </c:pt>
                <c:pt idx="238">
                  <c:v>44176</c:v>
                </c:pt>
                <c:pt idx="239">
                  <c:v>44179</c:v>
                </c:pt>
                <c:pt idx="240">
                  <c:v>44180</c:v>
                </c:pt>
                <c:pt idx="241">
                  <c:v>44181</c:v>
                </c:pt>
                <c:pt idx="242">
                  <c:v>44182</c:v>
                </c:pt>
                <c:pt idx="243">
                  <c:v>44183</c:v>
                </c:pt>
                <c:pt idx="244">
                  <c:v>44186</c:v>
                </c:pt>
                <c:pt idx="245">
                  <c:v>44187</c:v>
                </c:pt>
                <c:pt idx="246">
                  <c:v>44188</c:v>
                </c:pt>
                <c:pt idx="247">
                  <c:v>44189</c:v>
                </c:pt>
                <c:pt idx="248">
                  <c:v>44193</c:v>
                </c:pt>
                <c:pt idx="249">
                  <c:v>44194</c:v>
                </c:pt>
                <c:pt idx="250">
                  <c:v>44195</c:v>
                </c:pt>
                <c:pt idx="251">
                  <c:v>44196</c:v>
                </c:pt>
                <c:pt idx="252">
                  <c:v>44200</c:v>
                </c:pt>
                <c:pt idx="253">
                  <c:v>44201</c:v>
                </c:pt>
                <c:pt idx="254">
                  <c:v>44202</c:v>
                </c:pt>
                <c:pt idx="255">
                  <c:v>44203</c:v>
                </c:pt>
                <c:pt idx="256">
                  <c:v>44204</c:v>
                </c:pt>
                <c:pt idx="257">
                  <c:v>44207</c:v>
                </c:pt>
                <c:pt idx="258">
                  <c:v>44208</c:v>
                </c:pt>
                <c:pt idx="259">
                  <c:v>44209</c:v>
                </c:pt>
                <c:pt idx="260">
                  <c:v>44210</c:v>
                </c:pt>
                <c:pt idx="261">
                  <c:v>44211</c:v>
                </c:pt>
                <c:pt idx="262">
                  <c:v>44215</c:v>
                </c:pt>
                <c:pt idx="263">
                  <c:v>44216</c:v>
                </c:pt>
                <c:pt idx="264">
                  <c:v>44217</c:v>
                </c:pt>
                <c:pt idx="265">
                  <c:v>44218</c:v>
                </c:pt>
                <c:pt idx="266">
                  <c:v>44221</c:v>
                </c:pt>
                <c:pt idx="267">
                  <c:v>44222</c:v>
                </c:pt>
                <c:pt idx="268">
                  <c:v>44223</c:v>
                </c:pt>
                <c:pt idx="269">
                  <c:v>44224</c:v>
                </c:pt>
                <c:pt idx="270">
                  <c:v>44225</c:v>
                </c:pt>
                <c:pt idx="271">
                  <c:v>44228</c:v>
                </c:pt>
                <c:pt idx="272">
                  <c:v>44229</c:v>
                </c:pt>
                <c:pt idx="273">
                  <c:v>44230</c:v>
                </c:pt>
                <c:pt idx="274">
                  <c:v>44231</c:v>
                </c:pt>
                <c:pt idx="275">
                  <c:v>44232</c:v>
                </c:pt>
                <c:pt idx="276">
                  <c:v>44235</c:v>
                </c:pt>
                <c:pt idx="277">
                  <c:v>44236</c:v>
                </c:pt>
                <c:pt idx="278">
                  <c:v>44237</c:v>
                </c:pt>
                <c:pt idx="279">
                  <c:v>44238</c:v>
                </c:pt>
                <c:pt idx="280">
                  <c:v>44239</c:v>
                </c:pt>
                <c:pt idx="281">
                  <c:v>44243</c:v>
                </c:pt>
                <c:pt idx="282">
                  <c:v>44244</c:v>
                </c:pt>
                <c:pt idx="283">
                  <c:v>44245</c:v>
                </c:pt>
                <c:pt idx="284">
                  <c:v>44246</c:v>
                </c:pt>
                <c:pt idx="285">
                  <c:v>44249</c:v>
                </c:pt>
                <c:pt idx="286">
                  <c:v>44250</c:v>
                </c:pt>
                <c:pt idx="287">
                  <c:v>44251</c:v>
                </c:pt>
                <c:pt idx="288">
                  <c:v>44252</c:v>
                </c:pt>
                <c:pt idx="289">
                  <c:v>44253</c:v>
                </c:pt>
                <c:pt idx="290">
                  <c:v>44256</c:v>
                </c:pt>
                <c:pt idx="291">
                  <c:v>44257</c:v>
                </c:pt>
                <c:pt idx="292">
                  <c:v>44258</c:v>
                </c:pt>
                <c:pt idx="293">
                  <c:v>44259</c:v>
                </c:pt>
                <c:pt idx="294">
                  <c:v>44260</c:v>
                </c:pt>
                <c:pt idx="295">
                  <c:v>44263</c:v>
                </c:pt>
                <c:pt idx="296">
                  <c:v>44264</c:v>
                </c:pt>
                <c:pt idx="297">
                  <c:v>44265</c:v>
                </c:pt>
                <c:pt idx="298">
                  <c:v>44266</c:v>
                </c:pt>
                <c:pt idx="299">
                  <c:v>44267</c:v>
                </c:pt>
                <c:pt idx="300">
                  <c:v>44270</c:v>
                </c:pt>
                <c:pt idx="301">
                  <c:v>44271</c:v>
                </c:pt>
                <c:pt idx="302">
                  <c:v>44272</c:v>
                </c:pt>
                <c:pt idx="303">
                  <c:v>44273</c:v>
                </c:pt>
                <c:pt idx="304">
                  <c:v>44274</c:v>
                </c:pt>
                <c:pt idx="305">
                  <c:v>44277</c:v>
                </c:pt>
                <c:pt idx="306">
                  <c:v>44278</c:v>
                </c:pt>
                <c:pt idx="307">
                  <c:v>44279</c:v>
                </c:pt>
                <c:pt idx="308">
                  <c:v>44280</c:v>
                </c:pt>
                <c:pt idx="309">
                  <c:v>44281</c:v>
                </c:pt>
                <c:pt idx="310">
                  <c:v>44284</c:v>
                </c:pt>
                <c:pt idx="311">
                  <c:v>44285</c:v>
                </c:pt>
                <c:pt idx="312">
                  <c:v>44286</c:v>
                </c:pt>
                <c:pt idx="313">
                  <c:v>44287</c:v>
                </c:pt>
                <c:pt idx="314">
                  <c:v>44291</c:v>
                </c:pt>
                <c:pt idx="315">
                  <c:v>44292</c:v>
                </c:pt>
                <c:pt idx="316">
                  <c:v>44293</c:v>
                </c:pt>
                <c:pt idx="317">
                  <c:v>44294</c:v>
                </c:pt>
                <c:pt idx="318">
                  <c:v>44295</c:v>
                </c:pt>
                <c:pt idx="319">
                  <c:v>44298</c:v>
                </c:pt>
                <c:pt idx="320">
                  <c:v>44299</c:v>
                </c:pt>
                <c:pt idx="321">
                  <c:v>44300</c:v>
                </c:pt>
                <c:pt idx="322">
                  <c:v>44301</c:v>
                </c:pt>
                <c:pt idx="323">
                  <c:v>44302</c:v>
                </c:pt>
                <c:pt idx="324">
                  <c:v>44305</c:v>
                </c:pt>
                <c:pt idx="325">
                  <c:v>44306</c:v>
                </c:pt>
                <c:pt idx="326">
                  <c:v>44307</c:v>
                </c:pt>
                <c:pt idx="327">
                  <c:v>44308</c:v>
                </c:pt>
                <c:pt idx="328">
                  <c:v>44309</c:v>
                </c:pt>
                <c:pt idx="329">
                  <c:v>44312</c:v>
                </c:pt>
                <c:pt idx="330">
                  <c:v>44313</c:v>
                </c:pt>
                <c:pt idx="331">
                  <c:v>44314</c:v>
                </c:pt>
                <c:pt idx="332">
                  <c:v>44315</c:v>
                </c:pt>
                <c:pt idx="333">
                  <c:v>44316</c:v>
                </c:pt>
                <c:pt idx="334">
                  <c:v>44319</c:v>
                </c:pt>
                <c:pt idx="335">
                  <c:v>44320</c:v>
                </c:pt>
                <c:pt idx="336">
                  <c:v>44321</c:v>
                </c:pt>
                <c:pt idx="337">
                  <c:v>44322</c:v>
                </c:pt>
                <c:pt idx="338">
                  <c:v>44323</c:v>
                </c:pt>
                <c:pt idx="339">
                  <c:v>44326</c:v>
                </c:pt>
                <c:pt idx="340">
                  <c:v>44327</c:v>
                </c:pt>
                <c:pt idx="341">
                  <c:v>44328</c:v>
                </c:pt>
                <c:pt idx="342">
                  <c:v>44329</c:v>
                </c:pt>
                <c:pt idx="343">
                  <c:v>44330</c:v>
                </c:pt>
                <c:pt idx="344">
                  <c:v>44333</c:v>
                </c:pt>
                <c:pt idx="345">
                  <c:v>44334</c:v>
                </c:pt>
                <c:pt idx="346">
                  <c:v>44335</c:v>
                </c:pt>
              </c:numCache>
            </c:numRef>
          </c:cat>
          <c:val>
            <c:numRef>
              <c:f>Sheet1!$C$2:$C$348</c:f>
              <c:numCache>
                <c:formatCode>General</c:formatCode>
                <c:ptCount val="347"/>
                <c:pt idx="0">
                  <c:v>30.508150000000001</c:v>
                </c:pt>
                <c:pt idx="1">
                  <c:v>30.141204999999999</c:v>
                </c:pt>
                <c:pt idx="2">
                  <c:v>29.860561000000001</c:v>
                </c:pt>
                <c:pt idx="3">
                  <c:v>29.430668000000001</c:v>
                </c:pt>
                <c:pt idx="4">
                  <c:v>28.943472</c:v>
                </c:pt>
                <c:pt idx="5">
                  <c:v>27.993580000000001</c:v>
                </c:pt>
                <c:pt idx="6">
                  <c:v>27.291264000000002</c:v>
                </c:pt>
                <c:pt idx="7">
                  <c:v>26.779437999999999</c:v>
                </c:pt>
                <c:pt idx="8">
                  <c:v>25.948180000000001</c:v>
                </c:pt>
                <c:pt idx="9">
                  <c:v>25.076543999999998</c:v>
                </c:pt>
                <c:pt idx="10">
                  <c:v>24.403948</c:v>
                </c:pt>
                <c:pt idx="11">
                  <c:v>24.820446</c:v>
                </c:pt>
                <c:pt idx="12">
                  <c:v>25.195335</c:v>
                </c:pt>
                <c:pt idx="13">
                  <c:v>26.580611999999999</c:v>
                </c:pt>
                <c:pt idx="14">
                  <c:v>28.274909999999998</c:v>
                </c:pt>
                <c:pt idx="15">
                  <c:v>30.339697000000001</c:v>
                </c:pt>
                <c:pt idx="16">
                  <c:v>31.193071</c:v>
                </c:pt>
                <c:pt idx="17">
                  <c:v>32.158977999999998</c:v>
                </c:pt>
                <c:pt idx="18">
                  <c:v>32.637889999999999</c:v>
                </c:pt>
                <c:pt idx="19">
                  <c:v>32.630344000000001</c:v>
                </c:pt>
                <c:pt idx="20">
                  <c:v>32.992510000000003</c:v>
                </c:pt>
                <c:pt idx="21">
                  <c:v>33.081870000000002</c:v>
                </c:pt>
                <c:pt idx="22">
                  <c:v>33.113093999999997</c:v>
                </c:pt>
                <c:pt idx="23">
                  <c:v>33.208297999999999</c:v>
                </c:pt>
                <c:pt idx="24">
                  <c:v>33.299430000000001</c:v>
                </c:pt>
                <c:pt idx="25">
                  <c:v>33.304744999999997</c:v>
                </c:pt>
                <c:pt idx="26">
                  <c:v>33.066257</c:v>
                </c:pt>
                <c:pt idx="27">
                  <c:v>33.292102999999997</c:v>
                </c:pt>
                <c:pt idx="28">
                  <c:v>33.231346000000002</c:v>
                </c:pt>
                <c:pt idx="29">
                  <c:v>33.398826999999997</c:v>
                </c:pt>
                <c:pt idx="30">
                  <c:v>33.274099999999997</c:v>
                </c:pt>
                <c:pt idx="31">
                  <c:v>33.378309999999999</c:v>
                </c:pt>
                <c:pt idx="32">
                  <c:v>33.39602</c:v>
                </c:pt>
                <c:pt idx="33">
                  <c:v>33.33952</c:v>
                </c:pt>
                <c:pt idx="34">
                  <c:v>33.343600000000002</c:v>
                </c:pt>
                <c:pt idx="35">
                  <c:v>33.256022999999999</c:v>
                </c:pt>
                <c:pt idx="36">
                  <c:v>33.198599999999999</c:v>
                </c:pt>
                <c:pt idx="37">
                  <c:v>33.420720000000003</c:v>
                </c:pt>
                <c:pt idx="38">
                  <c:v>33.123446999999999</c:v>
                </c:pt>
                <c:pt idx="39">
                  <c:v>33.424747000000004</c:v>
                </c:pt>
                <c:pt idx="40">
                  <c:v>33.238407000000002</c:v>
                </c:pt>
                <c:pt idx="41">
                  <c:v>33.125492000000001</c:v>
                </c:pt>
                <c:pt idx="42">
                  <c:v>33.400449999999999</c:v>
                </c:pt>
                <c:pt idx="43">
                  <c:v>33.281590000000001</c:v>
                </c:pt>
                <c:pt idx="44">
                  <c:v>33.291130000000003</c:v>
                </c:pt>
                <c:pt idx="45">
                  <c:v>33.396239999999999</c:v>
                </c:pt>
                <c:pt idx="46">
                  <c:v>33.195095000000002</c:v>
                </c:pt>
                <c:pt idx="47">
                  <c:v>33.374699999999997</c:v>
                </c:pt>
                <c:pt idx="48">
                  <c:v>33.221490000000003</c:v>
                </c:pt>
                <c:pt idx="49">
                  <c:v>33.241509999999998</c:v>
                </c:pt>
                <c:pt idx="50">
                  <c:v>33.098145000000002</c:v>
                </c:pt>
                <c:pt idx="51">
                  <c:v>33.150649999999999</c:v>
                </c:pt>
                <c:pt idx="52">
                  <c:v>33.213073999999999</c:v>
                </c:pt>
                <c:pt idx="53">
                  <c:v>33.182699999999997</c:v>
                </c:pt>
                <c:pt idx="54">
                  <c:v>33.056950000000001</c:v>
                </c:pt>
                <c:pt idx="55">
                  <c:v>33.246924999999997</c:v>
                </c:pt>
                <c:pt idx="56">
                  <c:v>33.212110000000003</c:v>
                </c:pt>
                <c:pt idx="57">
                  <c:v>33.16001</c:v>
                </c:pt>
                <c:pt idx="58">
                  <c:v>33.119846000000003</c:v>
                </c:pt>
                <c:pt idx="59">
                  <c:v>33.192852000000002</c:v>
                </c:pt>
                <c:pt idx="60">
                  <c:v>33.231242999999999</c:v>
                </c:pt>
                <c:pt idx="61">
                  <c:v>33.167282</c:v>
                </c:pt>
                <c:pt idx="62">
                  <c:v>33.182560000000002</c:v>
                </c:pt>
                <c:pt idx="63">
                  <c:v>33.334910000000001</c:v>
                </c:pt>
                <c:pt idx="64">
                  <c:v>33.00835</c:v>
                </c:pt>
                <c:pt idx="65">
                  <c:v>33.253439999999998</c:v>
                </c:pt>
                <c:pt idx="66">
                  <c:v>33.244900000000001</c:v>
                </c:pt>
                <c:pt idx="67">
                  <c:v>33.224609999999998</c:v>
                </c:pt>
                <c:pt idx="68">
                  <c:v>33.27026</c:v>
                </c:pt>
                <c:pt idx="69">
                  <c:v>32.967030000000001</c:v>
                </c:pt>
                <c:pt idx="70">
                  <c:v>33.134506000000002</c:v>
                </c:pt>
                <c:pt idx="71">
                  <c:v>33.215927000000001</c:v>
                </c:pt>
                <c:pt idx="72">
                  <c:v>33.150032000000003</c:v>
                </c:pt>
                <c:pt idx="73">
                  <c:v>33.161790000000003</c:v>
                </c:pt>
                <c:pt idx="74">
                  <c:v>33.136560000000003</c:v>
                </c:pt>
                <c:pt idx="75">
                  <c:v>32.953144000000002</c:v>
                </c:pt>
                <c:pt idx="76">
                  <c:v>31.307133</c:v>
                </c:pt>
                <c:pt idx="77">
                  <c:v>29.133330999999998</c:v>
                </c:pt>
                <c:pt idx="78">
                  <c:v>29.404781</c:v>
                </c:pt>
                <c:pt idx="79">
                  <c:v>29.832298000000002</c:v>
                </c:pt>
                <c:pt idx="80">
                  <c:v>28.87445</c:v>
                </c:pt>
                <c:pt idx="81">
                  <c:v>29.340668000000001</c:v>
                </c:pt>
                <c:pt idx="82">
                  <c:v>28.074818</c:v>
                </c:pt>
                <c:pt idx="83">
                  <c:v>27.946912999999999</c:v>
                </c:pt>
                <c:pt idx="84">
                  <c:v>26.649715</c:v>
                </c:pt>
                <c:pt idx="85">
                  <c:v>26.37</c:v>
                </c:pt>
                <c:pt idx="86">
                  <c:v>25.382061</c:v>
                </c:pt>
                <c:pt idx="87">
                  <c:v>24.081564</c:v>
                </c:pt>
                <c:pt idx="88">
                  <c:v>23.063033999999998</c:v>
                </c:pt>
                <c:pt idx="89">
                  <c:v>21.705639999999999</c:v>
                </c:pt>
                <c:pt idx="90">
                  <c:v>22.544816999999998</c:v>
                </c:pt>
                <c:pt idx="91">
                  <c:v>22.332087999999999</c:v>
                </c:pt>
                <c:pt idx="92">
                  <c:v>22.142067000000001</c:v>
                </c:pt>
                <c:pt idx="93">
                  <c:v>21.812073000000002</c:v>
                </c:pt>
                <c:pt idx="94">
                  <c:v>22.163008000000001</c:v>
                </c:pt>
                <c:pt idx="95">
                  <c:v>21.316196000000001</c:v>
                </c:pt>
                <c:pt idx="96">
                  <c:v>21.935414999999999</c:v>
                </c:pt>
                <c:pt idx="97">
                  <c:v>22.374884000000002</c:v>
                </c:pt>
                <c:pt idx="98">
                  <c:v>23.404920000000001</c:v>
                </c:pt>
                <c:pt idx="99">
                  <c:v>24.214040000000001</c:v>
                </c:pt>
                <c:pt idx="100">
                  <c:v>25.269511999999999</c:v>
                </c:pt>
                <c:pt idx="101">
                  <c:v>26.081479999999999</c:v>
                </c:pt>
                <c:pt idx="102">
                  <c:v>27.569471</c:v>
                </c:pt>
                <c:pt idx="103">
                  <c:v>28.932388</c:v>
                </c:pt>
                <c:pt idx="104">
                  <c:v>28.965971</c:v>
                </c:pt>
                <c:pt idx="105">
                  <c:v>30.534779</c:v>
                </c:pt>
                <c:pt idx="106">
                  <c:v>31.428910999999999</c:v>
                </c:pt>
                <c:pt idx="107">
                  <c:v>31.880673999999999</c:v>
                </c:pt>
                <c:pt idx="108">
                  <c:v>32.047024</c:v>
                </c:pt>
                <c:pt idx="109">
                  <c:v>32.363796000000001</c:v>
                </c:pt>
                <c:pt idx="110">
                  <c:v>31.979078000000001</c:v>
                </c:pt>
                <c:pt idx="111">
                  <c:v>32.650145999999999</c:v>
                </c:pt>
                <c:pt idx="112">
                  <c:v>32.40645</c:v>
                </c:pt>
                <c:pt idx="113">
                  <c:v>32.583705999999999</c:v>
                </c:pt>
                <c:pt idx="114">
                  <c:v>32.604042</c:v>
                </c:pt>
                <c:pt idx="115">
                  <c:v>32.721454999999999</c:v>
                </c:pt>
                <c:pt idx="116">
                  <c:v>32.653202</c:v>
                </c:pt>
                <c:pt idx="117">
                  <c:v>32.754863999999998</c:v>
                </c:pt>
                <c:pt idx="118">
                  <c:v>32.765915</c:v>
                </c:pt>
                <c:pt idx="119">
                  <c:v>32.488460000000003</c:v>
                </c:pt>
                <c:pt idx="120">
                  <c:v>32.528126</c:v>
                </c:pt>
                <c:pt idx="121">
                  <c:v>32.881092000000002</c:v>
                </c:pt>
                <c:pt idx="122">
                  <c:v>32.337314999999997</c:v>
                </c:pt>
                <c:pt idx="123">
                  <c:v>32.408839999999998</c:v>
                </c:pt>
                <c:pt idx="124">
                  <c:v>32.616990000000001</c:v>
                </c:pt>
                <c:pt idx="125">
                  <c:v>32.699931999999997</c:v>
                </c:pt>
                <c:pt idx="126">
                  <c:v>32.675353999999999</c:v>
                </c:pt>
                <c:pt idx="127">
                  <c:v>32.62567</c:v>
                </c:pt>
                <c:pt idx="128">
                  <c:v>32.830635000000001</c:v>
                </c:pt>
                <c:pt idx="129">
                  <c:v>32.619439999999997</c:v>
                </c:pt>
                <c:pt idx="130">
                  <c:v>32.802379999999999</c:v>
                </c:pt>
                <c:pt idx="131">
                  <c:v>32.782485999999999</c:v>
                </c:pt>
                <c:pt idx="132">
                  <c:v>32.360385999999998</c:v>
                </c:pt>
                <c:pt idx="133">
                  <c:v>32.668633</c:v>
                </c:pt>
                <c:pt idx="134">
                  <c:v>32.742832</c:v>
                </c:pt>
                <c:pt idx="135">
                  <c:v>32.249110000000002</c:v>
                </c:pt>
                <c:pt idx="136">
                  <c:v>32.68938</c:v>
                </c:pt>
                <c:pt idx="137">
                  <c:v>32.598239999999997</c:v>
                </c:pt>
                <c:pt idx="138">
                  <c:v>32.384715999999997</c:v>
                </c:pt>
                <c:pt idx="139">
                  <c:v>32.522500000000001</c:v>
                </c:pt>
                <c:pt idx="140">
                  <c:v>32.405833999999999</c:v>
                </c:pt>
                <c:pt idx="141">
                  <c:v>32.599670000000003</c:v>
                </c:pt>
                <c:pt idx="142">
                  <c:v>32.555250000000001</c:v>
                </c:pt>
                <c:pt idx="143">
                  <c:v>32.427677000000003</c:v>
                </c:pt>
                <c:pt idx="144">
                  <c:v>32.68439</c:v>
                </c:pt>
                <c:pt idx="145">
                  <c:v>32.684890000000003</c:v>
                </c:pt>
                <c:pt idx="146">
                  <c:v>32.682029999999997</c:v>
                </c:pt>
                <c:pt idx="147">
                  <c:v>32.717205</c:v>
                </c:pt>
                <c:pt idx="148">
                  <c:v>32.571100000000001</c:v>
                </c:pt>
                <c:pt idx="149">
                  <c:v>32.869453</c:v>
                </c:pt>
                <c:pt idx="150">
                  <c:v>32.783977999999998</c:v>
                </c:pt>
                <c:pt idx="151">
                  <c:v>32.841340000000002</c:v>
                </c:pt>
                <c:pt idx="152">
                  <c:v>32.994236000000001</c:v>
                </c:pt>
                <c:pt idx="153">
                  <c:v>32.904594000000003</c:v>
                </c:pt>
                <c:pt idx="154">
                  <c:v>32.884433999999999</c:v>
                </c:pt>
                <c:pt idx="155">
                  <c:v>32.882800000000003</c:v>
                </c:pt>
                <c:pt idx="156">
                  <c:v>32.720776000000001</c:v>
                </c:pt>
                <c:pt idx="157">
                  <c:v>32.905270000000002</c:v>
                </c:pt>
                <c:pt idx="158">
                  <c:v>32.740810000000003</c:v>
                </c:pt>
                <c:pt idx="159">
                  <c:v>32.879947999999999</c:v>
                </c:pt>
                <c:pt idx="160">
                  <c:v>32.568069999999999</c:v>
                </c:pt>
                <c:pt idx="161">
                  <c:v>32.984752999999998</c:v>
                </c:pt>
                <c:pt idx="162">
                  <c:v>32.680466000000003</c:v>
                </c:pt>
                <c:pt idx="163">
                  <c:v>32.831699999999998</c:v>
                </c:pt>
                <c:pt idx="164">
                  <c:v>32.614609999999999</c:v>
                </c:pt>
                <c:pt idx="165">
                  <c:v>32.769350000000003</c:v>
                </c:pt>
                <c:pt idx="166">
                  <c:v>32.8108</c:v>
                </c:pt>
                <c:pt idx="167">
                  <c:v>32.652560000000001</c:v>
                </c:pt>
                <c:pt idx="168">
                  <c:v>32.91769</c:v>
                </c:pt>
                <c:pt idx="169">
                  <c:v>32.882019999999997</c:v>
                </c:pt>
                <c:pt idx="170">
                  <c:v>32.877986999999997</c:v>
                </c:pt>
                <c:pt idx="171">
                  <c:v>32.824455</c:v>
                </c:pt>
                <c:pt idx="172">
                  <c:v>32.863273999999997</c:v>
                </c:pt>
                <c:pt idx="173">
                  <c:v>32.894756000000001</c:v>
                </c:pt>
                <c:pt idx="174">
                  <c:v>32.543137000000002</c:v>
                </c:pt>
                <c:pt idx="175">
                  <c:v>32.659059999999997</c:v>
                </c:pt>
                <c:pt idx="176">
                  <c:v>32.713894000000003</c:v>
                </c:pt>
                <c:pt idx="177">
                  <c:v>32.790095999999998</c:v>
                </c:pt>
                <c:pt idx="178">
                  <c:v>32.842136000000004</c:v>
                </c:pt>
                <c:pt idx="179">
                  <c:v>32.90137</c:v>
                </c:pt>
                <c:pt idx="180">
                  <c:v>32.843623999999998</c:v>
                </c:pt>
                <c:pt idx="181">
                  <c:v>32.880595999999997</c:v>
                </c:pt>
                <c:pt idx="182">
                  <c:v>32.79889</c:v>
                </c:pt>
                <c:pt idx="183">
                  <c:v>32.749606999999997</c:v>
                </c:pt>
                <c:pt idx="184">
                  <c:v>32.656930000000003</c:v>
                </c:pt>
                <c:pt idx="185">
                  <c:v>32.832369999999997</c:v>
                </c:pt>
                <c:pt idx="186">
                  <c:v>31.659092000000001</c:v>
                </c:pt>
                <c:pt idx="187">
                  <c:v>32.370517999999997</c:v>
                </c:pt>
                <c:pt idx="188">
                  <c:v>32.247222999999998</c:v>
                </c:pt>
                <c:pt idx="189">
                  <c:v>32.24691</c:v>
                </c:pt>
                <c:pt idx="190">
                  <c:v>32.314540000000001</c:v>
                </c:pt>
                <c:pt idx="191">
                  <c:v>31.897734</c:v>
                </c:pt>
                <c:pt idx="192">
                  <c:v>32.268802999999998</c:v>
                </c:pt>
                <c:pt idx="193">
                  <c:v>31.891819999999999</c:v>
                </c:pt>
                <c:pt idx="194">
                  <c:v>32.159725000000002</c:v>
                </c:pt>
                <c:pt idx="195">
                  <c:v>32.044074999999999</c:v>
                </c:pt>
                <c:pt idx="196">
                  <c:v>31.67042</c:v>
                </c:pt>
                <c:pt idx="197">
                  <c:v>30.965057000000002</c:v>
                </c:pt>
                <c:pt idx="198">
                  <c:v>31.186931999999999</c:v>
                </c:pt>
                <c:pt idx="199">
                  <c:v>31.306775999999999</c:v>
                </c:pt>
                <c:pt idx="200">
                  <c:v>30.948595000000001</c:v>
                </c:pt>
                <c:pt idx="201">
                  <c:v>31.056688000000001</c:v>
                </c:pt>
                <c:pt idx="202">
                  <c:v>30.981504000000001</c:v>
                </c:pt>
                <c:pt idx="203">
                  <c:v>29.886147000000001</c:v>
                </c:pt>
                <c:pt idx="204">
                  <c:v>29.8825</c:v>
                </c:pt>
                <c:pt idx="205">
                  <c:v>28.503537999999999</c:v>
                </c:pt>
                <c:pt idx="206">
                  <c:v>28.384675999999999</c:v>
                </c:pt>
                <c:pt idx="207">
                  <c:v>26.720420000000001</c:v>
                </c:pt>
                <c:pt idx="208">
                  <c:v>26.427212000000001</c:v>
                </c:pt>
                <c:pt idx="209">
                  <c:v>25.233913000000001</c:v>
                </c:pt>
                <c:pt idx="210">
                  <c:v>24.732821999999999</c:v>
                </c:pt>
                <c:pt idx="211">
                  <c:v>24.08005</c:v>
                </c:pt>
                <c:pt idx="212">
                  <c:v>24.206807999999999</c:v>
                </c:pt>
                <c:pt idx="213">
                  <c:v>24.308826</c:v>
                </c:pt>
                <c:pt idx="214">
                  <c:v>24.336672</c:v>
                </c:pt>
                <c:pt idx="215">
                  <c:v>25.370039999999999</c:v>
                </c:pt>
                <c:pt idx="216">
                  <c:v>26.402428</c:v>
                </c:pt>
                <c:pt idx="217">
                  <c:v>26.659018</c:v>
                </c:pt>
                <c:pt idx="218">
                  <c:v>27.393173000000001</c:v>
                </c:pt>
                <c:pt idx="219">
                  <c:v>27.294671999999998</c:v>
                </c:pt>
                <c:pt idx="220">
                  <c:v>28.196718000000001</c:v>
                </c:pt>
                <c:pt idx="221">
                  <c:v>28.574455</c:v>
                </c:pt>
                <c:pt idx="222">
                  <c:v>29.008959000000001</c:v>
                </c:pt>
                <c:pt idx="223">
                  <c:v>29.219484000000001</c:v>
                </c:pt>
                <c:pt idx="224">
                  <c:v>29.808737000000001</c:v>
                </c:pt>
                <c:pt idx="225">
                  <c:v>30.104053</c:v>
                </c:pt>
                <c:pt idx="226">
                  <c:v>30.611585999999999</c:v>
                </c:pt>
                <c:pt idx="227">
                  <c:v>30.714400000000001</c:v>
                </c:pt>
                <c:pt idx="228">
                  <c:v>31.060106000000001</c:v>
                </c:pt>
                <c:pt idx="229">
                  <c:v>31.184515000000001</c:v>
                </c:pt>
                <c:pt idx="230">
                  <c:v>31.353923999999999</c:v>
                </c:pt>
                <c:pt idx="231">
                  <c:v>31.201813000000001</c:v>
                </c:pt>
                <c:pt idx="232">
                  <c:v>31.692404</c:v>
                </c:pt>
                <c:pt idx="233">
                  <c:v>31.859082999999998</c:v>
                </c:pt>
                <c:pt idx="234">
                  <c:v>31.873252999999998</c:v>
                </c:pt>
                <c:pt idx="235">
                  <c:v>31.903925000000001</c:v>
                </c:pt>
                <c:pt idx="236">
                  <c:v>32.114930000000001</c:v>
                </c:pt>
                <c:pt idx="237">
                  <c:v>31.924444000000001</c:v>
                </c:pt>
                <c:pt idx="238">
                  <c:v>32.156295999999998</c:v>
                </c:pt>
                <c:pt idx="239">
                  <c:v>31.242678000000002</c:v>
                </c:pt>
                <c:pt idx="240">
                  <c:v>28.911878999999999</c:v>
                </c:pt>
                <c:pt idx="241">
                  <c:v>29.695170999999998</c:v>
                </c:pt>
                <c:pt idx="242">
                  <c:v>30.150701999999999</c:v>
                </c:pt>
                <c:pt idx="243">
                  <c:v>30.384219999999999</c:v>
                </c:pt>
                <c:pt idx="244">
                  <c:v>30.059277999999999</c:v>
                </c:pt>
                <c:pt idx="245">
                  <c:v>30.142336</c:v>
                </c:pt>
                <c:pt idx="246">
                  <c:v>29.956364000000001</c:v>
                </c:pt>
                <c:pt idx="247">
                  <c:v>29.567999</c:v>
                </c:pt>
                <c:pt idx="248">
                  <c:v>29.923382</c:v>
                </c:pt>
                <c:pt idx="249">
                  <c:v>29.892230999999999</c:v>
                </c:pt>
                <c:pt idx="250">
                  <c:v>29.841145999999998</c:v>
                </c:pt>
                <c:pt idx="251">
                  <c:v>30.125731999999999</c:v>
                </c:pt>
                <c:pt idx="252">
                  <c:v>30.161942</c:v>
                </c:pt>
                <c:pt idx="253">
                  <c:v>30.208984000000001</c:v>
                </c:pt>
                <c:pt idx="254">
                  <c:v>30.506805</c:v>
                </c:pt>
                <c:pt idx="255">
                  <c:v>30.370200000000001</c:v>
                </c:pt>
                <c:pt idx="256">
                  <c:v>30.095725999999999</c:v>
                </c:pt>
                <c:pt idx="257">
                  <c:v>30.359161</c:v>
                </c:pt>
                <c:pt idx="258">
                  <c:v>30.358536000000001</c:v>
                </c:pt>
                <c:pt idx="259">
                  <c:v>30.6465</c:v>
                </c:pt>
                <c:pt idx="260">
                  <c:v>31.029402000000001</c:v>
                </c:pt>
                <c:pt idx="261">
                  <c:v>30.85285</c:v>
                </c:pt>
                <c:pt idx="262">
                  <c:v>31.181238</c:v>
                </c:pt>
                <c:pt idx="263">
                  <c:v>31.111881</c:v>
                </c:pt>
                <c:pt idx="264">
                  <c:v>31.223234000000001</c:v>
                </c:pt>
                <c:pt idx="265">
                  <c:v>31.207343999999999</c:v>
                </c:pt>
                <c:pt idx="266">
                  <c:v>31.575427999999999</c:v>
                </c:pt>
                <c:pt idx="267">
                  <c:v>31.574712999999999</c:v>
                </c:pt>
                <c:pt idx="268">
                  <c:v>31.720015</c:v>
                </c:pt>
                <c:pt idx="269">
                  <c:v>31.927686999999999</c:v>
                </c:pt>
                <c:pt idx="270">
                  <c:v>31.849029999999999</c:v>
                </c:pt>
                <c:pt idx="271">
                  <c:v>31.423383999999999</c:v>
                </c:pt>
                <c:pt idx="272">
                  <c:v>31.766760000000001</c:v>
                </c:pt>
                <c:pt idx="273">
                  <c:v>31.694210000000002</c:v>
                </c:pt>
                <c:pt idx="274">
                  <c:v>31.534807000000001</c:v>
                </c:pt>
                <c:pt idx="275">
                  <c:v>31.586355000000001</c:v>
                </c:pt>
                <c:pt idx="276">
                  <c:v>31.610168000000002</c:v>
                </c:pt>
                <c:pt idx="277">
                  <c:v>31.502286999999999</c:v>
                </c:pt>
                <c:pt idx="278">
                  <c:v>31.667593</c:v>
                </c:pt>
                <c:pt idx="279">
                  <c:v>31.602789000000001</c:v>
                </c:pt>
                <c:pt idx="280">
                  <c:v>31.66929</c:v>
                </c:pt>
                <c:pt idx="281">
                  <c:v>31.760092</c:v>
                </c:pt>
                <c:pt idx="282">
                  <c:v>31.726025</c:v>
                </c:pt>
                <c:pt idx="283">
                  <c:v>31.874002000000001</c:v>
                </c:pt>
                <c:pt idx="284">
                  <c:v>31.914073999999999</c:v>
                </c:pt>
                <c:pt idx="285">
                  <c:v>31.842402</c:v>
                </c:pt>
                <c:pt idx="286">
                  <c:v>31.899252000000001</c:v>
                </c:pt>
                <c:pt idx="287">
                  <c:v>31.907050999999999</c:v>
                </c:pt>
                <c:pt idx="288">
                  <c:v>31.837454000000001</c:v>
                </c:pt>
                <c:pt idx="289">
                  <c:v>31.838049999999999</c:v>
                </c:pt>
                <c:pt idx="290">
                  <c:v>31.780338</c:v>
                </c:pt>
                <c:pt idx="291">
                  <c:v>31.626987</c:v>
                </c:pt>
                <c:pt idx="292">
                  <c:v>31.81962</c:v>
                </c:pt>
                <c:pt idx="293">
                  <c:v>31.731304000000002</c:v>
                </c:pt>
                <c:pt idx="294">
                  <c:v>31.777296</c:v>
                </c:pt>
                <c:pt idx="295">
                  <c:v>31.74455</c:v>
                </c:pt>
                <c:pt idx="296">
                  <c:v>31.594515000000001</c:v>
                </c:pt>
                <c:pt idx="297">
                  <c:v>31.591664999999999</c:v>
                </c:pt>
                <c:pt idx="298">
                  <c:v>31.434159999999999</c:v>
                </c:pt>
                <c:pt idx="299">
                  <c:v>31.614166000000001</c:v>
                </c:pt>
                <c:pt idx="300">
                  <c:v>31.574615000000001</c:v>
                </c:pt>
                <c:pt idx="301">
                  <c:v>31.639685</c:v>
                </c:pt>
                <c:pt idx="302">
                  <c:v>31.633929999999999</c:v>
                </c:pt>
                <c:pt idx="303">
                  <c:v>31.468689999999999</c:v>
                </c:pt>
                <c:pt idx="304">
                  <c:v>31.520529</c:v>
                </c:pt>
                <c:pt idx="305">
                  <c:v>31.476735999999999</c:v>
                </c:pt>
                <c:pt idx="306">
                  <c:v>31.381214</c:v>
                </c:pt>
                <c:pt idx="307">
                  <c:v>31.376826999999999</c:v>
                </c:pt>
                <c:pt idx="308">
                  <c:v>31.276447000000001</c:v>
                </c:pt>
                <c:pt idx="309">
                  <c:v>31.065816999999999</c:v>
                </c:pt>
                <c:pt idx="310">
                  <c:v>31.087097</c:v>
                </c:pt>
                <c:pt idx="311">
                  <c:v>31.061636</c:v>
                </c:pt>
                <c:pt idx="312">
                  <c:v>31.167252000000001</c:v>
                </c:pt>
                <c:pt idx="313">
                  <c:v>31.100532999999999</c:v>
                </c:pt>
                <c:pt idx="314">
                  <c:v>31.019248999999999</c:v>
                </c:pt>
                <c:pt idx="315">
                  <c:v>31.030850000000001</c:v>
                </c:pt>
                <c:pt idx="316">
                  <c:v>31.114317</c:v>
                </c:pt>
                <c:pt idx="317">
                  <c:v>31.200095999999998</c:v>
                </c:pt>
                <c:pt idx="318">
                  <c:v>31.185535000000002</c:v>
                </c:pt>
                <c:pt idx="319">
                  <c:v>31.332735</c:v>
                </c:pt>
                <c:pt idx="320">
                  <c:v>31.315156999999999</c:v>
                </c:pt>
                <c:pt idx="321">
                  <c:v>31.064033999999999</c:v>
                </c:pt>
                <c:pt idx="322">
                  <c:v>31.321691999999999</c:v>
                </c:pt>
                <c:pt idx="323">
                  <c:v>31.218855000000001</c:v>
                </c:pt>
                <c:pt idx="324">
                  <c:v>31.330487999999999</c:v>
                </c:pt>
                <c:pt idx="325">
                  <c:v>31.322911999999999</c:v>
                </c:pt>
                <c:pt idx="326">
                  <c:v>31.106241000000001</c:v>
                </c:pt>
                <c:pt idx="327">
                  <c:v>31.322153</c:v>
                </c:pt>
                <c:pt idx="328">
                  <c:v>31.160077999999999</c:v>
                </c:pt>
                <c:pt idx="329">
                  <c:v>31.165324999999999</c:v>
                </c:pt>
                <c:pt idx="330">
                  <c:v>31.050509999999999</c:v>
                </c:pt>
                <c:pt idx="331">
                  <c:v>31.169981</c:v>
                </c:pt>
                <c:pt idx="332">
                  <c:v>31.083318999999999</c:v>
                </c:pt>
                <c:pt idx="333">
                  <c:v>31.132729999999999</c:v>
                </c:pt>
                <c:pt idx="334">
                  <c:v>31.15147</c:v>
                </c:pt>
                <c:pt idx="335">
                  <c:v>31.233446000000001</c:v>
                </c:pt>
                <c:pt idx="336">
                  <c:v>31.256810000000002</c:v>
                </c:pt>
                <c:pt idx="337">
                  <c:v>31.156113000000001</c:v>
                </c:pt>
                <c:pt idx="338">
                  <c:v>31.34639</c:v>
                </c:pt>
                <c:pt idx="339">
                  <c:v>31.285177000000001</c:v>
                </c:pt>
                <c:pt idx="340">
                  <c:v>31.318802000000002</c:v>
                </c:pt>
                <c:pt idx="341">
                  <c:v>31.387820000000001</c:v>
                </c:pt>
                <c:pt idx="342">
                  <c:v>31.300681999999998</c:v>
                </c:pt>
                <c:pt idx="343">
                  <c:v>31.352858000000001</c:v>
                </c:pt>
                <c:pt idx="344">
                  <c:v>30.953759999999999</c:v>
                </c:pt>
                <c:pt idx="345">
                  <c:v>31.126359999999998</c:v>
                </c:pt>
                <c:pt idx="346">
                  <c:v>31.072227000000002</c:v>
                </c:pt>
              </c:numCache>
            </c:numRef>
          </c:val>
          <c:smooth val="0"/>
          <c:extLst>
            <c:ext xmlns:c16="http://schemas.microsoft.com/office/drawing/2014/chart" uri="{C3380CC4-5D6E-409C-BE32-E72D297353CC}">
              <c16:uniqueId val="{00000001-3C68-844B-86D4-EE0672CD779A}"/>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40"/>
          <c:min val="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20"/>
        <c:min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03164845710939E-2"/>
          <c:y val="4.4978949683174771E-2"/>
          <c:w val="0.92659683515428903"/>
          <c:h val="0.80444506052374321"/>
        </c:manualLayout>
      </c:layout>
      <c:lineChart>
        <c:grouping val="standard"/>
        <c:varyColors val="0"/>
        <c:ser>
          <c:idx val="0"/>
          <c:order val="0"/>
          <c:tx>
            <c:strRef>
              <c:f>Sheet1!$B$1</c:f>
              <c:strCache>
                <c:ptCount val="1"/>
                <c:pt idx="0">
                  <c:v>Actual</c:v>
                </c:pt>
              </c:strCache>
            </c:strRef>
          </c:tx>
          <c:spPr>
            <a:ln w="12700"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17.229876999999998</c:v>
                </c:pt>
                <c:pt idx="1">
                  <c:v>17.614284999999999</c:v>
                </c:pt>
                <c:pt idx="2">
                  <c:v>17.703980000000001</c:v>
                </c:pt>
                <c:pt idx="3">
                  <c:v>17.490424999999998</c:v>
                </c:pt>
                <c:pt idx="4">
                  <c:v>17.118822000000002</c:v>
                </c:pt>
                <c:pt idx="5">
                  <c:v>17.046220000000002</c:v>
                </c:pt>
                <c:pt idx="6">
                  <c:v>16.832663</c:v>
                </c:pt>
                <c:pt idx="7">
                  <c:v>16.952252999999999</c:v>
                </c:pt>
                <c:pt idx="8">
                  <c:v>17.148726</c:v>
                </c:pt>
                <c:pt idx="9">
                  <c:v>16.994965000000001</c:v>
                </c:pt>
                <c:pt idx="10">
                  <c:v>17.097467000000002</c:v>
                </c:pt>
                <c:pt idx="11">
                  <c:v>17.246960000000001</c:v>
                </c:pt>
                <c:pt idx="12">
                  <c:v>17.490424999999998</c:v>
                </c:pt>
                <c:pt idx="13">
                  <c:v>17.447711999999999</c:v>
                </c:pt>
                <c:pt idx="14">
                  <c:v>17.349468000000002</c:v>
                </c:pt>
                <c:pt idx="15">
                  <c:v>17.511773999999999</c:v>
                </c:pt>
                <c:pt idx="16">
                  <c:v>17.567299999999999</c:v>
                </c:pt>
                <c:pt idx="17">
                  <c:v>17.392188999999998</c:v>
                </c:pt>
                <c:pt idx="18">
                  <c:v>17.336658</c:v>
                </c:pt>
                <c:pt idx="19">
                  <c:v>17.580117999999999</c:v>
                </c:pt>
                <c:pt idx="20">
                  <c:v>17.387909000000001</c:v>
                </c:pt>
                <c:pt idx="21">
                  <c:v>17.242691000000001</c:v>
                </c:pt>
                <c:pt idx="22">
                  <c:v>17.140187999999998</c:v>
                </c:pt>
                <c:pt idx="23">
                  <c:v>17.503233000000002</c:v>
                </c:pt>
                <c:pt idx="24">
                  <c:v>17.255504999999999</c:v>
                </c:pt>
                <c:pt idx="25">
                  <c:v>17.605744999999999</c:v>
                </c:pt>
                <c:pt idx="26">
                  <c:v>17.819298</c:v>
                </c:pt>
                <c:pt idx="27">
                  <c:v>17.712520000000001</c:v>
                </c:pt>
                <c:pt idx="28">
                  <c:v>17.832111000000001</c:v>
                </c:pt>
                <c:pt idx="29">
                  <c:v>17.930346</c:v>
                </c:pt>
                <c:pt idx="30">
                  <c:v>17.756561000000001</c:v>
                </c:pt>
                <c:pt idx="31">
                  <c:v>18.151342</c:v>
                </c:pt>
                <c:pt idx="32">
                  <c:v>17.945367999999998</c:v>
                </c:pt>
                <c:pt idx="33">
                  <c:v>18.074100000000001</c:v>
                </c:pt>
                <c:pt idx="34">
                  <c:v>17.8338</c:v>
                </c:pt>
                <c:pt idx="35">
                  <c:v>17.863838000000001</c:v>
                </c:pt>
                <c:pt idx="36">
                  <c:v>17.713650000000001</c:v>
                </c:pt>
                <c:pt idx="37">
                  <c:v>17.859539999999999</c:v>
                </c:pt>
                <c:pt idx="38">
                  <c:v>17.941075999999999</c:v>
                </c:pt>
                <c:pt idx="39">
                  <c:v>18.02261</c:v>
                </c:pt>
                <c:pt idx="40">
                  <c:v>17.657867</c:v>
                </c:pt>
                <c:pt idx="41">
                  <c:v>17.769434</c:v>
                </c:pt>
                <c:pt idx="42">
                  <c:v>17.430437000000001</c:v>
                </c:pt>
                <c:pt idx="43">
                  <c:v>17.160097</c:v>
                </c:pt>
                <c:pt idx="44">
                  <c:v>17.404692000000001</c:v>
                </c:pt>
                <c:pt idx="45">
                  <c:v>17.366071999999999</c:v>
                </c:pt>
                <c:pt idx="46">
                  <c:v>17.550592000000002</c:v>
                </c:pt>
                <c:pt idx="47">
                  <c:v>17.451899000000001</c:v>
                </c:pt>
                <c:pt idx="48">
                  <c:v>17.486225000000001</c:v>
                </c:pt>
                <c:pt idx="49">
                  <c:v>17.752274</c:v>
                </c:pt>
                <c:pt idx="50">
                  <c:v>17.803761999999999</c:v>
                </c:pt>
                <c:pt idx="51">
                  <c:v>17.722238999999998</c:v>
                </c:pt>
                <c:pt idx="52">
                  <c:v>17.962531999999999</c:v>
                </c:pt>
                <c:pt idx="53">
                  <c:v>18.069814999999998</c:v>
                </c:pt>
                <c:pt idx="54">
                  <c:v>18.254337</c:v>
                </c:pt>
                <c:pt idx="55">
                  <c:v>18.357315</c:v>
                </c:pt>
                <c:pt idx="56">
                  <c:v>18.473175000000001</c:v>
                </c:pt>
                <c:pt idx="57">
                  <c:v>18.571867000000001</c:v>
                </c:pt>
                <c:pt idx="58">
                  <c:v>18.434550999999999</c:v>
                </c:pt>
                <c:pt idx="59">
                  <c:v>18.486042000000001</c:v>
                </c:pt>
                <c:pt idx="60">
                  <c:v>18.533249000000001</c:v>
                </c:pt>
                <c:pt idx="61">
                  <c:v>18.593325</c:v>
                </c:pt>
                <c:pt idx="62">
                  <c:v>18.764969000000001</c:v>
                </c:pt>
                <c:pt idx="63">
                  <c:v>18.395938999999998</c:v>
                </c:pt>
                <c:pt idx="64">
                  <c:v>18.297243000000002</c:v>
                </c:pt>
                <c:pt idx="65">
                  <c:v>17.81664</c:v>
                </c:pt>
                <c:pt idx="66">
                  <c:v>18.121302</c:v>
                </c:pt>
                <c:pt idx="67">
                  <c:v>17.928204999999998</c:v>
                </c:pt>
                <c:pt idx="68">
                  <c:v>17.945367999999998</c:v>
                </c:pt>
                <c:pt idx="69">
                  <c:v>18.001152000000001</c:v>
                </c:pt>
                <c:pt idx="70">
                  <c:v>17.945367999999998</c:v>
                </c:pt>
                <c:pt idx="71">
                  <c:v>17.503387</c:v>
                </c:pt>
                <c:pt idx="72">
                  <c:v>17.572047999999999</c:v>
                </c:pt>
                <c:pt idx="73">
                  <c:v>17.237335000000002</c:v>
                </c:pt>
                <c:pt idx="74">
                  <c:v>17.361784</c:v>
                </c:pt>
                <c:pt idx="75">
                  <c:v>17.559172</c:v>
                </c:pt>
                <c:pt idx="76">
                  <c:v>17.245913999999999</c:v>
                </c:pt>
                <c:pt idx="77">
                  <c:v>17.267378000000001</c:v>
                </c:pt>
                <c:pt idx="78">
                  <c:v>17.670733999999999</c:v>
                </c:pt>
                <c:pt idx="79">
                  <c:v>17.451899000000001</c:v>
                </c:pt>
                <c:pt idx="80">
                  <c:v>17.233046999999999</c:v>
                </c:pt>
                <c:pt idx="81">
                  <c:v>16.958416</c:v>
                </c:pt>
                <c:pt idx="82">
                  <c:v>17.057112</c:v>
                </c:pt>
                <c:pt idx="83">
                  <c:v>17.052820000000001</c:v>
                </c:pt>
                <c:pt idx="84">
                  <c:v>17.198713000000001</c:v>
                </c:pt>
                <c:pt idx="85">
                  <c:v>17.331741000000001</c:v>
                </c:pt>
                <c:pt idx="86">
                  <c:v>17.254501000000001</c:v>
                </c:pt>
                <c:pt idx="87">
                  <c:v>16.696660000000001</c:v>
                </c:pt>
                <c:pt idx="88">
                  <c:v>17.065691000000001</c:v>
                </c:pt>
                <c:pt idx="89">
                  <c:v>17.069983000000001</c:v>
                </c:pt>
                <c:pt idx="90">
                  <c:v>17.237335000000002</c:v>
                </c:pt>
                <c:pt idx="91">
                  <c:v>17.245913999999999</c:v>
                </c:pt>
                <c:pt idx="92">
                  <c:v>17.293119999999998</c:v>
                </c:pt>
                <c:pt idx="93">
                  <c:v>17.915330000000001</c:v>
                </c:pt>
                <c:pt idx="94">
                  <c:v>17.529478000000001</c:v>
                </c:pt>
                <c:pt idx="95">
                  <c:v>17.568273999999999</c:v>
                </c:pt>
                <c:pt idx="96">
                  <c:v>17.740725999999999</c:v>
                </c:pt>
                <c:pt idx="97">
                  <c:v>17.977841999999999</c:v>
                </c:pt>
                <c:pt idx="98">
                  <c:v>18.283943000000001</c:v>
                </c:pt>
                <c:pt idx="99">
                  <c:v>18.396032000000002</c:v>
                </c:pt>
                <c:pt idx="100">
                  <c:v>18.499504000000002</c:v>
                </c:pt>
                <c:pt idx="101">
                  <c:v>19.167742000000001</c:v>
                </c:pt>
                <c:pt idx="102">
                  <c:v>19.262592000000001</c:v>
                </c:pt>
                <c:pt idx="103">
                  <c:v>19.034098</c:v>
                </c:pt>
                <c:pt idx="104">
                  <c:v>18.965116999999999</c:v>
                </c:pt>
                <c:pt idx="105">
                  <c:v>18.913381999999999</c:v>
                </c:pt>
                <c:pt idx="106">
                  <c:v>19.116007</c:v>
                </c:pt>
                <c:pt idx="107">
                  <c:v>19.215166</c:v>
                </c:pt>
                <c:pt idx="108">
                  <c:v>19.370374999999999</c:v>
                </c:pt>
                <c:pt idx="109">
                  <c:v>19.460906999999999</c:v>
                </c:pt>
                <c:pt idx="110">
                  <c:v>19.383308</c:v>
                </c:pt>
                <c:pt idx="111">
                  <c:v>19.042715000000001</c:v>
                </c:pt>
                <c:pt idx="112">
                  <c:v>18.853024000000001</c:v>
                </c:pt>
                <c:pt idx="113">
                  <c:v>18.710757999999998</c:v>
                </c:pt>
                <c:pt idx="114">
                  <c:v>18.413274999999999</c:v>
                </c:pt>
                <c:pt idx="115">
                  <c:v>19.435040999999998</c:v>
                </c:pt>
                <c:pt idx="116">
                  <c:v>19.762696999999999</c:v>
                </c:pt>
                <c:pt idx="117">
                  <c:v>19.71096</c:v>
                </c:pt>
                <c:pt idx="118">
                  <c:v>19.672163000000001</c:v>
                </c:pt>
                <c:pt idx="119">
                  <c:v>19.396242000000001</c:v>
                </c:pt>
                <c:pt idx="120">
                  <c:v>19.478152999999999</c:v>
                </c:pt>
                <c:pt idx="121">
                  <c:v>19.374683000000001</c:v>
                </c:pt>
                <c:pt idx="122">
                  <c:v>19.236725</c:v>
                </c:pt>
                <c:pt idx="123">
                  <c:v>19.305703999999999</c:v>
                </c:pt>
                <c:pt idx="124">
                  <c:v>19.335884</c:v>
                </c:pt>
                <c:pt idx="125">
                  <c:v>18.90907</c:v>
                </c:pt>
                <c:pt idx="126">
                  <c:v>18.542614</c:v>
                </c:pt>
                <c:pt idx="127">
                  <c:v>18.339993</c:v>
                </c:pt>
                <c:pt idx="128">
                  <c:v>18.189093</c:v>
                </c:pt>
                <c:pt idx="129">
                  <c:v>18.404657</c:v>
                </c:pt>
                <c:pt idx="130">
                  <c:v>18.03389</c:v>
                </c:pt>
                <c:pt idx="131">
                  <c:v>18.115797000000001</c:v>
                </c:pt>
                <c:pt idx="132">
                  <c:v>18.046824000000001</c:v>
                </c:pt>
                <c:pt idx="133">
                  <c:v>17.865750999999999</c:v>
                </c:pt>
                <c:pt idx="134">
                  <c:v>18.020958</c:v>
                </c:pt>
                <c:pt idx="135">
                  <c:v>18.072690999999999</c:v>
                </c:pt>
                <c:pt idx="136">
                  <c:v>18.296879000000001</c:v>
                </c:pt>
                <c:pt idx="137">
                  <c:v>18.145975</c:v>
                </c:pt>
                <c:pt idx="138">
                  <c:v>18.426207999999999</c:v>
                </c:pt>
                <c:pt idx="139">
                  <c:v>18.564169</c:v>
                </c:pt>
                <c:pt idx="140">
                  <c:v>18.339993</c:v>
                </c:pt>
                <c:pt idx="141">
                  <c:v>18.314119999999999</c:v>
                </c:pt>
                <c:pt idx="142">
                  <c:v>18.236519000000001</c:v>
                </c:pt>
                <c:pt idx="143">
                  <c:v>18.469324</c:v>
                </c:pt>
                <c:pt idx="144">
                  <c:v>18.883199999999999</c:v>
                </c:pt>
                <c:pt idx="145">
                  <c:v>18.749556999999999</c:v>
                </c:pt>
                <c:pt idx="146">
                  <c:v>18.956499999999998</c:v>
                </c:pt>
                <c:pt idx="147">
                  <c:v>19.150500999999998</c:v>
                </c:pt>
                <c:pt idx="148">
                  <c:v>19.163426999999999</c:v>
                </c:pt>
                <c:pt idx="149">
                  <c:v>19.085830000000001</c:v>
                </c:pt>
                <c:pt idx="150">
                  <c:v>19.146189</c:v>
                </c:pt>
                <c:pt idx="151">
                  <c:v>19.14188</c:v>
                </c:pt>
                <c:pt idx="152">
                  <c:v>18.943556000000001</c:v>
                </c:pt>
                <c:pt idx="153">
                  <c:v>18.835775000000002</c:v>
                </c:pt>
                <c:pt idx="154">
                  <c:v>18.646087999999999</c:v>
                </c:pt>
                <c:pt idx="155">
                  <c:v>19.012536999999998</c:v>
                </c:pt>
                <c:pt idx="156">
                  <c:v>19.288461999999999</c:v>
                </c:pt>
                <c:pt idx="157">
                  <c:v>19.537443</c:v>
                </c:pt>
                <c:pt idx="158">
                  <c:v>19.749614999999999</c:v>
                </c:pt>
                <c:pt idx="159">
                  <c:v>19.680330000000001</c:v>
                </c:pt>
                <c:pt idx="160">
                  <c:v>19.489809999999999</c:v>
                </c:pt>
                <c:pt idx="161">
                  <c:v>19.762606000000002</c:v>
                </c:pt>
                <c:pt idx="162">
                  <c:v>19.528780000000001</c:v>
                </c:pt>
                <c:pt idx="163">
                  <c:v>19.320934000000001</c:v>
                </c:pt>
                <c:pt idx="164">
                  <c:v>19.195364000000001</c:v>
                </c:pt>
                <c:pt idx="165">
                  <c:v>19.637032999999999</c:v>
                </c:pt>
                <c:pt idx="166">
                  <c:v>19.944469999999999</c:v>
                </c:pt>
                <c:pt idx="167">
                  <c:v>20.117674000000001</c:v>
                </c:pt>
                <c:pt idx="168">
                  <c:v>20.087365999999999</c:v>
                </c:pt>
                <c:pt idx="169">
                  <c:v>20.342835999999998</c:v>
                </c:pt>
                <c:pt idx="170">
                  <c:v>20.555021</c:v>
                </c:pt>
                <c:pt idx="171">
                  <c:v>20.368819999999999</c:v>
                </c:pt>
                <c:pt idx="172">
                  <c:v>20.390470000000001</c:v>
                </c:pt>
                <c:pt idx="173">
                  <c:v>20.507380999999999</c:v>
                </c:pt>
                <c:pt idx="174">
                  <c:v>20.334178999999999</c:v>
                </c:pt>
                <c:pt idx="175">
                  <c:v>20.680586000000002</c:v>
                </c:pt>
                <c:pt idx="176">
                  <c:v>20.858124</c:v>
                </c:pt>
                <c:pt idx="177">
                  <c:v>20.884105999999999</c:v>
                </c:pt>
                <c:pt idx="178">
                  <c:v>20.658940999999999</c:v>
                </c:pt>
                <c:pt idx="179">
                  <c:v>20.390470000000001</c:v>
                </c:pt>
                <c:pt idx="180">
                  <c:v>20.61131</c:v>
                </c:pt>
                <c:pt idx="181">
                  <c:v>21.065968000000002</c:v>
                </c:pt>
                <c:pt idx="182">
                  <c:v>20.862452000000001</c:v>
                </c:pt>
                <c:pt idx="183">
                  <c:v>20.715233000000001</c:v>
                </c:pt>
                <c:pt idx="184">
                  <c:v>20.702235999999999</c:v>
                </c:pt>
                <c:pt idx="185">
                  <c:v>20.45542</c:v>
                </c:pt>
                <c:pt idx="186">
                  <c:v>20.862452000000001</c:v>
                </c:pt>
                <c:pt idx="187">
                  <c:v>20.503053999999999</c:v>
                </c:pt>
                <c:pt idx="188">
                  <c:v>20.342835999999998</c:v>
                </c:pt>
                <c:pt idx="189">
                  <c:v>20.520378000000001</c:v>
                </c:pt>
                <c:pt idx="190">
                  <c:v>20.650283999999999</c:v>
                </c:pt>
                <c:pt idx="191">
                  <c:v>20.6676</c:v>
                </c:pt>
                <c:pt idx="192">
                  <c:v>20.516043</c:v>
                </c:pt>
                <c:pt idx="193">
                  <c:v>20.550685999999999</c:v>
                </c:pt>
                <c:pt idx="194">
                  <c:v>20.286549000000001</c:v>
                </c:pt>
                <c:pt idx="195">
                  <c:v>20.546358000000001</c:v>
                </c:pt>
                <c:pt idx="196">
                  <c:v>21.442689999999999</c:v>
                </c:pt>
                <c:pt idx="197">
                  <c:v>21.611560000000001</c:v>
                </c:pt>
                <c:pt idx="198">
                  <c:v>21.555264999999999</c:v>
                </c:pt>
                <c:pt idx="199">
                  <c:v>21.555264999999999</c:v>
                </c:pt>
                <c:pt idx="200">
                  <c:v>21.594239999999999</c:v>
                </c:pt>
                <c:pt idx="201">
                  <c:v>21.269482</c:v>
                </c:pt>
                <c:pt idx="202">
                  <c:v>21.117933000000001</c:v>
                </c:pt>
                <c:pt idx="203">
                  <c:v>21.165558000000001</c:v>
                </c:pt>
                <c:pt idx="204">
                  <c:v>21.252162999999999</c:v>
                </c:pt>
                <c:pt idx="205">
                  <c:v>21.334436</c:v>
                </c:pt>
                <c:pt idx="206">
                  <c:v>21.278147000000001</c:v>
                </c:pt>
                <c:pt idx="207">
                  <c:v>21.386396000000001</c:v>
                </c:pt>
                <c:pt idx="208">
                  <c:v>21.0703</c:v>
                </c:pt>
                <c:pt idx="209">
                  <c:v>21.074629999999999</c:v>
                </c:pt>
                <c:pt idx="210">
                  <c:v>21.22185</c:v>
                </c:pt>
                <c:pt idx="211">
                  <c:v>21.321444</c:v>
                </c:pt>
                <c:pt idx="212">
                  <c:v>21.239172</c:v>
                </c:pt>
                <c:pt idx="213">
                  <c:v>21.767448000000002</c:v>
                </c:pt>
                <c:pt idx="214">
                  <c:v>21.988282999999999</c:v>
                </c:pt>
                <c:pt idx="215">
                  <c:v>22.057563999999999</c:v>
                </c:pt>
                <c:pt idx="216">
                  <c:v>22.079215999999999</c:v>
                </c:pt>
                <c:pt idx="217">
                  <c:v>22.204784</c:v>
                </c:pt>
                <c:pt idx="218">
                  <c:v>22.304372999999998</c:v>
                </c:pt>
                <c:pt idx="219">
                  <c:v>22.425616999999999</c:v>
                </c:pt>
                <c:pt idx="220">
                  <c:v>22.54515</c:v>
                </c:pt>
                <c:pt idx="221">
                  <c:v>22.588615000000001</c:v>
                </c:pt>
                <c:pt idx="222">
                  <c:v>22.362606</c:v>
                </c:pt>
                <c:pt idx="223">
                  <c:v>22.197430000000001</c:v>
                </c:pt>
                <c:pt idx="224">
                  <c:v>22.175701</c:v>
                </c:pt>
                <c:pt idx="225">
                  <c:v>22.962412</c:v>
                </c:pt>
                <c:pt idx="226">
                  <c:v>22.92764</c:v>
                </c:pt>
                <c:pt idx="227">
                  <c:v>22.984144000000001</c:v>
                </c:pt>
                <c:pt idx="228">
                  <c:v>23.271014999999998</c:v>
                </c:pt>
                <c:pt idx="229">
                  <c:v>22.671202000000001</c:v>
                </c:pt>
                <c:pt idx="230">
                  <c:v>22.953717999999999</c:v>
                </c:pt>
                <c:pt idx="231">
                  <c:v>23.501370000000001</c:v>
                </c:pt>
                <c:pt idx="232">
                  <c:v>23.271014999999998</c:v>
                </c:pt>
                <c:pt idx="233">
                  <c:v>23.271014999999998</c:v>
                </c:pt>
                <c:pt idx="234">
                  <c:v>23.171040999999999</c:v>
                </c:pt>
                <c:pt idx="235">
                  <c:v>23.357939999999999</c:v>
                </c:pt>
                <c:pt idx="236">
                  <c:v>23.071073999999999</c:v>
                </c:pt>
                <c:pt idx="237">
                  <c:v>22.775518000000002</c:v>
                </c:pt>
                <c:pt idx="238">
                  <c:v>22.814627000000002</c:v>
                </c:pt>
                <c:pt idx="239">
                  <c:v>23.18843</c:v>
                </c:pt>
                <c:pt idx="240">
                  <c:v>23.062386</c:v>
                </c:pt>
                <c:pt idx="241">
                  <c:v>23.553528</c:v>
                </c:pt>
                <c:pt idx="242">
                  <c:v>23.666537999999999</c:v>
                </c:pt>
                <c:pt idx="243">
                  <c:v>22.936333000000001</c:v>
                </c:pt>
                <c:pt idx="244">
                  <c:v>23.262321</c:v>
                </c:pt>
                <c:pt idx="245">
                  <c:v>23.20147</c:v>
                </c:pt>
                <c:pt idx="246">
                  <c:v>23.483982000000001</c:v>
                </c:pt>
                <c:pt idx="247">
                  <c:v>23.749120000000001</c:v>
                </c:pt>
                <c:pt idx="248">
                  <c:v>23.623073999999999</c:v>
                </c:pt>
                <c:pt idx="249">
                  <c:v>23.905595999999999</c:v>
                </c:pt>
                <c:pt idx="250">
                  <c:v>24.009913999999998</c:v>
                </c:pt>
                <c:pt idx="251">
                  <c:v>23.023260000000001</c:v>
                </c:pt>
                <c:pt idx="252">
                  <c:v>23.34055</c:v>
                </c:pt>
                <c:pt idx="253">
                  <c:v>23.266665</c:v>
                </c:pt>
                <c:pt idx="254">
                  <c:v>22.414753000000001</c:v>
                </c:pt>
                <c:pt idx="255">
                  <c:v>22.497333999999999</c:v>
                </c:pt>
                <c:pt idx="256">
                  <c:v>22.188742000000001</c:v>
                </c:pt>
                <c:pt idx="257">
                  <c:v>22.232209999999998</c:v>
                </c:pt>
                <c:pt idx="258">
                  <c:v>22.067036000000002</c:v>
                </c:pt>
                <c:pt idx="259">
                  <c:v>22.027918</c:v>
                </c:pt>
                <c:pt idx="260">
                  <c:v>22.201785999999998</c:v>
                </c:pt>
                <c:pt idx="261">
                  <c:v>22.466909999999999</c:v>
                </c:pt>
                <c:pt idx="262">
                  <c:v>22.167006000000001</c:v>
                </c:pt>
                <c:pt idx="263">
                  <c:v>22.32348</c:v>
                </c:pt>
                <c:pt idx="264">
                  <c:v>22.553847999999999</c:v>
                </c:pt>
                <c:pt idx="265">
                  <c:v>22.649467000000001</c:v>
                </c:pt>
                <c:pt idx="266">
                  <c:v>22.440836000000001</c:v>
                </c:pt>
                <c:pt idx="267">
                  <c:v>22.393022999999999</c:v>
                </c:pt>
                <c:pt idx="268">
                  <c:v>22.262632</c:v>
                </c:pt>
                <c:pt idx="269">
                  <c:v>22.158311999999999</c:v>
                </c:pt>
                <c:pt idx="270">
                  <c:v>21.932299</c:v>
                </c:pt>
                <c:pt idx="271">
                  <c:v>22.010529999999999</c:v>
                </c:pt>
                <c:pt idx="272">
                  <c:v>22.071386</c:v>
                </c:pt>
                <c:pt idx="273">
                  <c:v>21.827981999999999</c:v>
                </c:pt>
                <c:pt idx="274">
                  <c:v>21.680204</c:v>
                </c:pt>
                <c:pt idx="275">
                  <c:v>21.997496000000002</c:v>
                </c:pt>
                <c:pt idx="276">
                  <c:v>21.732357</c:v>
                </c:pt>
                <c:pt idx="277">
                  <c:v>21.862755</c:v>
                </c:pt>
                <c:pt idx="278">
                  <c:v>21.588926000000001</c:v>
                </c:pt>
                <c:pt idx="279">
                  <c:v>21.567194000000001</c:v>
                </c:pt>
                <c:pt idx="280">
                  <c:v>21.341170999999999</c:v>
                </c:pt>
                <c:pt idx="281">
                  <c:v>21.541112999999999</c:v>
                </c:pt>
                <c:pt idx="282">
                  <c:v>21.848939999999999</c:v>
                </c:pt>
                <c:pt idx="283">
                  <c:v>21.800909999999998</c:v>
                </c:pt>
                <c:pt idx="284">
                  <c:v>22.224442</c:v>
                </c:pt>
                <c:pt idx="285">
                  <c:v>22.320499999999999</c:v>
                </c:pt>
                <c:pt idx="286">
                  <c:v>21.910072</c:v>
                </c:pt>
                <c:pt idx="287">
                  <c:v>21.429777000000001</c:v>
                </c:pt>
                <c:pt idx="288">
                  <c:v>21.329350999999999</c:v>
                </c:pt>
                <c:pt idx="289">
                  <c:v>21.739782000000002</c:v>
                </c:pt>
                <c:pt idx="290">
                  <c:v>21.141596</c:v>
                </c:pt>
                <c:pt idx="291">
                  <c:v>20.940752</c:v>
                </c:pt>
                <c:pt idx="292">
                  <c:v>21.246390999999999</c:v>
                </c:pt>
                <c:pt idx="293">
                  <c:v>21.137236000000001</c:v>
                </c:pt>
                <c:pt idx="294">
                  <c:v>21.469069999999999</c:v>
                </c:pt>
                <c:pt idx="295">
                  <c:v>21.438500999999999</c:v>
                </c:pt>
                <c:pt idx="296">
                  <c:v>21.779077999999998</c:v>
                </c:pt>
                <c:pt idx="297">
                  <c:v>22.193874000000001</c:v>
                </c:pt>
                <c:pt idx="298">
                  <c:v>22.359793</c:v>
                </c:pt>
                <c:pt idx="299">
                  <c:v>22.429659999999998</c:v>
                </c:pt>
                <c:pt idx="300">
                  <c:v>22.255002999999999</c:v>
                </c:pt>
                <c:pt idx="301">
                  <c:v>22.573746</c:v>
                </c:pt>
                <c:pt idx="302">
                  <c:v>22.50825</c:v>
                </c:pt>
                <c:pt idx="303">
                  <c:v>22.599941000000001</c:v>
                </c:pt>
                <c:pt idx="304">
                  <c:v>22.752756000000002</c:v>
                </c:pt>
                <c:pt idx="305">
                  <c:v>22.717829999999999</c:v>
                </c:pt>
                <c:pt idx="306">
                  <c:v>22.90558</c:v>
                </c:pt>
                <c:pt idx="307">
                  <c:v>22.621775</c:v>
                </c:pt>
                <c:pt idx="308">
                  <c:v>22.591211000000001</c:v>
                </c:pt>
                <c:pt idx="309">
                  <c:v>22.311764</c:v>
                </c:pt>
                <c:pt idx="310">
                  <c:v>22.268104999999998</c:v>
                </c:pt>
                <c:pt idx="311">
                  <c:v>22.115282000000001</c:v>
                </c:pt>
                <c:pt idx="312">
                  <c:v>21.8795</c:v>
                </c:pt>
                <c:pt idx="313">
                  <c:v>21.757248000000001</c:v>
                </c:pt>
                <c:pt idx="314">
                  <c:v>21.966826999999999</c:v>
                </c:pt>
                <c:pt idx="315">
                  <c:v>21.914429999999999</c:v>
                </c:pt>
                <c:pt idx="316">
                  <c:v>22.224442</c:v>
                </c:pt>
                <c:pt idx="317">
                  <c:v>22.115282000000001</c:v>
                </c:pt>
                <c:pt idx="318">
                  <c:v>22.420919999999999</c:v>
                </c:pt>
                <c:pt idx="319">
                  <c:v>22.573746</c:v>
                </c:pt>
                <c:pt idx="320">
                  <c:v>22.691635000000002</c:v>
                </c:pt>
                <c:pt idx="321">
                  <c:v>22.730931999999999</c:v>
                </c:pt>
                <c:pt idx="322">
                  <c:v>22.639230000000001</c:v>
                </c:pt>
                <c:pt idx="323">
                  <c:v>22.735296000000002</c:v>
                </c:pt>
                <c:pt idx="324">
                  <c:v>22.792059999999999</c:v>
                </c:pt>
                <c:pt idx="325">
                  <c:v>22.949244</c:v>
                </c:pt>
                <c:pt idx="326">
                  <c:v>22.844452</c:v>
                </c:pt>
                <c:pt idx="327">
                  <c:v>22.831361999999999</c:v>
                </c:pt>
                <c:pt idx="328">
                  <c:v>23.01474</c:v>
                </c:pt>
                <c:pt idx="329">
                  <c:v>23.102063999999999</c:v>
                </c:pt>
                <c:pt idx="330">
                  <c:v>23.119530000000001</c:v>
                </c:pt>
                <c:pt idx="331">
                  <c:v>23.088965999999999</c:v>
                </c:pt>
                <c:pt idx="332">
                  <c:v>23.01474</c:v>
                </c:pt>
                <c:pt idx="333">
                  <c:v>22.997267000000001</c:v>
                </c:pt>
                <c:pt idx="334">
                  <c:v>22.909948</c:v>
                </c:pt>
                <c:pt idx="335">
                  <c:v>22.857551999999998</c:v>
                </c:pt>
                <c:pt idx="336">
                  <c:v>22.792059999999999</c:v>
                </c:pt>
                <c:pt idx="337">
                  <c:v>22.992912</c:v>
                </c:pt>
                <c:pt idx="338">
                  <c:v>23.115168000000001</c:v>
                </c:pt>
                <c:pt idx="339">
                  <c:v>23.027842</c:v>
                </c:pt>
                <c:pt idx="340">
                  <c:v>22.892488</c:v>
                </c:pt>
                <c:pt idx="341">
                  <c:v>22.984179000000001</c:v>
                </c:pt>
                <c:pt idx="342">
                  <c:v>23.233056999999999</c:v>
                </c:pt>
                <c:pt idx="343">
                  <c:v>23.403335999999999</c:v>
                </c:pt>
                <c:pt idx="344">
                  <c:v>23.634754000000001</c:v>
                </c:pt>
                <c:pt idx="345">
                  <c:v>23.536100000000001</c:v>
                </c:pt>
                <c:pt idx="346">
                  <c:v>23.724637999999999</c:v>
                </c:pt>
                <c:pt idx="347">
                  <c:v>23.921938000000001</c:v>
                </c:pt>
                <c:pt idx="348">
                  <c:v>24.071012</c:v>
                </c:pt>
                <c:pt idx="349">
                  <c:v>23.755327000000001</c:v>
                </c:pt>
                <c:pt idx="350">
                  <c:v>23.373875000000002</c:v>
                </c:pt>
                <c:pt idx="351">
                  <c:v>23.996469999999999</c:v>
                </c:pt>
                <c:pt idx="352">
                  <c:v>23.834250000000001</c:v>
                </c:pt>
                <c:pt idx="353">
                  <c:v>23.917555</c:v>
                </c:pt>
                <c:pt idx="354">
                  <c:v>24.136773999999999</c:v>
                </c:pt>
                <c:pt idx="355">
                  <c:v>24.06663</c:v>
                </c:pt>
                <c:pt idx="356">
                  <c:v>24.136773999999999</c:v>
                </c:pt>
                <c:pt idx="357">
                  <c:v>23.764095000000001</c:v>
                </c:pt>
                <c:pt idx="358">
                  <c:v>23.913170000000001</c:v>
                </c:pt>
                <c:pt idx="359">
                  <c:v>23.597487999999998</c:v>
                </c:pt>
                <c:pt idx="360">
                  <c:v>23.952632999999999</c:v>
                </c:pt>
                <c:pt idx="361">
                  <c:v>23.987707</c:v>
                </c:pt>
                <c:pt idx="362">
                  <c:v>24.171862000000001</c:v>
                </c:pt>
                <c:pt idx="363">
                  <c:v>23.847397000000001</c:v>
                </c:pt>
                <c:pt idx="364">
                  <c:v>23.996469999999999</c:v>
                </c:pt>
                <c:pt idx="365">
                  <c:v>24.110474</c:v>
                </c:pt>
                <c:pt idx="366">
                  <c:v>24.294619000000001</c:v>
                </c:pt>
                <c:pt idx="367">
                  <c:v>23.558022999999999</c:v>
                </c:pt>
                <c:pt idx="368">
                  <c:v>23.408949</c:v>
                </c:pt>
                <c:pt idx="369">
                  <c:v>23.610636</c:v>
                </c:pt>
                <c:pt idx="370">
                  <c:v>23.316875</c:v>
                </c:pt>
                <c:pt idx="371">
                  <c:v>23.194113000000002</c:v>
                </c:pt>
                <c:pt idx="372">
                  <c:v>23.097649000000001</c:v>
                </c:pt>
                <c:pt idx="373">
                  <c:v>23.457177999999999</c:v>
                </c:pt>
                <c:pt idx="374">
                  <c:v>23.566792</c:v>
                </c:pt>
                <c:pt idx="375">
                  <c:v>23.588715000000001</c:v>
                </c:pt>
                <c:pt idx="376">
                  <c:v>23.724637999999999</c:v>
                </c:pt>
                <c:pt idx="377">
                  <c:v>23.838633000000002</c:v>
                </c:pt>
                <c:pt idx="378">
                  <c:v>23.952632999999999</c:v>
                </c:pt>
                <c:pt idx="379">
                  <c:v>23.996469999999999</c:v>
                </c:pt>
                <c:pt idx="380">
                  <c:v>23.895634000000001</c:v>
                </c:pt>
                <c:pt idx="381">
                  <c:v>23.957018000000001</c:v>
                </c:pt>
                <c:pt idx="382">
                  <c:v>23.869326000000001</c:v>
                </c:pt>
                <c:pt idx="383">
                  <c:v>23.755327000000001</c:v>
                </c:pt>
                <c:pt idx="384">
                  <c:v>23.961400000000001</c:v>
                </c:pt>
                <c:pt idx="385">
                  <c:v>23.921938000000001</c:v>
                </c:pt>
                <c:pt idx="386">
                  <c:v>23.921938000000001</c:v>
                </c:pt>
                <c:pt idx="387">
                  <c:v>23.904399999999999</c:v>
                </c:pt>
                <c:pt idx="388">
                  <c:v>23.992094000000002</c:v>
                </c:pt>
                <c:pt idx="389">
                  <c:v>24.018395999999999</c:v>
                </c:pt>
                <c:pt idx="390">
                  <c:v>24.057858</c:v>
                </c:pt>
                <c:pt idx="391">
                  <c:v>24.062244</c:v>
                </c:pt>
                <c:pt idx="392">
                  <c:v>24.421773999999999</c:v>
                </c:pt>
                <c:pt idx="393">
                  <c:v>24.500698</c:v>
                </c:pt>
                <c:pt idx="394">
                  <c:v>24.820765000000002</c:v>
                </c:pt>
                <c:pt idx="395">
                  <c:v>24.952303000000001</c:v>
                </c:pt>
                <c:pt idx="396">
                  <c:v>24.982991999999999</c:v>
                </c:pt>
                <c:pt idx="397">
                  <c:v>25.026838000000001</c:v>
                </c:pt>
                <c:pt idx="398">
                  <c:v>25.000533999999998</c:v>
                </c:pt>
                <c:pt idx="399">
                  <c:v>25.092606</c:v>
                </c:pt>
                <c:pt idx="400">
                  <c:v>25.031224999999999</c:v>
                </c:pt>
                <c:pt idx="401">
                  <c:v>24.925999999999998</c:v>
                </c:pt>
                <c:pt idx="402">
                  <c:v>24.877763999999999</c:v>
                </c:pt>
                <c:pt idx="403">
                  <c:v>24.491928000000001</c:v>
                </c:pt>
                <c:pt idx="404">
                  <c:v>24.101713</c:v>
                </c:pt>
                <c:pt idx="405">
                  <c:v>24.053476</c:v>
                </c:pt>
                <c:pt idx="406">
                  <c:v>23.650096999999999</c:v>
                </c:pt>
                <c:pt idx="407">
                  <c:v>23.781639999999999</c:v>
                </c:pt>
                <c:pt idx="408">
                  <c:v>23.845472000000001</c:v>
                </c:pt>
                <c:pt idx="409">
                  <c:v>23.678173000000001</c:v>
                </c:pt>
                <c:pt idx="410">
                  <c:v>23.303930000000001</c:v>
                </c:pt>
                <c:pt idx="411">
                  <c:v>23.264309000000001</c:v>
                </c:pt>
                <c:pt idx="412">
                  <c:v>23.620933999999998</c:v>
                </c:pt>
                <c:pt idx="413">
                  <c:v>23.506461999999999</c:v>
                </c:pt>
                <c:pt idx="414">
                  <c:v>23.431614</c:v>
                </c:pt>
                <c:pt idx="415">
                  <c:v>24.114045999999998</c:v>
                </c:pt>
                <c:pt idx="416">
                  <c:v>23.475643000000002</c:v>
                </c:pt>
                <c:pt idx="417">
                  <c:v>23.167446000000002</c:v>
                </c:pt>
                <c:pt idx="418">
                  <c:v>22.735980000000001</c:v>
                </c:pt>
                <c:pt idx="419">
                  <c:v>22.661127</c:v>
                </c:pt>
                <c:pt idx="420">
                  <c:v>22.388152999999999</c:v>
                </c:pt>
                <c:pt idx="421">
                  <c:v>21.833400000000001</c:v>
                </c:pt>
                <c:pt idx="422">
                  <c:v>22.313309</c:v>
                </c:pt>
                <c:pt idx="423">
                  <c:v>22.586276999999999</c:v>
                </c:pt>
                <c:pt idx="424">
                  <c:v>22.978127000000001</c:v>
                </c:pt>
                <c:pt idx="425">
                  <c:v>22.669930000000001</c:v>
                </c:pt>
                <c:pt idx="426">
                  <c:v>23.431614</c:v>
                </c:pt>
                <c:pt idx="427">
                  <c:v>23.889502</c:v>
                </c:pt>
                <c:pt idx="428">
                  <c:v>23.797039000000002</c:v>
                </c:pt>
                <c:pt idx="429">
                  <c:v>24.096432</c:v>
                </c:pt>
                <c:pt idx="430">
                  <c:v>24.171282000000001</c:v>
                </c:pt>
                <c:pt idx="431">
                  <c:v>23.929129</c:v>
                </c:pt>
                <c:pt idx="432">
                  <c:v>24.369402000000001</c:v>
                </c:pt>
                <c:pt idx="433">
                  <c:v>24.479476999999999</c:v>
                </c:pt>
                <c:pt idx="434">
                  <c:v>24.052406000000001</c:v>
                </c:pt>
                <c:pt idx="435">
                  <c:v>24.254933999999999</c:v>
                </c:pt>
                <c:pt idx="436">
                  <c:v>24.382614</c:v>
                </c:pt>
                <c:pt idx="437">
                  <c:v>24.281347</c:v>
                </c:pt>
                <c:pt idx="438">
                  <c:v>23.312742</c:v>
                </c:pt>
                <c:pt idx="439">
                  <c:v>23.317142</c:v>
                </c:pt>
                <c:pt idx="440">
                  <c:v>23.598917</c:v>
                </c:pt>
                <c:pt idx="441">
                  <c:v>23.907114</c:v>
                </c:pt>
                <c:pt idx="442">
                  <c:v>23.819056</c:v>
                </c:pt>
                <c:pt idx="443">
                  <c:v>23.841072</c:v>
                </c:pt>
                <c:pt idx="444">
                  <c:v>23.959944</c:v>
                </c:pt>
                <c:pt idx="445">
                  <c:v>23.942336999999998</c:v>
                </c:pt>
                <c:pt idx="446">
                  <c:v>23.942336999999998</c:v>
                </c:pt>
                <c:pt idx="447">
                  <c:v>23.810252999999999</c:v>
                </c:pt>
                <c:pt idx="448">
                  <c:v>24.224112999999999</c:v>
                </c:pt>
                <c:pt idx="449">
                  <c:v>24.928560000000001</c:v>
                </c:pt>
                <c:pt idx="450">
                  <c:v>25.034223999999998</c:v>
                </c:pt>
                <c:pt idx="451">
                  <c:v>25.113474</c:v>
                </c:pt>
                <c:pt idx="452">
                  <c:v>24.919758000000002</c:v>
                </c:pt>
                <c:pt idx="453">
                  <c:v>25.104671</c:v>
                </c:pt>
                <c:pt idx="454">
                  <c:v>25.157509000000001</c:v>
                </c:pt>
                <c:pt idx="455">
                  <c:v>24.822887000000001</c:v>
                </c:pt>
                <c:pt idx="456">
                  <c:v>24.805282999999999</c:v>
                </c:pt>
                <c:pt idx="457">
                  <c:v>24.814087000000001</c:v>
                </c:pt>
                <c:pt idx="458">
                  <c:v>24.739239000000001</c:v>
                </c:pt>
                <c:pt idx="459">
                  <c:v>24.466270000000002</c:v>
                </c:pt>
                <c:pt idx="460">
                  <c:v>24.611563</c:v>
                </c:pt>
                <c:pt idx="461">
                  <c:v>24.369402000000001</c:v>
                </c:pt>
                <c:pt idx="462">
                  <c:v>24.188891999999999</c:v>
                </c:pt>
                <c:pt idx="463">
                  <c:v>24.131658999999999</c:v>
                </c:pt>
                <c:pt idx="464">
                  <c:v>24.365005</c:v>
                </c:pt>
                <c:pt idx="465">
                  <c:v>24.783270000000002</c:v>
                </c:pt>
                <c:pt idx="466">
                  <c:v>25.170712000000002</c:v>
                </c:pt>
                <c:pt idx="467">
                  <c:v>25.192723999999998</c:v>
                </c:pt>
                <c:pt idx="468">
                  <c:v>25.49212</c:v>
                </c:pt>
                <c:pt idx="469">
                  <c:v>25.566967000000002</c:v>
                </c:pt>
                <c:pt idx="470">
                  <c:v>25.707854999999999</c:v>
                </c:pt>
                <c:pt idx="471">
                  <c:v>25.923587999999999</c:v>
                </c:pt>
                <c:pt idx="472">
                  <c:v>25.91919</c:v>
                </c:pt>
                <c:pt idx="473">
                  <c:v>25.540543</c:v>
                </c:pt>
                <c:pt idx="474">
                  <c:v>25.249966000000001</c:v>
                </c:pt>
                <c:pt idx="475">
                  <c:v>24.735014</c:v>
                </c:pt>
                <c:pt idx="476">
                  <c:v>24.412348000000001</c:v>
                </c:pt>
                <c:pt idx="477">
                  <c:v>24.390250999999999</c:v>
                </c:pt>
                <c:pt idx="478">
                  <c:v>24.920660000000002</c:v>
                </c:pt>
                <c:pt idx="479">
                  <c:v>24.880886</c:v>
                </c:pt>
                <c:pt idx="480">
                  <c:v>24.827835</c:v>
                </c:pt>
                <c:pt idx="481">
                  <c:v>25.123985000000001</c:v>
                </c:pt>
                <c:pt idx="482">
                  <c:v>24.67314</c:v>
                </c:pt>
                <c:pt idx="483">
                  <c:v>24.752703</c:v>
                </c:pt>
                <c:pt idx="484">
                  <c:v>25.093048</c:v>
                </c:pt>
                <c:pt idx="485">
                  <c:v>24.668716</c:v>
                </c:pt>
                <c:pt idx="486">
                  <c:v>24.651040999999999</c:v>
                </c:pt>
                <c:pt idx="487">
                  <c:v>25.004648</c:v>
                </c:pt>
                <c:pt idx="488">
                  <c:v>24.889724999999999</c:v>
                </c:pt>
                <c:pt idx="489">
                  <c:v>25.057690000000001</c:v>
                </c:pt>
                <c:pt idx="490">
                  <c:v>24.911825</c:v>
                </c:pt>
                <c:pt idx="491">
                  <c:v>24.129463000000001</c:v>
                </c:pt>
                <c:pt idx="492">
                  <c:v>23.811214</c:v>
                </c:pt>
                <c:pt idx="493">
                  <c:v>23.492964000000001</c:v>
                </c:pt>
                <c:pt idx="494">
                  <c:v>23.784693000000001</c:v>
                </c:pt>
                <c:pt idx="495">
                  <c:v>24.491909</c:v>
                </c:pt>
                <c:pt idx="496">
                  <c:v>25.150514999999999</c:v>
                </c:pt>
                <c:pt idx="497">
                  <c:v>25.181450000000002</c:v>
                </c:pt>
                <c:pt idx="498">
                  <c:v>25.159355000000001</c:v>
                </c:pt>
                <c:pt idx="499">
                  <c:v>25.234490000000001</c:v>
                </c:pt>
                <c:pt idx="500">
                  <c:v>25.37594</c:v>
                </c:pt>
                <c:pt idx="501">
                  <c:v>25.539487999999999</c:v>
                </c:pt>
                <c:pt idx="502">
                  <c:v>25.804690000000001</c:v>
                </c:pt>
                <c:pt idx="503">
                  <c:v>26.286484000000002</c:v>
                </c:pt>
                <c:pt idx="504">
                  <c:v>25.990334000000001</c:v>
                </c:pt>
                <c:pt idx="505">
                  <c:v>25.733969999999999</c:v>
                </c:pt>
                <c:pt idx="506">
                  <c:v>25.570421</c:v>
                </c:pt>
                <c:pt idx="507">
                  <c:v>25.85773</c:v>
                </c:pt>
                <c:pt idx="508">
                  <c:v>25.729545999999999</c:v>
                </c:pt>
                <c:pt idx="509">
                  <c:v>26.153883</c:v>
                </c:pt>
                <c:pt idx="510">
                  <c:v>26.352781</c:v>
                </c:pt>
                <c:pt idx="511">
                  <c:v>26.145036999999999</c:v>
                </c:pt>
                <c:pt idx="512">
                  <c:v>26.246708000000002</c:v>
                </c:pt>
                <c:pt idx="513">
                  <c:v>26.463284999999999</c:v>
                </c:pt>
                <c:pt idx="514">
                  <c:v>26.503073000000001</c:v>
                </c:pt>
                <c:pt idx="515">
                  <c:v>26.710816999999999</c:v>
                </c:pt>
                <c:pt idx="516">
                  <c:v>26.666615</c:v>
                </c:pt>
                <c:pt idx="517">
                  <c:v>26.684297999999998</c:v>
                </c:pt>
                <c:pt idx="518">
                  <c:v>26.772696</c:v>
                </c:pt>
                <c:pt idx="519">
                  <c:v>25.946135999999999</c:v>
                </c:pt>
                <c:pt idx="520">
                  <c:v>25.663246000000001</c:v>
                </c:pt>
                <c:pt idx="521">
                  <c:v>26.224606999999999</c:v>
                </c:pt>
                <c:pt idx="522">
                  <c:v>26.100842</c:v>
                </c:pt>
                <c:pt idx="523">
                  <c:v>26.410247999999999</c:v>
                </c:pt>
                <c:pt idx="524">
                  <c:v>26.136203999999999</c:v>
                </c:pt>
                <c:pt idx="525">
                  <c:v>26.074316</c:v>
                </c:pt>
                <c:pt idx="526">
                  <c:v>25.968235</c:v>
                </c:pt>
                <c:pt idx="527">
                  <c:v>26.277647000000002</c:v>
                </c:pt>
                <c:pt idx="528">
                  <c:v>26.131779999999999</c:v>
                </c:pt>
                <c:pt idx="529">
                  <c:v>25.446663000000001</c:v>
                </c:pt>
                <c:pt idx="530">
                  <c:v>24.986967</c:v>
                </c:pt>
                <c:pt idx="531">
                  <c:v>24.71292</c:v>
                </c:pt>
                <c:pt idx="532">
                  <c:v>24.726175000000001</c:v>
                </c:pt>
                <c:pt idx="533">
                  <c:v>25.134657000000001</c:v>
                </c:pt>
                <c:pt idx="534">
                  <c:v>25.072496000000001</c:v>
                </c:pt>
                <c:pt idx="535">
                  <c:v>25.334457</c:v>
                </c:pt>
                <c:pt idx="536">
                  <c:v>25.725172000000001</c:v>
                </c:pt>
                <c:pt idx="537">
                  <c:v>25.845050000000001</c:v>
                </c:pt>
                <c:pt idx="538">
                  <c:v>25.893888</c:v>
                </c:pt>
                <c:pt idx="539">
                  <c:v>26.275722999999999</c:v>
                </c:pt>
                <c:pt idx="540">
                  <c:v>26.457765999999999</c:v>
                </c:pt>
                <c:pt idx="541">
                  <c:v>26.55545</c:v>
                </c:pt>
                <c:pt idx="542">
                  <c:v>26.098130000000001</c:v>
                </c:pt>
                <c:pt idx="543">
                  <c:v>26.18693</c:v>
                </c:pt>
                <c:pt idx="544">
                  <c:v>26.599848000000001</c:v>
                </c:pt>
                <c:pt idx="545">
                  <c:v>26.493279999999999</c:v>
                </c:pt>
                <c:pt idx="546">
                  <c:v>25.938292000000001</c:v>
                </c:pt>
                <c:pt idx="547">
                  <c:v>25.960491000000001</c:v>
                </c:pt>
                <c:pt idx="548">
                  <c:v>26.124770999999999</c:v>
                </c:pt>
                <c:pt idx="549">
                  <c:v>26.089244999999998</c:v>
                </c:pt>
                <c:pt idx="550">
                  <c:v>26.297930000000001</c:v>
                </c:pt>
                <c:pt idx="551">
                  <c:v>26.479965</c:v>
                </c:pt>
                <c:pt idx="552">
                  <c:v>26.142529</c:v>
                </c:pt>
                <c:pt idx="553">
                  <c:v>26.195810000000002</c:v>
                </c:pt>
                <c:pt idx="554">
                  <c:v>25.902773</c:v>
                </c:pt>
                <c:pt idx="555">
                  <c:v>25.645247999999999</c:v>
                </c:pt>
                <c:pt idx="556">
                  <c:v>25.933847</c:v>
                </c:pt>
                <c:pt idx="557">
                  <c:v>26.098130000000001</c:v>
                </c:pt>
                <c:pt idx="558">
                  <c:v>25.742933000000001</c:v>
                </c:pt>
                <c:pt idx="559">
                  <c:v>25.600850999999999</c:v>
                </c:pt>
                <c:pt idx="560">
                  <c:v>25.716290000000001</c:v>
                </c:pt>
                <c:pt idx="561">
                  <c:v>25.933847</c:v>
                </c:pt>
                <c:pt idx="562">
                  <c:v>25.649692999999999</c:v>
                </c:pt>
                <c:pt idx="563">
                  <c:v>25.454329000000001</c:v>
                </c:pt>
                <c:pt idx="564">
                  <c:v>24.988137999999999</c:v>
                </c:pt>
                <c:pt idx="565">
                  <c:v>25.103579</c:v>
                </c:pt>
                <c:pt idx="566">
                  <c:v>25.14798</c:v>
                </c:pt>
                <c:pt idx="567">
                  <c:v>25.294497</c:v>
                </c:pt>
                <c:pt idx="568">
                  <c:v>25.409935000000001</c:v>
                </c:pt>
                <c:pt idx="569">
                  <c:v>25.560898000000002</c:v>
                </c:pt>
                <c:pt idx="570">
                  <c:v>25.547574999999998</c:v>
                </c:pt>
                <c:pt idx="571">
                  <c:v>25.694092000000001</c:v>
                </c:pt>
                <c:pt idx="572">
                  <c:v>26.013770000000001</c:v>
                </c:pt>
                <c:pt idx="573">
                  <c:v>26.346767</c:v>
                </c:pt>
                <c:pt idx="574">
                  <c:v>26.209130999999999</c:v>
                </c:pt>
                <c:pt idx="575">
                  <c:v>25.956049</c:v>
                </c:pt>
                <c:pt idx="576">
                  <c:v>26.098130000000001</c:v>
                </c:pt>
                <c:pt idx="577">
                  <c:v>26.115888999999999</c:v>
                </c:pt>
                <c:pt idx="578">
                  <c:v>26.337889000000001</c:v>
                </c:pt>
                <c:pt idx="579">
                  <c:v>26.173607000000001</c:v>
                </c:pt>
                <c:pt idx="580">
                  <c:v>26.058167999999998</c:v>
                </c:pt>
                <c:pt idx="581">
                  <c:v>25.694092000000001</c:v>
                </c:pt>
                <c:pt idx="582">
                  <c:v>25.685214999999999</c:v>
                </c:pt>
                <c:pt idx="583">
                  <c:v>25.853930999999999</c:v>
                </c:pt>
                <c:pt idx="584">
                  <c:v>26.089244999999998</c:v>
                </c:pt>
                <c:pt idx="585">
                  <c:v>25.867249999999999</c:v>
                </c:pt>
                <c:pt idx="586">
                  <c:v>25.902773</c:v>
                </c:pt>
                <c:pt idx="587">
                  <c:v>26.142529</c:v>
                </c:pt>
                <c:pt idx="588">
                  <c:v>26.471084999999999</c:v>
                </c:pt>
                <c:pt idx="589">
                  <c:v>26.852924000000002</c:v>
                </c:pt>
                <c:pt idx="590">
                  <c:v>26.866244999999999</c:v>
                </c:pt>
                <c:pt idx="591">
                  <c:v>27.07048</c:v>
                </c:pt>
                <c:pt idx="592">
                  <c:v>26.977245</c:v>
                </c:pt>
                <c:pt idx="593">
                  <c:v>26.799644000000001</c:v>
                </c:pt>
                <c:pt idx="594">
                  <c:v>27.030525000000001</c:v>
                </c:pt>
                <c:pt idx="595">
                  <c:v>27.203682000000001</c:v>
                </c:pt>
                <c:pt idx="596">
                  <c:v>26.740024999999999</c:v>
                </c:pt>
                <c:pt idx="597">
                  <c:v>26.811360000000001</c:v>
                </c:pt>
                <c:pt idx="598">
                  <c:v>27.752033000000001</c:v>
                </c:pt>
                <c:pt idx="599">
                  <c:v>27.792155999999999</c:v>
                </c:pt>
                <c:pt idx="600">
                  <c:v>27.689620000000001</c:v>
                </c:pt>
                <c:pt idx="601">
                  <c:v>27.867947000000001</c:v>
                </c:pt>
                <c:pt idx="602">
                  <c:v>27.502372999999999</c:v>
                </c:pt>
                <c:pt idx="603">
                  <c:v>27.645036999999999</c:v>
                </c:pt>
                <c:pt idx="604">
                  <c:v>28.171102999999999</c:v>
                </c:pt>
                <c:pt idx="605">
                  <c:v>28.407388999999998</c:v>
                </c:pt>
                <c:pt idx="606">
                  <c:v>28.193396</c:v>
                </c:pt>
                <c:pt idx="607">
                  <c:v>28.420763000000001</c:v>
                </c:pt>
                <c:pt idx="608">
                  <c:v>28.674873000000002</c:v>
                </c:pt>
                <c:pt idx="609">
                  <c:v>28.652577999999998</c:v>
                </c:pt>
                <c:pt idx="610">
                  <c:v>28.674873000000002</c:v>
                </c:pt>
                <c:pt idx="611">
                  <c:v>28.652577999999998</c:v>
                </c:pt>
                <c:pt idx="612">
                  <c:v>28.755123000000001</c:v>
                </c:pt>
                <c:pt idx="613">
                  <c:v>27.85012</c:v>
                </c:pt>
                <c:pt idx="614">
                  <c:v>27.716373000000001</c:v>
                </c:pt>
                <c:pt idx="615">
                  <c:v>27.243804999999998</c:v>
                </c:pt>
                <c:pt idx="616">
                  <c:v>27.823360000000001</c:v>
                </c:pt>
                <c:pt idx="617">
                  <c:v>27.854574</c:v>
                </c:pt>
                <c:pt idx="618">
                  <c:v>27.801072999999999</c:v>
                </c:pt>
                <c:pt idx="619">
                  <c:v>27.823360000000001</c:v>
                </c:pt>
                <c:pt idx="620">
                  <c:v>28.180016999999999</c:v>
                </c:pt>
                <c:pt idx="621">
                  <c:v>27.970488</c:v>
                </c:pt>
                <c:pt idx="622">
                  <c:v>26.664248000000001</c:v>
                </c:pt>
                <c:pt idx="623">
                  <c:v>26.19613</c:v>
                </c:pt>
                <c:pt idx="624">
                  <c:v>26.222885000000002</c:v>
                </c:pt>
                <c:pt idx="625">
                  <c:v>26.503754000000001</c:v>
                </c:pt>
                <c:pt idx="626">
                  <c:v>26.209510000000002</c:v>
                </c:pt>
                <c:pt idx="627">
                  <c:v>26.48592</c:v>
                </c:pt>
                <c:pt idx="628">
                  <c:v>26.588455</c:v>
                </c:pt>
                <c:pt idx="629">
                  <c:v>26.249638000000001</c:v>
                </c:pt>
                <c:pt idx="630">
                  <c:v>26.931730000000002</c:v>
                </c:pt>
                <c:pt idx="631">
                  <c:v>26.610744</c:v>
                </c:pt>
                <c:pt idx="632">
                  <c:v>26.713284000000002</c:v>
                </c:pt>
                <c:pt idx="633">
                  <c:v>26.022269999999999</c:v>
                </c:pt>
                <c:pt idx="634">
                  <c:v>25.313424999999999</c:v>
                </c:pt>
                <c:pt idx="635">
                  <c:v>24.256834000000001</c:v>
                </c:pt>
                <c:pt idx="636">
                  <c:v>24.007183000000001</c:v>
                </c:pt>
                <c:pt idx="637">
                  <c:v>24.698194999999998</c:v>
                </c:pt>
                <c:pt idx="638">
                  <c:v>25.308962000000001</c:v>
                </c:pt>
                <c:pt idx="639">
                  <c:v>25.313424999999999</c:v>
                </c:pt>
                <c:pt idx="640">
                  <c:v>25.112803</c:v>
                </c:pt>
                <c:pt idx="641">
                  <c:v>24.528786</c:v>
                </c:pt>
                <c:pt idx="642">
                  <c:v>24.912189999999999</c:v>
                </c:pt>
                <c:pt idx="643">
                  <c:v>25.059308999999999</c:v>
                </c:pt>
                <c:pt idx="644">
                  <c:v>24.867607</c:v>
                </c:pt>
                <c:pt idx="645">
                  <c:v>25.460536999999999</c:v>
                </c:pt>
                <c:pt idx="646">
                  <c:v>25.264382999999999</c:v>
                </c:pt>
                <c:pt idx="647">
                  <c:v>25.206427000000001</c:v>
                </c:pt>
                <c:pt idx="648">
                  <c:v>25.14847</c:v>
                </c:pt>
                <c:pt idx="649">
                  <c:v>25.07714</c:v>
                </c:pt>
                <c:pt idx="650">
                  <c:v>25.473918999999999</c:v>
                </c:pt>
                <c:pt idx="651">
                  <c:v>25.741409999999998</c:v>
                </c:pt>
                <c:pt idx="652">
                  <c:v>26.062387000000001</c:v>
                </c:pt>
                <c:pt idx="653">
                  <c:v>25.598745000000001</c:v>
                </c:pt>
                <c:pt idx="654">
                  <c:v>25.80828</c:v>
                </c:pt>
                <c:pt idx="655">
                  <c:v>25.728034999999998</c:v>
                </c:pt>
                <c:pt idx="656">
                  <c:v>25.576452</c:v>
                </c:pt>
                <c:pt idx="657">
                  <c:v>25.331257000000001</c:v>
                </c:pt>
                <c:pt idx="658">
                  <c:v>25.206427000000001</c:v>
                </c:pt>
                <c:pt idx="659">
                  <c:v>24.435169999999999</c:v>
                </c:pt>
                <c:pt idx="660">
                  <c:v>24.582288999999999</c:v>
                </c:pt>
                <c:pt idx="661">
                  <c:v>25.358006</c:v>
                </c:pt>
                <c:pt idx="662">
                  <c:v>25.594290000000001</c:v>
                </c:pt>
                <c:pt idx="663">
                  <c:v>26.178307</c:v>
                </c:pt>
                <c:pt idx="664">
                  <c:v>26.693183999999999</c:v>
                </c:pt>
                <c:pt idx="665">
                  <c:v>26.402166000000001</c:v>
                </c:pt>
                <c:pt idx="666">
                  <c:v>26.729009999999999</c:v>
                </c:pt>
                <c:pt idx="667">
                  <c:v>27.302088000000001</c:v>
                </c:pt>
                <c:pt idx="668">
                  <c:v>27.082706000000002</c:v>
                </c:pt>
                <c:pt idx="669">
                  <c:v>26.984204999999999</c:v>
                </c:pt>
                <c:pt idx="670">
                  <c:v>26.934956</c:v>
                </c:pt>
                <c:pt idx="671">
                  <c:v>26.836449999999999</c:v>
                </c:pt>
                <c:pt idx="672">
                  <c:v>27.315521</c:v>
                </c:pt>
                <c:pt idx="673">
                  <c:v>27.454312999999999</c:v>
                </c:pt>
                <c:pt idx="674">
                  <c:v>27.561765999999999</c:v>
                </c:pt>
                <c:pt idx="675">
                  <c:v>27.557289999999998</c:v>
                </c:pt>
                <c:pt idx="676">
                  <c:v>27.360292000000001</c:v>
                </c:pt>
                <c:pt idx="677">
                  <c:v>27.624447</c:v>
                </c:pt>
                <c:pt idx="678">
                  <c:v>27.74981</c:v>
                </c:pt>
                <c:pt idx="679">
                  <c:v>27.839352000000002</c:v>
                </c:pt>
                <c:pt idx="680">
                  <c:v>27.552814000000001</c:v>
                </c:pt>
                <c:pt idx="681">
                  <c:v>27.731901000000001</c:v>
                </c:pt>
                <c:pt idx="682">
                  <c:v>28.233349</c:v>
                </c:pt>
                <c:pt idx="683">
                  <c:v>28.036352000000001</c:v>
                </c:pt>
                <c:pt idx="684">
                  <c:v>28.09008</c:v>
                </c:pt>
                <c:pt idx="685">
                  <c:v>28.009492999999999</c:v>
                </c:pt>
                <c:pt idx="686">
                  <c:v>27.516998000000001</c:v>
                </c:pt>
                <c:pt idx="687">
                  <c:v>27.673694999999999</c:v>
                </c:pt>
                <c:pt idx="688">
                  <c:v>27.584147999999999</c:v>
                </c:pt>
                <c:pt idx="689">
                  <c:v>27.467742999999999</c:v>
                </c:pt>
                <c:pt idx="690">
                  <c:v>27.566241999999999</c:v>
                </c:pt>
                <c:pt idx="691">
                  <c:v>27.557289999999998</c:v>
                </c:pt>
                <c:pt idx="692">
                  <c:v>27.530425999999999</c:v>
                </c:pt>
                <c:pt idx="693">
                  <c:v>26.966294999999999</c:v>
                </c:pt>
                <c:pt idx="694">
                  <c:v>27.467742999999999</c:v>
                </c:pt>
                <c:pt idx="695">
                  <c:v>27.369250999999998</c:v>
                </c:pt>
                <c:pt idx="696">
                  <c:v>28.009492999999999</c:v>
                </c:pt>
                <c:pt idx="697">
                  <c:v>28.036352000000001</c:v>
                </c:pt>
                <c:pt idx="698">
                  <c:v>28.161709999999999</c:v>
                </c:pt>
                <c:pt idx="699">
                  <c:v>27.816965</c:v>
                </c:pt>
                <c:pt idx="700">
                  <c:v>27.606535000000001</c:v>
                </c:pt>
                <c:pt idx="701">
                  <c:v>27.490131000000002</c:v>
                </c:pt>
                <c:pt idx="702">
                  <c:v>27.575196999999999</c:v>
                </c:pt>
                <c:pt idx="703">
                  <c:v>27.248365</c:v>
                </c:pt>
                <c:pt idx="704">
                  <c:v>27.646833000000001</c:v>
                </c:pt>
                <c:pt idx="705">
                  <c:v>27.078223999999999</c:v>
                </c:pt>
                <c:pt idx="706">
                  <c:v>26.693183999999999</c:v>
                </c:pt>
                <c:pt idx="707">
                  <c:v>27.199112</c:v>
                </c:pt>
                <c:pt idx="708">
                  <c:v>27.028980000000001</c:v>
                </c:pt>
                <c:pt idx="709">
                  <c:v>26.657368000000002</c:v>
                </c:pt>
                <c:pt idx="710">
                  <c:v>26.232033000000001</c:v>
                </c:pt>
                <c:pt idx="711">
                  <c:v>26.715572000000002</c:v>
                </c:pt>
                <c:pt idx="712">
                  <c:v>25.954446999999998</c:v>
                </c:pt>
                <c:pt idx="713">
                  <c:v>25.68581</c:v>
                </c:pt>
                <c:pt idx="714">
                  <c:v>25.855947</c:v>
                </c:pt>
                <c:pt idx="715">
                  <c:v>26.281282000000001</c:v>
                </c:pt>
                <c:pt idx="716">
                  <c:v>25.703721999999999</c:v>
                </c:pt>
                <c:pt idx="717">
                  <c:v>25.251522000000001</c:v>
                </c:pt>
                <c:pt idx="718">
                  <c:v>25.278386999999999</c:v>
                </c:pt>
                <c:pt idx="719">
                  <c:v>25.470903</c:v>
                </c:pt>
                <c:pt idx="720">
                  <c:v>25.596266</c:v>
                </c:pt>
                <c:pt idx="721">
                  <c:v>25.654468999999999</c:v>
                </c:pt>
                <c:pt idx="722">
                  <c:v>25.605217</c:v>
                </c:pt>
                <c:pt idx="723">
                  <c:v>25.770879999999998</c:v>
                </c:pt>
                <c:pt idx="724">
                  <c:v>25.390312000000002</c:v>
                </c:pt>
                <c:pt idx="725">
                  <c:v>25.264956000000002</c:v>
                </c:pt>
                <c:pt idx="726">
                  <c:v>25.022107999999999</c:v>
                </c:pt>
                <c:pt idx="727">
                  <c:v>25.026602</c:v>
                </c:pt>
                <c:pt idx="728">
                  <c:v>24.833227000000001</c:v>
                </c:pt>
                <c:pt idx="729">
                  <c:v>24.558900000000001</c:v>
                </c:pt>
                <c:pt idx="730">
                  <c:v>24.585888000000001</c:v>
                </c:pt>
                <c:pt idx="731">
                  <c:v>24.608374000000001</c:v>
                </c:pt>
                <c:pt idx="732">
                  <c:v>24.675827000000002</c:v>
                </c:pt>
                <c:pt idx="733">
                  <c:v>24.0822</c:v>
                </c:pt>
                <c:pt idx="734">
                  <c:v>24.756772999999999</c:v>
                </c:pt>
                <c:pt idx="735">
                  <c:v>24.235112999999998</c:v>
                </c:pt>
                <c:pt idx="736">
                  <c:v>24.397006999999999</c:v>
                </c:pt>
                <c:pt idx="737">
                  <c:v>24.109183999999999</c:v>
                </c:pt>
                <c:pt idx="738">
                  <c:v>24.428484000000001</c:v>
                </c:pt>
                <c:pt idx="739">
                  <c:v>24.882695999999999</c:v>
                </c:pt>
                <c:pt idx="740">
                  <c:v>24.379017000000001</c:v>
                </c:pt>
                <c:pt idx="741">
                  <c:v>24.662336</c:v>
                </c:pt>
                <c:pt idx="742">
                  <c:v>24.338540999999999</c:v>
                </c:pt>
                <c:pt idx="743">
                  <c:v>24.334047000000002</c:v>
                </c:pt>
                <c:pt idx="744">
                  <c:v>25.053583</c:v>
                </c:pt>
                <c:pt idx="745">
                  <c:v>25.098558000000001</c:v>
                </c:pt>
                <c:pt idx="746">
                  <c:v>24.549911000000002</c:v>
                </c:pt>
                <c:pt idx="747">
                  <c:v>26.011479999999999</c:v>
                </c:pt>
                <c:pt idx="748">
                  <c:v>26.177869999999999</c:v>
                </c:pt>
                <c:pt idx="749">
                  <c:v>26.717527</c:v>
                </c:pt>
                <c:pt idx="750">
                  <c:v>26.713039999999999</c:v>
                </c:pt>
                <c:pt idx="751">
                  <c:v>26.177869999999999</c:v>
                </c:pt>
                <c:pt idx="752">
                  <c:v>25.098558000000001</c:v>
                </c:pt>
                <c:pt idx="753">
                  <c:v>25.201989999999999</c:v>
                </c:pt>
                <c:pt idx="754">
                  <c:v>25.534782</c:v>
                </c:pt>
                <c:pt idx="755">
                  <c:v>25.849585999999999</c:v>
                </c:pt>
                <c:pt idx="756">
                  <c:v>25.948519999999998</c:v>
                </c:pt>
                <c:pt idx="757">
                  <c:v>25.777628</c:v>
                </c:pt>
                <c:pt idx="758">
                  <c:v>25.9755</c:v>
                </c:pt>
                <c:pt idx="759">
                  <c:v>26.150894000000001</c:v>
                </c:pt>
                <c:pt idx="760">
                  <c:v>25.876566</c:v>
                </c:pt>
                <c:pt idx="761">
                  <c:v>26.26332</c:v>
                </c:pt>
                <c:pt idx="762">
                  <c:v>26.321781000000001</c:v>
                </c:pt>
                <c:pt idx="763">
                  <c:v>26.042957000000001</c:v>
                </c:pt>
                <c:pt idx="764">
                  <c:v>25.962011</c:v>
                </c:pt>
                <c:pt idx="765">
                  <c:v>26.632086000000001</c:v>
                </c:pt>
                <c:pt idx="766">
                  <c:v>26.699542999999998</c:v>
                </c:pt>
                <c:pt idx="767">
                  <c:v>26.946885999999999</c:v>
                </c:pt>
                <c:pt idx="768">
                  <c:v>26.865942</c:v>
                </c:pt>
                <c:pt idx="769">
                  <c:v>26.515162</c:v>
                </c:pt>
                <c:pt idx="770">
                  <c:v>26.213850000000001</c:v>
                </c:pt>
                <c:pt idx="771">
                  <c:v>26.43421</c:v>
                </c:pt>
                <c:pt idx="772">
                  <c:v>26.249829999999999</c:v>
                </c:pt>
                <c:pt idx="773">
                  <c:v>26.605103</c:v>
                </c:pt>
                <c:pt idx="774">
                  <c:v>26.636579999999999</c:v>
                </c:pt>
                <c:pt idx="775">
                  <c:v>26.713039999999999</c:v>
                </c:pt>
                <c:pt idx="776">
                  <c:v>26.942388999999999</c:v>
                </c:pt>
                <c:pt idx="777">
                  <c:v>27.320152</c:v>
                </c:pt>
                <c:pt idx="778">
                  <c:v>26.874929999999999</c:v>
                </c:pt>
                <c:pt idx="779">
                  <c:v>26.910902</c:v>
                </c:pt>
                <c:pt idx="780">
                  <c:v>26.924398</c:v>
                </c:pt>
                <c:pt idx="781">
                  <c:v>26.645578</c:v>
                </c:pt>
                <c:pt idx="782">
                  <c:v>26.987363999999999</c:v>
                </c:pt>
                <c:pt idx="783">
                  <c:v>27.023336</c:v>
                </c:pt>
                <c:pt idx="784">
                  <c:v>27.320152</c:v>
                </c:pt>
                <c:pt idx="785">
                  <c:v>27.34263</c:v>
                </c:pt>
                <c:pt idx="786">
                  <c:v>27.468554999999999</c:v>
                </c:pt>
                <c:pt idx="787">
                  <c:v>27.823830000000001</c:v>
                </c:pt>
                <c:pt idx="788">
                  <c:v>27.749289999999998</c:v>
                </c:pt>
                <c:pt idx="789">
                  <c:v>27.613779999999998</c:v>
                </c:pt>
                <c:pt idx="790">
                  <c:v>28.097124000000001</c:v>
                </c:pt>
                <c:pt idx="791">
                  <c:v>27.735742999999999</c:v>
                </c:pt>
                <c:pt idx="792">
                  <c:v>27.826082</c:v>
                </c:pt>
                <c:pt idx="793">
                  <c:v>27.753813000000001</c:v>
                </c:pt>
                <c:pt idx="794">
                  <c:v>27.880293000000002</c:v>
                </c:pt>
                <c:pt idx="795">
                  <c:v>27.984186000000001</c:v>
                </c:pt>
                <c:pt idx="796">
                  <c:v>27.934504</c:v>
                </c:pt>
                <c:pt idx="797">
                  <c:v>27.993220000000001</c:v>
                </c:pt>
                <c:pt idx="798">
                  <c:v>28.223604000000002</c:v>
                </c:pt>
                <c:pt idx="799">
                  <c:v>28.133251000000001</c:v>
                </c:pt>
                <c:pt idx="800">
                  <c:v>27.76285</c:v>
                </c:pt>
                <c:pt idx="801">
                  <c:v>27.527950000000001</c:v>
                </c:pt>
                <c:pt idx="802">
                  <c:v>27.600224000000001</c:v>
                </c:pt>
                <c:pt idx="803">
                  <c:v>27.555056</c:v>
                </c:pt>
                <c:pt idx="804">
                  <c:v>27.577643999999999</c:v>
                </c:pt>
                <c:pt idx="805">
                  <c:v>27.690567000000001</c:v>
                </c:pt>
                <c:pt idx="806">
                  <c:v>27.622807999999999</c:v>
                </c:pt>
                <c:pt idx="807">
                  <c:v>27.446638</c:v>
                </c:pt>
                <c:pt idx="808">
                  <c:v>27.658957000000001</c:v>
                </c:pt>
                <c:pt idx="809">
                  <c:v>27.532468999999999</c:v>
                </c:pt>
                <c:pt idx="810">
                  <c:v>27.505362999999999</c:v>
                </c:pt>
                <c:pt idx="811">
                  <c:v>27.577643999999999</c:v>
                </c:pt>
                <c:pt idx="812">
                  <c:v>27.744768000000001</c:v>
                </c:pt>
                <c:pt idx="813">
                  <c:v>27.744768000000001</c:v>
                </c:pt>
                <c:pt idx="814">
                  <c:v>28.295874000000001</c:v>
                </c:pt>
                <c:pt idx="815">
                  <c:v>28.038397</c:v>
                </c:pt>
                <c:pt idx="816">
                  <c:v>28.124222</c:v>
                </c:pt>
                <c:pt idx="817">
                  <c:v>27.934504</c:v>
                </c:pt>
                <c:pt idx="818">
                  <c:v>28.006779000000002</c:v>
                </c:pt>
                <c:pt idx="819">
                  <c:v>27.297571000000001</c:v>
                </c:pt>
                <c:pt idx="820">
                  <c:v>27.274989999999999</c:v>
                </c:pt>
                <c:pt idx="821">
                  <c:v>27.216265</c:v>
                </c:pt>
                <c:pt idx="822">
                  <c:v>27.898361000000001</c:v>
                </c:pt>
                <c:pt idx="823">
                  <c:v>27.920943999999999</c:v>
                </c:pt>
                <c:pt idx="824">
                  <c:v>28.20553</c:v>
                </c:pt>
                <c:pt idx="825">
                  <c:v>28.277805000000001</c:v>
                </c:pt>
                <c:pt idx="826">
                  <c:v>28.137777</c:v>
                </c:pt>
                <c:pt idx="827">
                  <c:v>28.404297</c:v>
                </c:pt>
                <c:pt idx="828">
                  <c:v>28.594013</c:v>
                </c:pt>
                <c:pt idx="829">
                  <c:v>28.788252</c:v>
                </c:pt>
                <c:pt idx="830">
                  <c:v>28.756636</c:v>
                </c:pt>
                <c:pt idx="831">
                  <c:v>28.711462000000001</c:v>
                </c:pt>
                <c:pt idx="832">
                  <c:v>28.639182999999999</c:v>
                </c:pt>
                <c:pt idx="833">
                  <c:v>28.571425999999999</c:v>
                </c:pt>
                <c:pt idx="834">
                  <c:v>28.557877999999999</c:v>
                </c:pt>
                <c:pt idx="835">
                  <c:v>28.426877999999999</c:v>
                </c:pt>
                <c:pt idx="836">
                  <c:v>28.368155999999999</c:v>
                </c:pt>
                <c:pt idx="837">
                  <c:v>28.182946999999999</c:v>
                </c:pt>
                <c:pt idx="838">
                  <c:v>28.295874000000001</c:v>
                </c:pt>
                <c:pt idx="839">
                  <c:v>28.164873</c:v>
                </c:pt>
                <c:pt idx="840">
                  <c:v>28.503668000000001</c:v>
                </c:pt>
                <c:pt idx="841">
                  <c:v>28.173912000000001</c:v>
                </c:pt>
                <c:pt idx="842">
                  <c:v>28.214565</c:v>
                </c:pt>
                <c:pt idx="843">
                  <c:v>28.250707999999999</c:v>
                </c:pt>
                <c:pt idx="844">
                  <c:v>28.295874000000001</c:v>
                </c:pt>
                <c:pt idx="845">
                  <c:v>28.43591</c:v>
                </c:pt>
                <c:pt idx="846">
                  <c:v>27.848673000000002</c:v>
                </c:pt>
                <c:pt idx="847">
                  <c:v>28.214565</c:v>
                </c:pt>
                <c:pt idx="848">
                  <c:v>28.490116</c:v>
                </c:pt>
                <c:pt idx="849">
                  <c:v>28.883113999999999</c:v>
                </c:pt>
                <c:pt idx="850">
                  <c:v>29.447766999999999</c:v>
                </c:pt>
                <c:pt idx="851">
                  <c:v>29.613344000000001</c:v>
                </c:pt>
                <c:pt idx="852">
                  <c:v>29.490867999999999</c:v>
                </c:pt>
                <c:pt idx="853">
                  <c:v>29.531693000000001</c:v>
                </c:pt>
                <c:pt idx="854">
                  <c:v>30.057915000000001</c:v>
                </c:pt>
                <c:pt idx="855">
                  <c:v>30.443494999999999</c:v>
                </c:pt>
                <c:pt idx="856">
                  <c:v>30.579594</c:v>
                </c:pt>
                <c:pt idx="857">
                  <c:v>30.461646999999999</c:v>
                </c:pt>
                <c:pt idx="858">
                  <c:v>30.316486000000001</c:v>
                </c:pt>
                <c:pt idx="859">
                  <c:v>30.402676</c:v>
                </c:pt>
                <c:pt idx="860">
                  <c:v>30.339167</c:v>
                </c:pt>
                <c:pt idx="861">
                  <c:v>30.330093000000002</c:v>
                </c:pt>
                <c:pt idx="862">
                  <c:v>30.434422000000001</c:v>
                </c:pt>
                <c:pt idx="863">
                  <c:v>30.448035999999998</c:v>
                </c:pt>
                <c:pt idx="864">
                  <c:v>30.402676</c:v>
                </c:pt>
                <c:pt idx="865">
                  <c:v>30.602271999999999</c:v>
                </c:pt>
                <c:pt idx="866">
                  <c:v>30.606798000000001</c:v>
                </c:pt>
                <c:pt idx="867">
                  <c:v>30.475254</c:v>
                </c:pt>
                <c:pt idx="868">
                  <c:v>30.810939999999999</c:v>
                </c:pt>
                <c:pt idx="869">
                  <c:v>30.783728</c:v>
                </c:pt>
                <c:pt idx="870">
                  <c:v>30.507006000000001</c:v>
                </c:pt>
                <c:pt idx="871">
                  <c:v>30.638559999999998</c:v>
                </c:pt>
                <c:pt idx="872">
                  <c:v>30.348241999999999</c:v>
                </c:pt>
                <c:pt idx="873">
                  <c:v>30.321021999999999</c:v>
                </c:pt>
                <c:pt idx="874">
                  <c:v>30.475254</c:v>
                </c:pt>
                <c:pt idx="875">
                  <c:v>30.570512999999998</c:v>
                </c:pt>
                <c:pt idx="876">
                  <c:v>30.425356000000001</c:v>
                </c:pt>
                <c:pt idx="877">
                  <c:v>30.348241999999999</c:v>
                </c:pt>
                <c:pt idx="878">
                  <c:v>30.493399</c:v>
                </c:pt>
                <c:pt idx="879">
                  <c:v>30.702074</c:v>
                </c:pt>
                <c:pt idx="880">
                  <c:v>30.624952</c:v>
                </c:pt>
                <c:pt idx="881">
                  <c:v>30.629498000000002</c:v>
                </c:pt>
                <c:pt idx="882">
                  <c:v>30.534224999999999</c:v>
                </c:pt>
                <c:pt idx="883">
                  <c:v>30.742892999999999</c:v>
                </c:pt>
                <c:pt idx="884">
                  <c:v>30.579594</c:v>
                </c:pt>
                <c:pt idx="885">
                  <c:v>30.071524</c:v>
                </c:pt>
                <c:pt idx="886">
                  <c:v>30.139562999999999</c:v>
                </c:pt>
                <c:pt idx="887">
                  <c:v>29.785727999999999</c:v>
                </c:pt>
                <c:pt idx="888">
                  <c:v>29.799334000000002</c:v>
                </c:pt>
                <c:pt idx="889">
                  <c:v>29.740364</c:v>
                </c:pt>
                <c:pt idx="890">
                  <c:v>29.717680000000001</c:v>
                </c:pt>
                <c:pt idx="891">
                  <c:v>29.785727999999999</c:v>
                </c:pt>
                <c:pt idx="892">
                  <c:v>29.735825999999999</c:v>
                </c:pt>
                <c:pt idx="893">
                  <c:v>29.60427</c:v>
                </c:pt>
                <c:pt idx="894">
                  <c:v>29.890070000000001</c:v>
                </c:pt>
                <c:pt idx="895">
                  <c:v>30.012540000000001</c:v>
                </c:pt>
                <c:pt idx="896">
                  <c:v>30.094193000000001</c:v>
                </c:pt>
                <c:pt idx="897">
                  <c:v>30.098742999999999</c:v>
                </c:pt>
                <c:pt idx="898">
                  <c:v>30.012540000000001</c:v>
                </c:pt>
                <c:pt idx="899">
                  <c:v>29.536228000000001</c:v>
                </c:pt>
                <c:pt idx="900">
                  <c:v>29.831092999999999</c:v>
                </c:pt>
                <c:pt idx="901">
                  <c:v>29.381989000000001</c:v>
                </c:pt>
                <c:pt idx="902">
                  <c:v>29.563441999999998</c:v>
                </c:pt>
                <c:pt idx="903">
                  <c:v>30.048836000000001</c:v>
                </c:pt>
                <c:pt idx="904">
                  <c:v>29.903673000000001</c:v>
                </c:pt>
                <c:pt idx="905">
                  <c:v>29.871922000000001</c:v>
                </c:pt>
                <c:pt idx="906">
                  <c:v>30.044312000000001</c:v>
                </c:pt>
                <c:pt idx="907">
                  <c:v>30.466183000000001</c:v>
                </c:pt>
                <c:pt idx="908">
                  <c:v>30.529693999999999</c:v>
                </c:pt>
                <c:pt idx="909">
                  <c:v>30.461646999999999</c:v>
                </c:pt>
                <c:pt idx="910">
                  <c:v>29.853764999999999</c:v>
                </c:pt>
                <c:pt idx="911">
                  <c:v>30.017088000000001</c:v>
                </c:pt>
                <c:pt idx="912">
                  <c:v>30.248434</c:v>
                </c:pt>
                <c:pt idx="913">
                  <c:v>30.053370000000001</c:v>
                </c:pt>
                <c:pt idx="914">
                  <c:v>30.094193000000001</c:v>
                </c:pt>
                <c:pt idx="915">
                  <c:v>30.151143999999999</c:v>
                </c:pt>
                <c:pt idx="916">
                  <c:v>29.987151999999998</c:v>
                </c:pt>
                <c:pt idx="917">
                  <c:v>29.973493999999999</c:v>
                </c:pt>
                <c:pt idx="918">
                  <c:v>29.795829999999999</c:v>
                </c:pt>
                <c:pt idx="919">
                  <c:v>29.773060000000001</c:v>
                </c:pt>
                <c:pt idx="920">
                  <c:v>29.964372999999998</c:v>
                </c:pt>
                <c:pt idx="921">
                  <c:v>29.590841000000001</c:v>
                </c:pt>
                <c:pt idx="922">
                  <c:v>29.718385999999999</c:v>
                </c:pt>
                <c:pt idx="923">
                  <c:v>29.663734000000002</c:v>
                </c:pt>
                <c:pt idx="924">
                  <c:v>29.700168999999999</c:v>
                </c:pt>
                <c:pt idx="925">
                  <c:v>29.618175999999998</c:v>
                </c:pt>
                <c:pt idx="926">
                  <c:v>29.554403000000001</c:v>
                </c:pt>
                <c:pt idx="927">
                  <c:v>29.568071</c:v>
                </c:pt>
                <c:pt idx="928">
                  <c:v>29.312975000000002</c:v>
                </c:pt>
                <c:pt idx="929">
                  <c:v>29.180872000000001</c:v>
                </c:pt>
                <c:pt idx="930">
                  <c:v>29.590841000000001</c:v>
                </c:pt>
                <c:pt idx="931">
                  <c:v>29.390411</c:v>
                </c:pt>
                <c:pt idx="932">
                  <c:v>28.497592999999998</c:v>
                </c:pt>
                <c:pt idx="933">
                  <c:v>28.00562</c:v>
                </c:pt>
                <c:pt idx="934">
                  <c:v>28.187833999999999</c:v>
                </c:pt>
                <c:pt idx="935">
                  <c:v>28.160501</c:v>
                </c:pt>
                <c:pt idx="936">
                  <c:v>27.991951</c:v>
                </c:pt>
                <c:pt idx="937">
                  <c:v>28.001066000000002</c:v>
                </c:pt>
                <c:pt idx="938">
                  <c:v>27.764194</c:v>
                </c:pt>
                <c:pt idx="939">
                  <c:v>27.632090000000002</c:v>
                </c:pt>
                <c:pt idx="940">
                  <c:v>28.019289000000001</c:v>
                </c:pt>
                <c:pt idx="941">
                  <c:v>28.479369999999999</c:v>
                </c:pt>
                <c:pt idx="942">
                  <c:v>28.903003999999999</c:v>
                </c:pt>
                <c:pt idx="943">
                  <c:v>29.654616999999998</c:v>
                </c:pt>
                <c:pt idx="944">
                  <c:v>30.274135999999999</c:v>
                </c:pt>
                <c:pt idx="945">
                  <c:v>30.638549999999999</c:v>
                </c:pt>
                <c:pt idx="946">
                  <c:v>30.511012999999998</c:v>
                </c:pt>
                <c:pt idx="947">
                  <c:v>30.734203000000001</c:v>
                </c:pt>
                <c:pt idx="948">
                  <c:v>31.198847000000001</c:v>
                </c:pt>
                <c:pt idx="949">
                  <c:v>31.130510000000001</c:v>
                </c:pt>
                <c:pt idx="950">
                  <c:v>31.066742000000001</c:v>
                </c:pt>
                <c:pt idx="951">
                  <c:v>31.440280000000001</c:v>
                </c:pt>
                <c:pt idx="952">
                  <c:v>31.412945000000001</c:v>
                </c:pt>
                <c:pt idx="953">
                  <c:v>31.504045000000001</c:v>
                </c:pt>
                <c:pt idx="954">
                  <c:v>31.116854</c:v>
                </c:pt>
                <c:pt idx="955">
                  <c:v>31.950455000000002</c:v>
                </c:pt>
                <c:pt idx="956">
                  <c:v>31.663489999999999</c:v>
                </c:pt>
                <c:pt idx="957">
                  <c:v>31.822914000000001</c:v>
                </c:pt>
                <c:pt idx="958">
                  <c:v>31.330942</c:v>
                </c:pt>
                <c:pt idx="959">
                  <c:v>31.285398000000001</c:v>
                </c:pt>
                <c:pt idx="960">
                  <c:v>31.294504</c:v>
                </c:pt>
                <c:pt idx="961">
                  <c:v>31.581489999999999</c:v>
                </c:pt>
                <c:pt idx="962">
                  <c:v>31.535933</c:v>
                </c:pt>
                <c:pt idx="963">
                  <c:v>31.636147999999999</c:v>
                </c:pt>
                <c:pt idx="964">
                  <c:v>31.431163999999999</c:v>
                </c:pt>
                <c:pt idx="965">
                  <c:v>31.877576999999999</c:v>
                </c:pt>
                <c:pt idx="966">
                  <c:v>31.895797999999999</c:v>
                </c:pt>
                <c:pt idx="967">
                  <c:v>31.832011999999999</c:v>
                </c:pt>
                <c:pt idx="968">
                  <c:v>31.822914000000001</c:v>
                </c:pt>
                <c:pt idx="969">
                  <c:v>31.955020000000001</c:v>
                </c:pt>
                <c:pt idx="970">
                  <c:v>32.346769999999999</c:v>
                </c:pt>
                <c:pt idx="971">
                  <c:v>32.264780000000002</c:v>
                </c:pt>
                <c:pt idx="972">
                  <c:v>32.351326</c:v>
                </c:pt>
                <c:pt idx="973">
                  <c:v>32.182774000000002</c:v>
                </c:pt>
                <c:pt idx="974">
                  <c:v>32.282989999999998</c:v>
                </c:pt>
                <c:pt idx="975">
                  <c:v>32.091675000000002</c:v>
                </c:pt>
                <c:pt idx="976">
                  <c:v>31.927685</c:v>
                </c:pt>
                <c:pt idx="977">
                  <c:v>31.577839999999998</c:v>
                </c:pt>
                <c:pt idx="978">
                  <c:v>31.577839999999998</c:v>
                </c:pt>
                <c:pt idx="979">
                  <c:v>31.952839999999998</c:v>
                </c:pt>
                <c:pt idx="980">
                  <c:v>32.080886999999997</c:v>
                </c:pt>
                <c:pt idx="981">
                  <c:v>32.135764999999999</c:v>
                </c:pt>
                <c:pt idx="982">
                  <c:v>32.391865000000003</c:v>
                </c:pt>
                <c:pt idx="983">
                  <c:v>32.433019999999999</c:v>
                </c:pt>
                <c:pt idx="984">
                  <c:v>32.794303999999997</c:v>
                </c:pt>
                <c:pt idx="985">
                  <c:v>32.661681999999999</c:v>
                </c:pt>
                <c:pt idx="986">
                  <c:v>33.279068000000002</c:v>
                </c:pt>
                <c:pt idx="987">
                  <c:v>33.183017999999997</c:v>
                </c:pt>
                <c:pt idx="988">
                  <c:v>33.059550000000002</c:v>
                </c:pt>
                <c:pt idx="989">
                  <c:v>33.205889999999997</c:v>
                </c:pt>
                <c:pt idx="990">
                  <c:v>33.644917</c:v>
                </c:pt>
                <c:pt idx="991">
                  <c:v>33.503143000000001</c:v>
                </c:pt>
                <c:pt idx="992">
                  <c:v>33.658633999999999</c:v>
                </c:pt>
                <c:pt idx="993">
                  <c:v>33.585470000000001</c:v>
                </c:pt>
                <c:pt idx="994">
                  <c:v>34.527541999999997</c:v>
                </c:pt>
                <c:pt idx="995">
                  <c:v>34.733333999999999</c:v>
                </c:pt>
                <c:pt idx="996">
                  <c:v>34.454365000000003</c:v>
                </c:pt>
                <c:pt idx="997">
                  <c:v>34.490955</c:v>
                </c:pt>
                <c:pt idx="998">
                  <c:v>34.577843000000001</c:v>
                </c:pt>
                <c:pt idx="999">
                  <c:v>34.340029999999999</c:v>
                </c:pt>
                <c:pt idx="1000">
                  <c:v>34.417786</c:v>
                </c:pt>
                <c:pt idx="1001">
                  <c:v>34.088509999999999</c:v>
                </c:pt>
                <c:pt idx="1002">
                  <c:v>34.234859999999998</c:v>
                </c:pt>
                <c:pt idx="1003">
                  <c:v>34.157119999999999</c:v>
                </c:pt>
                <c:pt idx="1004">
                  <c:v>34.312600000000003</c:v>
                </c:pt>
                <c:pt idx="1005">
                  <c:v>34.367485000000002</c:v>
                </c:pt>
                <c:pt idx="1006">
                  <c:v>34.623576999999997</c:v>
                </c:pt>
                <c:pt idx="1007">
                  <c:v>34.797350000000002</c:v>
                </c:pt>
                <c:pt idx="1008">
                  <c:v>35.030589999999997</c:v>
                </c:pt>
                <c:pt idx="1009">
                  <c:v>34.751632999999998</c:v>
                </c:pt>
                <c:pt idx="1010">
                  <c:v>34.445217</c:v>
                </c:pt>
                <c:pt idx="1011">
                  <c:v>34.655586</c:v>
                </c:pt>
                <c:pt idx="1012">
                  <c:v>34.701320000000003</c:v>
                </c:pt>
                <c:pt idx="1013">
                  <c:v>34.436070000000001</c:v>
                </c:pt>
                <c:pt idx="1014">
                  <c:v>34.655586</c:v>
                </c:pt>
                <c:pt idx="1015">
                  <c:v>34.326317000000003</c:v>
                </c:pt>
                <c:pt idx="1016">
                  <c:v>34.225709999999999</c:v>
                </c:pt>
                <c:pt idx="1017">
                  <c:v>34.381202999999999</c:v>
                </c:pt>
                <c:pt idx="1018">
                  <c:v>34.253155</c:v>
                </c:pt>
                <c:pt idx="1019">
                  <c:v>34.04278</c:v>
                </c:pt>
                <c:pt idx="1020">
                  <c:v>34.244</c:v>
                </c:pt>
                <c:pt idx="1021">
                  <c:v>34.225709999999999</c:v>
                </c:pt>
                <c:pt idx="1022">
                  <c:v>33.942172999999997</c:v>
                </c:pt>
                <c:pt idx="1023">
                  <c:v>34.189124999999997</c:v>
                </c:pt>
                <c:pt idx="1024">
                  <c:v>34.134247000000002</c:v>
                </c:pt>
                <c:pt idx="1025">
                  <c:v>34.115955</c:v>
                </c:pt>
                <c:pt idx="1026">
                  <c:v>34.216563999999998</c:v>
                </c:pt>
                <c:pt idx="1027">
                  <c:v>34.527541999999997</c:v>
                </c:pt>
                <c:pt idx="1028">
                  <c:v>34.463509999999999</c:v>
                </c:pt>
                <c:pt idx="1029">
                  <c:v>34.262295000000002</c:v>
                </c:pt>
                <c:pt idx="1030">
                  <c:v>34.280594000000001</c:v>
                </c:pt>
                <c:pt idx="1031">
                  <c:v>33.905586</c:v>
                </c:pt>
                <c:pt idx="1032">
                  <c:v>33.878143000000001</c:v>
                </c:pt>
                <c:pt idx="1033">
                  <c:v>34.04278</c:v>
                </c:pt>
                <c:pt idx="1034">
                  <c:v>34.189124999999997</c:v>
                </c:pt>
                <c:pt idx="1035">
                  <c:v>33.942172999999997</c:v>
                </c:pt>
                <c:pt idx="1036">
                  <c:v>33.923878000000002</c:v>
                </c:pt>
                <c:pt idx="1037">
                  <c:v>34.04278</c:v>
                </c:pt>
                <c:pt idx="1038">
                  <c:v>34.308025000000001</c:v>
                </c:pt>
                <c:pt idx="1039">
                  <c:v>34.381202999999999</c:v>
                </c:pt>
                <c:pt idx="1040">
                  <c:v>34.49877</c:v>
                </c:pt>
                <c:pt idx="1041">
                  <c:v>34.710030000000003</c:v>
                </c:pt>
                <c:pt idx="1042">
                  <c:v>34.296695999999997</c:v>
                </c:pt>
                <c:pt idx="1043">
                  <c:v>35.022309999999997</c:v>
                </c:pt>
                <c:pt idx="1044">
                  <c:v>34.930458000000002</c:v>
                </c:pt>
                <c:pt idx="1045">
                  <c:v>34.599795999999998</c:v>
                </c:pt>
                <c:pt idx="1046">
                  <c:v>34.195667</c:v>
                </c:pt>
                <c:pt idx="1047">
                  <c:v>34.250770000000003</c:v>
                </c:pt>
                <c:pt idx="1048">
                  <c:v>34.113</c:v>
                </c:pt>
                <c:pt idx="1049">
                  <c:v>34.168114000000003</c:v>
                </c:pt>
                <c:pt idx="1050">
                  <c:v>34.526313999999999</c:v>
                </c:pt>
                <c:pt idx="1051">
                  <c:v>34.471209999999999</c:v>
                </c:pt>
                <c:pt idx="1052">
                  <c:v>34.902897000000003</c:v>
                </c:pt>
                <c:pt idx="1053">
                  <c:v>35.049872999999998</c:v>
                </c:pt>
                <c:pt idx="1054">
                  <c:v>34.912098</c:v>
                </c:pt>
                <c:pt idx="1055">
                  <c:v>35.352974000000003</c:v>
                </c:pt>
                <c:pt idx="1056">
                  <c:v>35.628525000000003</c:v>
                </c:pt>
                <c:pt idx="1057">
                  <c:v>36.363320000000002</c:v>
                </c:pt>
                <c:pt idx="1058">
                  <c:v>35.995919999999998</c:v>
                </c:pt>
                <c:pt idx="1059">
                  <c:v>35.995919999999998</c:v>
                </c:pt>
                <c:pt idx="1060">
                  <c:v>36.133698000000003</c:v>
                </c:pt>
                <c:pt idx="1061">
                  <c:v>35.398895000000003</c:v>
                </c:pt>
                <c:pt idx="1062">
                  <c:v>35.169262000000003</c:v>
                </c:pt>
                <c:pt idx="1063">
                  <c:v>35.830593</c:v>
                </c:pt>
                <c:pt idx="1064">
                  <c:v>36.005108</c:v>
                </c:pt>
                <c:pt idx="1065">
                  <c:v>35.894886</c:v>
                </c:pt>
                <c:pt idx="1066">
                  <c:v>35.913249999999998</c:v>
                </c:pt>
                <c:pt idx="1067">
                  <c:v>36.060203999999999</c:v>
                </c:pt>
                <c:pt idx="1068">
                  <c:v>35.80303</c:v>
                </c:pt>
                <c:pt idx="1069">
                  <c:v>35.793849999999999</c:v>
                </c:pt>
                <c:pt idx="1070">
                  <c:v>35.656075000000001</c:v>
                </c:pt>
                <c:pt idx="1071">
                  <c:v>34.994759999999999</c:v>
                </c:pt>
                <c:pt idx="1072">
                  <c:v>35.518300000000004</c:v>
                </c:pt>
                <c:pt idx="1073">
                  <c:v>35.683624000000002</c:v>
                </c:pt>
                <c:pt idx="1074">
                  <c:v>36.271464999999999</c:v>
                </c:pt>
                <c:pt idx="1075">
                  <c:v>36.537827</c:v>
                </c:pt>
                <c:pt idx="1076">
                  <c:v>37.043014999999997</c:v>
                </c:pt>
                <c:pt idx="1077">
                  <c:v>37.052185000000001</c:v>
                </c:pt>
                <c:pt idx="1078">
                  <c:v>37.575733</c:v>
                </c:pt>
                <c:pt idx="1079">
                  <c:v>37.750247999999999</c:v>
                </c:pt>
                <c:pt idx="1080">
                  <c:v>38.292160000000003</c:v>
                </c:pt>
                <c:pt idx="1081">
                  <c:v>38.264606000000001</c:v>
                </c:pt>
                <c:pt idx="1082">
                  <c:v>38.567709999999998</c:v>
                </c:pt>
                <c:pt idx="1083">
                  <c:v>38.384017999999998</c:v>
                </c:pt>
                <c:pt idx="1084">
                  <c:v>38.319713999999998</c:v>
                </c:pt>
                <c:pt idx="1085">
                  <c:v>38.475859999999997</c:v>
                </c:pt>
                <c:pt idx="1086">
                  <c:v>37.603282999999998</c:v>
                </c:pt>
                <c:pt idx="1087">
                  <c:v>37.373669999999997</c:v>
                </c:pt>
                <c:pt idx="1088">
                  <c:v>37.630844000000003</c:v>
                </c:pt>
                <c:pt idx="1089">
                  <c:v>37.860469999999999</c:v>
                </c:pt>
                <c:pt idx="1090">
                  <c:v>37.741059999999997</c:v>
                </c:pt>
                <c:pt idx="1091">
                  <c:v>38.062539999999998</c:v>
                </c:pt>
                <c:pt idx="1092">
                  <c:v>37.915576999999999</c:v>
                </c:pt>
                <c:pt idx="1093">
                  <c:v>38.393191999999999</c:v>
                </c:pt>
                <c:pt idx="1094">
                  <c:v>37.098109999999998</c:v>
                </c:pt>
                <c:pt idx="1095">
                  <c:v>36.997073999999998</c:v>
                </c:pt>
                <c:pt idx="1096">
                  <c:v>36.68479</c:v>
                </c:pt>
                <c:pt idx="1097">
                  <c:v>36.280655000000003</c:v>
                </c:pt>
                <c:pt idx="1098">
                  <c:v>36.363320000000002</c:v>
                </c:pt>
                <c:pt idx="1099">
                  <c:v>36.051025000000003</c:v>
                </c:pt>
                <c:pt idx="1100">
                  <c:v>36.611317</c:v>
                </c:pt>
                <c:pt idx="1101">
                  <c:v>35.701999999999998</c:v>
                </c:pt>
                <c:pt idx="1102">
                  <c:v>35.893825999999997</c:v>
                </c:pt>
                <c:pt idx="1103">
                  <c:v>35.377369999999999</c:v>
                </c:pt>
                <c:pt idx="1104">
                  <c:v>35.700156999999997</c:v>
                </c:pt>
                <c:pt idx="1105">
                  <c:v>35.275919999999999</c:v>
                </c:pt>
                <c:pt idx="1106">
                  <c:v>35.571036999999997</c:v>
                </c:pt>
                <c:pt idx="1107">
                  <c:v>35.746265000000001</c:v>
                </c:pt>
                <c:pt idx="1108">
                  <c:v>35.755499999999998</c:v>
                </c:pt>
                <c:pt idx="1109">
                  <c:v>35.986046000000002</c:v>
                </c:pt>
                <c:pt idx="1110">
                  <c:v>36.253494000000003</c:v>
                </c:pt>
                <c:pt idx="1111">
                  <c:v>36.152059999999999</c:v>
                </c:pt>
                <c:pt idx="1112">
                  <c:v>36.152059999999999</c:v>
                </c:pt>
                <c:pt idx="1113">
                  <c:v>36.133614000000001</c:v>
                </c:pt>
                <c:pt idx="1114">
                  <c:v>36.281174</c:v>
                </c:pt>
                <c:pt idx="1115">
                  <c:v>36.419505999999998</c:v>
                </c:pt>
                <c:pt idx="1116">
                  <c:v>36.54862</c:v>
                </c:pt>
                <c:pt idx="1117">
                  <c:v>36.401062000000003</c:v>
                </c:pt>
                <c:pt idx="1118">
                  <c:v>36.659289999999999</c:v>
                </c:pt>
                <c:pt idx="1119">
                  <c:v>36.290393999999999</c:v>
                </c:pt>
                <c:pt idx="1120">
                  <c:v>36.364178000000003</c:v>
                </c:pt>
                <c:pt idx="1121">
                  <c:v>36.447166000000003</c:v>
                </c:pt>
                <c:pt idx="1122">
                  <c:v>37.304870000000001</c:v>
                </c:pt>
                <c:pt idx="1123">
                  <c:v>37.203409999999998</c:v>
                </c:pt>
                <c:pt idx="1124">
                  <c:v>36.899075000000003</c:v>
                </c:pt>
                <c:pt idx="1125">
                  <c:v>36.613182000000002</c:v>
                </c:pt>
                <c:pt idx="1126">
                  <c:v>36.520958</c:v>
                </c:pt>
                <c:pt idx="1127">
                  <c:v>36.530166999999999</c:v>
                </c:pt>
                <c:pt idx="1128">
                  <c:v>36.816074</c:v>
                </c:pt>
                <c:pt idx="1129">
                  <c:v>37.470863000000001</c:v>
                </c:pt>
                <c:pt idx="1130">
                  <c:v>37.563099999999999</c:v>
                </c:pt>
                <c:pt idx="1131">
                  <c:v>37.913544000000002</c:v>
                </c:pt>
                <c:pt idx="1132">
                  <c:v>38.642119999999998</c:v>
                </c:pt>
                <c:pt idx="1133">
                  <c:v>38.273215999999998</c:v>
                </c:pt>
                <c:pt idx="1134">
                  <c:v>38.033439999999999</c:v>
                </c:pt>
                <c:pt idx="1135">
                  <c:v>37.138863000000001</c:v>
                </c:pt>
                <c:pt idx="1136">
                  <c:v>37.369427000000002</c:v>
                </c:pt>
                <c:pt idx="1137">
                  <c:v>37.627647000000003</c:v>
                </c:pt>
                <c:pt idx="1138">
                  <c:v>38.134884</c:v>
                </c:pt>
                <c:pt idx="1139">
                  <c:v>37.489310000000003</c:v>
                </c:pt>
                <c:pt idx="1140">
                  <c:v>37.018967000000004</c:v>
                </c:pt>
                <c:pt idx="1141">
                  <c:v>37.074303</c:v>
                </c:pt>
                <c:pt idx="1142">
                  <c:v>37.203409999999998</c:v>
                </c:pt>
                <c:pt idx="1143">
                  <c:v>37.037415000000003</c:v>
                </c:pt>
                <c:pt idx="1144">
                  <c:v>37.646099999999997</c:v>
                </c:pt>
                <c:pt idx="1145">
                  <c:v>37.452423000000003</c:v>
                </c:pt>
                <c:pt idx="1146">
                  <c:v>37.867443000000002</c:v>
                </c:pt>
                <c:pt idx="1147">
                  <c:v>37.507759999999998</c:v>
                </c:pt>
                <c:pt idx="1148">
                  <c:v>37.968879999999999</c:v>
                </c:pt>
                <c:pt idx="1149">
                  <c:v>35.598705000000002</c:v>
                </c:pt>
                <c:pt idx="1150">
                  <c:v>35.239037000000003</c:v>
                </c:pt>
                <c:pt idx="1151">
                  <c:v>34.888587999999999</c:v>
                </c:pt>
                <c:pt idx="1152">
                  <c:v>34.953133000000001</c:v>
                </c:pt>
                <c:pt idx="1153">
                  <c:v>35.008465000000001</c:v>
                </c:pt>
                <c:pt idx="1154">
                  <c:v>34.676464000000003</c:v>
                </c:pt>
                <c:pt idx="1155">
                  <c:v>34.05856</c:v>
                </c:pt>
                <c:pt idx="1156">
                  <c:v>34.224552000000003</c:v>
                </c:pt>
                <c:pt idx="1157">
                  <c:v>34.399783999999997</c:v>
                </c:pt>
                <c:pt idx="1158">
                  <c:v>34.547350000000002</c:v>
                </c:pt>
                <c:pt idx="1159">
                  <c:v>34.556570000000001</c:v>
                </c:pt>
                <c:pt idx="1160">
                  <c:v>35.137590000000003</c:v>
                </c:pt>
                <c:pt idx="1161">
                  <c:v>34.962359999999997</c:v>
                </c:pt>
                <c:pt idx="1162">
                  <c:v>34.870148</c:v>
                </c:pt>
                <c:pt idx="1163">
                  <c:v>35.534149999999997</c:v>
                </c:pt>
                <c:pt idx="1164">
                  <c:v>34.879359999999998</c:v>
                </c:pt>
                <c:pt idx="1165">
                  <c:v>35.488033000000001</c:v>
                </c:pt>
                <c:pt idx="1166">
                  <c:v>35.017693000000001</c:v>
                </c:pt>
                <c:pt idx="1167">
                  <c:v>35.469630000000002</c:v>
                </c:pt>
                <c:pt idx="1168">
                  <c:v>35.738194</c:v>
                </c:pt>
                <c:pt idx="1169">
                  <c:v>35.515934000000001</c:v>
                </c:pt>
                <c:pt idx="1170">
                  <c:v>35.201065</c:v>
                </c:pt>
                <c:pt idx="1171">
                  <c:v>35.006577</c:v>
                </c:pt>
                <c:pt idx="1172">
                  <c:v>34.904710000000001</c:v>
                </c:pt>
                <c:pt idx="1173">
                  <c:v>34.654662999999999</c:v>
                </c:pt>
                <c:pt idx="1174">
                  <c:v>33.293289999999999</c:v>
                </c:pt>
                <c:pt idx="1175">
                  <c:v>33.348866000000001</c:v>
                </c:pt>
                <c:pt idx="1176">
                  <c:v>33.904525999999997</c:v>
                </c:pt>
                <c:pt idx="1177">
                  <c:v>33.77487</c:v>
                </c:pt>
                <c:pt idx="1178">
                  <c:v>33.524822</c:v>
                </c:pt>
                <c:pt idx="1179">
                  <c:v>34.173096000000001</c:v>
                </c:pt>
                <c:pt idx="1180">
                  <c:v>34.469439999999999</c:v>
                </c:pt>
                <c:pt idx="1181">
                  <c:v>33.848953000000002</c:v>
                </c:pt>
                <c:pt idx="1182">
                  <c:v>33.802647</c:v>
                </c:pt>
                <c:pt idx="1183">
                  <c:v>34.108260000000001</c:v>
                </c:pt>
                <c:pt idx="1184">
                  <c:v>33.589649999999999</c:v>
                </c:pt>
                <c:pt idx="1185">
                  <c:v>34.071227999999998</c:v>
                </c:pt>
                <c:pt idx="1186">
                  <c:v>33.802647</c:v>
                </c:pt>
                <c:pt idx="1187">
                  <c:v>33.36739</c:v>
                </c:pt>
                <c:pt idx="1188">
                  <c:v>33.413691999999998</c:v>
                </c:pt>
                <c:pt idx="1189">
                  <c:v>32.552419999999998</c:v>
                </c:pt>
                <c:pt idx="1190">
                  <c:v>33.04325</c:v>
                </c:pt>
                <c:pt idx="1191">
                  <c:v>32.913592999999999</c:v>
                </c:pt>
                <c:pt idx="1192">
                  <c:v>33.700775</c:v>
                </c:pt>
                <c:pt idx="1193">
                  <c:v>33.534080000000003</c:v>
                </c:pt>
                <c:pt idx="1194">
                  <c:v>33.858215000000001</c:v>
                </c:pt>
                <c:pt idx="1195">
                  <c:v>34.126773999999997</c:v>
                </c:pt>
                <c:pt idx="1196">
                  <c:v>34.497222999999998</c:v>
                </c:pt>
                <c:pt idx="1197">
                  <c:v>34.136054999999999</c:v>
                </c:pt>
                <c:pt idx="1198">
                  <c:v>34.432392</c:v>
                </c:pt>
                <c:pt idx="1199">
                  <c:v>34.330523999999997</c:v>
                </c:pt>
                <c:pt idx="1200">
                  <c:v>33.487777999999999</c:v>
                </c:pt>
                <c:pt idx="1201">
                  <c:v>33.182160000000003</c:v>
                </c:pt>
                <c:pt idx="1202">
                  <c:v>33.728560000000002</c:v>
                </c:pt>
                <c:pt idx="1203">
                  <c:v>33.719299999999997</c:v>
                </c:pt>
                <c:pt idx="1204">
                  <c:v>33.219195999999997</c:v>
                </c:pt>
                <c:pt idx="1205">
                  <c:v>32.922854999999998</c:v>
                </c:pt>
                <c:pt idx="1206">
                  <c:v>33.571120000000001</c:v>
                </c:pt>
                <c:pt idx="1207">
                  <c:v>34.441659999999999</c:v>
                </c:pt>
                <c:pt idx="1208">
                  <c:v>34.765793000000002</c:v>
                </c:pt>
                <c:pt idx="1209">
                  <c:v>35.590026999999999</c:v>
                </c:pt>
                <c:pt idx="1210">
                  <c:v>37.340350000000001</c:v>
                </c:pt>
                <c:pt idx="1211">
                  <c:v>36.599463999999998</c:v>
                </c:pt>
                <c:pt idx="1212">
                  <c:v>35.775233999999998</c:v>
                </c:pt>
                <c:pt idx="1213">
                  <c:v>35.089928</c:v>
                </c:pt>
                <c:pt idx="1214">
                  <c:v>35.145504000000003</c:v>
                </c:pt>
                <c:pt idx="1215">
                  <c:v>35.59928</c:v>
                </c:pt>
                <c:pt idx="1216">
                  <c:v>36.590206000000002</c:v>
                </c:pt>
                <c:pt idx="1217">
                  <c:v>35.728943000000001</c:v>
                </c:pt>
                <c:pt idx="1218">
                  <c:v>36.229027000000002</c:v>
                </c:pt>
                <c:pt idx="1219">
                  <c:v>36.775433</c:v>
                </c:pt>
                <c:pt idx="1220">
                  <c:v>36.617995999999998</c:v>
                </c:pt>
                <c:pt idx="1221">
                  <c:v>36.247554999999998</c:v>
                </c:pt>
                <c:pt idx="1222">
                  <c:v>36.469819999999999</c:v>
                </c:pt>
                <c:pt idx="1223">
                  <c:v>37.794144000000003</c:v>
                </c:pt>
                <c:pt idx="1224">
                  <c:v>37.766356999999999</c:v>
                </c:pt>
                <c:pt idx="1225">
                  <c:v>37.803406000000003</c:v>
                </c:pt>
                <c:pt idx="1226">
                  <c:v>37.423701999999999</c:v>
                </c:pt>
                <c:pt idx="1227">
                  <c:v>37.312570000000001</c:v>
                </c:pt>
                <c:pt idx="1228">
                  <c:v>37.090297999999997</c:v>
                </c:pt>
                <c:pt idx="1229">
                  <c:v>38.185569999999998</c:v>
                </c:pt>
                <c:pt idx="1230">
                  <c:v>37.571922000000001</c:v>
                </c:pt>
                <c:pt idx="1231">
                  <c:v>37.813662999999998</c:v>
                </c:pt>
                <c:pt idx="1232">
                  <c:v>38.157677</c:v>
                </c:pt>
                <c:pt idx="1233">
                  <c:v>37.637009999999997</c:v>
                </c:pt>
                <c:pt idx="1234">
                  <c:v>37.757877000000001</c:v>
                </c:pt>
                <c:pt idx="1235">
                  <c:v>38.204166000000001</c:v>
                </c:pt>
                <c:pt idx="1236">
                  <c:v>39.608110000000003</c:v>
                </c:pt>
                <c:pt idx="1237">
                  <c:v>39.459359999999997</c:v>
                </c:pt>
                <c:pt idx="1238">
                  <c:v>38.882893000000003</c:v>
                </c:pt>
                <c:pt idx="1239">
                  <c:v>38.752735000000001</c:v>
                </c:pt>
                <c:pt idx="1240">
                  <c:v>38.910789999999999</c:v>
                </c:pt>
                <c:pt idx="1241">
                  <c:v>39.515140000000002</c:v>
                </c:pt>
                <c:pt idx="1242">
                  <c:v>39.877749999999999</c:v>
                </c:pt>
                <c:pt idx="1243">
                  <c:v>39.459359999999997</c:v>
                </c:pt>
                <c:pt idx="1244">
                  <c:v>39.970722000000002</c:v>
                </c:pt>
                <c:pt idx="1245">
                  <c:v>39.180424000000002</c:v>
                </c:pt>
                <c:pt idx="1246">
                  <c:v>39.794074999999999</c:v>
                </c:pt>
                <c:pt idx="1247">
                  <c:v>39.031660000000002</c:v>
                </c:pt>
                <c:pt idx="1248">
                  <c:v>39.366374999999998</c:v>
                </c:pt>
                <c:pt idx="1249">
                  <c:v>39.543025999999998</c:v>
                </c:pt>
                <c:pt idx="1250">
                  <c:v>38.947975</c:v>
                </c:pt>
                <c:pt idx="1251">
                  <c:v>38.222763</c:v>
                </c:pt>
                <c:pt idx="1252">
                  <c:v>36.446910000000003</c:v>
                </c:pt>
                <c:pt idx="1253">
                  <c:v>36.883899999999997</c:v>
                </c:pt>
                <c:pt idx="1254">
                  <c:v>37.330179999999999</c:v>
                </c:pt>
                <c:pt idx="1255">
                  <c:v>35.507840000000002</c:v>
                </c:pt>
                <c:pt idx="1256">
                  <c:v>35.861145</c:v>
                </c:pt>
                <c:pt idx="1257">
                  <c:v>35.833252000000002</c:v>
                </c:pt>
                <c:pt idx="1258">
                  <c:v>36.223759999999999</c:v>
                </c:pt>
                <c:pt idx="1259">
                  <c:v>36.660755000000002</c:v>
                </c:pt>
                <c:pt idx="1260">
                  <c:v>37.265101999999999</c:v>
                </c:pt>
                <c:pt idx="1261">
                  <c:v>36.995469999999997</c:v>
                </c:pt>
                <c:pt idx="1262">
                  <c:v>36.697949999999999</c:v>
                </c:pt>
                <c:pt idx="1263">
                  <c:v>36.270251999999999</c:v>
                </c:pt>
                <c:pt idx="1264">
                  <c:v>36.074997000000003</c:v>
                </c:pt>
                <c:pt idx="1265">
                  <c:v>36.725838000000003</c:v>
                </c:pt>
                <c:pt idx="1266">
                  <c:v>36.800217000000004</c:v>
                </c:pt>
                <c:pt idx="1267">
                  <c:v>34.085296999999997</c:v>
                </c:pt>
                <c:pt idx="1268">
                  <c:v>33.666904000000002</c:v>
                </c:pt>
                <c:pt idx="1269">
                  <c:v>33.97372</c:v>
                </c:pt>
                <c:pt idx="1270">
                  <c:v>33.927239999999998</c:v>
                </c:pt>
                <c:pt idx="1271">
                  <c:v>34.196860000000001</c:v>
                </c:pt>
                <c:pt idx="1272">
                  <c:v>34.280537000000002</c:v>
                </c:pt>
                <c:pt idx="1273">
                  <c:v>33.583219999999997</c:v>
                </c:pt>
                <c:pt idx="1274">
                  <c:v>34.289839999999998</c:v>
                </c:pt>
                <c:pt idx="1275">
                  <c:v>34.522289999999998</c:v>
                </c:pt>
                <c:pt idx="1276">
                  <c:v>34.364220000000003</c:v>
                </c:pt>
                <c:pt idx="1277">
                  <c:v>33.871445000000001</c:v>
                </c:pt>
                <c:pt idx="1278">
                  <c:v>33.490245999999999</c:v>
                </c:pt>
                <c:pt idx="1279">
                  <c:v>33.61112</c:v>
                </c:pt>
                <c:pt idx="1280">
                  <c:v>33.313583000000001</c:v>
                </c:pt>
                <c:pt idx="1281">
                  <c:v>32.820799999999998</c:v>
                </c:pt>
                <c:pt idx="1282">
                  <c:v>32.142082000000002</c:v>
                </c:pt>
                <c:pt idx="1283">
                  <c:v>32.067706999999999</c:v>
                </c:pt>
                <c:pt idx="1284">
                  <c:v>30.896190000000001</c:v>
                </c:pt>
                <c:pt idx="1285">
                  <c:v>30.840402999999998</c:v>
                </c:pt>
                <c:pt idx="1286">
                  <c:v>31.18441</c:v>
                </c:pt>
                <c:pt idx="1287">
                  <c:v>30.673044000000001</c:v>
                </c:pt>
                <c:pt idx="1288">
                  <c:v>30.942677</c:v>
                </c:pt>
                <c:pt idx="1289">
                  <c:v>31.770164000000001</c:v>
                </c:pt>
                <c:pt idx="1290">
                  <c:v>31.165821000000001</c:v>
                </c:pt>
                <c:pt idx="1291">
                  <c:v>31.296731999999999</c:v>
                </c:pt>
                <c:pt idx="1292">
                  <c:v>32.082188000000002</c:v>
                </c:pt>
                <c:pt idx="1293">
                  <c:v>32.353360000000002</c:v>
                </c:pt>
                <c:pt idx="1294">
                  <c:v>31.904527999999999</c:v>
                </c:pt>
                <c:pt idx="1295">
                  <c:v>31.745567000000001</c:v>
                </c:pt>
                <c:pt idx="1296">
                  <c:v>31.661411000000001</c:v>
                </c:pt>
                <c:pt idx="1297">
                  <c:v>31.380890000000001</c:v>
                </c:pt>
                <c:pt idx="1298">
                  <c:v>30.978812999999999</c:v>
                </c:pt>
                <c:pt idx="1299">
                  <c:v>30.875954</c:v>
                </c:pt>
                <c:pt idx="1300">
                  <c:v>31.352837000000001</c:v>
                </c:pt>
                <c:pt idx="1301">
                  <c:v>31.109722000000001</c:v>
                </c:pt>
                <c:pt idx="1302">
                  <c:v>31.109722000000001</c:v>
                </c:pt>
                <c:pt idx="1303">
                  <c:v>31.306086000000001</c:v>
                </c:pt>
                <c:pt idx="1304">
                  <c:v>31.053609999999999</c:v>
                </c:pt>
                <c:pt idx="1305">
                  <c:v>31.670755</c:v>
                </c:pt>
                <c:pt idx="1306">
                  <c:v>31.184522999999999</c:v>
                </c:pt>
                <c:pt idx="1307">
                  <c:v>32.035435</c:v>
                </c:pt>
                <c:pt idx="1308">
                  <c:v>31.165821000000001</c:v>
                </c:pt>
                <c:pt idx="1309">
                  <c:v>29.744522</c:v>
                </c:pt>
                <c:pt idx="1310">
                  <c:v>29.351787999999999</c:v>
                </c:pt>
                <c:pt idx="1311">
                  <c:v>29.978285</c:v>
                </c:pt>
                <c:pt idx="1312">
                  <c:v>29.267631999999999</c:v>
                </c:pt>
                <c:pt idx="1313">
                  <c:v>28.996468</c:v>
                </c:pt>
                <c:pt idx="1314">
                  <c:v>29.884779999999999</c:v>
                </c:pt>
                <c:pt idx="1315">
                  <c:v>30.286857999999999</c:v>
                </c:pt>
                <c:pt idx="1316">
                  <c:v>28.603739000000001</c:v>
                </c:pt>
                <c:pt idx="1317">
                  <c:v>28.734646000000001</c:v>
                </c:pt>
                <c:pt idx="1318">
                  <c:v>29.510750000000002</c:v>
                </c:pt>
                <c:pt idx="1319">
                  <c:v>29.828678</c:v>
                </c:pt>
                <c:pt idx="1320">
                  <c:v>30.053093000000001</c:v>
                </c:pt>
                <c:pt idx="1321">
                  <c:v>29.931532000000001</c:v>
                </c:pt>
                <c:pt idx="1322">
                  <c:v>30.436471999999998</c:v>
                </c:pt>
                <c:pt idx="1323">
                  <c:v>30.30556</c:v>
                </c:pt>
                <c:pt idx="1324">
                  <c:v>30.595438000000001</c:v>
                </c:pt>
                <c:pt idx="1325">
                  <c:v>30.240105</c:v>
                </c:pt>
                <c:pt idx="1326">
                  <c:v>30.399065</c:v>
                </c:pt>
                <c:pt idx="1327">
                  <c:v>29.809972999999999</c:v>
                </c:pt>
                <c:pt idx="1328">
                  <c:v>29.576204000000001</c:v>
                </c:pt>
                <c:pt idx="1329">
                  <c:v>29.688414000000002</c:v>
                </c:pt>
                <c:pt idx="1330">
                  <c:v>29.463999999999999</c:v>
                </c:pt>
                <c:pt idx="1331">
                  <c:v>29.435946999999999</c:v>
                </c:pt>
                <c:pt idx="1332">
                  <c:v>29.155429999999999</c:v>
                </c:pt>
                <c:pt idx="1333">
                  <c:v>29.230232000000001</c:v>
                </c:pt>
                <c:pt idx="1334">
                  <c:v>29.258284</c:v>
                </c:pt>
                <c:pt idx="1335">
                  <c:v>29.061917999999999</c:v>
                </c:pt>
                <c:pt idx="1336">
                  <c:v>30.17465</c:v>
                </c:pt>
                <c:pt idx="1337">
                  <c:v>29.922177999999999</c:v>
                </c:pt>
                <c:pt idx="1338">
                  <c:v>29.99699</c:v>
                </c:pt>
                <c:pt idx="1339">
                  <c:v>29.922177999999999</c:v>
                </c:pt>
                <c:pt idx="1340">
                  <c:v>30.277505999999999</c:v>
                </c:pt>
                <c:pt idx="1341">
                  <c:v>30.221402999999999</c:v>
                </c:pt>
                <c:pt idx="1342">
                  <c:v>31.624003999999999</c:v>
                </c:pt>
                <c:pt idx="1343">
                  <c:v>31.680109999999999</c:v>
                </c:pt>
                <c:pt idx="1344">
                  <c:v>30.464523</c:v>
                </c:pt>
                <c:pt idx="1345">
                  <c:v>30.679590000000001</c:v>
                </c:pt>
                <c:pt idx="1346">
                  <c:v>31.221927999999998</c:v>
                </c:pt>
                <c:pt idx="1347">
                  <c:v>30.660886999999999</c:v>
                </c:pt>
                <c:pt idx="1348">
                  <c:v>31.614654999999999</c:v>
                </c:pt>
                <c:pt idx="1349">
                  <c:v>30.969456000000001</c:v>
                </c:pt>
                <c:pt idx="1350">
                  <c:v>30.651533000000001</c:v>
                </c:pt>
                <c:pt idx="1351">
                  <c:v>30.193353999999999</c:v>
                </c:pt>
                <c:pt idx="1352">
                  <c:v>30.511275999999999</c:v>
                </c:pt>
                <c:pt idx="1353">
                  <c:v>30.679590000000001</c:v>
                </c:pt>
                <c:pt idx="1354">
                  <c:v>31.196867000000001</c:v>
                </c:pt>
                <c:pt idx="1355">
                  <c:v>31.12163</c:v>
                </c:pt>
                <c:pt idx="1356">
                  <c:v>31.149843000000001</c:v>
                </c:pt>
                <c:pt idx="1357">
                  <c:v>31.582487</c:v>
                </c:pt>
                <c:pt idx="1358">
                  <c:v>31.563675</c:v>
                </c:pt>
                <c:pt idx="1359">
                  <c:v>31.356762</c:v>
                </c:pt>
                <c:pt idx="1360">
                  <c:v>31.761177</c:v>
                </c:pt>
                <c:pt idx="1361">
                  <c:v>32.494777999999997</c:v>
                </c:pt>
                <c:pt idx="1362">
                  <c:v>32.635849999999998</c:v>
                </c:pt>
                <c:pt idx="1363">
                  <c:v>32.889792999999997</c:v>
                </c:pt>
                <c:pt idx="1364">
                  <c:v>32.231437999999997</c:v>
                </c:pt>
                <c:pt idx="1365">
                  <c:v>32.015118000000001</c:v>
                </c:pt>
                <c:pt idx="1366">
                  <c:v>32.833365999999998</c:v>
                </c:pt>
                <c:pt idx="1367">
                  <c:v>32.259650000000001</c:v>
                </c:pt>
                <c:pt idx="1368">
                  <c:v>32.13738</c:v>
                </c:pt>
                <c:pt idx="1369">
                  <c:v>31.403786</c:v>
                </c:pt>
                <c:pt idx="1370">
                  <c:v>31.431999999999999</c:v>
                </c:pt>
                <c:pt idx="1371">
                  <c:v>32.682876999999998</c:v>
                </c:pt>
                <c:pt idx="1372">
                  <c:v>32.993256000000002</c:v>
                </c:pt>
                <c:pt idx="1373">
                  <c:v>33.350650000000002</c:v>
                </c:pt>
                <c:pt idx="1374">
                  <c:v>33.651615</c:v>
                </c:pt>
                <c:pt idx="1375">
                  <c:v>33.294220000000003</c:v>
                </c:pt>
                <c:pt idx="1376">
                  <c:v>32.579430000000002</c:v>
                </c:pt>
                <c:pt idx="1377">
                  <c:v>33.303629999999998</c:v>
                </c:pt>
                <c:pt idx="1378">
                  <c:v>33.218975</c:v>
                </c:pt>
                <c:pt idx="1379">
                  <c:v>33.294220000000003</c:v>
                </c:pt>
                <c:pt idx="1380">
                  <c:v>32.965034000000003</c:v>
                </c:pt>
                <c:pt idx="1381">
                  <c:v>33.378860000000003</c:v>
                </c:pt>
                <c:pt idx="1382">
                  <c:v>32.993256000000002</c:v>
                </c:pt>
                <c:pt idx="1383">
                  <c:v>32.955635000000001</c:v>
                </c:pt>
                <c:pt idx="1384">
                  <c:v>33.284816999999997</c:v>
                </c:pt>
                <c:pt idx="1385">
                  <c:v>32.889792999999997</c:v>
                </c:pt>
                <c:pt idx="1386">
                  <c:v>33.538756999999997</c:v>
                </c:pt>
                <c:pt idx="1387">
                  <c:v>33.482323000000001</c:v>
                </c:pt>
                <c:pt idx="1388">
                  <c:v>33.322432999999997</c:v>
                </c:pt>
                <c:pt idx="1389">
                  <c:v>33.613990000000001</c:v>
                </c:pt>
                <c:pt idx="1390">
                  <c:v>33.369464999999998</c:v>
                </c:pt>
                <c:pt idx="1391">
                  <c:v>33.209575999999998</c:v>
                </c:pt>
                <c:pt idx="1392">
                  <c:v>34.328785000000003</c:v>
                </c:pt>
                <c:pt idx="1393">
                  <c:v>34.262949999999996</c:v>
                </c:pt>
                <c:pt idx="1394">
                  <c:v>34.187705999999999</c:v>
                </c:pt>
                <c:pt idx="1395">
                  <c:v>34.563907999999998</c:v>
                </c:pt>
                <c:pt idx="1396">
                  <c:v>34.498077000000002</c:v>
                </c:pt>
                <c:pt idx="1397">
                  <c:v>34.789639999999999</c:v>
                </c:pt>
                <c:pt idx="1398">
                  <c:v>34.215927000000001</c:v>
                </c:pt>
                <c:pt idx="1399">
                  <c:v>34.121870000000001</c:v>
                </c:pt>
                <c:pt idx="1400">
                  <c:v>33.783282999999997</c:v>
                </c:pt>
                <c:pt idx="1401">
                  <c:v>34.018416999999999</c:v>
                </c:pt>
                <c:pt idx="1402">
                  <c:v>34.197110000000002</c:v>
                </c:pt>
                <c:pt idx="1403">
                  <c:v>34.140680000000003</c:v>
                </c:pt>
                <c:pt idx="1404">
                  <c:v>33.943171999999997</c:v>
                </c:pt>
                <c:pt idx="1405">
                  <c:v>34.836660000000002</c:v>
                </c:pt>
                <c:pt idx="1406">
                  <c:v>34.761420000000001</c:v>
                </c:pt>
                <c:pt idx="1407">
                  <c:v>34.761420000000001</c:v>
                </c:pt>
                <c:pt idx="1408">
                  <c:v>35.495019999999997</c:v>
                </c:pt>
                <c:pt idx="1409">
                  <c:v>35.1</c:v>
                </c:pt>
                <c:pt idx="1410">
                  <c:v>35.560859999999998</c:v>
                </c:pt>
                <c:pt idx="1411">
                  <c:v>35.645508</c:v>
                </c:pt>
                <c:pt idx="1412">
                  <c:v>33.510536000000002</c:v>
                </c:pt>
                <c:pt idx="1413">
                  <c:v>33.294220000000003</c:v>
                </c:pt>
                <c:pt idx="1414">
                  <c:v>33.265994999999997</c:v>
                </c:pt>
                <c:pt idx="1415">
                  <c:v>33.124929999999999</c:v>
                </c:pt>
                <c:pt idx="1416">
                  <c:v>33.303629999999998</c:v>
                </c:pt>
                <c:pt idx="1417">
                  <c:v>33.407077999999998</c:v>
                </c:pt>
                <c:pt idx="1418">
                  <c:v>33.756934999999999</c:v>
                </c:pt>
                <c:pt idx="1419">
                  <c:v>33.274695999999999</c:v>
                </c:pt>
                <c:pt idx="1420">
                  <c:v>33.293605999999997</c:v>
                </c:pt>
                <c:pt idx="1421">
                  <c:v>32.678992999999998</c:v>
                </c:pt>
                <c:pt idx="1422">
                  <c:v>33.265239999999999</c:v>
                </c:pt>
                <c:pt idx="1423">
                  <c:v>33.511093000000002</c:v>
                </c:pt>
                <c:pt idx="1424">
                  <c:v>32.414234</c:v>
                </c:pt>
                <c:pt idx="1425">
                  <c:v>31.837425</c:v>
                </c:pt>
                <c:pt idx="1426">
                  <c:v>32.735725000000002</c:v>
                </c:pt>
                <c:pt idx="1427">
                  <c:v>33.180137999999999</c:v>
                </c:pt>
                <c:pt idx="1428">
                  <c:v>34.040610000000001</c:v>
                </c:pt>
                <c:pt idx="1429">
                  <c:v>34.418849999999999</c:v>
                </c:pt>
                <c:pt idx="1430">
                  <c:v>33.983879999999999</c:v>
                </c:pt>
                <c:pt idx="1431">
                  <c:v>34.021693999999997</c:v>
                </c:pt>
                <c:pt idx="1432">
                  <c:v>33.804222000000003</c:v>
                </c:pt>
                <c:pt idx="1433">
                  <c:v>33.70966</c:v>
                </c:pt>
                <c:pt idx="1434">
                  <c:v>32.262929999999997</c:v>
                </c:pt>
                <c:pt idx="1435">
                  <c:v>33.889324000000002</c:v>
                </c:pt>
                <c:pt idx="1436">
                  <c:v>33.321980000000003</c:v>
                </c:pt>
                <c:pt idx="1437">
                  <c:v>34.031154999999998</c:v>
                </c:pt>
                <c:pt idx="1438">
                  <c:v>35.657536</c:v>
                </c:pt>
                <c:pt idx="1439">
                  <c:v>36.064143999999999</c:v>
                </c:pt>
                <c:pt idx="1440">
                  <c:v>35.884483000000003</c:v>
                </c:pt>
                <c:pt idx="1441">
                  <c:v>35.610259999999997</c:v>
                </c:pt>
                <c:pt idx="1442">
                  <c:v>35.950676000000001</c:v>
                </c:pt>
                <c:pt idx="1443">
                  <c:v>35.676450000000003</c:v>
                </c:pt>
                <c:pt idx="1444">
                  <c:v>36.215429999999998</c:v>
                </c:pt>
                <c:pt idx="1445">
                  <c:v>36.215429999999998</c:v>
                </c:pt>
                <c:pt idx="1446">
                  <c:v>36.253253999999998</c:v>
                </c:pt>
                <c:pt idx="1447">
                  <c:v>35.931755000000003</c:v>
                </c:pt>
                <c:pt idx="1448">
                  <c:v>35.667003999999999</c:v>
                </c:pt>
                <c:pt idx="1449">
                  <c:v>36.205967000000001</c:v>
                </c:pt>
                <c:pt idx="1450">
                  <c:v>36.395090000000003</c:v>
                </c:pt>
                <c:pt idx="1451">
                  <c:v>36.489643000000001</c:v>
                </c:pt>
                <c:pt idx="1452">
                  <c:v>36.101962999999998</c:v>
                </c:pt>
                <c:pt idx="1453">
                  <c:v>34.759247000000002</c:v>
                </c:pt>
                <c:pt idx="1454">
                  <c:v>35.468420000000002</c:v>
                </c:pt>
                <c:pt idx="1455">
                  <c:v>35.354959999999998</c:v>
                </c:pt>
                <c:pt idx="1456">
                  <c:v>35.714280000000002</c:v>
                </c:pt>
                <c:pt idx="1457">
                  <c:v>36.272162999999999</c:v>
                </c:pt>
                <c:pt idx="1458">
                  <c:v>36.934066999999999</c:v>
                </c:pt>
                <c:pt idx="1459">
                  <c:v>37.274467000000001</c:v>
                </c:pt>
                <c:pt idx="1460">
                  <c:v>36.886786999999998</c:v>
                </c:pt>
                <c:pt idx="1461">
                  <c:v>37.019165000000001</c:v>
                </c:pt>
                <c:pt idx="1462">
                  <c:v>35.638626000000002</c:v>
                </c:pt>
                <c:pt idx="1463">
                  <c:v>35.818289999999998</c:v>
                </c:pt>
                <c:pt idx="1464">
                  <c:v>35.373866999999997</c:v>
                </c:pt>
                <c:pt idx="1465">
                  <c:v>35.317129999999999</c:v>
                </c:pt>
                <c:pt idx="1466">
                  <c:v>34.834890000000001</c:v>
                </c:pt>
                <c:pt idx="1467">
                  <c:v>34.967278</c:v>
                </c:pt>
                <c:pt idx="1468">
                  <c:v>34.759247000000002</c:v>
                </c:pt>
                <c:pt idx="1469">
                  <c:v>34.362110000000001</c:v>
                </c:pt>
                <c:pt idx="1470">
                  <c:v>34.239184999999999</c:v>
                </c:pt>
                <c:pt idx="1471">
                  <c:v>33.70966</c:v>
                </c:pt>
                <c:pt idx="1472">
                  <c:v>33.274695999999999</c:v>
                </c:pt>
                <c:pt idx="1473">
                  <c:v>32.735725000000002</c:v>
                </c:pt>
                <c:pt idx="1474">
                  <c:v>31.913074000000002</c:v>
                </c:pt>
                <c:pt idx="1475">
                  <c:v>31.270084000000001</c:v>
                </c:pt>
                <c:pt idx="1476">
                  <c:v>32.281840000000003</c:v>
                </c:pt>
                <c:pt idx="1477">
                  <c:v>32.593887000000002</c:v>
                </c:pt>
                <c:pt idx="1478">
                  <c:v>32.480423000000002</c:v>
                </c:pt>
                <c:pt idx="1479">
                  <c:v>32.375816</c:v>
                </c:pt>
                <c:pt idx="1480">
                  <c:v>32.680095999999999</c:v>
                </c:pt>
                <c:pt idx="1481">
                  <c:v>32.936816999999998</c:v>
                </c:pt>
                <c:pt idx="1482">
                  <c:v>34.049294000000003</c:v>
                </c:pt>
                <c:pt idx="1483">
                  <c:v>33.687980000000003</c:v>
                </c:pt>
                <c:pt idx="1484">
                  <c:v>33.963721999999997</c:v>
                </c:pt>
                <c:pt idx="1485">
                  <c:v>34.287005999999998</c:v>
                </c:pt>
                <c:pt idx="1486">
                  <c:v>34.058796000000001</c:v>
                </c:pt>
                <c:pt idx="1487">
                  <c:v>33.878140000000002</c:v>
                </c:pt>
                <c:pt idx="1488">
                  <c:v>34.01126</c:v>
                </c:pt>
                <c:pt idx="1489">
                  <c:v>34.068309999999997</c:v>
                </c:pt>
                <c:pt idx="1490">
                  <c:v>34.134864999999998</c:v>
                </c:pt>
                <c:pt idx="1491">
                  <c:v>34.144382</c:v>
                </c:pt>
                <c:pt idx="1492">
                  <c:v>34.42962</c:v>
                </c:pt>
                <c:pt idx="1493">
                  <c:v>33.250590000000003</c:v>
                </c:pt>
                <c:pt idx="1494">
                  <c:v>35.076194999999998</c:v>
                </c:pt>
                <c:pt idx="1495">
                  <c:v>34.458157</c:v>
                </c:pt>
                <c:pt idx="1496">
                  <c:v>34.020763000000002</c:v>
                </c:pt>
                <c:pt idx="1497">
                  <c:v>33.630920000000003</c:v>
                </c:pt>
                <c:pt idx="1498">
                  <c:v>34.306019999999997</c:v>
                </c:pt>
                <c:pt idx="1499">
                  <c:v>33.687980000000003</c:v>
                </c:pt>
                <c:pt idx="1500">
                  <c:v>34.771926999999998</c:v>
                </c:pt>
                <c:pt idx="1501">
                  <c:v>34.981113000000001</c:v>
                </c:pt>
                <c:pt idx="1502">
                  <c:v>34.962085999999999</c:v>
                </c:pt>
                <c:pt idx="1503">
                  <c:v>35.323405999999999</c:v>
                </c:pt>
                <c:pt idx="1504">
                  <c:v>35.342415000000003</c:v>
                </c:pt>
                <c:pt idx="1505">
                  <c:v>35.827347000000003</c:v>
                </c:pt>
                <c:pt idx="1506">
                  <c:v>35.751280000000001</c:v>
                </c:pt>
                <c:pt idx="1507">
                  <c:v>35.180782000000001</c:v>
                </c:pt>
                <c:pt idx="1508">
                  <c:v>35.408985000000001</c:v>
                </c:pt>
                <c:pt idx="1509">
                  <c:v>35.209316000000001</c:v>
                </c:pt>
                <c:pt idx="1510">
                  <c:v>35.427993999999998</c:v>
                </c:pt>
                <c:pt idx="1511">
                  <c:v>35.91292</c:v>
                </c:pt>
                <c:pt idx="1512">
                  <c:v>35.703740000000003</c:v>
                </c:pt>
                <c:pt idx="1513">
                  <c:v>35.931946000000003</c:v>
                </c:pt>
                <c:pt idx="1514">
                  <c:v>36.578505999999997</c:v>
                </c:pt>
                <c:pt idx="1515">
                  <c:v>36.711620000000003</c:v>
                </c:pt>
                <c:pt idx="1516">
                  <c:v>36.673580000000001</c:v>
                </c:pt>
                <c:pt idx="1517">
                  <c:v>36.892277</c:v>
                </c:pt>
                <c:pt idx="1518">
                  <c:v>36.635550000000002</c:v>
                </c:pt>
                <c:pt idx="1519">
                  <c:v>36.768676999999997</c:v>
                </c:pt>
                <c:pt idx="1520">
                  <c:v>37.177529999999997</c:v>
                </c:pt>
                <c:pt idx="1521">
                  <c:v>36.825719999999997</c:v>
                </c:pt>
                <c:pt idx="1522">
                  <c:v>36.816215999999997</c:v>
                </c:pt>
                <c:pt idx="1523">
                  <c:v>36.711620000000003</c:v>
                </c:pt>
                <c:pt idx="1524">
                  <c:v>36.492935000000003</c:v>
                </c:pt>
                <c:pt idx="1525">
                  <c:v>36.312266999999999</c:v>
                </c:pt>
                <c:pt idx="1526">
                  <c:v>37.244087</c:v>
                </c:pt>
                <c:pt idx="1527">
                  <c:v>37.548349999999999</c:v>
                </c:pt>
                <c:pt idx="1528">
                  <c:v>37.614913999999999</c:v>
                </c:pt>
                <c:pt idx="1529">
                  <c:v>37.909669999999998</c:v>
                </c:pt>
                <c:pt idx="1530">
                  <c:v>38.480167000000002</c:v>
                </c:pt>
                <c:pt idx="1531">
                  <c:v>37.957210000000003</c:v>
                </c:pt>
                <c:pt idx="1532">
                  <c:v>37.824092999999998</c:v>
                </c:pt>
                <c:pt idx="1533">
                  <c:v>37.529335000000003</c:v>
                </c:pt>
                <c:pt idx="1534">
                  <c:v>38.080813999999997</c:v>
                </c:pt>
                <c:pt idx="1535">
                  <c:v>37.519824999999997</c:v>
                </c:pt>
                <c:pt idx="1536">
                  <c:v>37.253596999999999</c:v>
                </c:pt>
                <c:pt idx="1537">
                  <c:v>37.681472999999997</c:v>
                </c:pt>
                <c:pt idx="1538">
                  <c:v>38.232944000000003</c:v>
                </c:pt>
                <c:pt idx="1539">
                  <c:v>38.432625000000002</c:v>
                </c:pt>
                <c:pt idx="1540">
                  <c:v>38.014263</c:v>
                </c:pt>
                <c:pt idx="1541">
                  <c:v>38.328037000000002</c:v>
                </c:pt>
                <c:pt idx="1542">
                  <c:v>38.251570000000001</c:v>
                </c:pt>
                <c:pt idx="1543">
                  <c:v>38.490516999999997</c:v>
                </c:pt>
                <c:pt idx="1544">
                  <c:v>38.624336</c:v>
                </c:pt>
                <c:pt idx="1545">
                  <c:v>38.633892000000003</c:v>
                </c:pt>
                <c:pt idx="1546">
                  <c:v>38.911076000000001</c:v>
                </c:pt>
                <c:pt idx="1547">
                  <c:v>39.226494000000002</c:v>
                </c:pt>
                <c:pt idx="1548">
                  <c:v>39.264732000000002</c:v>
                </c:pt>
                <c:pt idx="1549">
                  <c:v>39.226494000000002</c:v>
                </c:pt>
                <c:pt idx="1550">
                  <c:v>39.475002000000003</c:v>
                </c:pt>
                <c:pt idx="1551">
                  <c:v>39.933796000000001</c:v>
                </c:pt>
                <c:pt idx="1552">
                  <c:v>40.115400000000001</c:v>
                </c:pt>
                <c:pt idx="1553">
                  <c:v>40.688892000000003</c:v>
                </c:pt>
                <c:pt idx="1554">
                  <c:v>40.555076999999997</c:v>
                </c:pt>
                <c:pt idx="1555">
                  <c:v>40.144072999999999</c:v>
                </c:pt>
                <c:pt idx="1556">
                  <c:v>40.134524999999996</c:v>
                </c:pt>
                <c:pt idx="1557">
                  <c:v>40.000698</c:v>
                </c:pt>
                <c:pt idx="1558">
                  <c:v>41.032980000000002</c:v>
                </c:pt>
                <c:pt idx="1559">
                  <c:v>41.176352999999999</c:v>
                </c:pt>
                <c:pt idx="1560">
                  <c:v>41.530003000000001</c:v>
                </c:pt>
                <c:pt idx="1561">
                  <c:v>41.606470000000002</c:v>
                </c:pt>
                <c:pt idx="1562">
                  <c:v>41.501323999999997</c:v>
                </c:pt>
                <c:pt idx="1563">
                  <c:v>40.765354000000002</c:v>
                </c:pt>
                <c:pt idx="1564">
                  <c:v>41.377079999999999</c:v>
                </c:pt>
                <c:pt idx="1565">
                  <c:v>41.386629999999997</c:v>
                </c:pt>
                <c:pt idx="1566">
                  <c:v>40.870489999999997</c:v>
                </c:pt>
                <c:pt idx="1567">
                  <c:v>40.669772999999999</c:v>
                </c:pt>
                <c:pt idx="1568">
                  <c:v>41.023420000000002</c:v>
                </c:pt>
                <c:pt idx="1569">
                  <c:v>41.243259999999999</c:v>
                </c:pt>
                <c:pt idx="1570">
                  <c:v>40.411704999999998</c:v>
                </c:pt>
                <c:pt idx="1571">
                  <c:v>41.013866</c:v>
                </c:pt>
                <c:pt idx="1572">
                  <c:v>40.612430000000003</c:v>
                </c:pt>
                <c:pt idx="1573">
                  <c:v>41.281494000000002</c:v>
                </c:pt>
                <c:pt idx="1574">
                  <c:v>41.616028</c:v>
                </c:pt>
                <c:pt idx="1575">
                  <c:v>40.889606000000001</c:v>
                </c:pt>
                <c:pt idx="1576">
                  <c:v>41.377079999999999</c:v>
                </c:pt>
                <c:pt idx="1577">
                  <c:v>41.386629999999997</c:v>
                </c:pt>
                <c:pt idx="1578">
                  <c:v>40.841819999999998</c:v>
                </c:pt>
                <c:pt idx="1579">
                  <c:v>40.784469999999999</c:v>
                </c:pt>
                <c:pt idx="1580">
                  <c:v>40.593307000000003</c:v>
                </c:pt>
                <c:pt idx="1581">
                  <c:v>40.067604000000003</c:v>
                </c:pt>
                <c:pt idx="1582">
                  <c:v>39.895564999999998</c:v>
                </c:pt>
                <c:pt idx="1583">
                  <c:v>39.188262999999999</c:v>
                </c:pt>
                <c:pt idx="1584">
                  <c:v>39.150032000000003</c:v>
                </c:pt>
                <c:pt idx="1585">
                  <c:v>39.570594999999997</c:v>
                </c:pt>
                <c:pt idx="1586">
                  <c:v>39.475002000000003</c:v>
                </c:pt>
                <c:pt idx="1587">
                  <c:v>39.331634999999999</c:v>
                </c:pt>
                <c:pt idx="1588">
                  <c:v>39.64705</c:v>
                </c:pt>
                <c:pt idx="1589">
                  <c:v>39.465449999999997</c:v>
                </c:pt>
                <c:pt idx="1590">
                  <c:v>39.398539999999997</c:v>
                </c:pt>
                <c:pt idx="1591">
                  <c:v>39.618380000000002</c:v>
                </c:pt>
                <c:pt idx="1592">
                  <c:v>39.847774999999999</c:v>
                </c:pt>
                <c:pt idx="1593">
                  <c:v>40.440379999999998</c:v>
                </c:pt>
                <c:pt idx="1594">
                  <c:v>40.679333</c:v>
                </c:pt>
                <c:pt idx="1595">
                  <c:v>41.338839999999998</c:v>
                </c:pt>
                <c:pt idx="1596">
                  <c:v>41.233704000000003</c:v>
                </c:pt>
                <c:pt idx="1597">
                  <c:v>41.749844000000003</c:v>
                </c:pt>
                <c:pt idx="1598">
                  <c:v>41.635147000000003</c:v>
                </c:pt>
                <c:pt idx="1599">
                  <c:v>41.673369999999998</c:v>
                </c:pt>
                <c:pt idx="1600">
                  <c:v>40.860930000000003</c:v>
                </c:pt>
                <c:pt idx="1601">
                  <c:v>40.249217999999999</c:v>
                </c:pt>
                <c:pt idx="1602">
                  <c:v>40.144072999999999</c:v>
                </c:pt>
                <c:pt idx="1603">
                  <c:v>40.411704999999998</c:v>
                </c:pt>
                <c:pt idx="1604">
                  <c:v>40.822699999999998</c:v>
                </c:pt>
                <c:pt idx="1605">
                  <c:v>41.197315000000003</c:v>
                </c:pt>
                <c:pt idx="1606">
                  <c:v>41.610343999999998</c:v>
                </c:pt>
                <c:pt idx="1607">
                  <c:v>41.571914999999997</c:v>
                </c:pt>
                <c:pt idx="1608">
                  <c:v>40.947569999999999</c:v>
                </c:pt>
                <c:pt idx="1609">
                  <c:v>41.283763999999998</c:v>
                </c:pt>
                <c:pt idx="1610">
                  <c:v>42.061790000000002</c:v>
                </c:pt>
                <c:pt idx="1611">
                  <c:v>42.340350000000001</c:v>
                </c:pt>
                <c:pt idx="1612">
                  <c:v>42.878245999999997</c:v>
                </c:pt>
                <c:pt idx="1613">
                  <c:v>42.955092999999998</c:v>
                </c:pt>
                <c:pt idx="1614">
                  <c:v>43.310485999999997</c:v>
                </c:pt>
                <c:pt idx="1615">
                  <c:v>42.67653</c:v>
                </c:pt>
                <c:pt idx="1616">
                  <c:v>42.801409999999997</c:v>
                </c:pt>
                <c:pt idx="1617">
                  <c:v>42.32114</c:v>
                </c:pt>
                <c:pt idx="1618">
                  <c:v>42.119422999999998</c:v>
                </c:pt>
                <c:pt idx="1619">
                  <c:v>42.570872999999999</c:v>
                </c:pt>
                <c:pt idx="1620">
                  <c:v>43.099167000000001</c:v>
                </c:pt>
                <c:pt idx="1621">
                  <c:v>42.849426000000001</c:v>
                </c:pt>
                <c:pt idx="1622">
                  <c:v>42.868650000000002</c:v>
                </c:pt>
                <c:pt idx="1623">
                  <c:v>42.484431999999998</c:v>
                </c:pt>
                <c:pt idx="1624">
                  <c:v>42.340350000000001</c:v>
                </c:pt>
                <c:pt idx="1625">
                  <c:v>41.466267000000002</c:v>
                </c:pt>
                <c:pt idx="1626">
                  <c:v>41.187705999999999</c:v>
                </c:pt>
                <c:pt idx="1627">
                  <c:v>40.96678</c:v>
                </c:pt>
                <c:pt idx="1628">
                  <c:v>39.967829999999999</c:v>
                </c:pt>
                <c:pt idx="1629">
                  <c:v>40.409675999999997</c:v>
                </c:pt>
                <c:pt idx="1630">
                  <c:v>40.083095999999998</c:v>
                </c:pt>
                <c:pt idx="1631">
                  <c:v>40.976387000000003</c:v>
                </c:pt>
                <c:pt idx="1632">
                  <c:v>41.235733000000003</c:v>
                </c:pt>
                <c:pt idx="1633">
                  <c:v>40.784280000000003</c:v>
                </c:pt>
                <c:pt idx="1634">
                  <c:v>41.744816</c:v>
                </c:pt>
                <c:pt idx="1635">
                  <c:v>40.697834</c:v>
                </c:pt>
                <c:pt idx="1636">
                  <c:v>40.678623000000002</c:v>
                </c:pt>
                <c:pt idx="1637">
                  <c:v>41.475864000000001</c:v>
                </c:pt>
                <c:pt idx="1638">
                  <c:v>42.263508000000002</c:v>
                </c:pt>
                <c:pt idx="1639">
                  <c:v>42.205868000000002</c:v>
                </c:pt>
                <c:pt idx="1640">
                  <c:v>42.369163999999998</c:v>
                </c:pt>
                <c:pt idx="1641">
                  <c:v>42.042583</c:v>
                </c:pt>
                <c:pt idx="1642">
                  <c:v>40.755470000000003</c:v>
                </c:pt>
                <c:pt idx="1643">
                  <c:v>41.639159999999997</c:v>
                </c:pt>
                <c:pt idx="1644">
                  <c:v>41.879288000000003</c:v>
                </c:pt>
                <c:pt idx="1645">
                  <c:v>42.042583</c:v>
                </c:pt>
                <c:pt idx="1646">
                  <c:v>42.426796000000003</c:v>
                </c:pt>
                <c:pt idx="1647">
                  <c:v>42.513240000000003</c:v>
                </c:pt>
                <c:pt idx="1648">
                  <c:v>42.148240000000001</c:v>
                </c:pt>
                <c:pt idx="1649">
                  <c:v>43.723520000000001</c:v>
                </c:pt>
                <c:pt idx="1650">
                  <c:v>44.578392000000001</c:v>
                </c:pt>
                <c:pt idx="1651">
                  <c:v>44.520760000000003</c:v>
                </c:pt>
                <c:pt idx="1652">
                  <c:v>44.587989999999998</c:v>
                </c:pt>
                <c:pt idx="1653">
                  <c:v>44.616816999999998</c:v>
                </c:pt>
                <c:pt idx="1654">
                  <c:v>44.568793999999997</c:v>
                </c:pt>
                <c:pt idx="1655">
                  <c:v>45.116300000000003</c:v>
                </c:pt>
                <c:pt idx="1656">
                  <c:v>45.029842000000002</c:v>
                </c:pt>
                <c:pt idx="1657">
                  <c:v>44.443916000000002</c:v>
                </c:pt>
                <c:pt idx="1658">
                  <c:v>44.828133000000001</c:v>
                </c:pt>
                <c:pt idx="1659">
                  <c:v>45.087474999999998</c:v>
                </c:pt>
                <c:pt idx="1660">
                  <c:v>44.837739999999997</c:v>
                </c:pt>
                <c:pt idx="1661">
                  <c:v>44.530372999999997</c:v>
                </c:pt>
                <c:pt idx="1662">
                  <c:v>44.395893000000001</c:v>
                </c:pt>
                <c:pt idx="1663">
                  <c:v>43.906019999999998</c:v>
                </c:pt>
                <c:pt idx="1664">
                  <c:v>44.02129</c:v>
                </c:pt>
                <c:pt idx="1665">
                  <c:v>43.127989999999997</c:v>
                </c:pt>
                <c:pt idx="1666">
                  <c:v>43.041539999999998</c:v>
                </c:pt>
                <c:pt idx="1667">
                  <c:v>43.300884000000003</c:v>
                </c:pt>
                <c:pt idx="1668">
                  <c:v>42.963127</c:v>
                </c:pt>
                <c:pt idx="1669">
                  <c:v>42.50956</c:v>
                </c:pt>
                <c:pt idx="1670">
                  <c:v>42.519210000000001</c:v>
                </c:pt>
                <c:pt idx="1671">
                  <c:v>43.146473</c:v>
                </c:pt>
                <c:pt idx="1672">
                  <c:v>43.030678000000002</c:v>
                </c:pt>
                <c:pt idx="1673">
                  <c:v>42.567462999999996</c:v>
                </c:pt>
                <c:pt idx="1674">
                  <c:v>42.828021999999997</c:v>
                </c:pt>
                <c:pt idx="1675">
                  <c:v>42.943824999999997</c:v>
                </c:pt>
                <c:pt idx="1676">
                  <c:v>43.957099999999997</c:v>
                </c:pt>
                <c:pt idx="1677">
                  <c:v>43.648296000000002</c:v>
                </c:pt>
                <c:pt idx="1678">
                  <c:v>44.072906000000003</c:v>
                </c:pt>
                <c:pt idx="1679">
                  <c:v>44.005352000000002</c:v>
                </c:pt>
                <c:pt idx="1680">
                  <c:v>44.323813999999999</c:v>
                </c:pt>
                <c:pt idx="1681">
                  <c:v>43.976405999999997</c:v>
                </c:pt>
                <c:pt idx="1682">
                  <c:v>44.46857</c:v>
                </c:pt>
                <c:pt idx="1683">
                  <c:v>44.169415000000001</c:v>
                </c:pt>
                <c:pt idx="1684">
                  <c:v>44.121160000000003</c:v>
                </c:pt>
                <c:pt idx="1685">
                  <c:v>43.271934999999999</c:v>
                </c:pt>
                <c:pt idx="1686">
                  <c:v>44.053607999999997</c:v>
                </c:pt>
                <c:pt idx="1687">
                  <c:v>43.850951999999999</c:v>
                </c:pt>
                <c:pt idx="1688">
                  <c:v>43.764090000000003</c:v>
                </c:pt>
                <c:pt idx="1689">
                  <c:v>43.127173999999997</c:v>
                </c:pt>
                <c:pt idx="1690">
                  <c:v>43.252631999999998</c:v>
                </c:pt>
                <c:pt idx="1691">
                  <c:v>43.185077999999997</c:v>
                </c:pt>
                <c:pt idx="1692">
                  <c:v>42.355156000000001</c:v>
                </c:pt>
                <c:pt idx="1693">
                  <c:v>42.731513999999997</c:v>
                </c:pt>
                <c:pt idx="1694">
                  <c:v>42.67362</c:v>
                </c:pt>
                <c:pt idx="1695">
                  <c:v>43.136825999999999</c:v>
                </c:pt>
                <c:pt idx="1696">
                  <c:v>43.609695000000002</c:v>
                </c:pt>
                <c:pt idx="1697">
                  <c:v>43.6676</c:v>
                </c:pt>
                <c:pt idx="1698">
                  <c:v>43.648296000000002</c:v>
                </c:pt>
                <c:pt idx="1699">
                  <c:v>43.619346999999998</c:v>
                </c:pt>
                <c:pt idx="1700">
                  <c:v>43.860599999999998</c:v>
                </c:pt>
                <c:pt idx="1701">
                  <c:v>43.001724000000003</c:v>
                </c:pt>
                <c:pt idx="1702">
                  <c:v>43.049973000000001</c:v>
                </c:pt>
                <c:pt idx="1703">
                  <c:v>43.242984999999997</c:v>
                </c:pt>
                <c:pt idx="1704">
                  <c:v>42.67362</c:v>
                </c:pt>
                <c:pt idx="1705">
                  <c:v>42.808715999999997</c:v>
                </c:pt>
                <c:pt idx="1706">
                  <c:v>43.233333999999999</c:v>
                </c:pt>
                <c:pt idx="1707">
                  <c:v>41.834040000000002</c:v>
                </c:pt>
                <c:pt idx="1708">
                  <c:v>42.027042000000002</c:v>
                </c:pt>
                <c:pt idx="1709">
                  <c:v>42.866619999999998</c:v>
                </c:pt>
                <c:pt idx="1710">
                  <c:v>42.606064000000003</c:v>
                </c:pt>
                <c:pt idx="1711">
                  <c:v>42.104247999999998</c:v>
                </c:pt>
                <c:pt idx="1712">
                  <c:v>42.123550000000002</c:v>
                </c:pt>
                <c:pt idx="1713">
                  <c:v>41.988439999999997</c:v>
                </c:pt>
                <c:pt idx="1714">
                  <c:v>42.499912000000002</c:v>
                </c:pt>
                <c:pt idx="1715">
                  <c:v>42.692923999999998</c:v>
                </c:pt>
                <c:pt idx="1716">
                  <c:v>42.355156000000001</c:v>
                </c:pt>
                <c:pt idx="1717">
                  <c:v>41.274315000000001</c:v>
                </c:pt>
                <c:pt idx="1718">
                  <c:v>40.598799999999997</c:v>
                </c:pt>
                <c:pt idx="1719">
                  <c:v>41.505927999999997</c:v>
                </c:pt>
                <c:pt idx="1720">
                  <c:v>42.055992000000003</c:v>
                </c:pt>
                <c:pt idx="1721">
                  <c:v>42.007739999999998</c:v>
                </c:pt>
                <c:pt idx="1722">
                  <c:v>41.872639999999997</c:v>
                </c:pt>
                <c:pt idx="1723">
                  <c:v>41.679634</c:v>
                </c:pt>
                <c:pt idx="1724">
                  <c:v>42.113900000000001</c:v>
                </c:pt>
                <c:pt idx="1725">
                  <c:v>42.548157000000003</c:v>
                </c:pt>
                <c:pt idx="1726">
                  <c:v>42.557803999999997</c:v>
                </c:pt>
                <c:pt idx="1727">
                  <c:v>42.972774999999999</c:v>
                </c:pt>
                <c:pt idx="1728">
                  <c:v>43.397396000000001</c:v>
                </c:pt>
                <c:pt idx="1729">
                  <c:v>43.522841999999997</c:v>
                </c:pt>
                <c:pt idx="1730">
                  <c:v>43.600043999999997</c:v>
                </c:pt>
                <c:pt idx="1731">
                  <c:v>43.397396000000001</c:v>
                </c:pt>
                <c:pt idx="1732">
                  <c:v>43.7834</c:v>
                </c:pt>
                <c:pt idx="1733">
                  <c:v>43.435989999999997</c:v>
                </c:pt>
                <c:pt idx="1734">
                  <c:v>43.107875999999997</c:v>
                </c:pt>
                <c:pt idx="1735">
                  <c:v>43.563583000000001</c:v>
                </c:pt>
                <c:pt idx="1736">
                  <c:v>44.009590000000003</c:v>
                </c:pt>
                <c:pt idx="1737">
                  <c:v>44.125942000000002</c:v>
                </c:pt>
                <c:pt idx="1738">
                  <c:v>43.612063999999997</c:v>
                </c:pt>
                <c:pt idx="1739">
                  <c:v>44.407127000000003</c:v>
                </c:pt>
                <c:pt idx="1740">
                  <c:v>44.630130000000001</c:v>
                </c:pt>
                <c:pt idx="1741">
                  <c:v>44.872520000000002</c:v>
                </c:pt>
                <c:pt idx="1742">
                  <c:v>45.444588000000003</c:v>
                </c:pt>
                <c:pt idx="1743">
                  <c:v>46.055424000000002</c:v>
                </c:pt>
                <c:pt idx="1744">
                  <c:v>45.861507000000003</c:v>
                </c:pt>
                <c:pt idx="1745">
                  <c:v>45.997245999999997</c:v>
                </c:pt>
                <c:pt idx="1746">
                  <c:v>44.261684000000002</c:v>
                </c:pt>
                <c:pt idx="1747">
                  <c:v>43.233919999999998</c:v>
                </c:pt>
                <c:pt idx="1748">
                  <c:v>42.66187</c:v>
                </c:pt>
                <c:pt idx="1749">
                  <c:v>42.700653000000003</c:v>
                </c:pt>
                <c:pt idx="1750">
                  <c:v>42.002552000000001</c:v>
                </c:pt>
                <c:pt idx="1751">
                  <c:v>42.797609999999999</c:v>
                </c:pt>
                <c:pt idx="1752">
                  <c:v>41.876503</c:v>
                </c:pt>
                <c:pt idx="1753">
                  <c:v>41.362617</c:v>
                </c:pt>
                <c:pt idx="1754">
                  <c:v>42.933349999999997</c:v>
                </c:pt>
                <c:pt idx="1755">
                  <c:v>43.233919999999998</c:v>
                </c:pt>
                <c:pt idx="1756">
                  <c:v>43.243614000000001</c:v>
                </c:pt>
                <c:pt idx="1757">
                  <c:v>43.379364000000002</c:v>
                </c:pt>
                <c:pt idx="1758">
                  <c:v>43.301791999999999</c:v>
                </c:pt>
                <c:pt idx="1759">
                  <c:v>43.427833999999997</c:v>
                </c:pt>
                <c:pt idx="1760">
                  <c:v>44.620438</c:v>
                </c:pt>
                <c:pt idx="1761">
                  <c:v>44.668909999999997</c:v>
                </c:pt>
                <c:pt idx="1762">
                  <c:v>44.688305</c:v>
                </c:pt>
                <c:pt idx="1763">
                  <c:v>44.746482999999998</c:v>
                </c:pt>
                <c:pt idx="1764">
                  <c:v>44.571959999999997</c:v>
                </c:pt>
                <c:pt idx="1765">
                  <c:v>44.620438</c:v>
                </c:pt>
                <c:pt idx="1766">
                  <c:v>44.426524999999998</c:v>
                </c:pt>
                <c:pt idx="1767">
                  <c:v>43.243614000000001</c:v>
                </c:pt>
                <c:pt idx="1768">
                  <c:v>41.857109999999999</c:v>
                </c:pt>
                <c:pt idx="1769">
                  <c:v>40.936</c:v>
                </c:pt>
                <c:pt idx="1770">
                  <c:v>39.801580000000001</c:v>
                </c:pt>
                <c:pt idx="1771">
                  <c:v>39.200436000000003</c:v>
                </c:pt>
                <c:pt idx="1772">
                  <c:v>41.226875</c:v>
                </c:pt>
                <c:pt idx="1773">
                  <c:v>40.179718000000001</c:v>
                </c:pt>
                <c:pt idx="1774">
                  <c:v>41.207484999999998</c:v>
                </c:pt>
                <c:pt idx="1775">
                  <c:v>39.530093999999998</c:v>
                </c:pt>
                <c:pt idx="1776">
                  <c:v>39.14226</c:v>
                </c:pt>
                <c:pt idx="1777">
                  <c:v>36.727989999999998</c:v>
                </c:pt>
                <c:pt idx="1778">
                  <c:v>37.910879999999999</c:v>
                </c:pt>
                <c:pt idx="1779">
                  <c:v>36.757075999999998</c:v>
                </c:pt>
                <c:pt idx="1780">
                  <c:v>33.877400000000002</c:v>
                </c:pt>
                <c:pt idx="1781">
                  <c:v>38.133896</c:v>
                </c:pt>
                <c:pt idx="1782">
                  <c:v>34.943950000000001</c:v>
                </c:pt>
                <c:pt idx="1783">
                  <c:v>37.057650000000002</c:v>
                </c:pt>
                <c:pt idx="1784">
                  <c:v>34.594900000000003</c:v>
                </c:pt>
                <c:pt idx="1785">
                  <c:v>34.846984999999997</c:v>
                </c:pt>
                <c:pt idx="1786">
                  <c:v>32.355151999999997</c:v>
                </c:pt>
                <c:pt idx="1787">
                  <c:v>33.130814000000001</c:v>
                </c:pt>
                <c:pt idx="1788">
                  <c:v>33.586517000000001</c:v>
                </c:pt>
                <c:pt idx="1789">
                  <c:v>32.549064999999999</c:v>
                </c:pt>
                <c:pt idx="1790">
                  <c:v>35.622653999999997</c:v>
                </c:pt>
                <c:pt idx="1791">
                  <c:v>33.518653999999998</c:v>
                </c:pt>
                <c:pt idx="1792">
                  <c:v>34.410679999999999</c:v>
                </c:pt>
                <c:pt idx="1793">
                  <c:v>33.551870000000001</c:v>
                </c:pt>
                <c:pt idx="1794">
                  <c:v>31.639078000000001</c:v>
                </c:pt>
                <c:pt idx="1795">
                  <c:v>33.542110000000001</c:v>
                </c:pt>
                <c:pt idx="1796">
                  <c:v>33.13223</c:v>
                </c:pt>
                <c:pt idx="1797">
                  <c:v>35.357306999999999</c:v>
                </c:pt>
                <c:pt idx="1798">
                  <c:v>36.05021</c:v>
                </c:pt>
                <c:pt idx="1799">
                  <c:v>36.772385</c:v>
                </c:pt>
                <c:pt idx="1800">
                  <c:v>37.084670000000003</c:v>
                </c:pt>
                <c:pt idx="1801">
                  <c:v>36.294186000000003</c:v>
                </c:pt>
                <c:pt idx="1802">
                  <c:v>37.592148000000002</c:v>
                </c:pt>
                <c:pt idx="1803">
                  <c:v>36.26491</c:v>
                </c:pt>
                <c:pt idx="1804">
                  <c:v>36.918773999999999</c:v>
                </c:pt>
                <c:pt idx="1805">
                  <c:v>37.162745999999999</c:v>
                </c:pt>
                <c:pt idx="1806">
                  <c:v>36.313704999999999</c:v>
                </c:pt>
                <c:pt idx="1807">
                  <c:v>34.849829999999997</c:v>
                </c:pt>
                <c:pt idx="1808">
                  <c:v>34.869346999999998</c:v>
                </c:pt>
                <c:pt idx="1809">
                  <c:v>35.220675999999997</c:v>
                </c:pt>
                <c:pt idx="1810">
                  <c:v>36.26491</c:v>
                </c:pt>
                <c:pt idx="1811">
                  <c:v>37.289610000000003</c:v>
                </c:pt>
                <c:pt idx="1812">
                  <c:v>37.162745999999999</c:v>
                </c:pt>
                <c:pt idx="1813">
                  <c:v>38.060585000000003</c:v>
                </c:pt>
                <c:pt idx="1814">
                  <c:v>36.723587000000002</c:v>
                </c:pt>
                <c:pt idx="1815">
                  <c:v>36.089244999999998</c:v>
                </c:pt>
                <c:pt idx="1816">
                  <c:v>35.347546000000001</c:v>
                </c:pt>
                <c:pt idx="1817">
                  <c:v>35.181649999999998</c:v>
                </c:pt>
                <c:pt idx="1818">
                  <c:v>34.293568</c:v>
                </c:pt>
                <c:pt idx="1819">
                  <c:v>34.722965000000002</c:v>
                </c:pt>
                <c:pt idx="1820">
                  <c:v>35.650073999999996</c:v>
                </c:pt>
                <c:pt idx="1821">
                  <c:v>35.288989999999998</c:v>
                </c:pt>
                <c:pt idx="1822">
                  <c:v>34.4985</c:v>
                </c:pt>
                <c:pt idx="1823">
                  <c:v>34.127659999999999</c:v>
                </c:pt>
                <c:pt idx="1824">
                  <c:v>34.898629999999997</c:v>
                </c:pt>
                <c:pt idx="1825">
                  <c:v>35.054774999999999</c:v>
                </c:pt>
                <c:pt idx="1826">
                  <c:v>37.172510000000003</c:v>
                </c:pt>
                <c:pt idx="1827">
                  <c:v>37.289610000000003</c:v>
                </c:pt>
                <c:pt idx="1828">
                  <c:v>38.226489999999998</c:v>
                </c:pt>
                <c:pt idx="1829">
                  <c:v>38.011789999999998</c:v>
                </c:pt>
                <c:pt idx="1830">
                  <c:v>37.806854000000001</c:v>
                </c:pt>
                <c:pt idx="1831">
                  <c:v>38.568060000000003</c:v>
                </c:pt>
                <c:pt idx="1832">
                  <c:v>38.968184999999998</c:v>
                </c:pt>
                <c:pt idx="1833">
                  <c:v>38.597335999999999</c:v>
                </c:pt>
                <c:pt idx="1834">
                  <c:v>38.646129999999999</c:v>
                </c:pt>
                <c:pt idx="1835">
                  <c:v>39.212166000000003</c:v>
                </c:pt>
                <c:pt idx="1836">
                  <c:v>39.797710000000002</c:v>
                </c:pt>
                <c:pt idx="1837">
                  <c:v>40.305186999999997</c:v>
                </c:pt>
                <c:pt idx="1838">
                  <c:v>40.295430000000003</c:v>
                </c:pt>
                <c:pt idx="1839">
                  <c:v>41.076157000000002</c:v>
                </c:pt>
                <c:pt idx="1840">
                  <c:v>42.081344999999999</c:v>
                </c:pt>
                <c:pt idx="1841">
                  <c:v>41.134712</c:v>
                </c:pt>
                <c:pt idx="1842">
                  <c:v>40.363742999999999</c:v>
                </c:pt>
                <c:pt idx="1843">
                  <c:v>38.304564999999997</c:v>
                </c:pt>
                <c:pt idx="1844">
                  <c:v>38.509501999999998</c:v>
                </c:pt>
                <c:pt idx="1845">
                  <c:v>38.870593999999997</c:v>
                </c:pt>
                <c:pt idx="1846">
                  <c:v>38.792521999999998</c:v>
                </c:pt>
                <c:pt idx="1847">
                  <c:v>38.275288000000003</c:v>
                </c:pt>
                <c:pt idx="1848">
                  <c:v>38.489986000000002</c:v>
                </c:pt>
                <c:pt idx="1849">
                  <c:v>38.158172999999998</c:v>
                </c:pt>
                <c:pt idx="1850">
                  <c:v>37.514069999999997</c:v>
                </c:pt>
                <c:pt idx="1851">
                  <c:v>38.255768000000003</c:v>
                </c:pt>
                <c:pt idx="1852">
                  <c:v>37.631183999999998</c:v>
                </c:pt>
                <c:pt idx="1853">
                  <c:v>37.640937999999998</c:v>
                </c:pt>
                <c:pt idx="1854">
                  <c:v>37.719012999999997</c:v>
                </c:pt>
                <c:pt idx="1855">
                  <c:v>38.002032999999997</c:v>
                </c:pt>
                <c:pt idx="1856">
                  <c:v>38.267094</c:v>
                </c:pt>
                <c:pt idx="1857">
                  <c:v>38.973927000000003</c:v>
                </c:pt>
                <c:pt idx="1858">
                  <c:v>38.532153999999998</c:v>
                </c:pt>
                <c:pt idx="1859">
                  <c:v>39.592407000000001</c:v>
                </c:pt>
                <c:pt idx="1860">
                  <c:v>39.337159999999997</c:v>
                </c:pt>
                <c:pt idx="1861">
                  <c:v>39.013195000000003</c:v>
                </c:pt>
                <c:pt idx="1862">
                  <c:v>38.571426000000002</c:v>
                </c:pt>
                <c:pt idx="1863">
                  <c:v>39.769109999999998</c:v>
                </c:pt>
                <c:pt idx="1864">
                  <c:v>39.798565000000004</c:v>
                </c:pt>
                <c:pt idx="1865">
                  <c:v>40.426856999999998</c:v>
                </c:pt>
                <c:pt idx="1866">
                  <c:v>41.192593000000002</c:v>
                </c:pt>
                <c:pt idx="1867">
                  <c:v>41.369300000000003</c:v>
                </c:pt>
                <c:pt idx="1868">
                  <c:v>41.408566</c:v>
                </c:pt>
                <c:pt idx="1869">
                  <c:v>41.182774000000002</c:v>
                </c:pt>
                <c:pt idx="1870">
                  <c:v>41.791435</c:v>
                </c:pt>
                <c:pt idx="1871">
                  <c:v>41.791435</c:v>
                </c:pt>
                <c:pt idx="1872">
                  <c:v>41.712899999999998</c:v>
                </c:pt>
                <c:pt idx="1873">
                  <c:v>42.557169999999999</c:v>
                </c:pt>
                <c:pt idx="1874">
                  <c:v>42.763330000000003</c:v>
                </c:pt>
                <c:pt idx="1875">
                  <c:v>42.419724000000002</c:v>
                </c:pt>
                <c:pt idx="1876">
                  <c:v>43.097110000000001</c:v>
                </c:pt>
                <c:pt idx="1877">
                  <c:v>42.871319999999997</c:v>
                </c:pt>
                <c:pt idx="1878">
                  <c:v>42.017226999999998</c:v>
                </c:pt>
                <c:pt idx="1879">
                  <c:v>42.095764000000003</c:v>
                </c:pt>
                <c:pt idx="1880">
                  <c:v>42.419724000000002</c:v>
                </c:pt>
                <c:pt idx="1881">
                  <c:v>41.516556000000001</c:v>
                </c:pt>
                <c:pt idx="1882">
                  <c:v>42.085949999999997</c:v>
                </c:pt>
                <c:pt idx="1883">
                  <c:v>42.027045999999999</c:v>
                </c:pt>
                <c:pt idx="1884">
                  <c:v>42.23321</c:v>
                </c:pt>
                <c:pt idx="1885">
                  <c:v>42.203754000000004</c:v>
                </c:pt>
                <c:pt idx="1886">
                  <c:v>42.547356000000001</c:v>
                </c:pt>
                <c:pt idx="1887">
                  <c:v>42.596435999999997</c:v>
                </c:pt>
                <c:pt idx="1888">
                  <c:v>42.969486000000003</c:v>
                </c:pt>
                <c:pt idx="1889">
                  <c:v>42.733879999999999</c:v>
                </c:pt>
                <c:pt idx="1890">
                  <c:v>42.743699999999997</c:v>
                </c:pt>
                <c:pt idx="1891">
                  <c:v>42.527718</c:v>
                </c:pt>
                <c:pt idx="1892">
                  <c:v>42.478630000000003</c:v>
                </c:pt>
                <c:pt idx="1893">
                  <c:v>42.282290000000003</c:v>
                </c:pt>
                <c:pt idx="1894">
                  <c:v>42.998942999999997</c:v>
                </c:pt>
                <c:pt idx="1895">
                  <c:v>42.616076999999997</c:v>
                </c:pt>
                <c:pt idx="1896">
                  <c:v>43.391629999999999</c:v>
                </c:pt>
                <c:pt idx="1897">
                  <c:v>43.725406999999997</c:v>
                </c:pt>
                <c:pt idx="1898">
                  <c:v>43.745037000000004</c:v>
                </c:pt>
                <c:pt idx="1899">
                  <c:v>43.990470000000002</c:v>
                </c:pt>
                <c:pt idx="1900">
                  <c:v>44.226073999999997</c:v>
                </c:pt>
                <c:pt idx="1901">
                  <c:v>44.343884000000003</c:v>
                </c:pt>
                <c:pt idx="1902">
                  <c:v>43.62724</c:v>
                </c:pt>
                <c:pt idx="1903">
                  <c:v>43.617412999999999</c:v>
                </c:pt>
                <c:pt idx="1904">
                  <c:v>43.008761999999997</c:v>
                </c:pt>
                <c:pt idx="1905">
                  <c:v>43.784309999999998</c:v>
                </c:pt>
                <c:pt idx="1906">
                  <c:v>43.214924000000003</c:v>
                </c:pt>
                <c:pt idx="1907">
                  <c:v>43.853026999999997</c:v>
                </c:pt>
                <c:pt idx="1908">
                  <c:v>44.442055000000003</c:v>
                </c:pt>
                <c:pt idx="1909">
                  <c:v>45.610294000000003</c:v>
                </c:pt>
                <c:pt idx="1910">
                  <c:v>45.953887999999999</c:v>
                </c:pt>
                <c:pt idx="1911">
                  <c:v>44.746386999999999</c:v>
                </c:pt>
                <c:pt idx="1912">
                  <c:v>44.43224</c:v>
                </c:pt>
                <c:pt idx="1913">
                  <c:v>43.862845999999998</c:v>
                </c:pt>
                <c:pt idx="1914">
                  <c:v>45.345233999999998</c:v>
                </c:pt>
                <c:pt idx="1915">
                  <c:v>44.530410000000003</c:v>
                </c:pt>
                <c:pt idx="1916">
                  <c:v>44.864190000000001</c:v>
                </c:pt>
                <c:pt idx="1917">
                  <c:v>45.305959999999999</c:v>
                </c:pt>
                <c:pt idx="1918">
                  <c:v>45.904808000000003</c:v>
                </c:pt>
                <c:pt idx="1919">
                  <c:v>45.355044999999997</c:v>
                </c:pt>
                <c:pt idx="1920">
                  <c:v>45.413947999999998</c:v>
                </c:pt>
                <c:pt idx="1921">
                  <c:v>45.590656000000003</c:v>
                </c:pt>
                <c:pt idx="1922">
                  <c:v>44.324252999999999</c:v>
                </c:pt>
                <c:pt idx="1923">
                  <c:v>44.972180000000002</c:v>
                </c:pt>
                <c:pt idx="1924">
                  <c:v>43.916449999999998</c:v>
                </c:pt>
                <c:pt idx="1925">
                  <c:v>44.360447000000001</c:v>
                </c:pt>
                <c:pt idx="1926">
                  <c:v>44.695909999999998</c:v>
                </c:pt>
                <c:pt idx="1927">
                  <c:v>44.251910000000002</c:v>
                </c:pt>
                <c:pt idx="1928">
                  <c:v>45.376716999999999</c:v>
                </c:pt>
                <c:pt idx="1929">
                  <c:v>45.27805</c:v>
                </c:pt>
                <c:pt idx="1930">
                  <c:v>44.676180000000002</c:v>
                </c:pt>
                <c:pt idx="1931">
                  <c:v>44.508445999999999</c:v>
                </c:pt>
                <c:pt idx="1932">
                  <c:v>44.952449999999999</c:v>
                </c:pt>
                <c:pt idx="1933">
                  <c:v>43.738849999999999</c:v>
                </c:pt>
                <c:pt idx="1934">
                  <c:v>43.679645999999998</c:v>
                </c:pt>
                <c:pt idx="1935">
                  <c:v>43.926310000000001</c:v>
                </c:pt>
                <c:pt idx="1936">
                  <c:v>44.508445999999999</c:v>
                </c:pt>
                <c:pt idx="1937">
                  <c:v>44.459114</c:v>
                </c:pt>
                <c:pt idx="1938">
                  <c:v>43.186317000000003</c:v>
                </c:pt>
                <c:pt idx="1939">
                  <c:v>42.860714000000002</c:v>
                </c:pt>
                <c:pt idx="1940">
                  <c:v>41.420184999999996</c:v>
                </c:pt>
                <c:pt idx="1941">
                  <c:v>42.485785999999997</c:v>
                </c:pt>
                <c:pt idx="1942">
                  <c:v>41.676720000000003</c:v>
                </c:pt>
                <c:pt idx="1943">
                  <c:v>40.847920000000002</c:v>
                </c:pt>
                <c:pt idx="1944">
                  <c:v>42.051650000000002</c:v>
                </c:pt>
                <c:pt idx="1945">
                  <c:v>43.117252000000001</c:v>
                </c:pt>
                <c:pt idx="1946">
                  <c:v>43.758580000000002</c:v>
                </c:pt>
                <c:pt idx="1947">
                  <c:v>43.936183999999997</c:v>
                </c:pt>
                <c:pt idx="1948">
                  <c:v>46.550842000000003</c:v>
                </c:pt>
                <c:pt idx="1949">
                  <c:v>47.132980000000003</c:v>
                </c:pt>
                <c:pt idx="1950">
                  <c:v>47.034309999999998</c:v>
                </c:pt>
                <c:pt idx="1951">
                  <c:v>47.340176</c:v>
                </c:pt>
                <c:pt idx="1952">
                  <c:v>48.34657</c:v>
                </c:pt>
                <c:pt idx="1953">
                  <c:v>48.879375000000003</c:v>
                </c:pt>
                <c:pt idx="1954">
                  <c:v>49.116173000000003</c:v>
                </c:pt>
                <c:pt idx="1955">
                  <c:v>48.484703000000003</c:v>
                </c:pt>
                <c:pt idx="1956">
                  <c:v>48.820169999999997</c:v>
                </c:pt>
                <c:pt idx="1957">
                  <c:v>48.514305</c:v>
                </c:pt>
                <c:pt idx="1958">
                  <c:v>49.145769999999999</c:v>
                </c:pt>
                <c:pt idx="1959">
                  <c:v>51.642029999999998</c:v>
                </c:pt>
                <c:pt idx="1960">
                  <c:v>51.109234000000001</c:v>
                </c:pt>
                <c:pt idx="1961">
                  <c:v>51.059905999999998</c:v>
                </c:pt>
                <c:pt idx="1962">
                  <c:v>49.570039999999999</c:v>
                </c:pt>
                <c:pt idx="1963">
                  <c:v>50.339638000000001</c:v>
                </c:pt>
                <c:pt idx="1964">
                  <c:v>50.369231999999997</c:v>
                </c:pt>
                <c:pt idx="1965">
                  <c:v>50.902034999999998</c:v>
                </c:pt>
                <c:pt idx="1966">
                  <c:v>51.000698</c:v>
                </c:pt>
                <c:pt idx="1967">
                  <c:v>51.237499999999997</c:v>
                </c:pt>
                <c:pt idx="1968">
                  <c:v>50.724434000000002</c:v>
                </c:pt>
                <c:pt idx="1969">
                  <c:v>50.576439999999998</c:v>
                </c:pt>
                <c:pt idx="1970">
                  <c:v>49.806843000000001</c:v>
                </c:pt>
                <c:pt idx="1971">
                  <c:v>50.250835000000002</c:v>
                </c:pt>
                <c:pt idx="1972">
                  <c:v>50.310035999999997</c:v>
                </c:pt>
                <c:pt idx="1973">
                  <c:v>50.823096999999997</c:v>
                </c:pt>
                <c:pt idx="1974">
                  <c:v>50.744169999999997</c:v>
                </c:pt>
                <c:pt idx="1975">
                  <c:v>50.675102000000003</c:v>
                </c:pt>
                <c:pt idx="1976">
                  <c:v>50.221237000000002</c:v>
                </c:pt>
                <c:pt idx="1977">
                  <c:v>49.698300000000003</c:v>
                </c:pt>
                <c:pt idx="1978">
                  <c:v>49.352974000000003</c:v>
                </c:pt>
                <c:pt idx="1979">
                  <c:v>49.372703999999999</c:v>
                </c:pt>
                <c:pt idx="1980">
                  <c:v>49.708176000000002</c:v>
                </c:pt>
                <c:pt idx="1981">
                  <c:v>50.428440000000002</c:v>
                </c:pt>
                <c:pt idx="1982">
                  <c:v>50.862568000000003</c:v>
                </c:pt>
                <c:pt idx="1983">
                  <c:v>50.527099999999997</c:v>
                </c:pt>
                <c:pt idx="1984">
                  <c:v>51.701236999999999</c:v>
                </c:pt>
                <c:pt idx="1985">
                  <c:v>49.836440000000003</c:v>
                </c:pt>
                <c:pt idx="1986">
                  <c:v>49.539085</c:v>
                </c:pt>
                <c:pt idx="1987">
                  <c:v>50.113968</c:v>
                </c:pt>
                <c:pt idx="1988">
                  <c:v>50.213085</c:v>
                </c:pt>
                <c:pt idx="1989">
                  <c:v>51.085323000000002</c:v>
                </c:pt>
                <c:pt idx="1990">
                  <c:v>51.0655</c:v>
                </c:pt>
                <c:pt idx="1991">
                  <c:v>49.568817000000003</c:v>
                </c:pt>
                <c:pt idx="1992">
                  <c:v>49.717495</c:v>
                </c:pt>
                <c:pt idx="1993">
                  <c:v>49.142612</c:v>
                </c:pt>
                <c:pt idx="1994">
                  <c:v>48.260463999999999</c:v>
                </c:pt>
                <c:pt idx="1995">
                  <c:v>48.419049999999999</c:v>
                </c:pt>
                <c:pt idx="1996">
                  <c:v>48.448788</c:v>
                </c:pt>
                <c:pt idx="1997">
                  <c:v>48.696587000000001</c:v>
                </c:pt>
                <c:pt idx="1998">
                  <c:v>48.250546</c:v>
                </c:pt>
                <c:pt idx="1999">
                  <c:v>48.537990000000001</c:v>
                </c:pt>
                <c:pt idx="2000">
                  <c:v>49.648116999999999</c:v>
                </c:pt>
                <c:pt idx="2001">
                  <c:v>47.992843999999998</c:v>
                </c:pt>
                <c:pt idx="2002">
                  <c:v>51.144793999999997</c:v>
                </c:pt>
                <c:pt idx="2003">
                  <c:v>49.132697999999998</c:v>
                </c:pt>
                <c:pt idx="2004">
                  <c:v>49.707583999999997</c:v>
                </c:pt>
                <c:pt idx="2005">
                  <c:v>50.728499999999997</c:v>
                </c:pt>
                <c:pt idx="2006">
                  <c:v>50.024757000000001</c:v>
                </c:pt>
                <c:pt idx="2007">
                  <c:v>50.996119999999998</c:v>
                </c:pt>
                <c:pt idx="2008">
                  <c:v>50.659115</c:v>
                </c:pt>
                <c:pt idx="2009">
                  <c:v>51.392581999999997</c:v>
                </c:pt>
                <c:pt idx="2010">
                  <c:v>52.254913000000002</c:v>
                </c:pt>
                <c:pt idx="2011">
                  <c:v>52.284644999999998</c:v>
                </c:pt>
                <c:pt idx="2012">
                  <c:v>52.76041</c:v>
                </c:pt>
                <c:pt idx="2013">
                  <c:v>52.76041</c:v>
                </c:pt>
                <c:pt idx="2014">
                  <c:v>52.373849999999997</c:v>
                </c:pt>
                <c:pt idx="2015">
                  <c:v>52.522533000000003</c:v>
                </c:pt>
                <c:pt idx="2016">
                  <c:v>52.096325</c:v>
                </c:pt>
                <c:pt idx="2017">
                  <c:v>51.640377000000001</c:v>
                </c:pt>
                <c:pt idx="2018">
                  <c:v>52.036853999999998</c:v>
                </c:pt>
                <c:pt idx="2019">
                  <c:v>52.869441999999999</c:v>
                </c:pt>
                <c:pt idx="2020">
                  <c:v>52.928916999999998</c:v>
                </c:pt>
                <c:pt idx="2021">
                  <c:v>51.779152000000003</c:v>
                </c:pt>
                <c:pt idx="2022">
                  <c:v>52.254913000000002</c:v>
                </c:pt>
                <c:pt idx="2023">
                  <c:v>53.969650000000001</c:v>
                </c:pt>
                <c:pt idx="2024">
                  <c:v>53.771410000000003</c:v>
                </c:pt>
                <c:pt idx="2025">
                  <c:v>53.256</c:v>
                </c:pt>
                <c:pt idx="2026">
                  <c:v>53.454239999999999</c:v>
                </c:pt>
                <c:pt idx="2027">
                  <c:v>54.604004000000003</c:v>
                </c:pt>
                <c:pt idx="2028">
                  <c:v>54.990561999999997</c:v>
                </c:pt>
                <c:pt idx="2029">
                  <c:v>55.079765000000002</c:v>
                </c:pt>
                <c:pt idx="2030">
                  <c:v>56.705300000000001</c:v>
                </c:pt>
                <c:pt idx="2031">
                  <c:v>56.388126</c:v>
                </c:pt>
                <c:pt idx="2032">
                  <c:v>56.586365000000001</c:v>
                </c:pt>
                <c:pt idx="2033">
                  <c:v>57.022483999999999</c:v>
                </c:pt>
                <c:pt idx="2034">
                  <c:v>57.527979999999999</c:v>
                </c:pt>
                <c:pt idx="2035">
                  <c:v>56.992739999999998</c:v>
                </c:pt>
                <c:pt idx="2036">
                  <c:v>55.377119999999998</c:v>
                </c:pt>
                <c:pt idx="2037">
                  <c:v>54.970737</c:v>
                </c:pt>
                <c:pt idx="2038">
                  <c:v>55.872709999999998</c:v>
                </c:pt>
                <c:pt idx="2039">
                  <c:v>55.644745</c:v>
                </c:pt>
                <c:pt idx="2040">
                  <c:v>55.426678000000003</c:v>
                </c:pt>
                <c:pt idx="2041">
                  <c:v>55.803325999999998</c:v>
                </c:pt>
                <c:pt idx="2042">
                  <c:v>54.693213999999998</c:v>
                </c:pt>
                <c:pt idx="2043">
                  <c:v>54.703119999999998</c:v>
                </c:pt>
                <c:pt idx="2044">
                  <c:v>54.494971999999997</c:v>
                </c:pt>
                <c:pt idx="2045">
                  <c:v>53.632652</c:v>
                </c:pt>
                <c:pt idx="2046">
                  <c:v>54.267006000000002</c:v>
                </c:pt>
                <c:pt idx="2047">
                  <c:v>54.316560000000003</c:v>
                </c:pt>
                <c:pt idx="2048">
                  <c:v>54.605324000000003</c:v>
                </c:pt>
                <c:pt idx="2049">
                  <c:v>54.366343999999998</c:v>
                </c:pt>
                <c:pt idx="2050">
                  <c:v>54.097504000000001</c:v>
                </c:pt>
                <c:pt idx="2051">
                  <c:v>53.340760000000003</c:v>
                </c:pt>
                <c:pt idx="2052">
                  <c:v>53.091827000000002</c:v>
                </c:pt>
                <c:pt idx="2053">
                  <c:v>53.649430000000002</c:v>
                </c:pt>
                <c:pt idx="2054">
                  <c:v>53.071910000000003</c:v>
                </c:pt>
                <c:pt idx="2055">
                  <c:v>53.908313999999997</c:v>
                </c:pt>
                <c:pt idx="2056">
                  <c:v>54.874164999999998</c:v>
                </c:pt>
                <c:pt idx="2057">
                  <c:v>53.908313999999997</c:v>
                </c:pt>
                <c:pt idx="2058">
                  <c:v>53.928229999999999</c:v>
                </c:pt>
                <c:pt idx="2059">
                  <c:v>54.426093999999999</c:v>
                </c:pt>
                <c:pt idx="2060">
                  <c:v>54.167202000000003</c:v>
                </c:pt>
                <c:pt idx="2061">
                  <c:v>54.157246000000001</c:v>
                </c:pt>
                <c:pt idx="2062">
                  <c:v>54.087542999999997</c:v>
                </c:pt>
                <c:pt idx="2063">
                  <c:v>54.067630000000001</c:v>
                </c:pt>
                <c:pt idx="2064">
                  <c:v>53.868490000000001</c:v>
                </c:pt>
                <c:pt idx="2065">
                  <c:v>56.158645999999997</c:v>
                </c:pt>
                <c:pt idx="2066">
                  <c:v>55.909714000000001</c:v>
                </c:pt>
                <c:pt idx="2067">
                  <c:v>56.327914999999997</c:v>
                </c:pt>
                <c:pt idx="2068">
                  <c:v>56.387659999999997</c:v>
                </c:pt>
                <c:pt idx="2069">
                  <c:v>56.168602</c:v>
                </c:pt>
                <c:pt idx="2070">
                  <c:v>56.736159999999998</c:v>
                </c:pt>
                <c:pt idx="2071">
                  <c:v>57.861319999999999</c:v>
                </c:pt>
                <c:pt idx="2072">
                  <c:v>57.263897</c:v>
                </c:pt>
                <c:pt idx="2073">
                  <c:v>57.253937000000001</c:v>
                </c:pt>
                <c:pt idx="2074">
                  <c:v>56.377699999999997</c:v>
                </c:pt>
                <c:pt idx="2075">
                  <c:v>57.144410000000001</c:v>
                </c:pt>
                <c:pt idx="2076">
                  <c:v>58.428885999999999</c:v>
                </c:pt>
                <c:pt idx="2077">
                  <c:v>55.222664000000002</c:v>
                </c:pt>
                <c:pt idx="2078">
                  <c:v>54.714849999999998</c:v>
                </c:pt>
                <c:pt idx="2079">
                  <c:v>54.007893000000003</c:v>
                </c:pt>
                <c:pt idx="2080">
                  <c:v>54.804462000000001</c:v>
                </c:pt>
                <c:pt idx="2081">
                  <c:v>54.844299999999997</c:v>
                </c:pt>
                <c:pt idx="2082">
                  <c:v>55.421810000000001</c:v>
                </c:pt>
                <c:pt idx="2083">
                  <c:v>55.461640000000003</c:v>
                </c:pt>
                <c:pt idx="2084">
                  <c:v>56.606715999999999</c:v>
                </c:pt>
                <c:pt idx="2085">
                  <c:v>57.094619999999999</c:v>
                </c:pt>
                <c:pt idx="2086">
                  <c:v>57.094619999999999</c:v>
                </c:pt>
                <c:pt idx="2087">
                  <c:v>56.706290000000003</c:v>
                </c:pt>
                <c:pt idx="2088">
                  <c:v>56.447400000000002</c:v>
                </c:pt>
                <c:pt idx="2089">
                  <c:v>56.148685</c:v>
                </c:pt>
                <c:pt idx="2090">
                  <c:v>56.756076999999998</c:v>
                </c:pt>
                <c:pt idx="2091">
                  <c:v>56.676414000000001</c:v>
                </c:pt>
                <c:pt idx="2092">
                  <c:v>56.188515000000002</c:v>
                </c:pt>
                <c:pt idx="2093">
                  <c:v>56.019240000000003</c:v>
                </c:pt>
                <c:pt idx="2094">
                  <c:v>56.357784000000002</c:v>
                </c:pt>
                <c:pt idx="2095">
                  <c:v>56.636589999999998</c:v>
                </c:pt>
                <c:pt idx="2096">
                  <c:v>57.034877999999999</c:v>
                </c:pt>
                <c:pt idx="2097">
                  <c:v>57.074706999999997</c:v>
                </c:pt>
                <c:pt idx="2098">
                  <c:v>56.87556</c:v>
                </c:pt>
                <c:pt idx="2099">
                  <c:v>57.273850000000003</c:v>
                </c:pt>
                <c:pt idx="2100">
                  <c:v>56.467320000000001</c:v>
                </c:pt>
                <c:pt idx="2101">
                  <c:v>57.034877999999999</c:v>
                </c:pt>
                <c:pt idx="2102">
                  <c:v>57.383384999999997</c:v>
                </c:pt>
                <c:pt idx="2103">
                  <c:v>55.242579999999997</c:v>
                </c:pt>
                <c:pt idx="2104">
                  <c:v>55.820103000000003</c:v>
                </c:pt>
                <c:pt idx="2105">
                  <c:v>56.178555000000003</c:v>
                </c:pt>
                <c:pt idx="2106">
                  <c:v>55.859929999999999</c:v>
                </c:pt>
                <c:pt idx="2107">
                  <c:v>56.298050000000003</c:v>
                </c:pt>
                <c:pt idx="2108">
                  <c:v>56.775993</c:v>
                </c:pt>
                <c:pt idx="2109">
                  <c:v>57.502870000000001</c:v>
                </c:pt>
              </c:numCache>
            </c:numRef>
          </c:val>
          <c:smooth val="0"/>
          <c:extLst>
            <c:ext xmlns:c16="http://schemas.microsoft.com/office/drawing/2014/chart" uri="{C3380CC4-5D6E-409C-BE32-E72D297353CC}">
              <c16:uniqueId val="{00000000-3CB1-E342-856E-31F74B9D2FD3}"/>
            </c:ext>
          </c:extLst>
        </c:ser>
        <c:ser>
          <c:idx val="1"/>
          <c:order val="1"/>
          <c:tx>
            <c:strRef>
              <c:f>Sheet1!$C$1</c:f>
              <c:strCache>
                <c:ptCount val="1"/>
                <c:pt idx="0">
                  <c:v>Predicted</c:v>
                </c:pt>
              </c:strCache>
            </c:strRef>
          </c:tx>
          <c:spPr>
            <a:ln w="12700"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20.491333000000001</c:v>
                </c:pt>
                <c:pt idx="1">
                  <c:v>20.294716000000001</c:v>
                </c:pt>
                <c:pt idx="2">
                  <c:v>20.144825000000001</c:v>
                </c:pt>
                <c:pt idx="3">
                  <c:v>20.037960000000002</c:v>
                </c:pt>
                <c:pt idx="4">
                  <c:v>19.880296999999999</c:v>
                </c:pt>
                <c:pt idx="5">
                  <c:v>19.679501999999999</c:v>
                </c:pt>
                <c:pt idx="6">
                  <c:v>19.599442</c:v>
                </c:pt>
                <c:pt idx="7">
                  <c:v>19.537110999999999</c:v>
                </c:pt>
                <c:pt idx="8">
                  <c:v>19.415458999999998</c:v>
                </c:pt>
                <c:pt idx="9">
                  <c:v>19.305975</c:v>
                </c:pt>
                <c:pt idx="10">
                  <c:v>19.251814</c:v>
                </c:pt>
                <c:pt idx="11">
                  <c:v>19.215218</c:v>
                </c:pt>
                <c:pt idx="12">
                  <c:v>19.153790999999998</c:v>
                </c:pt>
                <c:pt idx="13">
                  <c:v>19.176725000000001</c:v>
                </c:pt>
                <c:pt idx="14">
                  <c:v>19.116164999999999</c:v>
                </c:pt>
                <c:pt idx="15">
                  <c:v>19.039883</c:v>
                </c:pt>
                <c:pt idx="16">
                  <c:v>19.053000999999998</c:v>
                </c:pt>
                <c:pt idx="17">
                  <c:v>19.033293</c:v>
                </c:pt>
                <c:pt idx="18">
                  <c:v>19.10399</c:v>
                </c:pt>
                <c:pt idx="19">
                  <c:v>19.070838999999999</c:v>
                </c:pt>
                <c:pt idx="20">
                  <c:v>19.160988</c:v>
                </c:pt>
                <c:pt idx="21">
                  <c:v>19.308074999999999</c:v>
                </c:pt>
                <c:pt idx="22">
                  <c:v>19.318090000000002</c:v>
                </c:pt>
                <c:pt idx="23">
                  <c:v>19.386666999999999</c:v>
                </c:pt>
                <c:pt idx="24">
                  <c:v>19.406013000000002</c:v>
                </c:pt>
                <c:pt idx="25">
                  <c:v>19.373287000000001</c:v>
                </c:pt>
                <c:pt idx="26">
                  <c:v>19.334095000000001</c:v>
                </c:pt>
                <c:pt idx="27">
                  <c:v>19.539428999999998</c:v>
                </c:pt>
                <c:pt idx="28">
                  <c:v>19.562705999999999</c:v>
                </c:pt>
                <c:pt idx="29">
                  <c:v>19.531514999999999</c:v>
                </c:pt>
                <c:pt idx="30">
                  <c:v>19.571812000000001</c:v>
                </c:pt>
                <c:pt idx="31">
                  <c:v>19.513926999999999</c:v>
                </c:pt>
                <c:pt idx="32">
                  <c:v>19.571909999999999</c:v>
                </c:pt>
                <c:pt idx="33">
                  <c:v>19.54335</c:v>
                </c:pt>
                <c:pt idx="34">
                  <c:v>19.444067</c:v>
                </c:pt>
                <c:pt idx="35">
                  <c:v>19.449124999999999</c:v>
                </c:pt>
                <c:pt idx="36">
                  <c:v>19.403919999999999</c:v>
                </c:pt>
                <c:pt idx="37">
                  <c:v>19.408503</c:v>
                </c:pt>
                <c:pt idx="38">
                  <c:v>19.504304999999999</c:v>
                </c:pt>
                <c:pt idx="39">
                  <c:v>19.60294</c:v>
                </c:pt>
                <c:pt idx="40">
                  <c:v>19.748111999999999</c:v>
                </c:pt>
                <c:pt idx="41">
                  <c:v>19.686132000000001</c:v>
                </c:pt>
                <c:pt idx="42">
                  <c:v>19.777183999999998</c:v>
                </c:pt>
                <c:pt idx="43">
                  <c:v>19.826288000000002</c:v>
                </c:pt>
                <c:pt idx="44">
                  <c:v>19.805064999999999</c:v>
                </c:pt>
                <c:pt idx="45">
                  <c:v>19.807426</c:v>
                </c:pt>
                <c:pt idx="46">
                  <c:v>19.81108</c:v>
                </c:pt>
                <c:pt idx="47">
                  <c:v>19.828835999999999</c:v>
                </c:pt>
                <c:pt idx="48">
                  <c:v>19.819880999999999</c:v>
                </c:pt>
                <c:pt idx="49">
                  <c:v>19.840413999999999</c:v>
                </c:pt>
                <c:pt idx="50">
                  <c:v>19.872532</c:v>
                </c:pt>
                <c:pt idx="51">
                  <c:v>19.824133</c:v>
                </c:pt>
                <c:pt idx="52">
                  <c:v>19.791512000000001</c:v>
                </c:pt>
                <c:pt idx="53">
                  <c:v>19.791208000000001</c:v>
                </c:pt>
                <c:pt idx="54">
                  <c:v>19.738813</c:v>
                </c:pt>
                <c:pt idx="55">
                  <c:v>19.731521999999998</c:v>
                </c:pt>
                <c:pt idx="56">
                  <c:v>19.711383999999999</c:v>
                </c:pt>
                <c:pt idx="57">
                  <c:v>19.72655</c:v>
                </c:pt>
                <c:pt idx="58">
                  <c:v>19.72418</c:v>
                </c:pt>
                <c:pt idx="59">
                  <c:v>19.703126999999999</c:v>
                </c:pt>
                <c:pt idx="60">
                  <c:v>19.67201</c:v>
                </c:pt>
                <c:pt idx="61">
                  <c:v>19.700336</c:v>
                </c:pt>
                <c:pt idx="62">
                  <c:v>19.776665000000001</c:v>
                </c:pt>
                <c:pt idx="63">
                  <c:v>19.830513</c:v>
                </c:pt>
                <c:pt idx="64">
                  <c:v>19.866019999999999</c:v>
                </c:pt>
                <c:pt idx="65">
                  <c:v>20.065373999999998</c:v>
                </c:pt>
                <c:pt idx="66">
                  <c:v>20.363039000000001</c:v>
                </c:pt>
                <c:pt idx="67">
                  <c:v>20.482025</c:v>
                </c:pt>
                <c:pt idx="68">
                  <c:v>20.516382</c:v>
                </c:pt>
                <c:pt idx="69">
                  <c:v>20.515347999999999</c:v>
                </c:pt>
                <c:pt idx="70">
                  <c:v>20.448149000000001</c:v>
                </c:pt>
                <c:pt idx="71">
                  <c:v>20.428822</c:v>
                </c:pt>
                <c:pt idx="72">
                  <c:v>20.564357999999999</c:v>
                </c:pt>
                <c:pt idx="73">
                  <c:v>20.492908</c:v>
                </c:pt>
                <c:pt idx="74">
                  <c:v>20.499714000000001</c:v>
                </c:pt>
                <c:pt idx="75">
                  <c:v>20.491852000000002</c:v>
                </c:pt>
                <c:pt idx="76">
                  <c:v>20.498757999999999</c:v>
                </c:pt>
                <c:pt idx="77">
                  <c:v>20.444489000000001</c:v>
                </c:pt>
                <c:pt idx="78">
                  <c:v>20.404743</c:v>
                </c:pt>
                <c:pt idx="79">
                  <c:v>20.467129</c:v>
                </c:pt>
                <c:pt idx="80">
                  <c:v>20.467922000000002</c:v>
                </c:pt>
                <c:pt idx="81">
                  <c:v>20.406614000000001</c:v>
                </c:pt>
                <c:pt idx="82">
                  <c:v>20.346921999999999</c:v>
                </c:pt>
                <c:pt idx="83">
                  <c:v>20.380789</c:v>
                </c:pt>
                <c:pt idx="84">
                  <c:v>20.381019999999999</c:v>
                </c:pt>
                <c:pt idx="85">
                  <c:v>20.377597999999999</c:v>
                </c:pt>
                <c:pt idx="86">
                  <c:v>20.405163000000002</c:v>
                </c:pt>
                <c:pt idx="87">
                  <c:v>20.379860000000001</c:v>
                </c:pt>
                <c:pt idx="88">
                  <c:v>20.314309999999999</c:v>
                </c:pt>
                <c:pt idx="89">
                  <c:v>20.493476999999999</c:v>
                </c:pt>
                <c:pt idx="90">
                  <c:v>20.437729999999998</c:v>
                </c:pt>
                <c:pt idx="91">
                  <c:v>20.373502999999999</c:v>
                </c:pt>
                <c:pt idx="92">
                  <c:v>20.327513</c:v>
                </c:pt>
                <c:pt idx="93">
                  <c:v>20.364367000000001</c:v>
                </c:pt>
                <c:pt idx="94">
                  <c:v>21.541664000000001</c:v>
                </c:pt>
                <c:pt idx="95">
                  <c:v>21.279057999999999</c:v>
                </c:pt>
                <c:pt idx="96">
                  <c:v>21.057531000000001</c:v>
                </c:pt>
                <c:pt idx="97">
                  <c:v>20.794799999999999</c:v>
                </c:pt>
                <c:pt idx="98">
                  <c:v>20.661850000000001</c:v>
                </c:pt>
                <c:pt idx="99">
                  <c:v>20.654367000000001</c:v>
                </c:pt>
                <c:pt idx="100">
                  <c:v>20.677417999999999</c:v>
                </c:pt>
                <c:pt idx="101">
                  <c:v>20.643191999999999</c:v>
                </c:pt>
                <c:pt idx="102">
                  <c:v>20.990031999999999</c:v>
                </c:pt>
                <c:pt idx="103">
                  <c:v>21.039663000000001</c:v>
                </c:pt>
                <c:pt idx="104">
                  <c:v>21.031213999999999</c:v>
                </c:pt>
                <c:pt idx="105">
                  <c:v>20.992609000000002</c:v>
                </c:pt>
                <c:pt idx="106">
                  <c:v>20.942830000000001</c:v>
                </c:pt>
                <c:pt idx="107">
                  <c:v>20.961732999999999</c:v>
                </c:pt>
                <c:pt idx="108">
                  <c:v>20.988949999999999</c:v>
                </c:pt>
                <c:pt idx="109">
                  <c:v>21.023699000000001</c:v>
                </c:pt>
                <c:pt idx="110">
                  <c:v>21.080736000000002</c:v>
                </c:pt>
                <c:pt idx="111">
                  <c:v>21.067995</c:v>
                </c:pt>
                <c:pt idx="112">
                  <c:v>21.080500000000001</c:v>
                </c:pt>
                <c:pt idx="113">
                  <c:v>21.177530000000001</c:v>
                </c:pt>
                <c:pt idx="114">
                  <c:v>21.113614999999999</c:v>
                </c:pt>
                <c:pt idx="115">
                  <c:v>21.181346999999999</c:v>
                </c:pt>
                <c:pt idx="116">
                  <c:v>21.632760000000001</c:v>
                </c:pt>
                <c:pt idx="117">
                  <c:v>21.727786999999999</c:v>
                </c:pt>
                <c:pt idx="118">
                  <c:v>21.765072</c:v>
                </c:pt>
                <c:pt idx="119">
                  <c:v>21.694929999999999</c:v>
                </c:pt>
                <c:pt idx="120">
                  <c:v>21.677302999999998</c:v>
                </c:pt>
                <c:pt idx="121">
                  <c:v>21.605882999999999</c:v>
                </c:pt>
                <c:pt idx="122">
                  <c:v>21.519272000000001</c:v>
                </c:pt>
                <c:pt idx="123">
                  <c:v>21.379711</c:v>
                </c:pt>
                <c:pt idx="124">
                  <c:v>21.203150000000001</c:v>
                </c:pt>
                <c:pt idx="125">
                  <c:v>21.090729</c:v>
                </c:pt>
                <c:pt idx="126">
                  <c:v>21.056664999999999</c:v>
                </c:pt>
                <c:pt idx="127">
                  <c:v>20.987401999999999</c:v>
                </c:pt>
                <c:pt idx="128">
                  <c:v>20.891957999999999</c:v>
                </c:pt>
                <c:pt idx="129">
                  <c:v>20.706049</c:v>
                </c:pt>
                <c:pt idx="130">
                  <c:v>20.575043000000001</c:v>
                </c:pt>
                <c:pt idx="131">
                  <c:v>20.572434999999999</c:v>
                </c:pt>
                <c:pt idx="132">
                  <c:v>20.443004999999999</c:v>
                </c:pt>
                <c:pt idx="133">
                  <c:v>20.396214000000001</c:v>
                </c:pt>
                <c:pt idx="134">
                  <c:v>20.383091</c:v>
                </c:pt>
                <c:pt idx="135">
                  <c:v>20.324083000000002</c:v>
                </c:pt>
                <c:pt idx="136">
                  <c:v>20.330352999999999</c:v>
                </c:pt>
                <c:pt idx="137">
                  <c:v>20.293254999999998</c:v>
                </c:pt>
                <c:pt idx="138">
                  <c:v>20.249535000000002</c:v>
                </c:pt>
                <c:pt idx="139">
                  <c:v>20.225646999999999</c:v>
                </c:pt>
                <c:pt idx="140">
                  <c:v>20.253304</c:v>
                </c:pt>
                <c:pt idx="141">
                  <c:v>20.292881000000001</c:v>
                </c:pt>
                <c:pt idx="142">
                  <c:v>20.329159000000001</c:v>
                </c:pt>
                <c:pt idx="143">
                  <c:v>20.427387</c:v>
                </c:pt>
                <c:pt idx="144">
                  <c:v>20.550395999999999</c:v>
                </c:pt>
                <c:pt idx="145">
                  <c:v>20.647762</c:v>
                </c:pt>
                <c:pt idx="146">
                  <c:v>20.61955</c:v>
                </c:pt>
                <c:pt idx="147">
                  <c:v>20.606455</c:v>
                </c:pt>
                <c:pt idx="148">
                  <c:v>20.644929999999999</c:v>
                </c:pt>
                <c:pt idx="149">
                  <c:v>20.675228000000001</c:v>
                </c:pt>
                <c:pt idx="150">
                  <c:v>20.86497</c:v>
                </c:pt>
                <c:pt idx="151">
                  <c:v>20.923727</c:v>
                </c:pt>
                <c:pt idx="152">
                  <c:v>21.053000000000001</c:v>
                </c:pt>
                <c:pt idx="153">
                  <c:v>21.025465000000001</c:v>
                </c:pt>
                <c:pt idx="154">
                  <c:v>21.057096000000001</c:v>
                </c:pt>
                <c:pt idx="155">
                  <c:v>21.043710000000001</c:v>
                </c:pt>
                <c:pt idx="156">
                  <c:v>21.040682</c:v>
                </c:pt>
                <c:pt idx="157">
                  <c:v>21.045137</c:v>
                </c:pt>
                <c:pt idx="158">
                  <c:v>21.205416</c:v>
                </c:pt>
                <c:pt idx="159">
                  <c:v>21.281492</c:v>
                </c:pt>
                <c:pt idx="160">
                  <c:v>21.272406</c:v>
                </c:pt>
                <c:pt idx="161">
                  <c:v>21.200990000000001</c:v>
                </c:pt>
                <c:pt idx="162">
                  <c:v>21.243635000000001</c:v>
                </c:pt>
                <c:pt idx="163">
                  <c:v>21.150304999999999</c:v>
                </c:pt>
                <c:pt idx="164">
                  <c:v>21.035788</c:v>
                </c:pt>
                <c:pt idx="165">
                  <c:v>20.939318</c:v>
                </c:pt>
                <c:pt idx="166">
                  <c:v>20.955926999999999</c:v>
                </c:pt>
                <c:pt idx="167">
                  <c:v>21.018771999999998</c:v>
                </c:pt>
                <c:pt idx="168">
                  <c:v>21.056999999999999</c:v>
                </c:pt>
                <c:pt idx="169">
                  <c:v>21.075089999999999</c:v>
                </c:pt>
                <c:pt idx="170">
                  <c:v>21.293410000000002</c:v>
                </c:pt>
                <c:pt idx="171">
                  <c:v>21.403786</c:v>
                </c:pt>
                <c:pt idx="172">
                  <c:v>21.538163999999998</c:v>
                </c:pt>
                <c:pt idx="173">
                  <c:v>21.577846999999998</c:v>
                </c:pt>
                <c:pt idx="174">
                  <c:v>21.691202000000001</c:v>
                </c:pt>
                <c:pt idx="175">
                  <c:v>21.731307999999999</c:v>
                </c:pt>
                <c:pt idx="176">
                  <c:v>21.792528000000001</c:v>
                </c:pt>
                <c:pt idx="177">
                  <c:v>21.880758</c:v>
                </c:pt>
                <c:pt idx="178">
                  <c:v>21.963718</c:v>
                </c:pt>
                <c:pt idx="179">
                  <c:v>22.173231000000001</c:v>
                </c:pt>
                <c:pt idx="180">
                  <c:v>22.321472</c:v>
                </c:pt>
                <c:pt idx="181">
                  <c:v>22.505558000000001</c:v>
                </c:pt>
                <c:pt idx="182">
                  <c:v>22.604744</c:v>
                </c:pt>
                <c:pt idx="183">
                  <c:v>22.613330000000001</c:v>
                </c:pt>
                <c:pt idx="184">
                  <c:v>22.596990000000002</c:v>
                </c:pt>
                <c:pt idx="185">
                  <c:v>22.59995</c:v>
                </c:pt>
                <c:pt idx="186">
                  <c:v>22.54495</c:v>
                </c:pt>
                <c:pt idx="187">
                  <c:v>22.592247</c:v>
                </c:pt>
                <c:pt idx="188">
                  <c:v>22.597670000000001</c:v>
                </c:pt>
                <c:pt idx="189">
                  <c:v>22.577904</c:v>
                </c:pt>
                <c:pt idx="190">
                  <c:v>22.597359999999998</c:v>
                </c:pt>
                <c:pt idx="191">
                  <c:v>22.614370000000001</c:v>
                </c:pt>
                <c:pt idx="192">
                  <c:v>22.716705000000001</c:v>
                </c:pt>
                <c:pt idx="193">
                  <c:v>22.756287</c:v>
                </c:pt>
                <c:pt idx="194">
                  <c:v>22.718192999999999</c:v>
                </c:pt>
                <c:pt idx="195">
                  <c:v>22.695568000000002</c:v>
                </c:pt>
                <c:pt idx="196">
                  <c:v>22.70946</c:v>
                </c:pt>
                <c:pt idx="197">
                  <c:v>23.312743999999999</c:v>
                </c:pt>
                <c:pt idx="198">
                  <c:v>23.578655000000001</c:v>
                </c:pt>
                <c:pt idx="199">
                  <c:v>23.671854</c:v>
                </c:pt>
                <c:pt idx="200">
                  <c:v>23.663853</c:v>
                </c:pt>
                <c:pt idx="201">
                  <c:v>23.608184999999999</c:v>
                </c:pt>
                <c:pt idx="202">
                  <c:v>23.663796999999999</c:v>
                </c:pt>
                <c:pt idx="203">
                  <c:v>23.696425999999999</c:v>
                </c:pt>
                <c:pt idx="204">
                  <c:v>23.677734000000001</c:v>
                </c:pt>
                <c:pt idx="205">
                  <c:v>23.660969000000001</c:v>
                </c:pt>
                <c:pt idx="206">
                  <c:v>23.747790999999999</c:v>
                </c:pt>
                <c:pt idx="207">
                  <c:v>23.756035000000001</c:v>
                </c:pt>
                <c:pt idx="208">
                  <c:v>23.773095999999999</c:v>
                </c:pt>
                <c:pt idx="209">
                  <c:v>23.692302999999999</c:v>
                </c:pt>
                <c:pt idx="210">
                  <c:v>23.538222999999999</c:v>
                </c:pt>
                <c:pt idx="211">
                  <c:v>23.474115000000001</c:v>
                </c:pt>
                <c:pt idx="212">
                  <c:v>23.444921000000001</c:v>
                </c:pt>
                <c:pt idx="213">
                  <c:v>23.365466999999999</c:v>
                </c:pt>
                <c:pt idx="214">
                  <c:v>23.524403</c:v>
                </c:pt>
                <c:pt idx="215">
                  <c:v>23.633054999999999</c:v>
                </c:pt>
                <c:pt idx="216">
                  <c:v>23.914042999999999</c:v>
                </c:pt>
                <c:pt idx="217">
                  <c:v>23.976949999999999</c:v>
                </c:pt>
                <c:pt idx="218">
                  <c:v>23.943909999999999</c:v>
                </c:pt>
                <c:pt idx="219">
                  <c:v>23.937142999999999</c:v>
                </c:pt>
                <c:pt idx="220">
                  <c:v>23.92343</c:v>
                </c:pt>
                <c:pt idx="221">
                  <c:v>23.887632</c:v>
                </c:pt>
                <c:pt idx="222">
                  <c:v>23.942411</c:v>
                </c:pt>
                <c:pt idx="223">
                  <c:v>23.965038</c:v>
                </c:pt>
                <c:pt idx="224">
                  <c:v>23.945484</c:v>
                </c:pt>
                <c:pt idx="225">
                  <c:v>23.945929</c:v>
                </c:pt>
                <c:pt idx="226">
                  <c:v>24.250698</c:v>
                </c:pt>
                <c:pt idx="227">
                  <c:v>24.391653000000002</c:v>
                </c:pt>
                <c:pt idx="228">
                  <c:v>24.431819999999998</c:v>
                </c:pt>
                <c:pt idx="229">
                  <c:v>24.531326</c:v>
                </c:pt>
                <c:pt idx="230">
                  <c:v>24.571596</c:v>
                </c:pt>
                <c:pt idx="231">
                  <c:v>24.646677</c:v>
                </c:pt>
                <c:pt idx="232">
                  <c:v>24.875677</c:v>
                </c:pt>
                <c:pt idx="233">
                  <c:v>24.958870000000001</c:v>
                </c:pt>
                <c:pt idx="234">
                  <c:v>25.059577999999998</c:v>
                </c:pt>
                <c:pt idx="235">
                  <c:v>25.083572</c:v>
                </c:pt>
                <c:pt idx="236">
                  <c:v>25.093197</c:v>
                </c:pt>
                <c:pt idx="237">
                  <c:v>25.067022000000001</c:v>
                </c:pt>
                <c:pt idx="238">
                  <c:v>24.991503000000002</c:v>
                </c:pt>
                <c:pt idx="239">
                  <c:v>25.033273999999999</c:v>
                </c:pt>
                <c:pt idx="240">
                  <c:v>25.086403000000001</c:v>
                </c:pt>
                <c:pt idx="241">
                  <c:v>25.016718000000001</c:v>
                </c:pt>
                <c:pt idx="242">
                  <c:v>25.054065999999999</c:v>
                </c:pt>
                <c:pt idx="243">
                  <c:v>25.094446000000001</c:v>
                </c:pt>
                <c:pt idx="244">
                  <c:v>25.000761000000001</c:v>
                </c:pt>
                <c:pt idx="245">
                  <c:v>24.841775999999999</c:v>
                </c:pt>
                <c:pt idx="246">
                  <c:v>24.546806</c:v>
                </c:pt>
                <c:pt idx="247">
                  <c:v>24.408504000000001</c:v>
                </c:pt>
                <c:pt idx="248">
                  <c:v>24.447144000000002</c:v>
                </c:pt>
                <c:pt idx="249">
                  <c:v>24.409153</c:v>
                </c:pt>
                <c:pt idx="250">
                  <c:v>24.440584000000001</c:v>
                </c:pt>
                <c:pt idx="251">
                  <c:v>24.446304000000001</c:v>
                </c:pt>
                <c:pt idx="252">
                  <c:v>27.963684000000001</c:v>
                </c:pt>
                <c:pt idx="253">
                  <c:v>28.346733</c:v>
                </c:pt>
                <c:pt idx="254">
                  <c:v>28.070786999999999</c:v>
                </c:pt>
                <c:pt idx="255">
                  <c:v>28.775751</c:v>
                </c:pt>
                <c:pt idx="256">
                  <c:v>28.690764999999999</c:v>
                </c:pt>
                <c:pt idx="257">
                  <c:v>28.592323</c:v>
                </c:pt>
                <c:pt idx="258">
                  <c:v>28.354611999999999</c:v>
                </c:pt>
                <c:pt idx="259">
                  <c:v>28.337109000000002</c:v>
                </c:pt>
                <c:pt idx="260">
                  <c:v>28.177527999999999</c:v>
                </c:pt>
                <c:pt idx="261">
                  <c:v>28.195152</c:v>
                </c:pt>
                <c:pt idx="262">
                  <c:v>28.274453999999999</c:v>
                </c:pt>
                <c:pt idx="263">
                  <c:v>28.225368</c:v>
                </c:pt>
                <c:pt idx="264">
                  <c:v>28.230661000000001</c:v>
                </c:pt>
                <c:pt idx="265">
                  <c:v>28.367619999999999</c:v>
                </c:pt>
                <c:pt idx="266">
                  <c:v>28.418358000000001</c:v>
                </c:pt>
                <c:pt idx="267">
                  <c:v>28.472887</c:v>
                </c:pt>
                <c:pt idx="268">
                  <c:v>28.435635000000001</c:v>
                </c:pt>
                <c:pt idx="269">
                  <c:v>28.387978</c:v>
                </c:pt>
                <c:pt idx="270">
                  <c:v>28.334479999999999</c:v>
                </c:pt>
                <c:pt idx="271">
                  <c:v>28.270600000000002</c:v>
                </c:pt>
                <c:pt idx="272">
                  <c:v>28.203779999999998</c:v>
                </c:pt>
                <c:pt idx="273">
                  <c:v>28.146502000000002</c:v>
                </c:pt>
                <c:pt idx="274">
                  <c:v>28.234219</c:v>
                </c:pt>
                <c:pt idx="275">
                  <c:v>28.409165999999999</c:v>
                </c:pt>
                <c:pt idx="276">
                  <c:v>28.467337000000001</c:v>
                </c:pt>
                <c:pt idx="277">
                  <c:v>28.753862000000002</c:v>
                </c:pt>
                <c:pt idx="278">
                  <c:v>28.780639999999998</c:v>
                </c:pt>
                <c:pt idx="279">
                  <c:v>28.858736</c:v>
                </c:pt>
                <c:pt idx="280">
                  <c:v>28.836770000000001</c:v>
                </c:pt>
                <c:pt idx="281">
                  <c:v>28.620943</c:v>
                </c:pt>
                <c:pt idx="282">
                  <c:v>28.670871999999999</c:v>
                </c:pt>
                <c:pt idx="283">
                  <c:v>28.748106</c:v>
                </c:pt>
                <c:pt idx="284">
                  <c:v>28.787493000000001</c:v>
                </c:pt>
                <c:pt idx="285">
                  <c:v>28.916755999999999</c:v>
                </c:pt>
                <c:pt idx="286">
                  <c:v>28.972709999999999</c:v>
                </c:pt>
                <c:pt idx="287">
                  <c:v>29.004332999999999</c:v>
                </c:pt>
                <c:pt idx="288">
                  <c:v>29.052257999999998</c:v>
                </c:pt>
                <c:pt idx="289">
                  <c:v>29.158515999999999</c:v>
                </c:pt>
                <c:pt idx="290">
                  <c:v>29.253019999999999</c:v>
                </c:pt>
                <c:pt idx="291">
                  <c:v>29.095089999999999</c:v>
                </c:pt>
                <c:pt idx="292">
                  <c:v>28.819535999999999</c:v>
                </c:pt>
                <c:pt idx="293">
                  <c:v>28.644932000000001</c:v>
                </c:pt>
                <c:pt idx="294">
                  <c:v>28.615793</c:v>
                </c:pt>
                <c:pt idx="295">
                  <c:v>28.755474</c:v>
                </c:pt>
                <c:pt idx="296">
                  <c:v>28.733013</c:v>
                </c:pt>
                <c:pt idx="297">
                  <c:v>28.779326999999999</c:v>
                </c:pt>
                <c:pt idx="298">
                  <c:v>29.570232000000001</c:v>
                </c:pt>
                <c:pt idx="299">
                  <c:v>29.478867999999999</c:v>
                </c:pt>
                <c:pt idx="300">
                  <c:v>29.455862</c:v>
                </c:pt>
                <c:pt idx="301">
                  <c:v>29.370823000000001</c:v>
                </c:pt>
                <c:pt idx="302">
                  <c:v>29.483936</c:v>
                </c:pt>
                <c:pt idx="303">
                  <c:v>29.497233999999999</c:v>
                </c:pt>
                <c:pt idx="304">
                  <c:v>29.484575</c:v>
                </c:pt>
                <c:pt idx="305">
                  <c:v>29.433989</c:v>
                </c:pt>
                <c:pt idx="306">
                  <c:v>29.392578</c:v>
                </c:pt>
                <c:pt idx="307">
                  <c:v>29.367833999999998</c:v>
                </c:pt>
                <c:pt idx="308">
                  <c:v>29.325817000000001</c:v>
                </c:pt>
                <c:pt idx="309">
                  <c:v>29.298424000000001</c:v>
                </c:pt>
                <c:pt idx="310">
                  <c:v>29.373055999999998</c:v>
                </c:pt>
                <c:pt idx="311">
                  <c:v>29.369164000000001</c:v>
                </c:pt>
                <c:pt idx="312">
                  <c:v>29.431754999999999</c:v>
                </c:pt>
                <c:pt idx="313">
                  <c:v>29.773690999999999</c:v>
                </c:pt>
                <c:pt idx="314">
                  <c:v>29.755269999999999</c:v>
                </c:pt>
                <c:pt idx="315">
                  <c:v>29.676779</c:v>
                </c:pt>
                <c:pt idx="316">
                  <c:v>29.569092000000001</c:v>
                </c:pt>
                <c:pt idx="317">
                  <c:v>29.539133</c:v>
                </c:pt>
                <c:pt idx="318">
                  <c:v>29.413557000000001</c:v>
                </c:pt>
                <c:pt idx="319">
                  <c:v>29.379332999999999</c:v>
                </c:pt>
                <c:pt idx="320">
                  <c:v>29.345175000000001</c:v>
                </c:pt>
                <c:pt idx="321">
                  <c:v>29.311947</c:v>
                </c:pt>
                <c:pt idx="322">
                  <c:v>29.335428</c:v>
                </c:pt>
                <c:pt idx="323">
                  <c:v>29.314122999999999</c:v>
                </c:pt>
                <c:pt idx="324">
                  <c:v>29.340536</c:v>
                </c:pt>
                <c:pt idx="325">
                  <c:v>29.381616999999999</c:v>
                </c:pt>
                <c:pt idx="326">
                  <c:v>29.406448000000001</c:v>
                </c:pt>
                <c:pt idx="327">
                  <c:v>29.364830000000001</c:v>
                </c:pt>
                <c:pt idx="328">
                  <c:v>29.451761000000001</c:v>
                </c:pt>
                <c:pt idx="329">
                  <c:v>29.464009999999998</c:v>
                </c:pt>
                <c:pt idx="330">
                  <c:v>29.53613</c:v>
                </c:pt>
                <c:pt idx="331">
                  <c:v>29.656974999999999</c:v>
                </c:pt>
                <c:pt idx="332">
                  <c:v>29.70749</c:v>
                </c:pt>
                <c:pt idx="333">
                  <c:v>29.724592000000001</c:v>
                </c:pt>
                <c:pt idx="334">
                  <c:v>29.673840999999999</c:v>
                </c:pt>
                <c:pt idx="335">
                  <c:v>29.671230000000001</c:v>
                </c:pt>
                <c:pt idx="336">
                  <c:v>29.614058</c:v>
                </c:pt>
                <c:pt idx="337">
                  <c:v>29.587569999999999</c:v>
                </c:pt>
                <c:pt idx="338">
                  <c:v>29.653103000000002</c:v>
                </c:pt>
                <c:pt idx="339">
                  <c:v>29.722328000000001</c:v>
                </c:pt>
                <c:pt idx="340">
                  <c:v>29.973839000000002</c:v>
                </c:pt>
                <c:pt idx="341">
                  <c:v>29.99051</c:v>
                </c:pt>
                <c:pt idx="342">
                  <c:v>30.032043000000002</c:v>
                </c:pt>
                <c:pt idx="343">
                  <c:v>30.138120000000001</c:v>
                </c:pt>
                <c:pt idx="344">
                  <c:v>30.161580000000001</c:v>
                </c:pt>
                <c:pt idx="345">
                  <c:v>30.359735000000001</c:v>
                </c:pt>
                <c:pt idx="346">
                  <c:v>30.555299999999999</c:v>
                </c:pt>
                <c:pt idx="347">
                  <c:v>30.679145999999999</c:v>
                </c:pt>
                <c:pt idx="348">
                  <c:v>30.757078</c:v>
                </c:pt>
                <c:pt idx="349">
                  <c:v>30.837758999999998</c:v>
                </c:pt>
                <c:pt idx="350">
                  <c:v>30.940007999999999</c:v>
                </c:pt>
                <c:pt idx="351">
                  <c:v>31.055751999999998</c:v>
                </c:pt>
                <c:pt idx="352">
                  <c:v>31.241116000000002</c:v>
                </c:pt>
                <c:pt idx="353">
                  <c:v>31.241257000000001</c:v>
                </c:pt>
                <c:pt idx="354">
                  <c:v>31.182459000000001</c:v>
                </c:pt>
                <c:pt idx="355">
                  <c:v>31.299386999999999</c:v>
                </c:pt>
                <c:pt idx="356">
                  <c:v>31.306173000000001</c:v>
                </c:pt>
                <c:pt idx="357">
                  <c:v>31.562505999999999</c:v>
                </c:pt>
                <c:pt idx="358">
                  <c:v>31.563652000000001</c:v>
                </c:pt>
                <c:pt idx="359">
                  <c:v>31.638155000000001</c:v>
                </c:pt>
                <c:pt idx="360">
                  <c:v>31.811647000000001</c:v>
                </c:pt>
                <c:pt idx="361">
                  <c:v>31.963712999999998</c:v>
                </c:pt>
                <c:pt idx="362">
                  <c:v>32.064551999999999</c:v>
                </c:pt>
                <c:pt idx="363">
                  <c:v>32.155524999999997</c:v>
                </c:pt>
                <c:pt idx="364">
                  <c:v>32.125346999999998</c:v>
                </c:pt>
                <c:pt idx="365">
                  <c:v>32.073253999999999</c:v>
                </c:pt>
                <c:pt idx="366">
                  <c:v>32.191510000000001</c:v>
                </c:pt>
                <c:pt idx="367">
                  <c:v>32.192425</c:v>
                </c:pt>
                <c:pt idx="368">
                  <c:v>32.035885</c:v>
                </c:pt>
                <c:pt idx="369">
                  <c:v>31.790973999999999</c:v>
                </c:pt>
                <c:pt idx="370">
                  <c:v>31.612272000000001</c:v>
                </c:pt>
                <c:pt idx="371">
                  <c:v>31.486805</c:v>
                </c:pt>
                <c:pt idx="372">
                  <c:v>31.287223999999998</c:v>
                </c:pt>
                <c:pt idx="373">
                  <c:v>31.078014</c:v>
                </c:pt>
                <c:pt idx="374">
                  <c:v>31.038273</c:v>
                </c:pt>
                <c:pt idx="375">
                  <c:v>30.883130999999999</c:v>
                </c:pt>
                <c:pt idx="376">
                  <c:v>30.703081000000001</c:v>
                </c:pt>
                <c:pt idx="377">
                  <c:v>30.638304000000002</c:v>
                </c:pt>
                <c:pt idx="378">
                  <c:v>30.565355</c:v>
                </c:pt>
                <c:pt idx="379">
                  <c:v>30.575341999999999</c:v>
                </c:pt>
                <c:pt idx="380">
                  <c:v>30.564340000000001</c:v>
                </c:pt>
                <c:pt idx="381">
                  <c:v>30.529684</c:v>
                </c:pt>
                <c:pt idx="382">
                  <c:v>30.473420999999998</c:v>
                </c:pt>
                <c:pt idx="383">
                  <c:v>30.471867</c:v>
                </c:pt>
                <c:pt idx="384">
                  <c:v>30.486848999999999</c:v>
                </c:pt>
                <c:pt idx="385">
                  <c:v>30.52392</c:v>
                </c:pt>
                <c:pt idx="386">
                  <c:v>30.605634999999999</c:v>
                </c:pt>
                <c:pt idx="387">
                  <c:v>30.584620000000001</c:v>
                </c:pt>
                <c:pt idx="388">
                  <c:v>30.480549</c:v>
                </c:pt>
                <c:pt idx="389">
                  <c:v>30.449804</c:v>
                </c:pt>
                <c:pt idx="390">
                  <c:v>30.420604999999998</c:v>
                </c:pt>
                <c:pt idx="391">
                  <c:v>30.388735</c:v>
                </c:pt>
                <c:pt idx="392">
                  <c:v>30.487171</c:v>
                </c:pt>
                <c:pt idx="393">
                  <c:v>30.70438</c:v>
                </c:pt>
                <c:pt idx="394">
                  <c:v>30.869205000000001</c:v>
                </c:pt>
                <c:pt idx="395">
                  <c:v>31.198350000000001</c:v>
                </c:pt>
                <c:pt idx="396">
                  <c:v>31.327826999999999</c:v>
                </c:pt>
                <c:pt idx="397">
                  <c:v>31.396688000000001</c:v>
                </c:pt>
                <c:pt idx="398">
                  <c:v>31.415572999999998</c:v>
                </c:pt>
                <c:pt idx="399">
                  <c:v>31.513190999999999</c:v>
                </c:pt>
                <c:pt idx="400">
                  <c:v>31.589604999999999</c:v>
                </c:pt>
                <c:pt idx="401">
                  <c:v>31.643219999999999</c:v>
                </c:pt>
                <c:pt idx="402">
                  <c:v>31.851284</c:v>
                </c:pt>
                <c:pt idx="403">
                  <c:v>32.158816999999999</c:v>
                </c:pt>
                <c:pt idx="404">
                  <c:v>32.209209999999999</c:v>
                </c:pt>
                <c:pt idx="405">
                  <c:v>32.193893000000003</c:v>
                </c:pt>
                <c:pt idx="406">
                  <c:v>32.331090000000003</c:v>
                </c:pt>
                <c:pt idx="407">
                  <c:v>32.248240000000003</c:v>
                </c:pt>
                <c:pt idx="408">
                  <c:v>32.231999999999999</c:v>
                </c:pt>
                <c:pt idx="409">
                  <c:v>32.179873999999998</c:v>
                </c:pt>
                <c:pt idx="410">
                  <c:v>32.190365</c:v>
                </c:pt>
                <c:pt idx="411">
                  <c:v>32.114409999999999</c:v>
                </c:pt>
                <c:pt idx="412">
                  <c:v>32.117739999999998</c:v>
                </c:pt>
                <c:pt idx="413">
                  <c:v>32.166846999999997</c:v>
                </c:pt>
                <c:pt idx="414">
                  <c:v>32.055039999999998</c:v>
                </c:pt>
                <c:pt idx="415">
                  <c:v>31.867467999999999</c:v>
                </c:pt>
                <c:pt idx="416">
                  <c:v>32.108086</c:v>
                </c:pt>
                <c:pt idx="417">
                  <c:v>32.042380000000001</c:v>
                </c:pt>
                <c:pt idx="418">
                  <c:v>32.149883000000003</c:v>
                </c:pt>
                <c:pt idx="419">
                  <c:v>31.949694000000001</c:v>
                </c:pt>
                <c:pt idx="420">
                  <c:v>31.929665</c:v>
                </c:pt>
                <c:pt idx="421">
                  <c:v>32.361637000000002</c:v>
                </c:pt>
                <c:pt idx="422">
                  <c:v>32.804349999999999</c:v>
                </c:pt>
                <c:pt idx="423">
                  <c:v>32.610035000000003</c:v>
                </c:pt>
                <c:pt idx="424">
                  <c:v>32.103012</c:v>
                </c:pt>
                <c:pt idx="425">
                  <c:v>32.313600000000001</c:v>
                </c:pt>
                <c:pt idx="426">
                  <c:v>32.265610000000002</c:v>
                </c:pt>
                <c:pt idx="427">
                  <c:v>32.355539999999998</c:v>
                </c:pt>
                <c:pt idx="428">
                  <c:v>32.527664000000001</c:v>
                </c:pt>
                <c:pt idx="429">
                  <c:v>32.434980000000003</c:v>
                </c:pt>
                <c:pt idx="430">
                  <c:v>32.559730000000002</c:v>
                </c:pt>
                <c:pt idx="431">
                  <c:v>32.715977000000002</c:v>
                </c:pt>
                <c:pt idx="432">
                  <c:v>32.833663999999999</c:v>
                </c:pt>
                <c:pt idx="433">
                  <c:v>33.130760000000002</c:v>
                </c:pt>
                <c:pt idx="434">
                  <c:v>33.274814999999997</c:v>
                </c:pt>
                <c:pt idx="435">
                  <c:v>33.412469999999999</c:v>
                </c:pt>
                <c:pt idx="436">
                  <c:v>33.509968000000001</c:v>
                </c:pt>
                <c:pt idx="437">
                  <c:v>33.634112999999999</c:v>
                </c:pt>
                <c:pt idx="438">
                  <c:v>33.87838</c:v>
                </c:pt>
                <c:pt idx="439">
                  <c:v>35.611305000000002</c:v>
                </c:pt>
                <c:pt idx="440">
                  <c:v>35.887520000000002</c:v>
                </c:pt>
                <c:pt idx="441">
                  <c:v>35.738370000000003</c:v>
                </c:pt>
                <c:pt idx="442">
                  <c:v>35.458640000000003</c:v>
                </c:pt>
                <c:pt idx="443">
                  <c:v>35.125790000000002</c:v>
                </c:pt>
                <c:pt idx="444">
                  <c:v>35.007717</c:v>
                </c:pt>
                <c:pt idx="445">
                  <c:v>35.007313000000003</c:v>
                </c:pt>
                <c:pt idx="446">
                  <c:v>35.018577999999998</c:v>
                </c:pt>
                <c:pt idx="447">
                  <c:v>34.969279999999998</c:v>
                </c:pt>
                <c:pt idx="448">
                  <c:v>35.052230000000002</c:v>
                </c:pt>
                <c:pt idx="449">
                  <c:v>35.088389999999997</c:v>
                </c:pt>
                <c:pt idx="450">
                  <c:v>35.124653000000002</c:v>
                </c:pt>
                <c:pt idx="451">
                  <c:v>35.051825999999998</c:v>
                </c:pt>
                <c:pt idx="452">
                  <c:v>34.850642999999998</c:v>
                </c:pt>
                <c:pt idx="453">
                  <c:v>34.618724999999998</c:v>
                </c:pt>
                <c:pt idx="454">
                  <c:v>34.519126999999997</c:v>
                </c:pt>
                <c:pt idx="455">
                  <c:v>34.352640000000001</c:v>
                </c:pt>
                <c:pt idx="456">
                  <c:v>34.18159</c:v>
                </c:pt>
                <c:pt idx="457">
                  <c:v>33.937820000000002</c:v>
                </c:pt>
                <c:pt idx="458">
                  <c:v>33.557631999999998</c:v>
                </c:pt>
                <c:pt idx="459">
                  <c:v>33.262343999999999</c:v>
                </c:pt>
                <c:pt idx="460">
                  <c:v>32.834465000000002</c:v>
                </c:pt>
                <c:pt idx="461">
                  <c:v>32.519283000000001</c:v>
                </c:pt>
                <c:pt idx="462">
                  <c:v>32.118195</c:v>
                </c:pt>
                <c:pt idx="463">
                  <c:v>31.710122999999999</c:v>
                </c:pt>
                <c:pt idx="464">
                  <c:v>31.437840999999999</c:v>
                </c:pt>
                <c:pt idx="465">
                  <c:v>31.544450000000001</c:v>
                </c:pt>
                <c:pt idx="466">
                  <c:v>32.27196</c:v>
                </c:pt>
                <c:pt idx="467">
                  <c:v>33.028255000000001</c:v>
                </c:pt>
                <c:pt idx="468">
                  <c:v>33.474364999999999</c:v>
                </c:pt>
                <c:pt idx="469">
                  <c:v>33.477249999999998</c:v>
                </c:pt>
                <c:pt idx="470">
                  <c:v>33.390270000000001</c:v>
                </c:pt>
                <c:pt idx="471">
                  <c:v>33.272193999999999</c:v>
                </c:pt>
                <c:pt idx="472">
                  <c:v>33.166553</c:v>
                </c:pt>
                <c:pt idx="473">
                  <c:v>33.161673999999998</c:v>
                </c:pt>
                <c:pt idx="474">
                  <c:v>33.000459999999997</c:v>
                </c:pt>
                <c:pt idx="475">
                  <c:v>32.853549999999998</c:v>
                </c:pt>
                <c:pt idx="476">
                  <c:v>32.541170000000001</c:v>
                </c:pt>
                <c:pt idx="477">
                  <c:v>32.410026999999999</c:v>
                </c:pt>
                <c:pt idx="478">
                  <c:v>32.276499999999999</c:v>
                </c:pt>
                <c:pt idx="479">
                  <c:v>32.447375999999998</c:v>
                </c:pt>
                <c:pt idx="480">
                  <c:v>32.340584</c:v>
                </c:pt>
                <c:pt idx="481">
                  <c:v>32.303570000000001</c:v>
                </c:pt>
                <c:pt idx="482">
                  <c:v>32.448436999999998</c:v>
                </c:pt>
                <c:pt idx="483">
                  <c:v>32.568644999999997</c:v>
                </c:pt>
                <c:pt idx="484">
                  <c:v>32.549849999999999</c:v>
                </c:pt>
                <c:pt idx="485">
                  <c:v>32.669612999999998</c:v>
                </c:pt>
                <c:pt idx="486">
                  <c:v>32.678061999999997</c:v>
                </c:pt>
                <c:pt idx="487">
                  <c:v>32.872300000000003</c:v>
                </c:pt>
                <c:pt idx="488">
                  <c:v>33.15587</c:v>
                </c:pt>
                <c:pt idx="489">
                  <c:v>33.27534</c:v>
                </c:pt>
                <c:pt idx="490">
                  <c:v>33.308993999999998</c:v>
                </c:pt>
                <c:pt idx="491">
                  <c:v>33.218226999999999</c:v>
                </c:pt>
                <c:pt idx="492">
                  <c:v>33.128506000000002</c:v>
                </c:pt>
                <c:pt idx="493">
                  <c:v>33.217112999999998</c:v>
                </c:pt>
                <c:pt idx="494">
                  <c:v>33.308365000000002</c:v>
                </c:pt>
                <c:pt idx="495">
                  <c:v>33.475025000000002</c:v>
                </c:pt>
                <c:pt idx="496">
                  <c:v>33.668197999999997</c:v>
                </c:pt>
                <c:pt idx="497">
                  <c:v>34.142856999999999</c:v>
                </c:pt>
                <c:pt idx="498">
                  <c:v>34.061070000000001</c:v>
                </c:pt>
                <c:pt idx="499">
                  <c:v>33.992866999999997</c:v>
                </c:pt>
                <c:pt idx="500">
                  <c:v>34.041846999999997</c:v>
                </c:pt>
                <c:pt idx="501">
                  <c:v>34.203029999999998</c:v>
                </c:pt>
                <c:pt idx="502">
                  <c:v>34.326304999999998</c:v>
                </c:pt>
                <c:pt idx="503">
                  <c:v>34.496952</c:v>
                </c:pt>
                <c:pt idx="504">
                  <c:v>34.614666</c:v>
                </c:pt>
                <c:pt idx="505">
                  <c:v>34.708959999999998</c:v>
                </c:pt>
                <c:pt idx="506">
                  <c:v>34.633780000000002</c:v>
                </c:pt>
                <c:pt idx="507">
                  <c:v>34.460402999999999</c:v>
                </c:pt>
                <c:pt idx="508">
                  <c:v>34.360554</c:v>
                </c:pt>
                <c:pt idx="509">
                  <c:v>34.147143999999997</c:v>
                </c:pt>
                <c:pt idx="510">
                  <c:v>33.925690000000003</c:v>
                </c:pt>
                <c:pt idx="511">
                  <c:v>33.606265999999998</c:v>
                </c:pt>
                <c:pt idx="512">
                  <c:v>33.160939999999997</c:v>
                </c:pt>
                <c:pt idx="513">
                  <c:v>32.624541999999998</c:v>
                </c:pt>
                <c:pt idx="514">
                  <c:v>32.249687000000002</c:v>
                </c:pt>
                <c:pt idx="515">
                  <c:v>31.830555</c:v>
                </c:pt>
                <c:pt idx="516">
                  <c:v>31.377908999999999</c:v>
                </c:pt>
                <c:pt idx="517">
                  <c:v>30.930658000000001</c:v>
                </c:pt>
                <c:pt idx="518">
                  <c:v>30.361381999999999</c:v>
                </c:pt>
                <c:pt idx="519">
                  <c:v>29.898817000000001</c:v>
                </c:pt>
                <c:pt idx="520">
                  <c:v>29.614512999999999</c:v>
                </c:pt>
                <c:pt idx="521">
                  <c:v>29.524159999999998</c:v>
                </c:pt>
                <c:pt idx="522">
                  <c:v>29.691117999999999</c:v>
                </c:pt>
                <c:pt idx="523">
                  <c:v>29.860605</c:v>
                </c:pt>
                <c:pt idx="524">
                  <c:v>30.171192000000001</c:v>
                </c:pt>
                <c:pt idx="525">
                  <c:v>30.633167</c:v>
                </c:pt>
                <c:pt idx="526">
                  <c:v>31.12762</c:v>
                </c:pt>
                <c:pt idx="527">
                  <c:v>31.028994000000001</c:v>
                </c:pt>
                <c:pt idx="528">
                  <c:v>31.258801999999999</c:v>
                </c:pt>
                <c:pt idx="529">
                  <c:v>31.212986000000001</c:v>
                </c:pt>
                <c:pt idx="530">
                  <c:v>31.159573000000002</c:v>
                </c:pt>
                <c:pt idx="531">
                  <c:v>30.890975999999998</c:v>
                </c:pt>
                <c:pt idx="532">
                  <c:v>30.648534999999999</c:v>
                </c:pt>
                <c:pt idx="533">
                  <c:v>30.553684000000001</c:v>
                </c:pt>
                <c:pt idx="534">
                  <c:v>30.684999999999999</c:v>
                </c:pt>
                <c:pt idx="535">
                  <c:v>30.830939999999998</c:v>
                </c:pt>
                <c:pt idx="536">
                  <c:v>31.070094999999998</c:v>
                </c:pt>
                <c:pt idx="537">
                  <c:v>31.534489000000001</c:v>
                </c:pt>
                <c:pt idx="538">
                  <c:v>31.883547</c:v>
                </c:pt>
                <c:pt idx="539">
                  <c:v>32.130806</c:v>
                </c:pt>
                <c:pt idx="540">
                  <c:v>32.306975999999999</c:v>
                </c:pt>
                <c:pt idx="541">
                  <c:v>32.446883999999997</c:v>
                </c:pt>
                <c:pt idx="542">
                  <c:v>32.628326000000001</c:v>
                </c:pt>
                <c:pt idx="543">
                  <c:v>32.650863999999999</c:v>
                </c:pt>
                <c:pt idx="544">
                  <c:v>32.58005</c:v>
                </c:pt>
                <c:pt idx="545">
                  <c:v>32.50441</c:v>
                </c:pt>
                <c:pt idx="546">
                  <c:v>32.309086000000001</c:v>
                </c:pt>
                <c:pt idx="547">
                  <c:v>32.134884</c:v>
                </c:pt>
                <c:pt idx="548">
                  <c:v>31.587150000000001</c:v>
                </c:pt>
                <c:pt idx="549">
                  <c:v>31.151903000000001</c:v>
                </c:pt>
                <c:pt idx="550">
                  <c:v>30.82422</c:v>
                </c:pt>
                <c:pt idx="551">
                  <c:v>31.470687999999999</c:v>
                </c:pt>
                <c:pt idx="552">
                  <c:v>31.194592</c:v>
                </c:pt>
                <c:pt idx="553">
                  <c:v>30.597973</c:v>
                </c:pt>
                <c:pt idx="554">
                  <c:v>30.291779999999999</c:v>
                </c:pt>
                <c:pt idx="555">
                  <c:v>30.292649999999998</c:v>
                </c:pt>
                <c:pt idx="556">
                  <c:v>30.658422000000002</c:v>
                </c:pt>
                <c:pt idx="557">
                  <c:v>31.152594000000001</c:v>
                </c:pt>
                <c:pt idx="558">
                  <c:v>31.763266000000002</c:v>
                </c:pt>
                <c:pt idx="559">
                  <c:v>32.168453</c:v>
                </c:pt>
                <c:pt idx="560">
                  <c:v>32.480933999999998</c:v>
                </c:pt>
                <c:pt idx="561">
                  <c:v>32.749996000000003</c:v>
                </c:pt>
                <c:pt idx="562">
                  <c:v>33.143303000000003</c:v>
                </c:pt>
                <c:pt idx="563">
                  <c:v>33.360626000000003</c:v>
                </c:pt>
                <c:pt idx="564">
                  <c:v>33.524296</c:v>
                </c:pt>
                <c:pt idx="565">
                  <c:v>33.823349999999998</c:v>
                </c:pt>
                <c:pt idx="566">
                  <c:v>33.901572999999999</c:v>
                </c:pt>
                <c:pt idx="567">
                  <c:v>33.859229999999997</c:v>
                </c:pt>
                <c:pt idx="568">
                  <c:v>33.718285000000002</c:v>
                </c:pt>
                <c:pt idx="569">
                  <c:v>33.359755999999997</c:v>
                </c:pt>
                <c:pt idx="570">
                  <c:v>32.909869999999998</c:v>
                </c:pt>
                <c:pt idx="571">
                  <c:v>32.570683000000002</c:v>
                </c:pt>
                <c:pt idx="572">
                  <c:v>32.101143</c:v>
                </c:pt>
                <c:pt idx="573">
                  <c:v>31.782202000000002</c:v>
                </c:pt>
                <c:pt idx="574">
                  <c:v>31.351148999999999</c:v>
                </c:pt>
                <c:pt idx="575">
                  <c:v>30.960629000000001</c:v>
                </c:pt>
                <c:pt idx="576">
                  <c:v>30.796783000000001</c:v>
                </c:pt>
                <c:pt idx="577">
                  <c:v>30.657501</c:v>
                </c:pt>
                <c:pt idx="578">
                  <c:v>30.464766999999998</c:v>
                </c:pt>
                <c:pt idx="579">
                  <c:v>30.489795999999998</c:v>
                </c:pt>
                <c:pt idx="580">
                  <c:v>30.565203</c:v>
                </c:pt>
                <c:pt idx="581">
                  <c:v>30.805716</c:v>
                </c:pt>
                <c:pt idx="582">
                  <c:v>31.006985</c:v>
                </c:pt>
                <c:pt idx="583">
                  <c:v>30.889544999999998</c:v>
                </c:pt>
                <c:pt idx="584">
                  <c:v>30.887062</c:v>
                </c:pt>
                <c:pt idx="585">
                  <c:v>30.930800000000001</c:v>
                </c:pt>
                <c:pt idx="586">
                  <c:v>30.815456000000001</c:v>
                </c:pt>
                <c:pt idx="587">
                  <c:v>30.722254</c:v>
                </c:pt>
                <c:pt idx="588">
                  <c:v>30.719698000000001</c:v>
                </c:pt>
                <c:pt idx="589">
                  <c:v>30.800132999999999</c:v>
                </c:pt>
                <c:pt idx="590">
                  <c:v>30.951392999999999</c:v>
                </c:pt>
                <c:pt idx="591">
                  <c:v>31.080006000000001</c:v>
                </c:pt>
                <c:pt idx="592">
                  <c:v>30.936491</c:v>
                </c:pt>
                <c:pt idx="593">
                  <c:v>30.497381000000001</c:v>
                </c:pt>
                <c:pt idx="594">
                  <c:v>30.003325</c:v>
                </c:pt>
                <c:pt idx="595">
                  <c:v>29.687201999999999</c:v>
                </c:pt>
                <c:pt idx="596">
                  <c:v>29.954777</c:v>
                </c:pt>
                <c:pt idx="597">
                  <c:v>29.423708000000001</c:v>
                </c:pt>
                <c:pt idx="598">
                  <c:v>29.196999999999999</c:v>
                </c:pt>
                <c:pt idx="599">
                  <c:v>29.464818999999999</c:v>
                </c:pt>
                <c:pt idx="600">
                  <c:v>29.688831</c:v>
                </c:pt>
                <c:pt idx="601">
                  <c:v>29.770323000000001</c:v>
                </c:pt>
                <c:pt idx="602">
                  <c:v>30.138815000000001</c:v>
                </c:pt>
                <c:pt idx="603">
                  <c:v>30.257300999999998</c:v>
                </c:pt>
                <c:pt idx="604">
                  <c:v>30.503323000000002</c:v>
                </c:pt>
                <c:pt idx="605">
                  <c:v>30.988039000000001</c:v>
                </c:pt>
                <c:pt idx="606">
                  <c:v>31.474157000000002</c:v>
                </c:pt>
                <c:pt idx="607">
                  <c:v>31.875696000000001</c:v>
                </c:pt>
                <c:pt idx="608">
                  <c:v>32.106247000000003</c:v>
                </c:pt>
                <c:pt idx="609">
                  <c:v>32.211914</c:v>
                </c:pt>
                <c:pt idx="610">
                  <c:v>32.100982999999999</c:v>
                </c:pt>
                <c:pt idx="611">
                  <c:v>31.824034000000001</c:v>
                </c:pt>
                <c:pt idx="612">
                  <c:v>31.324907</c:v>
                </c:pt>
                <c:pt idx="613">
                  <c:v>30.845865</c:v>
                </c:pt>
                <c:pt idx="614">
                  <c:v>30.295406</c:v>
                </c:pt>
                <c:pt idx="615">
                  <c:v>29.593879999999999</c:v>
                </c:pt>
                <c:pt idx="616">
                  <c:v>29.082542</c:v>
                </c:pt>
                <c:pt idx="617">
                  <c:v>29.001906999999999</c:v>
                </c:pt>
                <c:pt idx="618">
                  <c:v>29.124828000000001</c:v>
                </c:pt>
                <c:pt idx="619">
                  <c:v>29.316786</c:v>
                </c:pt>
                <c:pt idx="620">
                  <c:v>29.428442</c:v>
                </c:pt>
                <c:pt idx="621">
                  <c:v>29.418264000000001</c:v>
                </c:pt>
                <c:pt idx="622">
                  <c:v>29.376218999999999</c:v>
                </c:pt>
                <c:pt idx="623">
                  <c:v>29.72747</c:v>
                </c:pt>
                <c:pt idx="624">
                  <c:v>29.88401</c:v>
                </c:pt>
                <c:pt idx="625">
                  <c:v>29.351203999999999</c:v>
                </c:pt>
                <c:pt idx="626">
                  <c:v>29.045559000000001</c:v>
                </c:pt>
                <c:pt idx="627">
                  <c:v>29.13034</c:v>
                </c:pt>
                <c:pt idx="628">
                  <c:v>29.385573999999998</c:v>
                </c:pt>
                <c:pt idx="629">
                  <c:v>29.644939999999998</c:v>
                </c:pt>
                <c:pt idx="630">
                  <c:v>29.983125999999999</c:v>
                </c:pt>
                <c:pt idx="631">
                  <c:v>30.403846999999999</c:v>
                </c:pt>
                <c:pt idx="632">
                  <c:v>30.654022000000001</c:v>
                </c:pt>
                <c:pt idx="633">
                  <c:v>30.74089</c:v>
                </c:pt>
                <c:pt idx="634">
                  <c:v>30.629217000000001</c:v>
                </c:pt>
                <c:pt idx="635">
                  <c:v>30.281860000000002</c:v>
                </c:pt>
                <c:pt idx="636">
                  <c:v>29.906317000000001</c:v>
                </c:pt>
                <c:pt idx="637">
                  <c:v>29.63542</c:v>
                </c:pt>
                <c:pt idx="638">
                  <c:v>30.141159999999999</c:v>
                </c:pt>
                <c:pt idx="639">
                  <c:v>30.894511999999999</c:v>
                </c:pt>
                <c:pt idx="640">
                  <c:v>31.494046999999998</c:v>
                </c:pt>
                <c:pt idx="641">
                  <c:v>31.951440000000002</c:v>
                </c:pt>
                <c:pt idx="642">
                  <c:v>32.080944000000002</c:v>
                </c:pt>
                <c:pt idx="643">
                  <c:v>32.292029999999997</c:v>
                </c:pt>
                <c:pt idx="644">
                  <c:v>32.149451999999997</c:v>
                </c:pt>
                <c:pt idx="645">
                  <c:v>31.936731000000002</c:v>
                </c:pt>
                <c:pt idx="646">
                  <c:v>31.898167000000001</c:v>
                </c:pt>
                <c:pt idx="647">
                  <c:v>31.747730000000001</c:v>
                </c:pt>
                <c:pt idx="648">
                  <c:v>31.733395000000002</c:v>
                </c:pt>
                <c:pt idx="649">
                  <c:v>31.754657999999999</c:v>
                </c:pt>
                <c:pt idx="650">
                  <c:v>31.757908</c:v>
                </c:pt>
                <c:pt idx="651">
                  <c:v>31.867751999999999</c:v>
                </c:pt>
                <c:pt idx="652">
                  <c:v>32.102870000000003</c:v>
                </c:pt>
                <c:pt idx="653">
                  <c:v>32.219634999999997</c:v>
                </c:pt>
                <c:pt idx="654">
                  <c:v>34.273524999999999</c:v>
                </c:pt>
                <c:pt idx="655">
                  <c:v>33.654769999999999</c:v>
                </c:pt>
                <c:pt idx="656">
                  <c:v>33.046126999999998</c:v>
                </c:pt>
                <c:pt idx="657">
                  <c:v>32.525055000000002</c:v>
                </c:pt>
                <c:pt idx="658">
                  <c:v>32.185085000000001</c:v>
                </c:pt>
                <c:pt idx="659">
                  <c:v>31.965116999999999</c:v>
                </c:pt>
                <c:pt idx="660">
                  <c:v>31.644098</c:v>
                </c:pt>
                <c:pt idx="661">
                  <c:v>31.366513999999999</c:v>
                </c:pt>
                <c:pt idx="662">
                  <c:v>31.278649999999999</c:v>
                </c:pt>
                <c:pt idx="663">
                  <c:v>31.193642000000001</c:v>
                </c:pt>
                <c:pt idx="664">
                  <c:v>31.248699999999999</c:v>
                </c:pt>
                <c:pt idx="665">
                  <c:v>31.398363</c:v>
                </c:pt>
                <c:pt idx="666">
                  <c:v>31.439367000000001</c:v>
                </c:pt>
                <c:pt idx="667">
                  <c:v>31.521540000000002</c:v>
                </c:pt>
                <c:pt idx="668">
                  <c:v>31.749957999999999</c:v>
                </c:pt>
                <c:pt idx="669">
                  <c:v>31.883627000000001</c:v>
                </c:pt>
                <c:pt idx="670">
                  <c:v>31.9971</c:v>
                </c:pt>
                <c:pt idx="671">
                  <c:v>31.996323</c:v>
                </c:pt>
                <c:pt idx="672">
                  <c:v>31.916304</c:v>
                </c:pt>
                <c:pt idx="673">
                  <c:v>31.904411</c:v>
                </c:pt>
                <c:pt idx="674">
                  <c:v>31.896404</c:v>
                </c:pt>
                <c:pt idx="675">
                  <c:v>31.83146</c:v>
                </c:pt>
                <c:pt idx="676">
                  <c:v>31.730108000000001</c:v>
                </c:pt>
                <c:pt idx="677">
                  <c:v>31.531085999999998</c:v>
                </c:pt>
                <c:pt idx="678">
                  <c:v>31.580639999999999</c:v>
                </c:pt>
                <c:pt idx="679">
                  <c:v>31.754269000000001</c:v>
                </c:pt>
                <c:pt idx="680">
                  <c:v>31.942663</c:v>
                </c:pt>
                <c:pt idx="681">
                  <c:v>32.308933000000003</c:v>
                </c:pt>
                <c:pt idx="682">
                  <c:v>32.694719999999997</c:v>
                </c:pt>
                <c:pt idx="683">
                  <c:v>32.907677</c:v>
                </c:pt>
                <c:pt idx="684">
                  <c:v>32.885586000000004</c:v>
                </c:pt>
                <c:pt idx="685">
                  <c:v>33.033709999999999</c:v>
                </c:pt>
                <c:pt idx="686">
                  <c:v>33.181483999999998</c:v>
                </c:pt>
                <c:pt idx="687">
                  <c:v>33.373317999999998</c:v>
                </c:pt>
                <c:pt idx="688">
                  <c:v>33.468130000000002</c:v>
                </c:pt>
                <c:pt idx="689">
                  <c:v>33.518459999999997</c:v>
                </c:pt>
                <c:pt idx="690">
                  <c:v>33.339928</c:v>
                </c:pt>
                <c:pt idx="691">
                  <c:v>33.148710000000001</c:v>
                </c:pt>
                <c:pt idx="692">
                  <c:v>32.914234</c:v>
                </c:pt>
                <c:pt idx="693">
                  <c:v>32.527076999999998</c:v>
                </c:pt>
                <c:pt idx="694">
                  <c:v>32.086640000000003</c:v>
                </c:pt>
                <c:pt idx="695">
                  <c:v>31.933826</c:v>
                </c:pt>
                <c:pt idx="696">
                  <c:v>31.801545999999998</c:v>
                </c:pt>
                <c:pt idx="697">
                  <c:v>31.905003000000001</c:v>
                </c:pt>
                <c:pt idx="698">
                  <c:v>31.895790000000002</c:v>
                </c:pt>
                <c:pt idx="699">
                  <c:v>31.907791</c:v>
                </c:pt>
                <c:pt idx="700">
                  <c:v>31.855215000000001</c:v>
                </c:pt>
                <c:pt idx="701">
                  <c:v>31.778734</c:v>
                </c:pt>
                <c:pt idx="702">
                  <c:v>31.663419999999999</c:v>
                </c:pt>
                <c:pt idx="703">
                  <c:v>31.526260000000001</c:v>
                </c:pt>
                <c:pt idx="704">
                  <c:v>31.308477</c:v>
                </c:pt>
                <c:pt idx="705">
                  <c:v>31.240269000000001</c:v>
                </c:pt>
                <c:pt idx="706">
                  <c:v>30.983162</c:v>
                </c:pt>
                <c:pt idx="707">
                  <c:v>30.629856</c:v>
                </c:pt>
                <c:pt idx="708">
                  <c:v>30.687042000000002</c:v>
                </c:pt>
                <c:pt idx="709">
                  <c:v>30.66264</c:v>
                </c:pt>
                <c:pt idx="710">
                  <c:v>30.607254000000001</c:v>
                </c:pt>
                <c:pt idx="711">
                  <c:v>30.513973</c:v>
                </c:pt>
                <c:pt idx="712">
                  <c:v>30.493904000000001</c:v>
                </c:pt>
                <c:pt idx="713">
                  <c:v>30.309937999999999</c:v>
                </c:pt>
                <c:pt idx="714">
                  <c:v>30.422684</c:v>
                </c:pt>
                <c:pt idx="715">
                  <c:v>30.664311999999999</c:v>
                </c:pt>
                <c:pt idx="716">
                  <c:v>31.104652000000002</c:v>
                </c:pt>
                <c:pt idx="717">
                  <c:v>31.215643</c:v>
                </c:pt>
                <c:pt idx="718">
                  <c:v>31.302230000000002</c:v>
                </c:pt>
                <c:pt idx="719">
                  <c:v>31.397251000000001</c:v>
                </c:pt>
                <c:pt idx="720">
                  <c:v>31.62161</c:v>
                </c:pt>
                <c:pt idx="721">
                  <c:v>31.891731</c:v>
                </c:pt>
                <c:pt idx="722">
                  <c:v>32.098350000000003</c:v>
                </c:pt>
                <c:pt idx="723">
                  <c:v>32.084187</c:v>
                </c:pt>
                <c:pt idx="724">
                  <c:v>32.19746</c:v>
                </c:pt>
                <c:pt idx="725">
                  <c:v>32.19012</c:v>
                </c:pt>
                <c:pt idx="726">
                  <c:v>32.037086000000002</c:v>
                </c:pt>
                <c:pt idx="727">
                  <c:v>31.774208000000002</c:v>
                </c:pt>
                <c:pt idx="728">
                  <c:v>31.637180000000001</c:v>
                </c:pt>
                <c:pt idx="729">
                  <c:v>31.295456000000001</c:v>
                </c:pt>
                <c:pt idx="730">
                  <c:v>30.897597999999999</c:v>
                </c:pt>
                <c:pt idx="731">
                  <c:v>30.423904</c:v>
                </c:pt>
                <c:pt idx="732">
                  <c:v>30.131875999999998</c:v>
                </c:pt>
                <c:pt idx="733">
                  <c:v>30.136662999999999</c:v>
                </c:pt>
                <c:pt idx="734">
                  <c:v>29.800823000000001</c:v>
                </c:pt>
                <c:pt idx="735">
                  <c:v>29.812946</c:v>
                </c:pt>
                <c:pt idx="736">
                  <c:v>29.682503000000001</c:v>
                </c:pt>
                <c:pt idx="737">
                  <c:v>29.488980999999999</c:v>
                </c:pt>
                <c:pt idx="738">
                  <c:v>29.533965999999999</c:v>
                </c:pt>
                <c:pt idx="739">
                  <c:v>29.681419999999999</c:v>
                </c:pt>
                <c:pt idx="740">
                  <c:v>29.718596000000002</c:v>
                </c:pt>
                <c:pt idx="741">
                  <c:v>29.701843</c:v>
                </c:pt>
                <c:pt idx="742">
                  <c:v>29.937075</c:v>
                </c:pt>
                <c:pt idx="743">
                  <c:v>29.866759999999999</c:v>
                </c:pt>
                <c:pt idx="744">
                  <c:v>29.767427000000001</c:v>
                </c:pt>
                <c:pt idx="745">
                  <c:v>30.108196</c:v>
                </c:pt>
                <c:pt idx="746">
                  <c:v>30.156279000000001</c:v>
                </c:pt>
                <c:pt idx="747">
                  <c:v>30.178250999999999</c:v>
                </c:pt>
                <c:pt idx="748">
                  <c:v>30.466505000000002</c:v>
                </c:pt>
                <c:pt idx="749">
                  <c:v>30.746126</c:v>
                </c:pt>
                <c:pt idx="750">
                  <c:v>30.720351999999998</c:v>
                </c:pt>
                <c:pt idx="751">
                  <c:v>30.704734999999999</c:v>
                </c:pt>
                <c:pt idx="752">
                  <c:v>30.40091</c:v>
                </c:pt>
                <c:pt idx="753">
                  <c:v>30.266570000000002</c:v>
                </c:pt>
                <c:pt idx="754">
                  <c:v>29.915908999999999</c:v>
                </c:pt>
                <c:pt idx="755">
                  <c:v>29.674572000000001</c:v>
                </c:pt>
                <c:pt idx="756">
                  <c:v>29.654904999999999</c:v>
                </c:pt>
                <c:pt idx="757">
                  <c:v>29.783909999999999</c:v>
                </c:pt>
                <c:pt idx="758">
                  <c:v>29.823256000000001</c:v>
                </c:pt>
                <c:pt idx="759">
                  <c:v>29.811807999999999</c:v>
                </c:pt>
                <c:pt idx="760">
                  <c:v>29.928021999999999</c:v>
                </c:pt>
                <c:pt idx="761">
                  <c:v>29.869479999999999</c:v>
                </c:pt>
                <c:pt idx="762">
                  <c:v>29.892863999999999</c:v>
                </c:pt>
                <c:pt idx="763">
                  <c:v>29.959795</c:v>
                </c:pt>
                <c:pt idx="764">
                  <c:v>30.001719999999999</c:v>
                </c:pt>
                <c:pt idx="765">
                  <c:v>30.009385999999999</c:v>
                </c:pt>
                <c:pt idx="766">
                  <c:v>30.219460999999999</c:v>
                </c:pt>
                <c:pt idx="767">
                  <c:v>30.405301999999999</c:v>
                </c:pt>
                <c:pt idx="768">
                  <c:v>30.565736999999999</c:v>
                </c:pt>
                <c:pt idx="769">
                  <c:v>30.706175000000002</c:v>
                </c:pt>
                <c:pt idx="770">
                  <c:v>30.922270000000001</c:v>
                </c:pt>
                <c:pt idx="771">
                  <c:v>30.983703999999999</c:v>
                </c:pt>
                <c:pt idx="772">
                  <c:v>30.992805000000001</c:v>
                </c:pt>
                <c:pt idx="773">
                  <c:v>31.026281000000001</c:v>
                </c:pt>
                <c:pt idx="774">
                  <c:v>31.166906000000001</c:v>
                </c:pt>
                <c:pt idx="775">
                  <c:v>31.200845999999999</c:v>
                </c:pt>
                <c:pt idx="776">
                  <c:v>31.279661000000001</c:v>
                </c:pt>
                <c:pt idx="777">
                  <c:v>31.392195000000001</c:v>
                </c:pt>
                <c:pt idx="778">
                  <c:v>31.552040000000002</c:v>
                </c:pt>
                <c:pt idx="779">
                  <c:v>31.937453999999999</c:v>
                </c:pt>
                <c:pt idx="780">
                  <c:v>32.006976999999999</c:v>
                </c:pt>
                <c:pt idx="781">
                  <c:v>32.034354999999998</c:v>
                </c:pt>
                <c:pt idx="782">
                  <c:v>32.016525000000001</c:v>
                </c:pt>
                <c:pt idx="783">
                  <c:v>31.986968999999998</c:v>
                </c:pt>
                <c:pt idx="784">
                  <c:v>31.899947999999998</c:v>
                </c:pt>
                <c:pt idx="785">
                  <c:v>31.928191999999999</c:v>
                </c:pt>
                <c:pt idx="786">
                  <c:v>31.969584000000001</c:v>
                </c:pt>
                <c:pt idx="787">
                  <c:v>31.968063000000001</c:v>
                </c:pt>
                <c:pt idx="788">
                  <c:v>32.055667999999997</c:v>
                </c:pt>
                <c:pt idx="789">
                  <c:v>32.038580000000003</c:v>
                </c:pt>
                <c:pt idx="790">
                  <c:v>31.869655999999999</c:v>
                </c:pt>
                <c:pt idx="791">
                  <c:v>31.913004000000001</c:v>
                </c:pt>
                <c:pt idx="792">
                  <c:v>31.790112000000001</c:v>
                </c:pt>
                <c:pt idx="793">
                  <c:v>31.704381999999999</c:v>
                </c:pt>
                <c:pt idx="794">
                  <c:v>31.556519999999999</c:v>
                </c:pt>
                <c:pt idx="795">
                  <c:v>31.504193999999998</c:v>
                </c:pt>
                <c:pt idx="796">
                  <c:v>31.578900000000001</c:v>
                </c:pt>
                <c:pt idx="797">
                  <c:v>31.653400000000001</c:v>
                </c:pt>
                <c:pt idx="798">
                  <c:v>31.700984999999999</c:v>
                </c:pt>
                <c:pt idx="799">
                  <c:v>31.865648</c:v>
                </c:pt>
                <c:pt idx="800">
                  <c:v>31.981964000000001</c:v>
                </c:pt>
                <c:pt idx="801">
                  <c:v>32.084502999999998</c:v>
                </c:pt>
                <c:pt idx="802">
                  <c:v>32.123420000000003</c:v>
                </c:pt>
                <c:pt idx="803">
                  <c:v>32.079453000000001</c:v>
                </c:pt>
                <c:pt idx="804">
                  <c:v>31.994789999999998</c:v>
                </c:pt>
                <c:pt idx="805">
                  <c:v>31.935980000000001</c:v>
                </c:pt>
                <c:pt idx="806">
                  <c:v>31.915064000000001</c:v>
                </c:pt>
                <c:pt idx="807">
                  <c:v>31.830255999999999</c:v>
                </c:pt>
                <c:pt idx="808">
                  <c:v>31.689540000000001</c:v>
                </c:pt>
                <c:pt idx="809">
                  <c:v>31.618753000000002</c:v>
                </c:pt>
                <c:pt idx="810">
                  <c:v>31.477173000000001</c:v>
                </c:pt>
                <c:pt idx="811">
                  <c:v>31.339148000000002</c:v>
                </c:pt>
                <c:pt idx="812">
                  <c:v>31.266724</c:v>
                </c:pt>
                <c:pt idx="813">
                  <c:v>31.274432999999998</c:v>
                </c:pt>
                <c:pt idx="814">
                  <c:v>31.333216</c:v>
                </c:pt>
                <c:pt idx="815">
                  <c:v>31.567625</c:v>
                </c:pt>
                <c:pt idx="816">
                  <c:v>31.618565</c:v>
                </c:pt>
                <c:pt idx="817">
                  <c:v>31.61852</c:v>
                </c:pt>
                <c:pt idx="818">
                  <c:v>31.481093999999999</c:v>
                </c:pt>
                <c:pt idx="819">
                  <c:v>31.516293000000001</c:v>
                </c:pt>
                <c:pt idx="820">
                  <c:v>31.430987999999999</c:v>
                </c:pt>
                <c:pt idx="821">
                  <c:v>31.31307</c:v>
                </c:pt>
                <c:pt idx="822">
                  <c:v>31.131198999999999</c:v>
                </c:pt>
                <c:pt idx="823">
                  <c:v>31.116510000000002</c:v>
                </c:pt>
                <c:pt idx="824">
                  <c:v>31.111357000000002</c:v>
                </c:pt>
                <c:pt idx="825">
                  <c:v>31.290662999999999</c:v>
                </c:pt>
                <c:pt idx="826">
                  <c:v>31.508262999999999</c:v>
                </c:pt>
                <c:pt idx="827">
                  <c:v>31.68927</c:v>
                </c:pt>
                <c:pt idx="828">
                  <c:v>31.879883</c:v>
                </c:pt>
                <c:pt idx="829">
                  <c:v>32.012160000000002</c:v>
                </c:pt>
                <c:pt idx="830">
                  <c:v>32.094143000000003</c:v>
                </c:pt>
                <c:pt idx="831">
                  <c:v>32.07761</c:v>
                </c:pt>
                <c:pt idx="832">
                  <c:v>31.968298000000001</c:v>
                </c:pt>
                <c:pt idx="833">
                  <c:v>31.947749999999999</c:v>
                </c:pt>
                <c:pt idx="834">
                  <c:v>31.922335</c:v>
                </c:pt>
                <c:pt idx="835">
                  <c:v>31.919516000000002</c:v>
                </c:pt>
                <c:pt idx="836">
                  <c:v>31.795905999999999</c:v>
                </c:pt>
                <c:pt idx="837">
                  <c:v>31.542538</c:v>
                </c:pt>
                <c:pt idx="838">
                  <c:v>31.237783</c:v>
                </c:pt>
                <c:pt idx="839">
                  <c:v>30.951661999999999</c:v>
                </c:pt>
                <c:pt idx="840">
                  <c:v>30.704602999999999</c:v>
                </c:pt>
                <c:pt idx="841">
                  <c:v>30.561444999999999</c:v>
                </c:pt>
                <c:pt idx="842">
                  <c:v>30.391735000000001</c:v>
                </c:pt>
                <c:pt idx="843">
                  <c:v>30.355566</c:v>
                </c:pt>
                <c:pt idx="844">
                  <c:v>30.349136000000001</c:v>
                </c:pt>
                <c:pt idx="845">
                  <c:v>30.340685000000001</c:v>
                </c:pt>
                <c:pt idx="846">
                  <c:v>30.461963999999998</c:v>
                </c:pt>
                <c:pt idx="847">
                  <c:v>30.089397000000002</c:v>
                </c:pt>
                <c:pt idx="848">
                  <c:v>29.630095000000001</c:v>
                </c:pt>
                <c:pt idx="849">
                  <c:v>29.550661000000002</c:v>
                </c:pt>
                <c:pt idx="850">
                  <c:v>29.812819999999999</c:v>
                </c:pt>
                <c:pt idx="851">
                  <c:v>30.242612999999999</c:v>
                </c:pt>
                <c:pt idx="852">
                  <c:v>30.584575999999998</c:v>
                </c:pt>
                <c:pt idx="853">
                  <c:v>30.783553999999999</c:v>
                </c:pt>
                <c:pt idx="854">
                  <c:v>31.005676000000001</c:v>
                </c:pt>
                <c:pt idx="855">
                  <c:v>31.112376999999999</c:v>
                </c:pt>
                <c:pt idx="856">
                  <c:v>31.350453999999999</c:v>
                </c:pt>
                <c:pt idx="857">
                  <c:v>31.552921000000001</c:v>
                </c:pt>
                <c:pt idx="858">
                  <c:v>31.696086999999999</c:v>
                </c:pt>
                <c:pt idx="859">
                  <c:v>31.725006</c:v>
                </c:pt>
                <c:pt idx="860">
                  <c:v>31.689824999999999</c:v>
                </c:pt>
                <c:pt idx="861">
                  <c:v>31.516940999999999</c:v>
                </c:pt>
                <c:pt idx="862">
                  <c:v>31.334599999999998</c:v>
                </c:pt>
                <c:pt idx="863">
                  <c:v>31.029861</c:v>
                </c:pt>
                <c:pt idx="864">
                  <c:v>30.73969</c:v>
                </c:pt>
                <c:pt idx="865">
                  <c:v>30.308254000000002</c:v>
                </c:pt>
                <c:pt idx="866">
                  <c:v>29.870543999999999</c:v>
                </c:pt>
                <c:pt idx="867">
                  <c:v>29.379332999999999</c:v>
                </c:pt>
                <c:pt idx="868">
                  <c:v>28.968315</c:v>
                </c:pt>
                <c:pt idx="869">
                  <c:v>28.667282</c:v>
                </c:pt>
                <c:pt idx="870">
                  <c:v>28.413997999999999</c:v>
                </c:pt>
                <c:pt idx="871">
                  <c:v>28.320414</c:v>
                </c:pt>
                <c:pt idx="872">
                  <c:v>28.208172000000001</c:v>
                </c:pt>
                <c:pt idx="873">
                  <c:v>28.200405</c:v>
                </c:pt>
                <c:pt idx="874">
                  <c:v>28.345955</c:v>
                </c:pt>
                <c:pt idx="875">
                  <c:v>28.461352999999999</c:v>
                </c:pt>
                <c:pt idx="876">
                  <c:v>28.641703</c:v>
                </c:pt>
                <c:pt idx="877">
                  <c:v>28.73302</c:v>
                </c:pt>
                <c:pt idx="878">
                  <c:v>28.862559999999998</c:v>
                </c:pt>
                <c:pt idx="879">
                  <c:v>28.940691000000001</c:v>
                </c:pt>
                <c:pt idx="880">
                  <c:v>29.050224</c:v>
                </c:pt>
                <c:pt idx="881">
                  <c:v>29.048743999999999</c:v>
                </c:pt>
                <c:pt idx="882">
                  <c:v>29.108319999999999</c:v>
                </c:pt>
                <c:pt idx="883">
                  <c:v>28.963933999999998</c:v>
                </c:pt>
                <c:pt idx="884">
                  <c:v>28.807040000000001</c:v>
                </c:pt>
                <c:pt idx="885">
                  <c:v>28.669584</c:v>
                </c:pt>
                <c:pt idx="886">
                  <c:v>28.836110999999999</c:v>
                </c:pt>
                <c:pt idx="887">
                  <c:v>28.820526000000001</c:v>
                </c:pt>
                <c:pt idx="888">
                  <c:v>28.976272999999999</c:v>
                </c:pt>
                <c:pt idx="889">
                  <c:v>28.972850000000001</c:v>
                </c:pt>
                <c:pt idx="890">
                  <c:v>28.842230000000001</c:v>
                </c:pt>
                <c:pt idx="891">
                  <c:v>28.681166000000001</c:v>
                </c:pt>
                <c:pt idx="892">
                  <c:v>28.595393999999999</c:v>
                </c:pt>
                <c:pt idx="893">
                  <c:v>28.49728</c:v>
                </c:pt>
                <c:pt idx="894">
                  <c:v>28.444368000000001</c:v>
                </c:pt>
                <c:pt idx="895">
                  <c:v>28.497271999999999</c:v>
                </c:pt>
                <c:pt idx="896">
                  <c:v>28.578499999999998</c:v>
                </c:pt>
                <c:pt idx="897">
                  <c:v>28.765757000000001</c:v>
                </c:pt>
                <c:pt idx="898">
                  <c:v>28.917912000000001</c:v>
                </c:pt>
                <c:pt idx="899">
                  <c:v>28.995338</c:v>
                </c:pt>
                <c:pt idx="900">
                  <c:v>28.853377999999999</c:v>
                </c:pt>
                <c:pt idx="901">
                  <c:v>28.80021</c:v>
                </c:pt>
                <c:pt idx="902">
                  <c:v>28.64265</c:v>
                </c:pt>
                <c:pt idx="903">
                  <c:v>28.34675</c:v>
                </c:pt>
                <c:pt idx="904">
                  <c:v>28.264042</c:v>
                </c:pt>
                <c:pt idx="905">
                  <c:v>28.243901999999999</c:v>
                </c:pt>
                <c:pt idx="906">
                  <c:v>28.097158</c:v>
                </c:pt>
                <c:pt idx="907">
                  <c:v>28.04731</c:v>
                </c:pt>
                <c:pt idx="908">
                  <c:v>28.231579</c:v>
                </c:pt>
                <c:pt idx="909">
                  <c:v>28.536052999999999</c:v>
                </c:pt>
                <c:pt idx="910">
                  <c:v>28.798715999999999</c:v>
                </c:pt>
                <c:pt idx="911">
                  <c:v>28.971668000000001</c:v>
                </c:pt>
                <c:pt idx="912">
                  <c:v>29.265105999999999</c:v>
                </c:pt>
                <c:pt idx="913">
                  <c:v>29.544764000000001</c:v>
                </c:pt>
                <c:pt idx="914">
                  <c:v>29.546707000000001</c:v>
                </c:pt>
                <c:pt idx="915">
                  <c:v>29.537512</c:v>
                </c:pt>
                <c:pt idx="916">
                  <c:v>29.161722000000001</c:v>
                </c:pt>
                <c:pt idx="917">
                  <c:v>28.883420000000001</c:v>
                </c:pt>
                <c:pt idx="918">
                  <c:v>28.712313000000002</c:v>
                </c:pt>
                <c:pt idx="919">
                  <c:v>28.594370000000001</c:v>
                </c:pt>
                <c:pt idx="920">
                  <c:v>28.512388000000001</c:v>
                </c:pt>
                <c:pt idx="921">
                  <c:v>28.533954999999999</c:v>
                </c:pt>
                <c:pt idx="922">
                  <c:v>28.399363999999998</c:v>
                </c:pt>
                <c:pt idx="923">
                  <c:v>28.279502999999998</c:v>
                </c:pt>
                <c:pt idx="924">
                  <c:v>28.155272</c:v>
                </c:pt>
                <c:pt idx="925">
                  <c:v>28.064644000000001</c:v>
                </c:pt>
                <c:pt idx="926">
                  <c:v>27.887492999999999</c:v>
                </c:pt>
                <c:pt idx="927">
                  <c:v>27.908480000000001</c:v>
                </c:pt>
                <c:pt idx="928">
                  <c:v>28.015985000000001</c:v>
                </c:pt>
                <c:pt idx="929">
                  <c:v>28.192509000000001</c:v>
                </c:pt>
                <c:pt idx="930">
                  <c:v>28.391596</c:v>
                </c:pt>
                <c:pt idx="931">
                  <c:v>28.638186999999999</c:v>
                </c:pt>
                <c:pt idx="932">
                  <c:v>28.921607999999999</c:v>
                </c:pt>
                <c:pt idx="933">
                  <c:v>29.282222999999998</c:v>
                </c:pt>
                <c:pt idx="934">
                  <c:v>29.486528</c:v>
                </c:pt>
                <c:pt idx="935">
                  <c:v>29.281172000000002</c:v>
                </c:pt>
                <c:pt idx="936">
                  <c:v>28.951988</c:v>
                </c:pt>
                <c:pt idx="937">
                  <c:v>28.542887</c:v>
                </c:pt>
                <c:pt idx="938">
                  <c:v>28.245424</c:v>
                </c:pt>
                <c:pt idx="939">
                  <c:v>28.055800999999999</c:v>
                </c:pt>
                <c:pt idx="940">
                  <c:v>28.063040000000001</c:v>
                </c:pt>
                <c:pt idx="941">
                  <c:v>28.468527000000002</c:v>
                </c:pt>
                <c:pt idx="942">
                  <c:v>28.937854999999999</c:v>
                </c:pt>
                <c:pt idx="943">
                  <c:v>29.672726000000001</c:v>
                </c:pt>
                <c:pt idx="944">
                  <c:v>30.272933999999999</c:v>
                </c:pt>
                <c:pt idx="945">
                  <c:v>30.228090000000002</c:v>
                </c:pt>
                <c:pt idx="946">
                  <c:v>29.966926999999998</c:v>
                </c:pt>
                <c:pt idx="947">
                  <c:v>29.494607999999999</c:v>
                </c:pt>
                <c:pt idx="948">
                  <c:v>29.049728000000002</c:v>
                </c:pt>
                <c:pt idx="949">
                  <c:v>28.995695000000001</c:v>
                </c:pt>
                <c:pt idx="950">
                  <c:v>29.050930000000001</c:v>
                </c:pt>
                <c:pt idx="951">
                  <c:v>29.272836999999999</c:v>
                </c:pt>
                <c:pt idx="952">
                  <c:v>29.589456999999999</c:v>
                </c:pt>
                <c:pt idx="953">
                  <c:v>29.833199</c:v>
                </c:pt>
                <c:pt idx="954">
                  <c:v>29.92051</c:v>
                </c:pt>
                <c:pt idx="955">
                  <c:v>30.034624000000001</c:v>
                </c:pt>
                <c:pt idx="956">
                  <c:v>30.273163</c:v>
                </c:pt>
                <c:pt idx="957">
                  <c:v>30.265488000000001</c:v>
                </c:pt>
                <c:pt idx="958">
                  <c:v>30.140499999999999</c:v>
                </c:pt>
                <c:pt idx="959">
                  <c:v>30.066217000000002</c:v>
                </c:pt>
                <c:pt idx="960">
                  <c:v>29.950033000000001</c:v>
                </c:pt>
                <c:pt idx="961">
                  <c:v>29.972494000000001</c:v>
                </c:pt>
                <c:pt idx="962">
                  <c:v>30.209892</c:v>
                </c:pt>
                <c:pt idx="963">
                  <c:v>30.431609999999999</c:v>
                </c:pt>
                <c:pt idx="964">
                  <c:v>30.703226000000001</c:v>
                </c:pt>
                <c:pt idx="965">
                  <c:v>30.983250000000002</c:v>
                </c:pt>
                <c:pt idx="966">
                  <c:v>31.471323000000002</c:v>
                </c:pt>
                <c:pt idx="967">
                  <c:v>31.826466</c:v>
                </c:pt>
                <c:pt idx="968">
                  <c:v>32.159424000000001</c:v>
                </c:pt>
                <c:pt idx="969">
                  <c:v>32.332413000000003</c:v>
                </c:pt>
                <c:pt idx="970">
                  <c:v>32.279179999999997</c:v>
                </c:pt>
                <c:pt idx="971">
                  <c:v>32.112279999999998</c:v>
                </c:pt>
                <c:pt idx="972">
                  <c:v>31.871369999999999</c:v>
                </c:pt>
                <c:pt idx="973">
                  <c:v>31.707450000000001</c:v>
                </c:pt>
                <c:pt idx="974">
                  <c:v>31.540880000000001</c:v>
                </c:pt>
                <c:pt idx="975">
                  <c:v>31.331185999999999</c:v>
                </c:pt>
                <c:pt idx="976">
                  <c:v>31.022331000000001</c:v>
                </c:pt>
                <c:pt idx="977">
                  <c:v>30.834026000000001</c:v>
                </c:pt>
                <c:pt idx="978">
                  <c:v>30.781590000000001</c:v>
                </c:pt>
                <c:pt idx="979">
                  <c:v>30.949545000000001</c:v>
                </c:pt>
                <c:pt idx="980">
                  <c:v>31.241748999999999</c:v>
                </c:pt>
                <c:pt idx="981">
                  <c:v>31.576509999999999</c:v>
                </c:pt>
                <c:pt idx="982">
                  <c:v>31.890612000000001</c:v>
                </c:pt>
                <c:pt idx="983">
                  <c:v>32.125152999999997</c:v>
                </c:pt>
                <c:pt idx="984">
                  <c:v>32.333424000000001</c:v>
                </c:pt>
                <c:pt idx="985">
                  <c:v>32.406640000000003</c:v>
                </c:pt>
                <c:pt idx="986">
                  <c:v>32.354595000000003</c:v>
                </c:pt>
                <c:pt idx="987">
                  <c:v>32.263446999999999</c:v>
                </c:pt>
                <c:pt idx="988">
                  <c:v>32.174770000000002</c:v>
                </c:pt>
                <c:pt idx="989">
                  <c:v>32.126021999999999</c:v>
                </c:pt>
                <c:pt idx="990">
                  <c:v>32.062344000000003</c:v>
                </c:pt>
                <c:pt idx="991">
                  <c:v>32.001086999999998</c:v>
                </c:pt>
                <c:pt idx="992">
                  <c:v>31.993713</c:v>
                </c:pt>
                <c:pt idx="993">
                  <c:v>32.096879999999999</c:v>
                </c:pt>
                <c:pt idx="994">
                  <c:v>32.236989999999999</c:v>
                </c:pt>
                <c:pt idx="995">
                  <c:v>32.229855000000001</c:v>
                </c:pt>
                <c:pt idx="996">
                  <c:v>32.211930000000002</c:v>
                </c:pt>
                <c:pt idx="997">
                  <c:v>31.956962999999998</c:v>
                </c:pt>
                <c:pt idx="998">
                  <c:v>31.724347999999999</c:v>
                </c:pt>
                <c:pt idx="999">
                  <c:v>31.482285000000001</c:v>
                </c:pt>
                <c:pt idx="1000">
                  <c:v>31.45364</c:v>
                </c:pt>
                <c:pt idx="1001">
                  <c:v>31.612223</c:v>
                </c:pt>
                <c:pt idx="1002">
                  <c:v>31.952627</c:v>
                </c:pt>
                <c:pt idx="1003">
                  <c:v>32.325949999999999</c:v>
                </c:pt>
                <c:pt idx="1004">
                  <c:v>32.854294000000003</c:v>
                </c:pt>
                <c:pt idx="1005">
                  <c:v>33.387591999999998</c:v>
                </c:pt>
                <c:pt idx="1006">
                  <c:v>33.72983</c:v>
                </c:pt>
                <c:pt idx="1007">
                  <c:v>33.790984999999999</c:v>
                </c:pt>
                <c:pt idx="1008">
                  <c:v>33.626613999999996</c:v>
                </c:pt>
                <c:pt idx="1009">
                  <c:v>33.357170000000004</c:v>
                </c:pt>
                <c:pt idx="1010">
                  <c:v>32.959361999999999</c:v>
                </c:pt>
                <c:pt idx="1011">
                  <c:v>32.570843000000004</c:v>
                </c:pt>
                <c:pt idx="1012">
                  <c:v>32.338720000000002</c:v>
                </c:pt>
                <c:pt idx="1013">
                  <c:v>32.051425999999999</c:v>
                </c:pt>
                <c:pt idx="1014">
                  <c:v>31.773111</c:v>
                </c:pt>
                <c:pt idx="1015">
                  <c:v>31.591518000000001</c:v>
                </c:pt>
                <c:pt idx="1016">
                  <c:v>31.514423000000001</c:v>
                </c:pt>
                <c:pt idx="1017">
                  <c:v>31.397300000000001</c:v>
                </c:pt>
                <c:pt idx="1018">
                  <c:v>31.577580000000001</c:v>
                </c:pt>
                <c:pt idx="1019">
                  <c:v>31.735565000000001</c:v>
                </c:pt>
                <c:pt idx="1020">
                  <c:v>31.975010000000001</c:v>
                </c:pt>
                <c:pt idx="1021">
                  <c:v>32.044849999999997</c:v>
                </c:pt>
                <c:pt idx="1022">
                  <c:v>31.968457999999998</c:v>
                </c:pt>
                <c:pt idx="1023">
                  <c:v>31.905778999999999</c:v>
                </c:pt>
                <c:pt idx="1024">
                  <c:v>31.974722</c:v>
                </c:pt>
                <c:pt idx="1025">
                  <c:v>32.101185000000001</c:v>
                </c:pt>
                <c:pt idx="1026">
                  <c:v>32.265231999999997</c:v>
                </c:pt>
                <c:pt idx="1027">
                  <c:v>32.376582999999997</c:v>
                </c:pt>
                <c:pt idx="1028">
                  <c:v>32.616480000000003</c:v>
                </c:pt>
                <c:pt idx="1029">
                  <c:v>32.760803000000003</c:v>
                </c:pt>
                <c:pt idx="1030">
                  <c:v>32.700200000000002</c:v>
                </c:pt>
                <c:pt idx="1031">
                  <c:v>32.599693000000002</c:v>
                </c:pt>
                <c:pt idx="1032">
                  <c:v>32.150463000000002</c:v>
                </c:pt>
                <c:pt idx="1033">
                  <c:v>31.842307999999999</c:v>
                </c:pt>
                <c:pt idx="1034">
                  <c:v>31.562836000000001</c:v>
                </c:pt>
                <c:pt idx="1035">
                  <c:v>31.335932</c:v>
                </c:pt>
                <c:pt idx="1036">
                  <c:v>31.24973</c:v>
                </c:pt>
                <c:pt idx="1037">
                  <c:v>31.433817000000001</c:v>
                </c:pt>
                <c:pt idx="1038">
                  <c:v>31.687044</c:v>
                </c:pt>
                <c:pt idx="1039">
                  <c:v>31.926638000000001</c:v>
                </c:pt>
                <c:pt idx="1040">
                  <c:v>32.074280000000002</c:v>
                </c:pt>
                <c:pt idx="1041">
                  <c:v>32.119762000000001</c:v>
                </c:pt>
                <c:pt idx="1042">
                  <c:v>32.042786</c:v>
                </c:pt>
                <c:pt idx="1043">
                  <c:v>31.868960999999999</c:v>
                </c:pt>
                <c:pt idx="1044">
                  <c:v>31.725173999999999</c:v>
                </c:pt>
                <c:pt idx="1045">
                  <c:v>31.64968</c:v>
                </c:pt>
                <c:pt idx="1046">
                  <c:v>31.568892000000002</c:v>
                </c:pt>
                <c:pt idx="1047">
                  <c:v>31.49288</c:v>
                </c:pt>
                <c:pt idx="1048">
                  <c:v>31.263496</c:v>
                </c:pt>
                <c:pt idx="1049">
                  <c:v>31.006277000000001</c:v>
                </c:pt>
                <c:pt idx="1050">
                  <c:v>30.959948000000001</c:v>
                </c:pt>
                <c:pt idx="1051">
                  <c:v>30.960495000000002</c:v>
                </c:pt>
                <c:pt idx="1052">
                  <c:v>31.134440000000001</c:v>
                </c:pt>
                <c:pt idx="1053">
                  <c:v>31.451853</c:v>
                </c:pt>
                <c:pt idx="1054">
                  <c:v>31.614851000000002</c:v>
                </c:pt>
                <c:pt idx="1055">
                  <c:v>31.808716</c:v>
                </c:pt>
                <c:pt idx="1056">
                  <c:v>31.986197000000001</c:v>
                </c:pt>
                <c:pt idx="1057">
                  <c:v>31.916347999999999</c:v>
                </c:pt>
                <c:pt idx="1058">
                  <c:v>31.625893000000001</c:v>
                </c:pt>
                <c:pt idx="1059">
                  <c:v>31.237144000000001</c:v>
                </c:pt>
                <c:pt idx="1060">
                  <c:v>30.861494</c:v>
                </c:pt>
                <c:pt idx="1061">
                  <c:v>30.520548000000002</c:v>
                </c:pt>
                <c:pt idx="1062">
                  <c:v>30.174906</c:v>
                </c:pt>
                <c:pt idx="1063">
                  <c:v>29.971730000000001</c:v>
                </c:pt>
                <c:pt idx="1064">
                  <c:v>29.978268</c:v>
                </c:pt>
                <c:pt idx="1065">
                  <c:v>30.198944000000001</c:v>
                </c:pt>
                <c:pt idx="1066">
                  <c:v>30.620504</c:v>
                </c:pt>
                <c:pt idx="1067">
                  <c:v>30.962831000000001</c:v>
                </c:pt>
                <c:pt idx="1068">
                  <c:v>31.188793</c:v>
                </c:pt>
                <c:pt idx="1069">
                  <c:v>31.299289999999999</c:v>
                </c:pt>
                <c:pt idx="1070">
                  <c:v>31.411878999999999</c:v>
                </c:pt>
                <c:pt idx="1071">
                  <c:v>31.480575999999999</c:v>
                </c:pt>
                <c:pt idx="1072">
                  <c:v>31.313306999999998</c:v>
                </c:pt>
                <c:pt idx="1073">
                  <c:v>31.216214999999998</c:v>
                </c:pt>
                <c:pt idx="1074">
                  <c:v>31.171759999999999</c:v>
                </c:pt>
                <c:pt idx="1075">
                  <c:v>31.210066000000001</c:v>
                </c:pt>
                <c:pt idx="1076">
                  <c:v>31.169547999999999</c:v>
                </c:pt>
                <c:pt idx="1077">
                  <c:v>31.058060000000001</c:v>
                </c:pt>
                <c:pt idx="1078">
                  <c:v>30.856894</c:v>
                </c:pt>
                <c:pt idx="1079">
                  <c:v>30.738565000000001</c:v>
                </c:pt>
                <c:pt idx="1080">
                  <c:v>30.521284000000001</c:v>
                </c:pt>
                <c:pt idx="1081">
                  <c:v>30.368729999999999</c:v>
                </c:pt>
                <c:pt idx="1082">
                  <c:v>30.470244999999998</c:v>
                </c:pt>
                <c:pt idx="1083">
                  <c:v>30.486706000000002</c:v>
                </c:pt>
                <c:pt idx="1084">
                  <c:v>30.481694999999998</c:v>
                </c:pt>
                <c:pt idx="1085">
                  <c:v>30.425108000000002</c:v>
                </c:pt>
                <c:pt idx="1086">
                  <c:v>30.450399999999998</c:v>
                </c:pt>
                <c:pt idx="1087">
                  <c:v>30.498799999999999</c:v>
                </c:pt>
                <c:pt idx="1088">
                  <c:v>30.539337</c:v>
                </c:pt>
                <c:pt idx="1089">
                  <c:v>30.620229999999999</c:v>
                </c:pt>
                <c:pt idx="1090">
                  <c:v>30.717472000000001</c:v>
                </c:pt>
                <c:pt idx="1091">
                  <c:v>30.763268</c:v>
                </c:pt>
                <c:pt idx="1092">
                  <c:v>30.759492999999999</c:v>
                </c:pt>
                <c:pt idx="1093">
                  <c:v>30.830045999999999</c:v>
                </c:pt>
                <c:pt idx="1094">
                  <c:v>30.948277000000001</c:v>
                </c:pt>
                <c:pt idx="1095">
                  <c:v>30.911619999999999</c:v>
                </c:pt>
                <c:pt idx="1096">
                  <c:v>30.842026000000001</c:v>
                </c:pt>
                <c:pt idx="1097">
                  <c:v>30.719401999999999</c:v>
                </c:pt>
                <c:pt idx="1098">
                  <c:v>30.583490000000001</c:v>
                </c:pt>
                <c:pt idx="1099">
                  <c:v>30.468133999999999</c:v>
                </c:pt>
                <c:pt idx="1100">
                  <c:v>30.286669</c:v>
                </c:pt>
                <c:pt idx="1101">
                  <c:v>30.296267</c:v>
                </c:pt>
                <c:pt idx="1102">
                  <c:v>30.375864</c:v>
                </c:pt>
                <c:pt idx="1103">
                  <c:v>30.552011</c:v>
                </c:pt>
                <c:pt idx="1104">
                  <c:v>30.77252</c:v>
                </c:pt>
                <c:pt idx="1105">
                  <c:v>31.031362999999999</c:v>
                </c:pt>
                <c:pt idx="1106">
                  <c:v>31.122848999999999</c:v>
                </c:pt>
                <c:pt idx="1107">
                  <c:v>31.282066</c:v>
                </c:pt>
                <c:pt idx="1108">
                  <c:v>31.373864999999999</c:v>
                </c:pt>
                <c:pt idx="1109">
                  <c:v>31.461024999999999</c:v>
                </c:pt>
                <c:pt idx="1110">
                  <c:v>31.529492999999999</c:v>
                </c:pt>
                <c:pt idx="1111">
                  <c:v>31.528700000000001</c:v>
                </c:pt>
                <c:pt idx="1112">
                  <c:v>31.488567</c:v>
                </c:pt>
                <c:pt idx="1113">
                  <c:v>31.314775000000001</c:v>
                </c:pt>
                <c:pt idx="1114">
                  <c:v>31.095718000000002</c:v>
                </c:pt>
                <c:pt idx="1115">
                  <c:v>30.924118</c:v>
                </c:pt>
                <c:pt idx="1116">
                  <c:v>30.742100000000001</c:v>
                </c:pt>
                <c:pt idx="1117">
                  <c:v>30.571670000000001</c:v>
                </c:pt>
                <c:pt idx="1118">
                  <c:v>30.443798000000001</c:v>
                </c:pt>
                <c:pt idx="1119">
                  <c:v>30.453907000000001</c:v>
                </c:pt>
                <c:pt idx="1120">
                  <c:v>30.481017999999999</c:v>
                </c:pt>
                <c:pt idx="1121">
                  <c:v>30.510259999999999</c:v>
                </c:pt>
                <c:pt idx="1122">
                  <c:v>30.284216000000001</c:v>
                </c:pt>
                <c:pt idx="1123">
                  <c:v>30.168472000000001</c:v>
                </c:pt>
                <c:pt idx="1124">
                  <c:v>30.123073999999999</c:v>
                </c:pt>
                <c:pt idx="1125">
                  <c:v>30.182189999999999</c:v>
                </c:pt>
                <c:pt idx="1126">
                  <c:v>30.288972999999999</c:v>
                </c:pt>
                <c:pt idx="1127">
                  <c:v>30.440321000000001</c:v>
                </c:pt>
                <c:pt idx="1128">
                  <c:v>30.629057</c:v>
                </c:pt>
                <c:pt idx="1129">
                  <c:v>30.765391999999999</c:v>
                </c:pt>
                <c:pt idx="1130">
                  <c:v>30.862981999999999</c:v>
                </c:pt>
                <c:pt idx="1131">
                  <c:v>30.717442999999999</c:v>
                </c:pt>
                <c:pt idx="1132">
                  <c:v>30.604911999999999</c:v>
                </c:pt>
                <c:pt idx="1133">
                  <c:v>30.625924999999999</c:v>
                </c:pt>
                <c:pt idx="1134">
                  <c:v>30.605710999999999</c:v>
                </c:pt>
                <c:pt idx="1135">
                  <c:v>30.575776999999999</c:v>
                </c:pt>
                <c:pt idx="1136">
                  <c:v>30.436160000000001</c:v>
                </c:pt>
                <c:pt idx="1137">
                  <c:v>30.360140000000001</c:v>
                </c:pt>
                <c:pt idx="1138">
                  <c:v>30.344806999999999</c:v>
                </c:pt>
                <c:pt idx="1139">
                  <c:v>30.464850999999999</c:v>
                </c:pt>
                <c:pt idx="1140">
                  <c:v>30.504816000000002</c:v>
                </c:pt>
                <c:pt idx="1141">
                  <c:v>30.556792999999999</c:v>
                </c:pt>
                <c:pt idx="1142">
                  <c:v>30.639288000000001</c:v>
                </c:pt>
                <c:pt idx="1143">
                  <c:v>30.679842000000001</c:v>
                </c:pt>
                <c:pt idx="1144">
                  <c:v>30.748484000000001</c:v>
                </c:pt>
                <c:pt idx="1145">
                  <c:v>30.866177</c:v>
                </c:pt>
                <c:pt idx="1146">
                  <c:v>30.985779999999998</c:v>
                </c:pt>
                <c:pt idx="1147">
                  <c:v>30.964141999999999</c:v>
                </c:pt>
                <c:pt idx="1148">
                  <c:v>30.722178</c:v>
                </c:pt>
                <c:pt idx="1149">
                  <c:v>30.531517000000001</c:v>
                </c:pt>
                <c:pt idx="1150">
                  <c:v>30.547958000000001</c:v>
                </c:pt>
                <c:pt idx="1151">
                  <c:v>30.301936999999999</c:v>
                </c:pt>
                <c:pt idx="1152">
                  <c:v>30.086372000000001</c:v>
                </c:pt>
                <c:pt idx="1153">
                  <c:v>30.083390000000001</c:v>
                </c:pt>
                <c:pt idx="1154">
                  <c:v>30.067339</c:v>
                </c:pt>
                <c:pt idx="1155">
                  <c:v>30.151985</c:v>
                </c:pt>
                <c:pt idx="1156">
                  <c:v>30.348144999999999</c:v>
                </c:pt>
                <c:pt idx="1157">
                  <c:v>30.209883000000001</c:v>
                </c:pt>
                <c:pt idx="1158">
                  <c:v>30.115272999999998</c:v>
                </c:pt>
                <c:pt idx="1159">
                  <c:v>30.026312000000001</c:v>
                </c:pt>
                <c:pt idx="1160">
                  <c:v>30.004145000000001</c:v>
                </c:pt>
                <c:pt idx="1161">
                  <c:v>30.126196</c:v>
                </c:pt>
                <c:pt idx="1162">
                  <c:v>30.314125000000001</c:v>
                </c:pt>
                <c:pt idx="1163">
                  <c:v>30.574608000000001</c:v>
                </c:pt>
                <c:pt idx="1164">
                  <c:v>30.918876999999998</c:v>
                </c:pt>
                <c:pt idx="1165">
                  <c:v>31.272648</c:v>
                </c:pt>
                <c:pt idx="1166">
                  <c:v>31.606338999999998</c:v>
                </c:pt>
                <c:pt idx="1167">
                  <c:v>31.841818</c:v>
                </c:pt>
                <c:pt idx="1168">
                  <c:v>31.996566999999999</c:v>
                </c:pt>
                <c:pt idx="1169">
                  <c:v>32.050395999999999</c:v>
                </c:pt>
                <c:pt idx="1170">
                  <c:v>32.011906000000003</c:v>
                </c:pt>
                <c:pt idx="1171">
                  <c:v>31.831768</c:v>
                </c:pt>
                <c:pt idx="1172">
                  <c:v>31.571905000000001</c:v>
                </c:pt>
                <c:pt idx="1173">
                  <c:v>31.368815999999999</c:v>
                </c:pt>
                <c:pt idx="1174">
                  <c:v>31.238828999999999</c:v>
                </c:pt>
                <c:pt idx="1175">
                  <c:v>31.092997</c:v>
                </c:pt>
                <c:pt idx="1176">
                  <c:v>30.85406</c:v>
                </c:pt>
                <c:pt idx="1177">
                  <c:v>30.64518</c:v>
                </c:pt>
                <c:pt idx="1178">
                  <c:v>30.512353999999998</c:v>
                </c:pt>
                <c:pt idx="1179">
                  <c:v>30.506436999999998</c:v>
                </c:pt>
                <c:pt idx="1180">
                  <c:v>30.598213000000001</c:v>
                </c:pt>
                <c:pt idx="1181">
                  <c:v>30.714970000000001</c:v>
                </c:pt>
                <c:pt idx="1182">
                  <c:v>30.813808000000002</c:v>
                </c:pt>
                <c:pt idx="1183">
                  <c:v>30.856439999999999</c:v>
                </c:pt>
                <c:pt idx="1184">
                  <c:v>30.819963000000001</c:v>
                </c:pt>
                <c:pt idx="1185">
                  <c:v>30.730415000000001</c:v>
                </c:pt>
                <c:pt idx="1186">
                  <c:v>30.546230000000001</c:v>
                </c:pt>
                <c:pt idx="1187">
                  <c:v>30.39631</c:v>
                </c:pt>
                <c:pt idx="1188">
                  <c:v>30.355362</c:v>
                </c:pt>
                <c:pt idx="1189">
                  <c:v>30.450659999999999</c:v>
                </c:pt>
                <c:pt idx="1190">
                  <c:v>30.584275999999999</c:v>
                </c:pt>
                <c:pt idx="1191">
                  <c:v>30.66893</c:v>
                </c:pt>
                <c:pt idx="1192">
                  <c:v>30.764965</c:v>
                </c:pt>
                <c:pt idx="1193">
                  <c:v>30.828661</c:v>
                </c:pt>
                <c:pt idx="1194">
                  <c:v>30.870684000000001</c:v>
                </c:pt>
                <c:pt idx="1195">
                  <c:v>30.970144000000001</c:v>
                </c:pt>
                <c:pt idx="1196">
                  <c:v>31.123379</c:v>
                </c:pt>
                <c:pt idx="1197">
                  <c:v>31.315275</c:v>
                </c:pt>
                <c:pt idx="1198">
                  <c:v>31.460146000000002</c:v>
                </c:pt>
                <c:pt idx="1199">
                  <c:v>31.496231000000002</c:v>
                </c:pt>
                <c:pt idx="1200">
                  <c:v>31.572073</c:v>
                </c:pt>
                <c:pt idx="1201">
                  <c:v>31.523430000000001</c:v>
                </c:pt>
                <c:pt idx="1202">
                  <c:v>31.400728000000001</c:v>
                </c:pt>
                <c:pt idx="1203">
                  <c:v>31.357057999999999</c:v>
                </c:pt>
                <c:pt idx="1204">
                  <c:v>31.269217000000001</c:v>
                </c:pt>
                <c:pt idx="1205">
                  <c:v>31.187335999999998</c:v>
                </c:pt>
                <c:pt idx="1206">
                  <c:v>31.148250000000001</c:v>
                </c:pt>
                <c:pt idx="1207">
                  <c:v>31.193750000000001</c:v>
                </c:pt>
                <c:pt idx="1208">
                  <c:v>31.137944999999998</c:v>
                </c:pt>
                <c:pt idx="1209">
                  <c:v>31.077521999999998</c:v>
                </c:pt>
                <c:pt idx="1210">
                  <c:v>30.930900000000001</c:v>
                </c:pt>
                <c:pt idx="1211">
                  <c:v>30.734932000000001</c:v>
                </c:pt>
                <c:pt idx="1212">
                  <c:v>30.517166</c:v>
                </c:pt>
                <c:pt idx="1213">
                  <c:v>30.427175999999999</c:v>
                </c:pt>
                <c:pt idx="1214">
                  <c:v>30.417953000000001</c:v>
                </c:pt>
                <c:pt idx="1215">
                  <c:v>30.446567999999999</c:v>
                </c:pt>
                <c:pt idx="1216">
                  <c:v>30.538430999999999</c:v>
                </c:pt>
                <c:pt idx="1217">
                  <c:v>30.608443999999999</c:v>
                </c:pt>
                <c:pt idx="1218">
                  <c:v>30.644112</c:v>
                </c:pt>
                <c:pt idx="1219">
                  <c:v>30.659319</c:v>
                </c:pt>
                <c:pt idx="1220">
                  <c:v>30.635418000000001</c:v>
                </c:pt>
                <c:pt idx="1221">
                  <c:v>30.733291999999999</c:v>
                </c:pt>
                <c:pt idx="1222">
                  <c:v>30.809425000000001</c:v>
                </c:pt>
                <c:pt idx="1223">
                  <c:v>30.901282999999999</c:v>
                </c:pt>
                <c:pt idx="1224">
                  <c:v>30.960305999999999</c:v>
                </c:pt>
                <c:pt idx="1225">
                  <c:v>31.059034</c:v>
                </c:pt>
                <c:pt idx="1226">
                  <c:v>31.160260000000001</c:v>
                </c:pt>
                <c:pt idx="1227">
                  <c:v>31.265059000000001</c:v>
                </c:pt>
                <c:pt idx="1228">
                  <c:v>31.34741</c:v>
                </c:pt>
                <c:pt idx="1229">
                  <c:v>31.329775000000001</c:v>
                </c:pt>
                <c:pt idx="1230">
                  <c:v>31.426881999999999</c:v>
                </c:pt>
                <c:pt idx="1231">
                  <c:v>31.560143</c:v>
                </c:pt>
                <c:pt idx="1232">
                  <c:v>31.693224000000001</c:v>
                </c:pt>
                <c:pt idx="1233">
                  <c:v>31.878983999999999</c:v>
                </c:pt>
                <c:pt idx="1234">
                  <c:v>32.035465000000002</c:v>
                </c:pt>
                <c:pt idx="1235">
                  <c:v>32.185603999999998</c:v>
                </c:pt>
                <c:pt idx="1236">
                  <c:v>32.29815</c:v>
                </c:pt>
                <c:pt idx="1237">
                  <c:v>32.46311</c:v>
                </c:pt>
                <c:pt idx="1238">
                  <c:v>32.690593999999997</c:v>
                </c:pt>
                <c:pt idx="1239">
                  <c:v>32.836590000000001</c:v>
                </c:pt>
                <c:pt idx="1240">
                  <c:v>33.121616000000003</c:v>
                </c:pt>
                <c:pt idx="1241">
                  <c:v>33.339843999999999</c:v>
                </c:pt>
                <c:pt idx="1242">
                  <c:v>33.599926000000004</c:v>
                </c:pt>
                <c:pt idx="1243">
                  <c:v>33.970750000000002</c:v>
                </c:pt>
                <c:pt idx="1244">
                  <c:v>34.326675000000002</c:v>
                </c:pt>
                <c:pt idx="1245">
                  <c:v>34.522120000000001</c:v>
                </c:pt>
                <c:pt idx="1246">
                  <c:v>34.870519999999999</c:v>
                </c:pt>
                <c:pt idx="1247">
                  <c:v>35.254309999999997</c:v>
                </c:pt>
                <c:pt idx="1248">
                  <c:v>35.576180000000001</c:v>
                </c:pt>
                <c:pt idx="1249">
                  <c:v>35.764525999999996</c:v>
                </c:pt>
                <c:pt idx="1250">
                  <c:v>35.472194999999999</c:v>
                </c:pt>
                <c:pt idx="1251">
                  <c:v>35.737229999999997</c:v>
                </c:pt>
                <c:pt idx="1252">
                  <c:v>35.56682</c:v>
                </c:pt>
                <c:pt idx="1253">
                  <c:v>34.87959</c:v>
                </c:pt>
                <c:pt idx="1254">
                  <c:v>33.910732000000003</c:v>
                </c:pt>
                <c:pt idx="1255">
                  <c:v>33.926746000000001</c:v>
                </c:pt>
                <c:pt idx="1256">
                  <c:v>33.791964999999998</c:v>
                </c:pt>
                <c:pt idx="1257">
                  <c:v>34.07544</c:v>
                </c:pt>
                <c:pt idx="1258">
                  <c:v>34.860554</c:v>
                </c:pt>
                <c:pt idx="1259">
                  <c:v>35.387196000000003</c:v>
                </c:pt>
                <c:pt idx="1260">
                  <c:v>35.597490000000001</c:v>
                </c:pt>
                <c:pt idx="1261">
                  <c:v>35.814444999999999</c:v>
                </c:pt>
                <c:pt idx="1262">
                  <c:v>36.121459999999999</c:v>
                </c:pt>
                <c:pt idx="1263">
                  <c:v>36.404940000000003</c:v>
                </c:pt>
                <c:pt idx="1264">
                  <c:v>36.659767000000002</c:v>
                </c:pt>
                <c:pt idx="1265">
                  <c:v>36.810825000000001</c:v>
                </c:pt>
                <c:pt idx="1266">
                  <c:v>37.056297000000001</c:v>
                </c:pt>
                <c:pt idx="1267">
                  <c:v>36.882829999999998</c:v>
                </c:pt>
                <c:pt idx="1268">
                  <c:v>36.464829999999999</c:v>
                </c:pt>
                <c:pt idx="1269">
                  <c:v>35.881183999999998</c:v>
                </c:pt>
                <c:pt idx="1270">
                  <c:v>35.53557</c:v>
                </c:pt>
                <c:pt idx="1271">
                  <c:v>35.032592999999999</c:v>
                </c:pt>
                <c:pt idx="1272">
                  <c:v>34.555835999999999</c:v>
                </c:pt>
                <c:pt idx="1273">
                  <c:v>34.193286999999998</c:v>
                </c:pt>
                <c:pt idx="1274">
                  <c:v>33.792560000000002</c:v>
                </c:pt>
                <c:pt idx="1275">
                  <c:v>32.982388</c:v>
                </c:pt>
                <c:pt idx="1276">
                  <c:v>32.713239999999999</c:v>
                </c:pt>
                <c:pt idx="1277">
                  <c:v>32.503802999999998</c:v>
                </c:pt>
                <c:pt idx="1278">
                  <c:v>32.4148</c:v>
                </c:pt>
                <c:pt idx="1279">
                  <c:v>32.313470000000002</c:v>
                </c:pt>
                <c:pt idx="1280">
                  <c:v>32.265700000000002</c:v>
                </c:pt>
                <c:pt idx="1281">
                  <c:v>32.15596</c:v>
                </c:pt>
                <c:pt idx="1282">
                  <c:v>32.014580000000002</c:v>
                </c:pt>
                <c:pt idx="1283">
                  <c:v>32.125397</c:v>
                </c:pt>
                <c:pt idx="1284">
                  <c:v>32.211627999999997</c:v>
                </c:pt>
                <c:pt idx="1285">
                  <c:v>31.831598</c:v>
                </c:pt>
                <c:pt idx="1286">
                  <c:v>31.290686000000001</c:v>
                </c:pt>
                <c:pt idx="1287">
                  <c:v>31.124033000000001</c:v>
                </c:pt>
                <c:pt idx="1288">
                  <c:v>30.748843999999998</c:v>
                </c:pt>
                <c:pt idx="1289">
                  <c:v>30.571276000000001</c:v>
                </c:pt>
                <c:pt idx="1290">
                  <c:v>30.568422000000002</c:v>
                </c:pt>
                <c:pt idx="1291">
                  <c:v>30.300774000000001</c:v>
                </c:pt>
                <c:pt idx="1292">
                  <c:v>30.301421999999999</c:v>
                </c:pt>
                <c:pt idx="1293">
                  <c:v>30.449394000000002</c:v>
                </c:pt>
                <c:pt idx="1294">
                  <c:v>30.607984999999999</c:v>
                </c:pt>
                <c:pt idx="1295">
                  <c:v>30.430199000000002</c:v>
                </c:pt>
                <c:pt idx="1296">
                  <c:v>30.379496</c:v>
                </c:pt>
                <c:pt idx="1297">
                  <c:v>30.537275000000001</c:v>
                </c:pt>
                <c:pt idx="1298">
                  <c:v>30.617944999999999</c:v>
                </c:pt>
                <c:pt idx="1299">
                  <c:v>30.761354000000001</c:v>
                </c:pt>
                <c:pt idx="1300">
                  <c:v>30.742602999999999</c:v>
                </c:pt>
                <c:pt idx="1301">
                  <c:v>30.836784000000002</c:v>
                </c:pt>
                <c:pt idx="1302">
                  <c:v>30.961935</c:v>
                </c:pt>
                <c:pt idx="1303">
                  <c:v>31.051079000000001</c:v>
                </c:pt>
                <c:pt idx="1304">
                  <c:v>31.049112000000001</c:v>
                </c:pt>
                <c:pt idx="1305">
                  <c:v>30.964141999999999</c:v>
                </c:pt>
                <c:pt idx="1306">
                  <c:v>30.958921</c:v>
                </c:pt>
                <c:pt idx="1307">
                  <c:v>30.813586999999998</c:v>
                </c:pt>
                <c:pt idx="1308">
                  <c:v>30.712054999999999</c:v>
                </c:pt>
                <c:pt idx="1309">
                  <c:v>30.738792</c:v>
                </c:pt>
                <c:pt idx="1310">
                  <c:v>30.681422999999999</c:v>
                </c:pt>
                <c:pt idx="1311">
                  <c:v>30.496649000000001</c:v>
                </c:pt>
                <c:pt idx="1312">
                  <c:v>30.463491000000001</c:v>
                </c:pt>
                <c:pt idx="1313">
                  <c:v>30.442352</c:v>
                </c:pt>
                <c:pt idx="1314">
                  <c:v>30.47315</c:v>
                </c:pt>
                <c:pt idx="1315">
                  <c:v>30.622118</c:v>
                </c:pt>
                <c:pt idx="1316">
                  <c:v>30.782250000000001</c:v>
                </c:pt>
                <c:pt idx="1317">
                  <c:v>30.776201</c:v>
                </c:pt>
                <c:pt idx="1318">
                  <c:v>30.845445999999999</c:v>
                </c:pt>
                <c:pt idx="1319">
                  <c:v>30.972207999999998</c:v>
                </c:pt>
                <c:pt idx="1320">
                  <c:v>31.110074999999998</c:v>
                </c:pt>
                <c:pt idx="1321">
                  <c:v>31.232572999999999</c:v>
                </c:pt>
                <c:pt idx="1322">
                  <c:v>31.250563</c:v>
                </c:pt>
                <c:pt idx="1323">
                  <c:v>31.353151</c:v>
                </c:pt>
                <c:pt idx="1324">
                  <c:v>31.425232000000001</c:v>
                </c:pt>
                <c:pt idx="1325">
                  <c:v>31.478956</c:v>
                </c:pt>
                <c:pt idx="1326">
                  <c:v>31.648372999999999</c:v>
                </c:pt>
                <c:pt idx="1327">
                  <c:v>31.749169999999999</c:v>
                </c:pt>
                <c:pt idx="1328">
                  <c:v>31.875916</c:v>
                </c:pt>
                <c:pt idx="1329">
                  <c:v>31.931968999999999</c:v>
                </c:pt>
                <c:pt idx="1330">
                  <c:v>31.970438000000001</c:v>
                </c:pt>
                <c:pt idx="1331">
                  <c:v>31.880662999999998</c:v>
                </c:pt>
                <c:pt idx="1332">
                  <c:v>31.981490999999998</c:v>
                </c:pt>
                <c:pt idx="1333">
                  <c:v>31.946266000000001</c:v>
                </c:pt>
                <c:pt idx="1334">
                  <c:v>32.094963</c:v>
                </c:pt>
                <c:pt idx="1335">
                  <c:v>32.288269999999997</c:v>
                </c:pt>
                <c:pt idx="1336">
                  <c:v>32.492260000000002</c:v>
                </c:pt>
                <c:pt idx="1337">
                  <c:v>32.777904999999997</c:v>
                </c:pt>
                <c:pt idx="1338">
                  <c:v>33.039070000000002</c:v>
                </c:pt>
                <c:pt idx="1339">
                  <c:v>33.349445000000003</c:v>
                </c:pt>
                <c:pt idx="1340">
                  <c:v>33.555689999999998</c:v>
                </c:pt>
                <c:pt idx="1341">
                  <c:v>33.622055000000003</c:v>
                </c:pt>
                <c:pt idx="1342">
                  <c:v>33.659599999999998</c:v>
                </c:pt>
                <c:pt idx="1343">
                  <c:v>33.912556000000002</c:v>
                </c:pt>
                <c:pt idx="1344">
                  <c:v>34.013812999999999</c:v>
                </c:pt>
                <c:pt idx="1345">
                  <c:v>34.391689999999997</c:v>
                </c:pt>
                <c:pt idx="1346">
                  <c:v>34.674779999999998</c:v>
                </c:pt>
                <c:pt idx="1347">
                  <c:v>33.750225</c:v>
                </c:pt>
                <c:pt idx="1348">
                  <c:v>33.440285000000003</c:v>
                </c:pt>
                <c:pt idx="1349">
                  <c:v>32.64716</c:v>
                </c:pt>
                <c:pt idx="1350">
                  <c:v>32.551228000000002</c:v>
                </c:pt>
                <c:pt idx="1351">
                  <c:v>32.337772000000001</c:v>
                </c:pt>
                <c:pt idx="1352">
                  <c:v>31.900366000000002</c:v>
                </c:pt>
                <c:pt idx="1353">
                  <c:v>31.824000999999999</c:v>
                </c:pt>
                <c:pt idx="1354">
                  <c:v>31.593119000000002</c:v>
                </c:pt>
                <c:pt idx="1355">
                  <c:v>31.709924999999998</c:v>
                </c:pt>
                <c:pt idx="1356">
                  <c:v>31.801690000000001</c:v>
                </c:pt>
                <c:pt idx="1357">
                  <c:v>32.201667999999998</c:v>
                </c:pt>
                <c:pt idx="1358">
                  <c:v>32.296954999999997</c:v>
                </c:pt>
                <c:pt idx="1359">
                  <c:v>32.65455</c:v>
                </c:pt>
                <c:pt idx="1360">
                  <c:v>33.367460000000001</c:v>
                </c:pt>
                <c:pt idx="1361">
                  <c:v>33.788364000000001</c:v>
                </c:pt>
                <c:pt idx="1362">
                  <c:v>34.316096999999999</c:v>
                </c:pt>
                <c:pt idx="1363">
                  <c:v>34.333602999999997</c:v>
                </c:pt>
                <c:pt idx="1364">
                  <c:v>34.731940000000002</c:v>
                </c:pt>
                <c:pt idx="1365">
                  <c:v>35.131461999999999</c:v>
                </c:pt>
                <c:pt idx="1366">
                  <c:v>35.435899999999997</c:v>
                </c:pt>
                <c:pt idx="1367">
                  <c:v>35.267429999999997</c:v>
                </c:pt>
                <c:pt idx="1368">
                  <c:v>35.411160000000002</c:v>
                </c:pt>
                <c:pt idx="1369">
                  <c:v>35.669387999999998</c:v>
                </c:pt>
                <c:pt idx="1370">
                  <c:v>35.993720000000003</c:v>
                </c:pt>
                <c:pt idx="1371">
                  <c:v>36.470509999999997</c:v>
                </c:pt>
                <c:pt idx="1372">
                  <c:v>36.786990000000003</c:v>
                </c:pt>
                <c:pt idx="1373">
                  <c:v>37.141182000000001</c:v>
                </c:pt>
                <c:pt idx="1374">
                  <c:v>37.378749999999997</c:v>
                </c:pt>
                <c:pt idx="1375">
                  <c:v>37.689278000000002</c:v>
                </c:pt>
                <c:pt idx="1376">
                  <c:v>38.081192000000001</c:v>
                </c:pt>
                <c:pt idx="1377">
                  <c:v>38.647525999999999</c:v>
                </c:pt>
                <c:pt idx="1378">
                  <c:v>39.167920000000002</c:v>
                </c:pt>
                <c:pt idx="1379">
                  <c:v>40.089455000000001</c:v>
                </c:pt>
                <c:pt idx="1380">
                  <c:v>40.154389999999999</c:v>
                </c:pt>
                <c:pt idx="1381">
                  <c:v>40.132874000000001</c:v>
                </c:pt>
                <c:pt idx="1382">
                  <c:v>40.138041999999999</c:v>
                </c:pt>
                <c:pt idx="1383">
                  <c:v>39.990096999999999</c:v>
                </c:pt>
                <c:pt idx="1384">
                  <c:v>39.519880000000001</c:v>
                </c:pt>
                <c:pt idx="1385">
                  <c:v>39.663739999999997</c:v>
                </c:pt>
                <c:pt idx="1386">
                  <c:v>39.84939</c:v>
                </c:pt>
                <c:pt idx="1387">
                  <c:v>40.101505000000003</c:v>
                </c:pt>
                <c:pt idx="1388">
                  <c:v>40.199350000000003</c:v>
                </c:pt>
                <c:pt idx="1389">
                  <c:v>40.15325</c:v>
                </c:pt>
                <c:pt idx="1390">
                  <c:v>40.087944</c:v>
                </c:pt>
                <c:pt idx="1391">
                  <c:v>39.771389999999997</c:v>
                </c:pt>
                <c:pt idx="1392">
                  <c:v>39.531424999999999</c:v>
                </c:pt>
                <c:pt idx="1393">
                  <c:v>39.726143</c:v>
                </c:pt>
                <c:pt idx="1394">
                  <c:v>39.727406000000002</c:v>
                </c:pt>
                <c:pt idx="1395">
                  <c:v>39.639589999999998</c:v>
                </c:pt>
                <c:pt idx="1396">
                  <c:v>39.661945000000003</c:v>
                </c:pt>
                <c:pt idx="1397">
                  <c:v>39.304855000000003</c:v>
                </c:pt>
                <c:pt idx="1398">
                  <c:v>39.332203</c:v>
                </c:pt>
                <c:pt idx="1399">
                  <c:v>39.330770000000001</c:v>
                </c:pt>
                <c:pt idx="1400">
                  <c:v>39.243782000000003</c:v>
                </c:pt>
                <c:pt idx="1401">
                  <c:v>39.095820000000003</c:v>
                </c:pt>
                <c:pt idx="1402">
                  <c:v>38.490049999999997</c:v>
                </c:pt>
                <c:pt idx="1403">
                  <c:v>38.162669999999999</c:v>
                </c:pt>
                <c:pt idx="1404">
                  <c:v>37.978454999999997</c:v>
                </c:pt>
                <c:pt idx="1405">
                  <c:v>37.768140000000002</c:v>
                </c:pt>
                <c:pt idx="1406">
                  <c:v>37.722087999999999</c:v>
                </c:pt>
                <c:pt idx="1407">
                  <c:v>37.667319999999997</c:v>
                </c:pt>
                <c:pt idx="1408">
                  <c:v>37.718353</c:v>
                </c:pt>
                <c:pt idx="1409">
                  <c:v>38.300040000000003</c:v>
                </c:pt>
                <c:pt idx="1410">
                  <c:v>38.922221999999998</c:v>
                </c:pt>
                <c:pt idx="1411">
                  <c:v>39.523600000000002</c:v>
                </c:pt>
                <c:pt idx="1412">
                  <c:v>39.584193999999997</c:v>
                </c:pt>
                <c:pt idx="1413">
                  <c:v>39.662394999999997</c:v>
                </c:pt>
                <c:pt idx="1414">
                  <c:v>40.162951999999997</c:v>
                </c:pt>
                <c:pt idx="1415">
                  <c:v>40.730960000000003</c:v>
                </c:pt>
                <c:pt idx="1416">
                  <c:v>40.925409999999999</c:v>
                </c:pt>
                <c:pt idx="1417">
                  <c:v>41.066825999999999</c:v>
                </c:pt>
                <c:pt idx="1418">
                  <c:v>41.402602999999999</c:v>
                </c:pt>
                <c:pt idx="1419">
                  <c:v>41.640728000000003</c:v>
                </c:pt>
                <c:pt idx="1420">
                  <c:v>41.738320000000002</c:v>
                </c:pt>
                <c:pt idx="1421">
                  <c:v>41.740433000000003</c:v>
                </c:pt>
                <c:pt idx="1422">
                  <c:v>41.642845000000001</c:v>
                </c:pt>
                <c:pt idx="1423">
                  <c:v>41.589939999999999</c:v>
                </c:pt>
                <c:pt idx="1424">
                  <c:v>41.491669999999999</c:v>
                </c:pt>
                <c:pt idx="1425">
                  <c:v>41.023989999999998</c:v>
                </c:pt>
                <c:pt idx="1426">
                  <c:v>40.459105999999998</c:v>
                </c:pt>
                <c:pt idx="1427">
                  <c:v>40.303252999999998</c:v>
                </c:pt>
                <c:pt idx="1428">
                  <c:v>40.208495999999997</c:v>
                </c:pt>
                <c:pt idx="1429">
                  <c:v>40.246592999999997</c:v>
                </c:pt>
                <c:pt idx="1430">
                  <c:v>40.292667000000002</c:v>
                </c:pt>
                <c:pt idx="1431">
                  <c:v>40.047153000000002</c:v>
                </c:pt>
                <c:pt idx="1432">
                  <c:v>39.970455000000001</c:v>
                </c:pt>
                <c:pt idx="1433">
                  <c:v>39.825985000000003</c:v>
                </c:pt>
                <c:pt idx="1434">
                  <c:v>39.745660000000001</c:v>
                </c:pt>
                <c:pt idx="1435">
                  <c:v>39.211792000000003</c:v>
                </c:pt>
                <c:pt idx="1436">
                  <c:v>39.051758</c:v>
                </c:pt>
                <c:pt idx="1437">
                  <c:v>38.466639999999998</c:v>
                </c:pt>
                <c:pt idx="1438">
                  <c:v>38.091360000000002</c:v>
                </c:pt>
                <c:pt idx="1439">
                  <c:v>37.857315</c:v>
                </c:pt>
                <c:pt idx="1440">
                  <c:v>37.876869999999997</c:v>
                </c:pt>
                <c:pt idx="1441">
                  <c:v>38.031959999999998</c:v>
                </c:pt>
                <c:pt idx="1442">
                  <c:v>38.114277000000001</c:v>
                </c:pt>
                <c:pt idx="1443">
                  <c:v>38.322450000000003</c:v>
                </c:pt>
                <c:pt idx="1444">
                  <c:v>38.449596</c:v>
                </c:pt>
                <c:pt idx="1445">
                  <c:v>38.802413999999999</c:v>
                </c:pt>
                <c:pt idx="1446">
                  <c:v>39.066692000000003</c:v>
                </c:pt>
                <c:pt idx="1447">
                  <c:v>39.099364999999999</c:v>
                </c:pt>
                <c:pt idx="1448">
                  <c:v>38.863715999999997</c:v>
                </c:pt>
                <c:pt idx="1449">
                  <c:v>38.556139999999999</c:v>
                </c:pt>
                <c:pt idx="1450">
                  <c:v>37.917230000000004</c:v>
                </c:pt>
                <c:pt idx="1451">
                  <c:v>37.496014000000002</c:v>
                </c:pt>
                <c:pt idx="1452">
                  <c:v>37.15137</c:v>
                </c:pt>
                <c:pt idx="1453">
                  <c:v>36.663223000000002</c:v>
                </c:pt>
                <c:pt idx="1454">
                  <c:v>36.082462</c:v>
                </c:pt>
                <c:pt idx="1455">
                  <c:v>35.670475000000003</c:v>
                </c:pt>
                <c:pt idx="1456">
                  <c:v>34.834969999999998</c:v>
                </c:pt>
                <c:pt idx="1457">
                  <c:v>34.162407000000002</c:v>
                </c:pt>
                <c:pt idx="1458">
                  <c:v>33.851536000000003</c:v>
                </c:pt>
                <c:pt idx="1459">
                  <c:v>33.68723</c:v>
                </c:pt>
                <c:pt idx="1460">
                  <c:v>33.673392999999997</c:v>
                </c:pt>
                <c:pt idx="1461">
                  <c:v>33.683197</c:v>
                </c:pt>
                <c:pt idx="1462">
                  <c:v>33.926163000000003</c:v>
                </c:pt>
                <c:pt idx="1463">
                  <c:v>33.724845999999999</c:v>
                </c:pt>
                <c:pt idx="1464">
                  <c:v>33.799827999999998</c:v>
                </c:pt>
                <c:pt idx="1465">
                  <c:v>33.645850000000003</c:v>
                </c:pt>
                <c:pt idx="1466">
                  <c:v>33.516502000000003</c:v>
                </c:pt>
                <c:pt idx="1467">
                  <c:v>33.325153</c:v>
                </c:pt>
                <c:pt idx="1468">
                  <c:v>33.080689999999997</c:v>
                </c:pt>
                <c:pt idx="1469">
                  <c:v>32.445729999999998</c:v>
                </c:pt>
                <c:pt idx="1470">
                  <c:v>31.706133000000001</c:v>
                </c:pt>
                <c:pt idx="1471">
                  <c:v>30.998873</c:v>
                </c:pt>
                <c:pt idx="1472">
                  <c:v>30.605719000000001</c:v>
                </c:pt>
                <c:pt idx="1473">
                  <c:v>30.318902999999999</c:v>
                </c:pt>
                <c:pt idx="1474">
                  <c:v>30.020752000000002</c:v>
                </c:pt>
                <c:pt idx="1475">
                  <c:v>29.876449999999998</c:v>
                </c:pt>
                <c:pt idx="1476">
                  <c:v>29.522857999999999</c:v>
                </c:pt>
                <c:pt idx="1477">
                  <c:v>30.314281000000001</c:v>
                </c:pt>
                <c:pt idx="1478">
                  <c:v>31.057853999999999</c:v>
                </c:pt>
                <c:pt idx="1479">
                  <c:v>31.627604999999999</c:v>
                </c:pt>
                <c:pt idx="1480">
                  <c:v>32.107624000000001</c:v>
                </c:pt>
                <c:pt idx="1481">
                  <c:v>32.257004000000002</c:v>
                </c:pt>
                <c:pt idx="1482">
                  <c:v>31.796061999999999</c:v>
                </c:pt>
                <c:pt idx="1483">
                  <c:v>31.716726000000001</c:v>
                </c:pt>
                <c:pt idx="1484">
                  <c:v>31.570817999999999</c:v>
                </c:pt>
                <c:pt idx="1485">
                  <c:v>31.568422000000002</c:v>
                </c:pt>
                <c:pt idx="1486">
                  <c:v>31.552669999999999</c:v>
                </c:pt>
                <c:pt idx="1487">
                  <c:v>31.557154000000001</c:v>
                </c:pt>
                <c:pt idx="1488">
                  <c:v>31.508531999999999</c:v>
                </c:pt>
                <c:pt idx="1489">
                  <c:v>31.424365999999999</c:v>
                </c:pt>
                <c:pt idx="1490">
                  <c:v>31.474081000000002</c:v>
                </c:pt>
                <c:pt idx="1491">
                  <c:v>31.547181999999999</c:v>
                </c:pt>
                <c:pt idx="1492">
                  <c:v>31.595406000000001</c:v>
                </c:pt>
                <c:pt idx="1493">
                  <c:v>31.741205000000001</c:v>
                </c:pt>
                <c:pt idx="1494">
                  <c:v>31.546453</c:v>
                </c:pt>
                <c:pt idx="1495">
                  <c:v>31.313905999999999</c:v>
                </c:pt>
                <c:pt idx="1496">
                  <c:v>31.04185</c:v>
                </c:pt>
                <c:pt idx="1497">
                  <c:v>30.958583999999998</c:v>
                </c:pt>
                <c:pt idx="1498">
                  <c:v>30.759367000000001</c:v>
                </c:pt>
                <c:pt idx="1499">
                  <c:v>30.610921999999999</c:v>
                </c:pt>
                <c:pt idx="1500">
                  <c:v>30.726538000000001</c:v>
                </c:pt>
                <c:pt idx="1501">
                  <c:v>30.860945000000001</c:v>
                </c:pt>
                <c:pt idx="1502">
                  <c:v>30.955750999999999</c:v>
                </c:pt>
                <c:pt idx="1503">
                  <c:v>31.080814</c:v>
                </c:pt>
                <c:pt idx="1504">
                  <c:v>31.212479999999999</c:v>
                </c:pt>
                <c:pt idx="1505">
                  <c:v>31.300267999999999</c:v>
                </c:pt>
                <c:pt idx="1506">
                  <c:v>31.280242999999999</c:v>
                </c:pt>
                <c:pt idx="1507">
                  <c:v>31.321715999999999</c:v>
                </c:pt>
                <c:pt idx="1508">
                  <c:v>31.406029</c:v>
                </c:pt>
                <c:pt idx="1509">
                  <c:v>31.661701000000001</c:v>
                </c:pt>
                <c:pt idx="1510">
                  <c:v>31.910599999999999</c:v>
                </c:pt>
                <c:pt idx="1511">
                  <c:v>32.084117999999997</c:v>
                </c:pt>
                <c:pt idx="1512">
                  <c:v>32.390408000000001</c:v>
                </c:pt>
                <c:pt idx="1513">
                  <c:v>32.65061</c:v>
                </c:pt>
                <c:pt idx="1514">
                  <c:v>32.897407999999999</c:v>
                </c:pt>
                <c:pt idx="1515">
                  <c:v>33.063809999999997</c:v>
                </c:pt>
                <c:pt idx="1516">
                  <c:v>33.305219999999998</c:v>
                </c:pt>
                <c:pt idx="1517">
                  <c:v>33.532978</c:v>
                </c:pt>
                <c:pt idx="1518">
                  <c:v>33.747005000000001</c:v>
                </c:pt>
                <c:pt idx="1519">
                  <c:v>33.990982000000002</c:v>
                </c:pt>
                <c:pt idx="1520">
                  <c:v>34.283875000000002</c:v>
                </c:pt>
                <c:pt idx="1521">
                  <c:v>34.713782999999999</c:v>
                </c:pt>
                <c:pt idx="1522">
                  <c:v>35.080010000000001</c:v>
                </c:pt>
                <c:pt idx="1523">
                  <c:v>35.542777999999998</c:v>
                </c:pt>
                <c:pt idx="1524">
                  <c:v>35.855021999999998</c:v>
                </c:pt>
                <c:pt idx="1525">
                  <c:v>35.952747000000002</c:v>
                </c:pt>
                <c:pt idx="1526">
                  <c:v>35.805019999999999</c:v>
                </c:pt>
                <c:pt idx="1527">
                  <c:v>36.223605999999997</c:v>
                </c:pt>
                <c:pt idx="1528">
                  <c:v>36.547806000000001</c:v>
                </c:pt>
                <c:pt idx="1529">
                  <c:v>37.141663000000001</c:v>
                </c:pt>
                <c:pt idx="1530">
                  <c:v>37.347029999999997</c:v>
                </c:pt>
                <c:pt idx="1531">
                  <c:v>36.816960000000002</c:v>
                </c:pt>
                <c:pt idx="1532">
                  <c:v>37.25394</c:v>
                </c:pt>
                <c:pt idx="1533">
                  <c:v>37.242060000000002</c:v>
                </c:pt>
                <c:pt idx="1534">
                  <c:v>36.991489999999999</c:v>
                </c:pt>
                <c:pt idx="1535">
                  <c:v>37.225982999999999</c:v>
                </c:pt>
                <c:pt idx="1536">
                  <c:v>36.917057</c:v>
                </c:pt>
                <c:pt idx="1537">
                  <c:v>37.058860000000003</c:v>
                </c:pt>
                <c:pt idx="1538">
                  <c:v>37.590000000000003</c:v>
                </c:pt>
                <c:pt idx="1539">
                  <c:v>38.050716000000001</c:v>
                </c:pt>
                <c:pt idx="1540">
                  <c:v>38.461689999999997</c:v>
                </c:pt>
                <c:pt idx="1541">
                  <c:v>38.840940000000003</c:v>
                </c:pt>
                <c:pt idx="1542">
                  <c:v>39.280334000000003</c:v>
                </c:pt>
                <c:pt idx="1543">
                  <c:v>39.705635000000001</c:v>
                </c:pt>
                <c:pt idx="1544">
                  <c:v>40.008426999999998</c:v>
                </c:pt>
                <c:pt idx="1545">
                  <c:v>39.952370000000002</c:v>
                </c:pt>
                <c:pt idx="1546">
                  <c:v>40.080115999999997</c:v>
                </c:pt>
                <c:pt idx="1547">
                  <c:v>40.251736000000001</c:v>
                </c:pt>
                <c:pt idx="1548">
                  <c:v>40.254435999999998</c:v>
                </c:pt>
                <c:pt idx="1549">
                  <c:v>40.295184999999996</c:v>
                </c:pt>
                <c:pt idx="1550">
                  <c:v>40.167614</c:v>
                </c:pt>
                <c:pt idx="1551">
                  <c:v>39.979396999999999</c:v>
                </c:pt>
                <c:pt idx="1552">
                  <c:v>40.056179999999998</c:v>
                </c:pt>
                <c:pt idx="1553">
                  <c:v>40.064590000000003</c:v>
                </c:pt>
                <c:pt idx="1554">
                  <c:v>40.221319999999999</c:v>
                </c:pt>
                <c:pt idx="1555">
                  <c:v>40.285130000000002</c:v>
                </c:pt>
                <c:pt idx="1556">
                  <c:v>40.198295999999999</c:v>
                </c:pt>
                <c:pt idx="1557">
                  <c:v>40.266370000000002</c:v>
                </c:pt>
                <c:pt idx="1558">
                  <c:v>40.521774000000001</c:v>
                </c:pt>
                <c:pt idx="1559">
                  <c:v>40.802520000000001</c:v>
                </c:pt>
                <c:pt idx="1560">
                  <c:v>41.028984000000001</c:v>
                </c:pt>
                <c:pt idx="1561">
                  <c:v>40.688830000000003</c:v>
                </c:pt>
                <c:pt idx="1562">
                  <c:v>40.641807999999997</c:v>
                </c:pt>
                <c:pt idx="1563">
                  <c:v>40.579180000000001</c:v>
                </c:pt>
                <c:pt idx="1564">
                  <c:v>40.416049999999998</c:v>
                </c:pt>
                <c:pt idx="1565">
                  <c:v>40.485027000000002</c:v>
                </c:pt>
                <c:pt idx="1566">
                  <c:v>40.467025999999997</c:v>
                </c:pt>
                <c:pt idx="1567">
                  <c:v>40.349139999999998</c:v>
                </c:pt>
                <c:pt idx="1568">
                  <c:v>40.362552999999998</c:v>
                </c:pt>
                <c:pt idx="1569">
                  <c:v>40.145572999999999</c:v>
                </c:pt>
                <c:pt idx="1570">
                  <c:v>40.18045</c:v>
                </c:pt>
                <c:pt idx="1571">
                  <c:v>39.683790000000002</c:v>
                </c:pt>
                <c:pt idx="1572">
                  <c:v>39.624862999999998</c:v>
                </c:pt>
                <c:pt idx="1573">
                  <c:v>39.875236999999998</c:v>
                </c:pt>
                <c:pt idx="1574">
                  <c:v>39.866619999999998</c:v>
                </c:pt>
                <c:pt idx="1575">
                  <c:v>40.006957999999997</c:v>
                </c:pt>
                <c:pt idx="1576">
                  <c:v>39.647616999999997</c:v>
                </c:pt>
                <c:pt idx="1577">
                  <c:v>39.914658000000003</c:v>
                </c:pt>
                <c:pt idx="1578">
                  <c:v>39.914368000000003</c:v>
                </c:pt>
                <c:pt idx="1579">
                  <c:v>39.890343000000001</c:v>
                </c:pt>
                <c:pt idx="1580">
                  <c:v>39.931538000000003</c:v>
                </c:pt>
                <c:pt idx="1581">
                  <c:v>39.858092999999997</c:v>
                </c:pt>
                <c:pt idx="1582">
                  <c:v>39.744109999999999</c:v>
                </c:pt>
                <c:pt idx="1583">
                  <c:v>39.849826999999998</c:v>
                </c:pt>
                <c:pt idx="1584">
                  <c:v>39.695103000000003</c:v>
                </c:pt>
                <c:pt idx="1585">
                  <c:v>39.589399999999998</c:v>
                </c:pt>
                <c:pt idx="1586">
                  <c:v>39.824593</c:v>
                </c:pt>
                <c:pt idx="1587">
                  <c:v>39.942610000000002</c:v>
                </c:pt>
                <c:pt idx="1588">
                  <c:v>39.854916000000003</c:v>
                </c:pt>
                <c:pt idx="1589">
                  <c:v>39.529800000000002</c:v>
                </c:pt>
                <c:pt idx="1590">
                  <c:v>39.797187999999998</c:v>
                </c:pt>
                <c:pt idx="1591">
                  <c:v>40.201393000000003</c:v>
                </c:pt>
                <c:pt idx="1592">
                  <c:v>40.295909999999999</c:v>
                </c:pt>
                <c:pt idx="1593">
                  <c:v>40.529854</c:v>
                </c:pt>
                <c:pt idx="1594">
                  <c:v>40.570805</c:v>
                </c:pt>
                <c:pt idx="1595">
                  <c:v>40.862502999999997</c:v>
                </c:pt>
                <c:pt idx="1596">
                  <c:v>41.140239999999999</c:v>
                </c:pt>
                <c:pt idx="1597">
                  <c:v>41.336765</c:v>
                </c:pt>
                <c:pt idx="1598">
                  <c:v>41.588290000000001</c:v>
                </c:pt>
                <c:pt idx="1599">
                  <c:v>41.741770000000002</c:v>
                </c:pt>
                <c:pt idx="1600">
                  <c:v>41.840473000000003</c:v>
                </c:pt>
                <c:pt idx="1601">
                  <c:v>41.75685</c:v>
                </c:pt>
                <c:pt idx="1602">
                  <c:v>41.727339999999998</c:v>
                </c:pt>
                <c:pt idx="1603">
                  <c:v>41.597659999999998</c:v>
                </c:pt>
                <c:pt idx="1604">
                  <c:v>41.534973000000001</c:v>
                </c:pt>
                <c:pt idx="1605">
                  <c:v>41.998123</c:v>
                </c:pt>
                <c:pt idx="1606">
                  <c:v>42.129660000000001</c:v>
                </c:pt>
                <c:pt idx="1607">
                  <c:v>42.146120000000003</c:v>
                </c:pt>
                <c:pt idx="1608">
                  <c:v>42.044452999999997</c:v>
                </c:pt>
                <c:pt idx="1609">
                  <c:v>41.959507000000002</c:v>
                </c:pt>
                <c:pt idx="1610">
                  <c:v>41.936194999999998</c:v>
                </c:pt>
                <c:pt idx="1611">
                  <c:v>42.024895000000001</c:v>
                </c:pt>
                <c:pt idx="1612">
                  <c:v>42.097923000000002</c:v>
                </c:pt>
                <c:pt idx="1613">
                  <c:v>42.175502999999999</c:v>
                </c:pt>
                <c:pt idx="1614">
                  <c:v>42.217402999999997</c:v>
                </c:pt>
                <c:pt idx="1615">
                  <c:v>42.215972999999998</c:v>
                </c:pt>
                <c:pt idx="1616">
                  <c:v>42.173949999999998</c:v>
                </c:pt>
                <c:pt idx="1617">
                  <c:v>42.162025</c:v>
                </c:pt>
                <c:pt idx="1618">
                  <c:v>42.123176999999998</c:v>
                </c:pt>
                <c:pt idx="1619">
                  <c:v>42.178207</c:v>
                </c:pt>
                <c:pt idx="1620">
                  <c:v>42.240989999999996</c:v>
                </c:pt>
                <c:pt idx="1621">
                  <c:v>42.313735999999999</c:v>
                </c:pt>
                <c:pt idx="1622">
                  <c:v>42.359608000000001</c:v>
                </c:pt>
                <c:pt idx="1623">
                  <c:v>42.500619999999998</c:v>
                </c:pt>
                <c:pt idx="1624">
                  <c:v>42.445872999999999</c:v>
                </c:pt>
                <c:pt idx="1625">
                  <c:v>42.287804000000001</c:v>
                </c:pt>
                <c:pt idx="1626">
                  <c:v>42.196669999999997</c:v>
                </c:pt>
                <c:pt idx="1627">
                  <c:v>42.105373</c:v>
                </c:pt>
                <c:pt idx="1628">
                  <c:v>42.039960000000001</c:v>
                </c:pt>
                <c:pt idx="1629">
                  <c:v>41.773384</c:v>
                </c:pt>
                <c:pt idx="1630">
                  <c:v>41.761597000000002</c:v>
                </c:pt>
                <c:pt idx="1631">
                  <c:v>41.726418000000002</c:v>
                </c:pt>
                <c:pt idx="1632">
                  <c:v>41.880462999999999</c:v>
                </c:pt>
                <c:pt idx="1633">
                  <c:v>41.827945999999997</c:v>
                </c:pt>
                <c:pt idx="1634">
                  <c:v>41.720756999999999</c:v>
                </c:pt>
                <c:pt idx="1635">
                  <c:v>41.813236000000003</c:v>
                </c:pt>
                <c:pt idx="1636">
                  <c:v>41.577488000000002</c:v>
                </c:pt>
                <c:pt idx="1637">
                  <c:v>41.443559999999998</c:v>
                </c:pt>
                <c:pt idx="1638">
                  <c:v>41.456245000000003</c:v>
                </c:pt>
                <c:pt idx="1639">
                  <c:v>41.533140000000003</c:v>
                </c:pt>
                <c:pt idx="1640">
                  <c:v>41.487797</c:v>
                </c:pt>
                <c:pt idx="1641">
                  <c:v>41.493859999999998</c:v>
                </c:pt>
                <c:pt idx="1642">
                  <c:v>41.390663000000004</c:v>
                </c:pt>
                <c:pt idx="1643">
                  <c:v>41.165267999999998</c:v>
                </c:pt>
                <c:pt idx="1644">
                  <c:v>41.114075</c:v>
                </c:pt>
                <c:pt idx="1645">
                  <c:v>40.980747000000001</c:v>
                </c:pt>
                <c:pt idx="1646">
                  <c:v>40.895175999999999</c:v>
                </c:pt>
                <c:pt idx="1647">
                  <c:v>40.90549</c:v>
                </c:pt>
                <c:pt idx="1648">
                  <c:v>40.930363</c:v>
                </c:pt>
                <c:pt idx="1649">
                  <c:v>40.803469999999997</c:v>
                </c:pt>
                <c:pt idx="1650">
                  <c:v>41.095910000000003</c:v>
                </c:pt>
                <c:pt idx="1651">
                  <c:v>41.438989999999997</c:v>
                </c:pt>
                <c:pt idx="1652">
                  <c:v>41.473520000000001</c:v>
                </c:pt>
                <c:pt idx="1653">
                  <c:v>41.580080000000002</c:v>
                </c:pt>
                <c:pt idx="1654">
                  <c:v>41.775826000000002</c:v>
                </c:pt>
                <c:pt idx="1655">
                  <c:v>41.902034999999998</c:v>
                </c:pt>
                <c:pt idx="1656">
                  <c:v>42.01905</c:v>
                </c:pt>
                <c:pt idx="1657">
                  <c:v>41.991729999999997</c:v>
                </c:pt>
                <c:pt idx="1658">
                  <c:v>41.894280000000002</c:v>
                </c:pt>
                <c:pt idx="1659">
                  <c:v>41.680225</c:v>
                </c:pt>
                <c:pt idx="1660">
                  <c:v>41.559184999999999</c:v>
                </c:pt>
                <c:pt idx="1661">
                  <c:v>41.259224000000003</c:v>
                </c:pt>
                <c:pt idx="1662">
                  <c:v>41.552567000000003</c:v>
                </c:pt>
                <c:pt idx="1663">
                  <c:v>41.557986999999997</c:v>
                </c:pt>
                <c:pt idx="1664">
                  <c:v>41.606619999999999</c:v>
                </c:pt>
                <c:pt idx="1665">
                  <c:v>41.701022999999999</c:v>
                </c:pt>
                <c:pt idx="1666">
                  <c:v>41.826410000000003</c:v>
                </c:pt>
                <c:pt idx="1667">
                  <c:v>41.885136000000003</c:v>
                </c:pt>
                <c:pt idx="1668">
                  <c:v>41.952297000000002</c:v>
                </c:pt>
                <c:pt idx="1669">
                  <c:v>41.871479999999998</c:v>
                </c:pt>
                <c:pt idx="1670">
                  <c:v>41.669322999999999</c:v>
                </c:pt>
                <c:pt idx="1671">
                  <c:v>41.628323000000002</c:v>
                </c:pt>
                <c:pt idx="1672">
                  <c:v>41.744124999999997</c:v>
                </c:pt>
                <c:pt idx="1673">
                  <c:v>41.635834000000003</c:v>
                </c:pt>
                <c:pt idx="1674">
                  <c:v>41.456054999999999</c:v>
                </c:pt>
                <c:pt idx="1675">
                  <c:v>41.363261999999999</c:v>
                </c:pt>
                <c:pt idx="1676">
                  <c:v>41.257717</c:v>
                </c:pt>
                <c:pt idx="1677">
                  <c:v>41.535297</c:v>
                </c:pt>
                <c:pt idx="1678">
                  <c:v>41.50217</c:v>
                </c:pt>
                <c:pt idx="1679">
                  <c:v>41.452129999999997</c:v>
                </c:pt>
                <c:pt idx="1680">
                  <c:v>41.364693000000003</c:v>
                </c:pt>
                <c:pt idx="1681">
                  <c:v>41.106639999999999</c:v>
                </c:pt>
                <c:pt idx="1682">
                  <c:v>41.058906999999998</c:v>
                </c:pt>
                <c:pt idx="1683">
                  <c:v>40.909336000000003</c:v>
                </c:pt>
                <c:pt idx="1684">
                  <c:v>40.692397999999997</c:v>
                </c:pt>
                <c:pt idx="1685">
                  <c:v>41.033740000000002</c:v>
                </c:pt>
                <c:pt idx="1686">
                  <c:v>41.153618000000002</c:v>
                </c:pt>
                <c:pt idx="1687">
                  <c:v>41.424790000000002</c:v>
                </c:pt>
                <c:pt idx="1688">
                  <c:v>41.629944000000002</c:v>
                </c:pt>
                <c:pt idx="1689">
                  <c:v>41.760714999999998</c:v>
                </c:pt>
                <c:pt idx="1690">
                  <c:v>41.850451999999997</c:v>
                </c:pt>
                <c:pt idx="1691">
                  <c:v>42.114998</c:v>
                </c:pt>
                <c:pt idx="1692">
                  <c:v>42.094172999999998</c:v>
                </c:pt>
                <c:pt idx="1693">
                  <c:v>42.361987999999997</c:v>
                </c:pt>
                <c:pt idx="1694">
                  <c:v>42.318779999999997</c:v>
                </c:pt>
                <c:pt idx="1695">
                  <c:v>42.282046999999999</c:v>
                </c:pt>
                <c:pt idx="1696">
                  <c:v>42.212463</c:v>
                </c:pt>
                <c:pt idx="1697">
                  <c:v>42.330894000000001</c:v>
                </c:pt>
                <c:pt idx="1698">
                  <c:v>42.336799999999997</c:v>
                </c:pt>
                <c:pt idx="1699">
                  <c:v>42.310380000000002</c:v>
                </c:pt>
                <c:pt idx="1700">
                  <c:v>42.197533</c:v>
                </c:pt>
                <c:pt idx="1701">
                  <c:v>42.210006999999997</c:v>
                </c:pt>
                <c:pt idx="1702">
                  <c:v>42.557490000000001</c:v>
                </c:pt>
                <c:pt idx="1703">
                  <c:v>42.771749999999997</c:v>
                </c:pt>
                <c:pt idx="1704">
                  <c:v>42.889144999999999</c:v>
                </c:pt>
                <c:pt idx="1705">
                  <c:v>42.949100000000001</c:v>
                </c:pt>
                <c:pt idx="1706">
                  <c:v>42.981766</c:v>
                </c:pt>
                <c:pt idx="1707">
                  <c:v>42.958607000000001</c:v>
                </c:pt>
                <c:pt idx="1708">
                  <c:v>43.167296999999998</c:v>
                </c:pt>
                <c:pt idx="1709">
                  <c:v>43.281170000000003</c:v>
                </c:pt>
                <c:pt idx="1710">
                  <c:v>43.466760000000001</c:v>
                </c:pt>
                <c:pt idx="1711">
                  <c:v>43.293273999999997</c:v>
                </c:pt>
                <c:pt idx="1712">
                  <c:v>43.047595999999999</c:v>
                </c:pt>
                <c:pt idx="1713">
                  <c:v>42.869822999999997</c:v>
                </c:pt>
                <c:pt idx="1714">
                  <c:v>42.83372</c:v>
                </c:pt>
                <c:pt idx="1715">
                  <c:v>42.862459999999999</c:v>
                </c:pt>
                <c:pt idx="1716">
                  <c:v>42.925648000000002</c:v>
                </c:pt>
                <c:pt idx="1717">
                  <c:v>42.838904999999997</c:v>
                </c:pt>
                <c:pt idx="1718">
                  <c:v>42.748176999999998</c:v>
                </c:pt>
                <c:pt idx="1719">
                  <c:v>42.604010000000002</c:v>
                </c:pt>
                <c:pt idx="1720">
                  <c:v>42.560690000000001</c:v>
                </c:pt>
                <c:pt idx="1721">
                  <c:v>42.630446999999997</c:v>
                </c:pt>
                <c:pt idx="1722">
                  <c:v>42.575203000000002</c:v>
                </c:pt>
                <c:pt idx="1723">
                  <c:v>42.533194999999999</c:v>
                </c:pt>
                <c:pt idx="1724">
                  <c:v>42.259777</c:v>
                </c:pt>
                <c:pt idx="1725">
                  <c:v>42.226368000000001</c:v>
                </c:pt>
                <c:pt idx="1726">
                  <c:v>41.77543</c:v>
                </c:pt>
                <c:pt idx="1727">
                  <c:v>41.570408</c:v>
                </c:pt>
                <c:pt idx="1728">
                  <c:v>41.123386000000004</c:v>
                </c:pt>
                <c:pt idx="1729">
                  <c:v>40.591965000000002</c:v>
                </c:pt>
                <c:pt idx="1730">
                  <c:v>40.124130000000001</c:v>
                </c:pt>
                <c:pt idx="1731">
                  <c:v>39.724926000000004</c:v>
                </c:pt>
                <c:pt idx="1732">
                  <c:v>40.003802999999998</c:v>
                </c:pt>
                <c:pt idx="1733">
                  <c:v>40.008476000000002</c:v>
                </c:pt>
                <c:pt idx="1734">
                  <c:v>39.92736</c:v>
                </c:pt>
                <c:pt idx="1735">
                  <c:v>39.795563000000001</c:v>
                </c:pt>
                <c:pt idx="1736">
                  <c:v>39.648895000000003</c:v>
                </c:pt>
                <c:pt idx="1737">
                  <c:v>39.506630000000001</c:v>
                </c:pt>
                <c:pt idx="1738">
                  <c:v>40.14799</c:v>
                </c:pt>
                <c:pt idx="1739">
                  <c:v>40.989049999999999</c:v>
                </c:pt>
                <c:pt idx="1740">
                  <c:v>41.001987</c:v>
                </c:pt>
                <c:pt idx="1741">
                  <c:v>40.424553000000003</c:v>
                </c:pt>
                <c:pt idx="1742">
                  <c:v>40.215201999999998</c:v>
                </c:pt>
                <c:pt idx="1743">
                  <c:v>40.225257999999997</c:v>
                </c:pt>
                <c:pt idx="1744">
                  <c:v>39.884869999999999</c:v>
                </c:pt>
                <c:pt idx="1745">
                  <c:v>39.786915</c:v>
                </c:pt>
                <c:pt idx="1746">
                  <c:v>39.14564</c:v>
                </c:pt>
                <c:pt idx="1747">
                  <c:v>38.775517000000001</c:v>
                </c:pt>
                <c:pt idx="1748">
                  <c:v>38.83278</c:v>
                </c:pt>
                <c:pt idx="1749">
                  <c:v>39.194057000000001</c:v>
                </c:pt>
                <c:pt idx="1750">
                  <c:v>39.500152999999997</c:v>
                </c:pt>
                <c:pt idx="1751">
                  <c:v>39.447814999999999</c:v>
                </c:pt>
                <c:pt idx="1752">
                  <c:v>39.302253999999998</c:v>
                </c:pt>
                <c:pt idx="1753">
                  <c:v>38.959217000000002</c:v>
                </c:pt>
                <c:pt idx="1754">
                  <c:v>39.123756</c:v>
                </c:pt>
                <c:pt idx="1755">
                  <c:v>39.153193999999999</c:v>
                </c:pt>
                <c:pt idx="1756">
                  <c:v>40.219720000000002</c:v>
                </c:pt>
                <c:pt idx="1757">
                  <c:v>40.218356999999997</c:v>
                </c:pt>
                <c:pt idx="1758">
                  <c:v>38.947662000000001</c:v>
                </c:pt>
                <c:pt idx="1759">
                  <c:v>38.180439999999997</c:v>
                </c:pt>
                <c:pt idx="1760">
                  <c:v>37.475292000000003</c:v>
                </c:pt>
                <c:pt idx="1761">
                  <c:v>36.910297</c:v>
                </c:pt>
                <c:pt idx="1762">
                  <c:v>36.551555999999998</c:v>
                </c:pt>
                <c:pt idx="1763">
                  <c:v>36.624091999999997</c:v>
                </c:pt>
                <c:pt idx="1764">
                  <c:v>36.697450000000003</c:v>
                </c:pt>
                <c:pt idx="1765">
                  <c:v>36.635857000000001</c:v>
                </c:pt>
                <c:pt idx="1766">
                  <c:v>37.06561</c:v>
                </c:pt>
                <c:pt idx="1767">
                  <c:v>36.907803000000001</c:v>
                </c:pt>
                <c:pt idx="1768">
                  <c:v>36.274334000000003</c:v>
                </c:pt>
                <c:pt idx="1769">
                  <c:v>35.769492999999997</c:v>
                </c:pt>
                <c:pt idx="1770">
                  <c:v>35.718384</c:v>
                </c:pt>
                <c:pt idx="1771">
                  <c:v>34.986786000000002</c:v>
                </c:pt>
                <c:pt idx="1772">
                  <c:v>33.982532999999997</c:v>
                </c:pt>
                <c:pt idx="1773">
                  <c:v>34.530346000000002</c:v>
                </c:pt>
                <c:pt idx="1774">
                  <c:v>34.54213</c:v>
                </c:pt>
                <c:pt idx="1775">
                  <c:v>34.900979999999997</c:v>
                </c:pt>
                <c:pt idx="1776">
                  <c:v>34.668785</c:v>
                </c:pt>
                <c:pt idx="1777">
                  <c:v>35.056780000000003</c:v>
                </c:pt>
                <c:pt idx="1778">
                  <c:v>34.786729999999999</c:v>
                </c:pt>
                <c:pt idx="1779">
                  <c:v>34.645695000000003</c:v>
                </c:pt>
                <c:pt idx="1780">
                  <c:v>33.866173000000003</c:v>
                </c:pt>
                <c:pt idx="1781">
                  <c:v>32.264519999999997</c:v>
                </c:pt>
                <c:pt idx="1782">
                  <c:v>32.146155999999998</c:v>
                </c:pt>
                <c:pt idx="1783">
                  <c:v>31.312159000000001</c:v>
                </c:pt>
                <c:pt idx="1784">
                  <c:v>31.599364999999999</c:v>
                </c:pt>
                <c:pt idx="1785">
                  <c:v>31.461903</c:v>
                </c:pt>
                <c:pt idx="1786">
                  <c:v>31.032920000000001</c:v>
                </c:pt>
                <c:pt idx="1787">
                  <c:v>29.841925</c:v>
                </c:pt>
                <c:pt idx="1788">
                  <c:v>28.823366</c:v>
                </c:pt>
                <c:pt idx="1789">
                  <c:v>29.116721999999999</c:v>
                </c:pt>
                <c:pt idx="1790">
                  <c:v>29.459420999999999</c:v>
                </c:pt>
                <c:pt idx="1791">
                  <c:v>30.104956000000001</c:v>
                </c:pt>
                <c:pt idx="1792">
                  <c:v>30.157043000000002</c:v>
                </c:pt>
                <c:pt idx="1793">
                  <c:v>30.511496999999999</c:v>
                </c:pt>
                <c:pt idx="1794">
                  <c:v>30.538546</c:v>
                </c:pt>
                <c:pt idx="1795">
                  <c:v>30.227395999999999</c:v>
                </c:pt>
                <c:pt idx="1796">
                  <c:v>30.490993</c:v>
                </c:pt>
                <c:pt idx="1797">
                  <c:v>30.572997999999998</c:v>
                </c:pt>
                <c:pt idx="1798">
                  <c:v>31.318225999999999</c:v>
                </c:pt>
                <c:pt idx="1799">
                  <c:v>31.730132999999999</c:v>
                </c:pt>
                <c:pt idx="1800">
                  <c:v>32.182766000000001</c:v>
                </c:pt>
                <c:pt idx="1801">
                  <c:v>32.531742000000001</c:v>
                </c:pt>
                <c:pt idx="1802">
                  <c:v>32.581940000000003</c:v>
                </c:pt>
                <c:pt idx="1803">
                  <c:v>33.151142</c:v>
                </c:pt>
                <c:pt idx="1804">
                  <c:v>33.428930000000001</c:v>
                </c:pt>
                <c:pt idx="1805">
                  <c:v>33.940899999999999</c:v>
                </c:pt>
                <c:pt idx="1806">
                  <c:v>34.660719999999998</c:v>
                </c:pt>
                <c:pt idx="1807">
                  <c:v>35.097285999999997</c:v>
                </c:pt>
                <c:pt idx="1808">
                  <c:v>34.880257</c:v>
                </c:pt>
                <c:pt idx="1809">
                  <c:v>35.087048000000003</c:v>
                </c:pt>
                <c:pt idx="1810">
                  <c:v>35.104970000000002</c:v>
                </c:pt>
                <c:pt idx="1811">
                  <c:v>35.206535000000002</c:v>
                </c:pt>
                <c:pt idx="1812">
                  <c:v>35.466602000000002</c:v>
                </c:pt>
                <c:pt idx="1813">
                  <c:v>35.88279</c:v>
                </c:pt>
                <c:pt idx="1814">
                  <c:v>36.648857</c:v>
                </c:pt>
                <c:pt idx="1815">
                  <c:v>37.145829999999997</c:v>
                </c:pt>
                <c:pt idx="1816">
                  <c:v>37.453957000000003</c:v>
                </c:pt>
                <c:pt idx="1817">
                  <c:v>37.806809999999999</c:v>
                </c:pt>
                <c:pt idx="1818">
                  <c:v>38.310299999999998</c:v>
                </c:pt>
                <c:pt idx="1819">
                  <c:v>38.664386999999998</c:v>
                </c:pt>
                <c:pt idx="1820">
                  <c:v>39.253967000000003</c:v>
                </c:pt>
                <c:pt idx="1821">
                  <c:v>39.98104</c:v>
                </c:pt>
                <c:pt idx="1822">
                  <c:v>40.561466000000003</c:v>
                </c:pt>
                <c:pt idx="1823">
                  <c:v>40.837589999999999</c:v>
                </c:pt>
                <c:pt idx="1824">
                  <c:v>40.856903000000003</c:v>
                </c:pt>
                <c:pt idx="1825">
                  <c:v>41.074852</c:v>
                </c:pt>
                <c:pt idx="1826">
                  <c:v>41.12003</c:v>
                </c:pt>
                <c:pt idx="1827">
                  <c:v>41.515729999999998</c:v>
                </c:pt>
                <c:pt idx="1828">
                  <c:v>41.521636999999998</c:v>
                </c:pt>
                <c:pt idx="1829">
                  <c:v>41.737009999999998</c:v>
                </c:pt>
                <c:pt idx="1830">
                  <c:v>41.754337</c:v>
                </c:pt>
                <c:pt idx="1831">
                  <c:v>41.812793999999997</c:v>
                </c:pt>
                <c:pt idx="1832">
                  <c:v>41.847546000000001</c:v>
                </c:pt>
                <c:pt idx="1833">
                  <c:v>42.027842999999997</c:v>
                </c:pt>
                <c:pt idx="1834">
                  <c:v>42.075935000000001</c:v>
                </c:pt>
                <c:pt idx="1835">
                  <c:v>42.125121999999998</c:v>
                </c:pt>
                <c:pt idx="1836">
                  <c:v>42.216079999999998</c:v>
                </c:pt>
                <c:pt idx="1837">
                  <c:v>42.243810000000003</c:v>
                </c:pt>
                <c:pt idx="1838">
                  <c:v>42.388489999999997</c:v>
                </c:pt>
                <c:pt idx="1839">
                  <c:v>42.379955000000002</c:v>
                </c:pt>
                <c:pt idx="1840">
                  <c:v>42.578290000000003</c:v>
                </c:pt>
                <c:pt idx="1841">
                  <c:v>42.749380000000002</c:v>
                </c:pt>
                <c:pt idx="1842">
                  <c:v>42.739573999999998</c:v>
                </c:pt>
                <c:pt idx="1843">
                  <c:v>42.659590000000001</c:v>
                </c:pt>
                <c:pt idx="1844">
                  <c:v>42.238930000000003</c:v>
                </c:pt>
                <c:pt idx="1845">
                  <c:v>42.284970000000001</c:v>
                </c:pt>
                <c:pt idx="1846">
                  <c:v>42.293438000000002</c:v>
                </c:pt>
                <c:pt idx="1847">
                  <c:v>42.423332000000002</c:v>
                </c:pt>
                <c:pt idx="1848">
                  <c:v>42.408450000000002</c:v>
                </c:pt>
                <c:pt idx="1849">
                  <c:v>42.376716999999999</c:v>
                </c:pt>
                <c:pt idx="1850">
                  <c:v>42.184337999999997</c:v>
                </c:pt>
                <c:pt idx="1851">
                  <c:v>42.225002000000003</c:v>
                </c:pt>
                <c:pt idx="1852">
                  <c:v>42.144159999999999</c:v>
                </c:pt>
                <c:pt idx="1853">
                  <c:v>41.830829999999999</c:v>
                </c:pt>
                <c:pt idx="1854">
                  <c:v>41.80932</c:v>
                </c:pt>
                <c:pt idx="1855">
                  <c:v>41.149628</c:v>
                </c:pt>
                <c:pt idx="1856">
                  <c:v>41.524104999999999</c:v>
                </c:pt>
                <c:pt idx="1857">
                  <c:v>41.574979999999996</c:v>
                </c:pt>
                <c:pt idx="1858">
                  <c:v>41.652576000000003</c:v>
                </c:pt>
                <c:pt idx="1859">
                  <c:v>41.610599999999998</c:v>
                </c:pt>
                <c:pt idx="1860">
                  <c:v>41.697620000000001</c:v>
                </c:pt>
                <c:pt idx="1861">
                  <c:v>41.417769999999997</c:v>
                </c:pt>
                <c:pt idx="1862">
                  <c:v>41.4953</c:v>
                </c:pt>
                <c:pt idx="1863">
                  <c:v>41.473441999999999</c:v>
                </c:pt>
                <c:pt idx="1864">
                  <c:v>41.530209999999997</c:v>
                </c:pt>
                <c:pt idx="1865">
                  <c:v>41.556736000000001</c:v>
                </c:pt>
                <c:pt idx="1866">
                  <c:v>41.507828000000003</c:v>
                </c:pt>
                <c:pt idx="1867">
                  <c:v>41.625602999999998</c:v>
                </c:pt>
                <c:pt idx="1868">
                  <c:v>41.594025000000002</c:v>
                </c:pt>
                <c:pt idx="1869">
                  <c:v>41.43562</c:v>
                </c:pt>
                <c:pt idx="1870">
                  <c:v>41.568767999999999</c:v>
                </c:pt>
                <c:pt idx="1871">
                  <c:v>41.571247</c:v>
                </c:pt>
                <c:pt idx="1872">
                  <c:v>41.537227999999999</c:v>
                </c:pt>
                <c:pt idx="1873">
                  <c:v>41.335728000000003</c:v>
                </c:pt>
                <c:pt idx="1874">
                  <c:v>41.298428000000001</c:v>
                </c:pt>
                <c:pt idx="1875">
                  <c:v>41.211444999999998</c:v>
                </c:pt>
                <c:pt idx="1876">
                  <c:v>40.979435000000002</c:v>
                </c:pt>
                <c:pt idx="1877">
                  <c:v>40.936844000000001</c:v>
                </c:pt>
                <c:pt idx="1878">
                  <c:v>40.815136000000003</c:v>
                </c:pt>
                <c:pt idx="1879">
                  <c:v>40.596702999999998</c:v>
                </c:pt>
                <c:pt idx="1880">
                  <c:v>40.936546</c:v>
                </c:pt>
                <c:pt idx="1881">
                  <c:v>40.860354999999998</c:v>
                </c:pt>
                <c:pt idx="1882">
                  <c:v>40.951214</c:v>
                </c:pt>
                <c:pt idx="1883">
                  <c:v>40.986584000000001</c:v>
                </c:pt>
                <c:pt idx="1884">
                  <c:v>40.972639999999998</c:v>
                </c:pt>
                <c:pt idx="1885">
                  <c:v>41.622017</c:v>
                </c:pt>
                <c:pt idx="1886">
                  <c:v>41.720374999999997</c:v>
                </c:pt>
                <c:pt idx="1887">
                  <c:v>41.936123000000002</c:v>
                </c:pt>
                <c:pt idx="1888">
                  <c:v>42.013330000000003</c:v>
                </c:pt>
                <c:pt idx="1889">
                  <c:v>42.244754999999998</c:v>
                </c:pt>
                <c:pt idx="1890">
                  <c:v>42.323948000000001</c:v>
                </c:pt>
                <c:pt idx="1891">
                  <c:v>42.387756000000003</c:v>
                </c:pt>
                <c:pt idx="1892">
                  <c:v>42.313521999999999</c:v>
                </c:pt>
                <c:pt idx="1893">
                  <c:v>42.41075</c:v>
                </c:pt>
                <c:pt idx="1894">
                  <c:v>42.624079999999999</c:v>
                </c:pt>
                <c:pt idx="1895">
                  <c:v>42.867849999999997</c:v>
                </c:pt>
                <c:pt idx="1896">
                  <c:v>42.999516</c:v>
                </c:pt>
                <c:pt idx="1897">
                  <c:v>43.223697999999999</c:v>
                </c:pt>
                <c:pt idx="1898">
                  <c:v>43.329642999999997</c:v>
                </c:pt>
                <c:pt idx="1899">
                  <c:v>43.384459999999997</c:v>
                </c:pt>
                <c:pt idx="1900">
                  <c:v>43.529774000000003</c:v>
                </c:pt>
                <c:pt idx="1901">
                  <c:v>43.693302000000003</c:v>
                </c:pt>
                <c:pt idx="1902">
                  <c:v>43.769576999999998</c:v>
                </c:pt>
                <c:pt idx="1903">
                  <c:v>43.602139999999999</c:v>
                </c:pt>
                <c:pt idx="1904">
                  <c:v>43.478810000000003</c:v>
                </c:pt>
                <c:pt idx="1905">
                  <c:v>43.239350000000002</c:v>
                </c:pt>
                <c:pt idx="1906">
                  <c:v>43.265343000000001</c:v>
                </c:pt>
                <c:pt idx="1907">
                  <c:v>43.300334999999997</c:v>
                </c:pt>
                <c:pt idx="1908">
                  <c:v>43.309660000000001</c:v>
                </c:pt>
                <c:pt idx="1909">
                  <c:v>43.601664999999997</c:v>
                </c:pt>
                <c:pt idx="1910">
                  <c:v>43.567515999999998</c:v>
                </c:pt>
                <c:pt idx="1911">
                  <c:v>43.476559999999999</c:v>
                </c:pt>
                <c:pt idx="1912">
                  <c:v>43.509140000000002</c:v>
                </c:pt>
                <c:pt idx="1913">
                  <c:v>43.24268</c:v>
                </c:pt>
                <c:pt idx="1914">
                  <c:v>42.909874000000002</c:v>
                </c:pt>
                <c:pt idx="1915">
                  <c:v>42.911839999999998</c:v>
                </c:pt>
                <c:pt idx="1916">
                  <c:v>42.823146999999999</c:v>
                </c:pt>
                <c:pt idx="1917">
                  <c:v>42.322364999999998</c:v>
                </c:pt>
                <c:pt idx="1918">
                  <c:v>42.064064000000002</c:v>
                </c:pt>
                <c:pt idx="1919">
                  <c:v>41.991430000000001</c:v>
                </c:pt>
                <c:pt idx="1920">
                  <c:v>41.606228000000002</c:v>
                </c:pt>
                <c:pt idx="1921">
                  <c:v>40.927993999999998</c:v>
                </c:pt>
                <c:pt idx="1922">
                  <c:v>40.376829999999998</c:v>
                </c:pt>
                <c:pt idx="1923">
                  <c:v>39.739131999999998</c:v>
                </c:pt>
                <c:pt idx="1924">
                  <c:v>39.388950000000001</c:v>
                </c:pt>
                <c:pt idx="1925">
                  <c:v>39.057631999999998</c:v>
                </c:pt>
                <c:pt idx="1926">
                  <c:v>38.145515000000003</c:v>
                </c:pt>
                <c:pt idx="1927">
                  <c:v>37.922035000000001</c:v>
                </c:pt>
                <c:pt idx="1928">
                  <c:v>37.662230000000001</c:v>
                </c:pt>
                <c:pt idx="1929">
                  <c:v>37.255177000000003</c:v>
                </c:pt>
                <c:pt idx="1930">
                  <c:v>38.107289999999999</c:v>
                </c:pt>
                <c:pt idx="1931">
                  <c:v>38.154989999999998</c:v>
                </c:pt>
                <c:pt idx="1932">
                  <c:v>38.538654000000001</c:v>
                </c:pt>
                <c:pt idx="1933">
                  <c:v>38.600209999999997</c:v>
                </c:pt>
                <c:pt idx="1934">
                  <c:v>38.344901999999998</c:v>
                </c:pt>
                <c:pt idx="1935">
                  <c:v>38.477460000000001</c:v>
                </c:pt>
                <c:pt idx="1936">
                  <c:v>38.084933999999997</c:v>
                </c:pt>
                <c:pt idx="1937">
                  <c:v>37.749206999999998</c:v>
                </c:pt>
                <c:pt idx="1938">
                  <c:v>37.560142999999997</c:v>
                </c:pt>
                <c:pt idx="1939">
                  <c:v>36.786026</c:v>
                </c:pt>
                <c:pt idx="1940">
                  <c:v>36.797511999999998</c:v>
                </c:pt>
                <c:pt idx="1941">
                  <c:v>37.475700000000003</c:v>
                </c:pt>
                <c:pt idx="1942">
                  <c:v>38.165035000000003</c:v>
                </c:pt>
                <c:pt idx="1943">
                  <c:v>39.87238</c:v>
                </c:pt>
                <c:pt idx="1944">
                  <c:v>40.877704999999999</c:v>
                </c:pt>
                <c:pt idx="1945">
                  <c:v>41.667095000000003</c:v>
                </c:pt>
                <c:pt idx="1946">
                  <c:v>41.780434</c:v>
                </c:pt>
                <c:pt idx="1947">
                  <c:v>41.619185999999999</c:v>
                </c:pt>
                <c:pt idx="1948">
                  <c:v>41.221469999999997</c:v>
                </c:pt>
                <c:pt idx="1949">
                  <c:v>40.92221</c:v>
                </c:pt>
                <c:pt idx="1950">
                  <c:v>40.505446999999997</c:v>
                </c:pt>
                <c:pt idx="1951">
                  <c:v>40.82929</c:v>
                </c:pt>
                <c:pt idx="1952">
                  <c:v>40.345260000000003</c:v>
                </c:pt>
                <c:pt idx="1953">
                  <c:v>40.145943000000003</c:v>
                </c:pt>
                <c:pt idx="1954">
                  <c:v>39.599826999999998</c:v>
                </c:pt>
                <c:pt idx="1955">
                  <c:v>39.364376</c:v>
                </c:pt>
                <c:pt idx="1956">
                  <c:v>39.140244000000003</c:v>
                </c:pt>
                <c:pt idx="1957">
                  <c:v>38.909570000000002</c:v>
                </c:pt>
                <c:pt idx="1958">
                  <c:v>39.440575000000003</c:v>
                </c:pt>
                <c:pt idx="1959">
                  <c:v>39.637016000000003</c:v>
                </c:pt>
                <c:pt idx="1960">
                  <c:v>39.241165000000002</c:v>
                </c:pt>
                <c:pt idx="1961">
                  <c:v>38.946434000000004</c:v>
                </c:pt>
                <c:pt idx="1962">
                  <c:v>38.320700000000002</c:v>
                </c:pt>
                <c:pt idx="1963">
                  <c:v>37.705795000000002</c:v>
                </c:pt>
                <c:pt idx="1964">
                  <c:v>37.619816</c:v>
                </c:pt>
                <c:pt idx="1965">
                  <c:v>37.035755000000002</c:v>
                </c:pt>
                <c:pt idx="1966">
                  <c:v>36.570099999999996</c:v>
                </c:pt>
                <c:pt idx="1967">
                  <c:v>36.330770000000001</c:v>
                </c:pt>
                <c:pt idx="1968">
                  <c:v>35.956997000000001</c:v>
                </c:pt>
                <c:pt idx="1969">
                  <c:v>35.824714999999998</c:v>
                </c:pt>
                <c:pt idx="1970">
                  <c:v>35.69068</c:v>
                </c:pt>
                <c:pt idx="1971">
                  <c:v>35.692729999999997</c:v>
                </c:pt>
                <c:pt idx="1972">
                  <c:v>35.706333000000001</c:v>
                </c:pt>
                <c:pt idx="1973">
                  <c:v>35.688923000000003</c:v>
                </c:pt>
                <c:pt idx="1974">
                  <c:v>35.758249999999997</c:v>
                </c:pt>
                <c:pt idx="1975">
                  <c:v>35.769455000000001</c:v>
                </c:pt>
                <c:pt idx="1976">
                  <c:v>35.793014999999997</c:v>
                </c:pt>
                <c:pt idx="1977">
                  <c:v>35.833885000000002</c:v>
                </c:pt>
                <c:pt idx="1978">
                  <c:v>35.874310000000001</c:v>
                </c:pt>
                <c:pt idx="1979">
                  <c:v>36.115546999999999</c:v>
                </c:pt>
                <c:pt idx="1980">
                  <c:v>36.134293</c:v>
                </c:pt>
                <c:pt idx="1981">
                  <c:v>35.841704999999997</c:v>
                </c:pt>
                <c:pt idx="1982">
                  <c:v>35.893005000000002</c:v>
                </c:pt>
                <c:pt idx="1983">
                  <c:v>35.881453999999998</c:v>
                </c:pt>
                <c:pt idx="1984">
                  <c:v>35.925494999999998</c:v>
                </c:pt>
                <c:pt idx="1985">
                  <c:v>36.017753999999996</c:v>
                </c:pt>
                <c:pt idx="1986">
                  <c:v>36.080257000000003</c:v>
                </c:pt>
                <c:pt idx="1987">
                  <c:v>36.034979999999997</c:v>
                </c:pt>
                <c:pt idx="1988">
                  <c:v>36.196198000000003</c:v>
                </c:pt>
                <c:pt idx="1989">
                  <c:v>36.269787000000001</c:v>
                </c:pt>
                <c:pt idx="1990">
                  <c:v>37.117516000000002</c:v>
                </c:pt>
                <c:pt idx="1991">
                  <c:v>37.324573999999998</c:v>
                </c:pt>
                <c:pt idx="1992">
                  <c:v>36.662098</c:v>
                </c:pt>
                <c:pt idx="1993">
                  <c:v>37.936287</c:v>
                </c:pt>
                <c:pt idx="1994">
                  <c:v>37.619689999999999</c:v>
                </c:pt>
                <c:pt idx="1995">
                  <c:v>37.287936999999999</c:v>
                </c:pt>
                <c:pt idx="1996">
                  <c:v>37.049343</c:v>
                </c:pt>
                <c:pt idx="1997">
                  <c:v>36.710315999999999</c:v>
                </c:pt>
                <c:pt idx="1998">
                  <c:v>36.454160000000002</c:v>
                </c:pt>
                <c:pt idx="1999">
                  <c:v>36.311729999999997</c:v>
                </c:pt>
                <c:pt idx="2000">
                  <c:v>36.264189999999999</c:v>
                </c:pt>
                <c:pt idx="2001">
                  <c:v>36.248783000000003</c:v>
                </c:pt>
                <c:pt idx="2002">
                  <c:v>36.180929999999996</c:v>
                </c:pt>
                <c:pt idx="2003">
                  <c:v>36.142837999999998</c:v>
                </c:pt>
                <c:pt idx="2004">
                  <c:v>36.093696999999999</c:v>
                </c:pt>
                <c:pt idx="2005">
                  <c:v>36.119354000000001</c:v>
                </c:pt>
                <c:pt idx="2006">
                  <c:v>36.120519999999999</c:v>
                </c:pt>
                <c:pt idx="2007">
                  <c:v>36.306244</c:v>
                </c:pt>
                <c:pt idx="2008">
                  <c:v>36.402175999999997</c:v>
                </c:pt>
                <c:pt idx="2009">
                  <c:v>36.287730000000003</c:v>
                </c:pt>
                <c:pt idx="2010">
                  <c:v>36.177002000000002</c:v>
                </c:pt>
                <c:pt idx="2011">
                  <c:v>36.070675000000001</c:v>
                </c:pt>
                <c:pt idx="2012">
                  <c:v>36.058002000000002</c:v>
                </c:pt>
                <c:pt idx="2013">
                  <c:v>36.024760000000001</c:v>
                </c:pt>
                <c:pt idx="2014">
                  <c:v>35.981934000000003</c:v>
                </c:pt>
                <c:pt idx="2015">
                  <c:v>35.943893000000003</c:v>
                </c:pt>
                <c:pt idx="2016">
                  <c:v>35.911563999999998</c:v>
                </c:pt>
                <c:pt idx="2017">
                  <c:v>35.912295999999998</c:v>
                </c:pt>
                <c:pt idx="2018">
                  <c:v>35.928870000000003</c:v>
                </c:pt>
                <c:pt idx="2019">
                  <c:v>35.903773999999999</c:v>
                </c:pt>
                <c:pt idx="2020">
                  <c:v>35.936892999999998</c:v>
                </c:pt>
                <c:pt idx="2021">
                  <c:v>36.027782000000002</c:v>
                </c:pt>
                <c:pt idx="2022">
                  <c:v>35.997259999999997</c:v>
                </c:pt>
                <c:pt idx="2023">
                  <c:v>36.006152999999998</c:v>
                </c:pt>
                <c:pt idx="2024">
                  <c:v>36.102122999999999</c:v>
                </c:pt>
                <c:pt idx="2025">
                  <c:v>36.061146000000001</c:v>
                </c:pt>
                <c:pt idx="2026">
                  <c:v>36.013095999999997</c:v>
                </c:pt>
                <c:pt idx="2027">
                  <c:v>35.987360000000002</c:v>
                </c:pt>
                <c:pt idx="2028">
                  <c:v>36.092841999999997</c:v>
                </c:pt>
                <c:pt idx="2029">
                  <c:v>36.088467000000001</c:v>
                </c:pt>
                <c:pt idx="2030">
                  <c:v>36.158459999999998</c:v>
                </c:pt>
                <c:pt idx="2031">
                  <c:v>36.199640000000002</c:v>
                </c:pt>
                <c:pt idx="2032">
                  <c:v>36.231566999999998</c:v>
                </c:pt>
                <c:pt idx="2033">
                  <c:v>36.214084999999997</c:v>
                </c:pt>
                <c:pt idx="2034">
                  <c:v>36.224384000000001</c:v>
                </c:pt>
                <c:pt idx="2035">
                  <c:v>36.193553999999999</c:v>
                </c:pt>
                <c:pt idx="2036">
                  <c:v>36.206963000000002</c:v>
                </c:pt>
                <c:pt idx="2037">
                  <c:v>36.174908000000002</c:v>
                </c:pt>
                <c:pt idx="2038">
                  <c:v>36.190434000000003</c:v>
                </c:pt>
                <c:pt idx="2039">
                  <c:v>36.273524999999999</c:v>
                </c:pt>
                <c:pt idx="2040">
                  <c:v>36.202697999999998</c:v>
                </c:pt>
                <c:pt idx="2041">
                  <c:v>36.137965999999999</c:v>
                </c:pt>
                <c:pt idx="2042">
                  <c:v>36.138626000000002</c:v>
                </c:pt>
                <c:pt idx="2043">
                  <c:v>36.206699999999998</c:v>
                </c:pt>
                <c:pt idx="2044">
                  <c:v>36.239359999999998</c:v>
                </c:pt>
                <c:pt idx="2045">
                  <c:v>36.197764999999997</c:v>
                </c:pt>
                <c:pt idx="2046">
                  <c:v>36.203994999999999</c:v>
                </c:pt>
                <c:pt idx="2047">
                  <c:v>36.263798000000001</c:v>
                </c:pt>
                <c:pt idx="2048">
                  <c:v>36.298180000000002</c:v>
                </c:pt>
                <c:pt idx="2049">
                  <c:v>36.296078000000001</c:v>
                </c:pt>
                <c:pt idx="2050">
                  <c:v>36.308822999999997</c:v>
                </c:pt>
                <c:pt idx="2051">
                  <c:v>36.289279999999998</c:v>
                </c:pt>
                <c:pt idx="2052">
                  <c:v>36.323253999999999</c:v>
                </c:pt>
                <c:pt idx="2053">
                  <c:v>36.338183999999998</c:v>
                </c:pt>
                <c:pt idx="2054">
                  <c:v>36.351123999999999</c:v>
                </c:pt>
                <c:pt idx="2055">
                  <c:v>36.332863000000003</c:v>
                </c:pt>
                <c:pt idx="2056">
                  <c:v>36.382717</c:v>
                </c:pt>
                <c:pt idx="2057">
                  <c:v>36.432740000000003</c:v>
                </c:pt>
                <c:pt idx="2058">
                  <c:v>36.430275000000002</c:v>
                </c:pt>
                <c:pt idx="2059">
                  <c:v>36.388719999999999</c:v>
                </c:pt>
                <c:pt idx="2060">
                  <c:v>36.402785999999999</c:v>
                </c:pt>
                <c:pt idx="2061">
                  <c:v>36.374622000000002</c:v>
                </c:pt>
                <c:pt idx="2062">
                  <c:v>36.374302</c:v>
                </c:pt>
                <c:pt idx="2063">
                  <c:v>36.364387999999998</c:v>
                </c:pt>
                <c:pt idx="2064">
                  <c:v>36.35266</c:v>
                </c:pt>
                <c:pt idx="2065">
                  <c:v>36.340584</c:v>
                </c:pt>
                <c:pt idx="2066">
                  <c:v>36.417656000000001</c:v>
                </c:pt>
                <c:pt idx="2067">
                  <c:v>36.458275</c:v>
                </c:pt>
                <c:pt idx="2068">
                  <c:v>36.449818</c:v>
                </c:pt>
                <c:pt idx="2069">
                  <c:v>36.458556999999999</c:v>
                </c:pt>
                <c:pt idx="2070">
                  <c:v>36.484029999999997</c:v>
                </c:pt>
                <c:pt idx="2071">
                  <c:v>36.472760000000001</c:v>
                </c:pt>
                <c:pt idx="2072">
                  <c:v>36.493217000000001</c:v>
                </c:pt>
                <c:pt idx="2073">
                  <c:v>36.482334000000002</c:v>
                </c:pt>
                <c:pt idx="2074">
                  <c:v>36.441580000000002</c:v>
                </c:pt>
                <c:pt idx="2075">
                  <c:v>36.372642999999997</c:v>
                </c:pt>
                <c:pt idx="2076">
                  <c:v>36.387135000000001</c:v>
                </c:pt>
                <c:pt idx="2077">
                  <c:v>36.421447999999998</c:v>
                </c:pt>
                <c:pt idx="2078">
                  <c:v>36.470641999999998</c:v>
                </c:pt>
                <c:pt idx="2079">
                  <c:v>36.503677000000003</c:v>
                </c:pt>
                <c:pt idx="2080">
                  <c:v>36.518467000000001</c:v>
                </c:pt>
                <c:pt idx="2081">
                  <c:v>36.501266000000001</c:v>
                </c:pt>
                <c:pt idx="2082">
                  <c:v>36.473624999999998</c:v>
                </c:pt>
                <c:pt idx="2083">
                  <c:v>36.473730000000003</c:v>
                </c:pt>
                <c:pt idx="2084">
                  <c:v>36.433459999999997</c:v>
                </c:pt>
                <c:pt idx="2085">
                  <c:v>36.474449999999997</c:v>
                </c:pt>
                <c:pt idx="2086">
                  <c:v>36.531329999999997</c:v>
                </c:pt>
                <c:pt idx="2087">
                  <c:v>36.515663000000004</c:v>
                </c:pt>
                <c:pt idx="2088">
                  <c:v>36.455829999999999</c:v>
                </c:pt>
                <c:pt idx="2089">
                  <c:v>36.439030000000002</c:v>
                </c:pt>
                <c:pt idx="2090">
                  <c:v>36.394801999999999</c:v>
                </c:pt>
                <c:pt idx="2091">
                  <c:v>36.385803000000003</c:v>
                </c:pt>
                <c:pt idx="2092">
                  <c:v>36.369799999999998</c:v>
                </c:pt>
                <c:pt idx="2093">
                  <c:v>36.387867</c:v>
                </c:pt>
                <c:pt idx="2094">
                  <c:v>36.352924000000002</c:v>
                </c:pt>
                <c:pt idx="2095">
                  <c:v>36.357512999999997</c:v>
                </c:pt>
                <c:pt idx="2096">
                  <c:v>36.341037999999998</c:v>
                </c:pt>
                <c:pt idx="2097">
                  <c:v>36.349761999999998</c:v>
                </c:pt>
                <c:pt idx="2098">
                  <c:v>36.354008</c:v>
                </c:pt>
                <c:pt idx="2099">
                  <c:v>36.362569999999998</c:v>
                </c:pt>
                <c:pt idx="2100">
                  <c:v>36.388644999999997</c:v>
                </c:pt>
                <c:pt idx="2101">
                  <c:v>36.433266000000003</c:v>
                </c:pt>
                <c:pt idx="2102">
                  <c:v>36.476692</c:v>
                </c:pt>
                <c:pt idx="2103">
                  <c:v>36.469430000000003</c:v>
                </c:pt>
                <c:pt idx="2104">
                  <c:v>36.549529999999997</c:v>
                </c:pt>
                <c:pt idx="2105">
                  <c:v>36.625366</c:v>
                </c:pt>
                <c:pt idx="2106">
                  <c:v>36.615676999999998</c:v>
                </c:pt>
                <c:pt idx="2107">
                  <c:v>36.591652000000003</c:v>
                </c:pt>
                <c:pt idx="2108">
                  <c:v>36.551814999999998</c:v>
                </c:pt>
                <c:pt idx="2109">
                  <c:v>36.522174999999997</c:v>
                </c:pt>
              </c:numCache>
            </c:numRef>
          </c:val>
          <c:smooth val="0"/>
          <c:extLst>
            <c:ext xmlns:c16="http://schemas.microsoft.com/office/drawing/2014/chart" uri="{C3380CC4-5D6E-409C-BE32-E72D297353CC}">
              <c16:uniqueId val="{00000001-3CB1-E342-856E-31F74B9D2FD3}"/>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55"/>
          <c:min val="15"/>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46527671480127E-2"/>
          <c:y val="3.2487373505722873E-2"/>
          <c:w val="0.83754993032049907"/>
          <c:h val="0.92750166401321388"/>
        </c:manualLayout>
      </c:layout>
      <c:lineChart>
        <c:grouping val="standard"/>
        <c:varyColors val="0"/>
        <c:ser>
          <c:idx val="0"/>
          <c:order val="0"/>
          <c:tx>
            <c:strRef>
              <c:f>Sheet1!$B$1</c:f>
              <c:strCache>
                <c:ptCount val="1"/>
                <c:pt idx="0">
                  <c:v>AAL</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0.23488179000000001</c:v>
                </c:pt>
                <c:pt idx="1">
                  <c:v>-0.27248678199999998</c:v>
                </c:pt>
                <c:pt idx="2">
                  <c:v>-0.315803836</c:v>
                </c:pt>
                <c:pt idx="3">
                  <c:v>-0.31558903799999999</c:v>
                </c:pt>
                <c:pt idx="4">
                  <c:v>-0.27432529900000002</c:v>
                </c:pt>
                <c:pt idx="5">
                  <c:v>-0.24724805399999999</c:v>
                </c:pt>
                <c:pt idx="6">
                  <c:v>-0.14239059600000001</c:v>
                </c:pt>
                <c:pt idx="7">
                  <c:v>-8.9209826000000006E-2</c:v>
                </c:pt>
                <c:pt idx="8">
                  <c:v>-0.109334535</c:v>
                </c:pt>
                <c:pt idx="9">
                  <c:v>-0.185981593</c:v>
                </c:pt>
                <c:pt idx="10">
                  <c:v>-0.18238194899999999</c:v>
                </c:pt>
                <c:pt idx="11">
                  <c:v>-0.21148788700000001</c:v>
                </c:pt>
                <c:pt idx="12">
                  <c:v>-0.24902006600000001</c:v>
                </c:pt>
                <c:pt idx="13">
                  <c:v>-0.25584930299999997</c:v>
                </c:pt>
                <c:pt idx="14">
                  <c:v>-0.30035395500000001</c:v>
                </c:pt>
                <c:pt idx="15">
                  <c:v>-2.1363293670000001</c:v>
                </c:pt>
                <c:pt idx="16">
                  <c:v>24.19848142</c:v>
                </c:pt>
                <c:pt idx="17">
                  <c:v>7.576352247</c:v>
                </c:pt>
                <c:pt idx="18">
                  <c:v>5.1322665780000003</c:v>
                </c:pt>
                <c:pt idx="19">
                  <c:v>18.739585479999999</c:v>
                </c:pt>
                <c:pt idx="20">
                  <c:v>13.298401950000001</c:v>
                </c:pt>
                <c:pt idx="21">
                  <c:v>7.5653893539999997</c:v>
                </c:pt>
                <c:pt idx="22">
                  <c:v>6.8315721939999996</c:v>
                </c:pt>
                <c:pt idx="23">
                  <c:v>4.7089214549999996</c:v>
                </c:pt>
                <c:pt idx="24">
                  <c:v>5.2785788189999998</c:v>
                </c:pt>
                <c:pt idx="25">
                  <c:v>3.6963194430000001</c:v>
                </c:pt>
                <c:pt idx="26">
                  <c:v>4.3806521690000002</c:v>
                </c:pt>
                <c:pt idx="27">
                  <c:v>6.3475084480000001</c:v>
                </c:pt>
                <c:pt idx="28">
                  <c:v>6.1657662990000004</c:v>
                </c:pt>
                <c:pt idx="29">
                  <c:v>6.6481727480000004</c:v>
                </c:pt>
                <c:pt idx="30">
                  <c:v>5.8312622210000002</c:v>
                </c:pt>
                <c:pt idx="31">
                  <c:v>6.4403908059999999</c:v>
                </c:pt>
                <c:pt idx="32">
                  <c:v>-23.095230050000001</c:v>
                </c:pt>
                <c:pt idx="33">
                  <c:v>-20.248230400000001</c:v>
                </c:pt>
                <c:pt idx="34">
                  <c:v>-32.115203030000004</c:v>
                </c:pt>
                <c:pt idx="35">
                  <c:v>-87.511912730000006</c:v>
                </c:pt>
                <c:pt idx="36">
                  <c:v>-22.98838671</c:v>
                </c:pt>
                <c:pt idx="37">
                  <c:v>-665.08470390000002</c:v>
                </c:pt>
                <c:pt idx="38">
                  <c:v>74.490294430000006</c:v>
                </c:pt>
                <c:pt idx="39">
                  <c:v>-105.6245512</c:v>
                </c:pt>
                <c:pt idx="40">
                  <c:v>-1.968680376</c:v>
                </c:pt>
                <c:pt idx="41">
                  <c:v>-1.7685413350000001</c:v>
                </c:pt>
                <c:pt idx="42">
                  <c:v>-1.1317315859999999</c:v>
                </c:pt>
                <c:pt idx="43">
                  <c:v>-1.169026173</c:v>
                </c:pt>
                <c:pt idx="44">
                  <c:v>-1.909018892</c:v>
                </c:pt>
              </c:numCache>
            </c:numRef>
          </c:val>
          <c:smooth val="0"/>
          <c:extLst>
            <c:ext xmlns:c16="http://schemas.microsoft.com/office/drawing/2014/chart" uri="{C3380CC4-5D6E-409C-BE32-E72D297353CC}">
              <c16:uniqueId val="{00000000-A978-5642-ABCB-E644CC6332BA}"/>
            </c:ext>
          </c:extLst>
        </c:ser>
        <c:ser>
          <c:idx val="1"/>
          <c:order val="1"/>
          <c:tx>
            <c:strRef>
              <c:f>Sheet1!$C$1</c:f>
              <c:strCache>
                <c:ptCount val="1"/>
                <c:pt idx="0">
                  <c:v>PB Median</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1.3288846919327799</c:v>
                </c:pt>
                <c:pt idx="1">
                  <c:v>0.97108432519280197</c:v>
                </c:pt>
                <c:pt idx="2">
                  <c:v>1.3876272998182599</c:v>
                </c:pt>
                <c:pt idx="3">
                  <c:v>1.5566843033509701</c:v>
                </c:pt>
                <c:pt idx="4">
                  <c:v>1.6925588151342399</c:v>
                </c:pt>
                <c:pt idx="5">
                  <c:v>1.2368231046931399</c:v>
                </c:pt>
                <c:pt idx="6">
                  <c:v>1.6017917661947301</c:v>
                </c:pt>
                <c:pt idx="7">
                  <c:v>0.95968590955358402</c:v>
                </c:pt>
                <c:pt idx="8">
                  <c:v>0.89517260814428601</c:v>
                </c:pt>
                <c:pt idx="9">
                  <c:v>1.0204005847953199</c:v>
                </c:pt>
                <c:pt idx="10">
                  <c:v>0.93509568694658596</c:v>
                </c:pt>
                <c:pt idx="11">
                  <c:v>1.07643020594965</c:v>
                </c:pt>
                <c:pt idx="12">
                  <c:v>1.3779270219796</c:v>
                </c:pt>
                <c:pt idx="13">
                  <c:v>1.38040701961362</c:v>
                </c:pt>
                <c:pt idx="14">
                  <c:v>2.4248742843729101</c:v>
                </c:pt>
                <c:pt idx="15">
                  <c:v>1.99601641793352</c:v>
                </c:pt>
                <c:pt idx="16">
                  <c:v>3.0583855048525002</c:v>
                </c:pt>
                <c:pt idx="17">
                  <c:v>2.9654305111581798</c:v>
                </c:pt>
                <c:pt idx="18">
                  <c:v>3.1047126127338802</c:v>
                </c:pt>
                <c:pt idx="19">
                  <c:v>4.6047599200045299</c:v>
                </c:pt>
                <c:pt idx="20">
                  <c:v>4.3260213454071197</c:v>
                </c:pt>
                <c:pt idx="21">
                  <c:v>3.7524450112663299</c:v>
                </c:pt>
                <c:pt idx="22">
                  <c:v>3.4178404264862201</c:v>
                </c:pt>
                <c:pt idx="23">
                  <c:v>3.63472988221198</c:v>
                </c:pt>
                <c:pt idx="24">
                  <c:v>3.3485886953430501</c:v>
                </c:pt>
                <c:pt idx="25">
                  <c:v>2.4439377765395198</c:v>
                </c:pt>
                <c:pt idx="26">
                  <c:v>2.32824945963229</c:v>
                </c:pt>
                <c:pt idx="27">
                  <c:v>2.9305020971758702</c:v>
                </c:pt>
                <c:pt idx="28">
                  <c:v>2.60128293500295</c:v>
                </c:pt>
                <c:pt idx="29">
                  <c:v>2.9024943583351801</c:v>
                </c:pt>
                <c:pt idx="30">
                  <c:v>2.4659324845368098</c:v>
                </c:pt>
                <c:pt idx="31">
                  <c:v>2.4807252626985399</c:v>
                </c:pt>
                <c:pt idx="32">
                  <c:v>2.0681015556847901</c:v>
                </c:pt>
                <c:pt idx="33">
                  <c:v>2.07184926154522</c:v>
                </c:pt>
                <c:pt idx="34">
                  <c:v>2.2024949845549902</c:v>
                </c:pt>
                <c:pt idx="35">
                  <c:v>2.05030668331514</c:v>
                </c:pt>
                <c:pt idx="36">
                  <c:v>1.8865563587826999</c:v>
                </c:pt>
                <c:pt idx="37">
                  <c:v>1.97909908295544</c:v>
                </c:pt>
                <c:pt idx="38">
                  <c:v>1.9841548300557399</c:v>
                </c:pt>
                <c:pt idx="39">
                  <c:v>1.9191441334047299</c:v>
                </c:pt>
                <c:pt idx="40">
                  <c:v>0.82830258815565905</c:v>
                </c:pt>
                <c:pt idx="41">
                  <c:v>1.1579157506884199</c:v>
                </c:pt>
                <c:pt idx="42">
                  <c:v>1.31128828420584</c:v>
                </c:pt>
                <c:pt idx="43">
                  <c:v>2.1581914323962499</c:v>
                </c:pt>
                <c:pt idx="44">
                  <c:v>3.2457592033895399</c:v>
                </c:pt>
              </c:numCache>
            </c:numRef>
          </c:val>
          <c:smooth val="0"/>
          <c:extLst>
            <c:ext xmlns:c16="http://schemas.microsoft.com/office/drawing/2014/chart" uri="{C3380CC4-5D6E-409C-BE32-E72D297353CC}">
              <c16:uniqueId val="{00000001-A978-5642-ABCB-E644CC6332BA}"/>
            </c:ext>
          </c:extLst>
        </c:ser>
        <c:dLbls>
          <c:showLegendKey val="0"/>
          <c:showVal val="0"/>
          <c:showCatName val="0"/>
          <c:showSerName val="0"/>
          <c:showPercent val="0"/>
          <c:showBubbleSize val="0"/>
        </c:dLbls>
        <c:smooth val="0"/>
        <c:axId val="1026893663"/>
        <c:axId val="1114218463"/>
      </c:lineChart>
      <c:catAx>
        <c:axId val="1026893663"/>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4218463"/>
        <c:crosses val="autoZero"/>
        <c:auto val="1"/>
        <c:lblAlgn val="ctr"/>
        <c:lblOffset val="100"/>
        <c:noMultiLvlLbl val="1"/>
      </c:catAx>
      <c:valAx>
        <c:axId val="1114218463"/>
        <c:scaling>
          <c:orientation val="minMax"/>
          <c:max val="10"/>
          <c:min val="-5"/>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26893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2722098193382E-2"/>
          <c:y val="4.4978949683174771E-2"/>
          <c:w val="0.91072779018066174"/>
          <c:h val="0.80444506052374321"/>
        </c:manualLayout>
      </c:layout>
      <c:lineChart>
        <c:grouping val="standard"/>
        <c:varyColors val="0"/>
        <c:ser>
          <c:idx val="0"/>
          <c:order val="0"/>
          <c:tx>
            <c:strRef>
              <c:f>Sheet1!$B$1</c:f>
              <c:strCache>
                <c:ptCount val="1"/>
                <c:pt idx="0">
                  <c:v>Actual</c:v>
                </c:pt>
              </c:strCache>
            </c:strRef>
          </c:tx>
          <c:spPr>
            <a:ln w="12700"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25.87</c:v>
                </c:pt>
                <c:pt idx="1">
                  <c:v>26.37</c:v>
                </c:pt>
                <c:pt idx="2">
                  <c:v>26.75</c:v>
                </c:pt>
                <c:pt idx="3">
                  <c:v>26.08</c:v>
                </c:pt>
                <c:pt idx="4">
                  <c:v>25.910001999999999</c:v>
                </c:pt>
                <c:pt idx="5">
                  <c:v>26.36</c:v>
                </c:pt>
                <c:pt idx="6">
                  <c:v>26.289999000000002</c:v>
                </c:pt>
                <c:pt idx="7">
                  <c:v>25.98</c:v>
                </c:pt>
                <c:pt idx="8">
                  <c:v>26.960000999999998</c:v>
                </c:pt>
                <c:pt idx="9">
                  <c:v>26.710000999999998</c:v>
                </c:pt>
                <c:pt idx="10">
                  <c:v>27.380001</c:v>
                </c:pt>
                <c:pt idx="11">
                  <c:v>28.82</c:v>
                </c:pt>
                <c:pt idx="12">
                  <c:v>29.55</c:v>
                </c:pt>
                <c:pt idx="13">
                  <c:v>29.300001000000002</c:v>
                </c:pt>
                <c:pt idx="14">
                  <c:v>29.609998999999998</c:v>
                </c:pt>
                <c:pt idx="15">
                  <c:v>31.35</c:v>
                </c:pt>
                <c:pt idx="16">
                  <c:v>30.61</c:v>
                </c:pt>
                <c:pt idx="17">
                  <c:v>29.949998999999998</c:v>
                </c:pt>
                <c:pt idx="18">
                  <c:v>30.839998000000001</c:v>
                </c:pt>
                <c:pt idx="19">
                  <c:v>31.17</c:v>
                </c:pt>
                <c:pt idx="20">
                  <c:v>30.939999</c:v>
                </c:pt>
                <c:pt idx="21">
                  <c:v>31.2</c:v>
                </c:pt>
                <c:pt idx="22">
                  <c:v>31.8</c:v>
                </c:pt>
                <c:pt idx="23">
                  <c:v>32.5</c:v>
                </c:pt>
                <c:pt idx="24">
                  <c:v>32.299999999999997</c:v>
                </c:pt>
                <c:pt idx="25">
                  <c:v>31.869999</c:v>
                </c:pt>
                <c:pt idx="26">
                  <c:v>31.9</c:v>
                </c:pt>
                <c:pt idx="27">
                  <c:v>31.79</c:v>
                </c:pt>
                <c:pt idx="28">
                  <c:v>32.33</c:v>
                </c:pt>
                <c:pt idx="29">
                  <c:v>32.01</c:v>
                </c:pt>
                <c:pt idx="30">
                  <c:v>30.97</c:v>
                </c:pt>
                <c:pt idx="31">
                  <c:v>29.380001</c:v>
                </c:pt>
                <c:pt idx="32">
                  <c:v>28.66</c:v>
                </c:pt>
                <c:pt idx="33">
                  <c:v>29.300001000000002</c:v>
                </c:pt>
                <c:pt idx="34">
                  <c:v>29.269998999999999</c:v>
                </c:pt>
                <c:pt idx="35">
                  <c:v>30.05</c:v>
                </c:pt>
                <c:pt idx="36">
                  <c:v>29.29</c:v>
                </c:pt>
                <c:pt idx="37">
                  <c:v>29.83</c:v>
                </c:pt>
                <c:pt idx="38">
                  <c:v>30.27</c:v>
                </c:pt>
                <c:pt idx="39">
                  <c:v>30.28</c:v>
                </c:pt>
                <c:pt idx="40">
                  <c:v>29.09</c:v>
                </c:pt>
                <c:pt idx="41">
                  <c:v>30.86</c:v>
                </c:pt>
                <c:pt idx="42">
                  <c:v>30.91</c:v>
                </c:pt>
                <c:pt idx="43">
                  <c:v>30.23</c:v>
                </c:pt>
                <c:pt idx="44">
                  <c:v>30.599997999999999</c:v>
                </c:pt>
                <c:pt idx="45">
                  <c:v>30.15</c:v>
                </c:pt>
                <c:pt idx="46">
                  <c:v>31.1</c:v>
                </c:pt>
                <c:pt idx="47">
                  <c:v>31.390001000000002</c:v>
                </c:pt>
                <c:pt idx="48">
                  <c:v>30.89</c:v>
                </c:pt>
                <c:pt idx="49">
                  <c:v>31.14</c:v>
                </c:pt>
                <c:pt idx="50">
                  <c:v>32</c:v>
                </c:pt>
                <c:pt idx="51">
                  <c:v>32.299999999999997</c:v>
                </c:pt>
                <c:pt idx="52">
                  <c:v>32.01</c:v>
                </c:pt>
                <c:pt idx="53">
                  <c:v>32.6</c:v>
                </c:pt>
                <c:pt idx="54">
                  <c:v>33.010002</c:v>
                </c:pt>
                <c:pt idx="55">
                  <c:v>33.549999999999997</c:v>
                </c:pt>
                <c:pt idx="56">
                  <c:v>33.379997000000003</c:v>
                </c:pt>
                <c:pt idx="57">
                  <c:v>33.28</c:v>
                </c:pt>
                <c:pt idx="58">
                  <c:v>32.56</c:v>
                </c:pt>
                <c:pt idx="59">
                  <c:v>32.880000000000003</c:v>
                </c:pt>
                <c:pt idx="60">
                  <c:v>32.92</c:v>
                </c:pt>
                <c:pt idx="61">
                  <c:v>33.289997</c:v>
                </c:pt>
                <c:pt idx="62">
                  <c:v>34.420001999999997</c:v>
                </c:pt>
                <c:pt idx="63">
                  <c:v>34.5</c:v>
                </c:pt>
                <c:pt idx="64">
                  <c:v>34.75</c:v>
                </c:pt>
                <c:pt idx="65">
                  <c:v>34.29</c:v>
                </c:pt>
                <c:pt idx="66">
                  <c:v>33.350002000000003</c:v>
                </c:pt>
                <c:pt idx="67">
                  <c:v>33.239998</c:v>
                </c:pt>
                <c:pt idx="68">
                  <c:v>34.36</c:v>
                </c:pt>
                <c:pt idx="69">
                  <c:v>34.369999999999997</c:v>
                </c:pt>
                <c:pt idx="70">
                  <c:v>33.83</c:v>
                </c:pt>
                <c:pt idx="71">
                  <c:v>33</c:v>
                </c:pt>
                <c:pt idx="72">
                  <c:v>32.64</c:v>
                </c:pt>
                <c:pt idx="73">
                  <c:v>32.46</c:v>
                </c:pt>
                <c:pt idx="74">
                  <c:v>32.159999999999997</c:v>
                </c:pt>
                <c:pt idx="75">
                  <c:v>32.200000000000003</c:v>
                </c:pt>
                <c:pt idx="76">
                  <c:v>31.240002</c:v>
                </c:pt>
                <c:pt idx="77">
                  <c:v>30.67</c:v>
                </c:pt>
                <c:pt idx="78">
                  <c:v>32.94</c:v>
                </c:pt>
                <c:pt idx="79">
                  <c:v>33.28</c:v>
                </c:pt>
                <c:pt idx="80">
                  <c:v>32.450000000000003</c:v>
                </c:pt>
                <c:pt idx="81">
                  <c:v>32.04</c:v>
                </c:pt>
                <c:pt idx="82">
                  <c:v>32.659999999999997</c:v>
                </c:pt>
                <c:pt idx="83">
                  <c:v>32.670001999999997</c:v>
                </c:pt>
                <c:pt idx="84">
                  <c:v>32.090000000000003</c:v>
                </c:pt>
                <c:pt idx="85">
                  <c:v>32.420001999999997</c:v>
                </c:pt>
                <c:pt idx="86">
                  <c:v>31.82</c:v>
                </c:pt>
                <c:pt idx="87">
                  <c:v>31.16</c:v>
                </c:pt>
                <c:pt idx="88">
                  <c:v>30.06</c:v>
                </c:pt>
                <c:pt idx="89">
                  <c:v>29.480001000000001</c:v>
                </c:pt>
                <c:pt idx="90">
                  <c:v>30.749998000000001</c:v>
                </c:pt>
                <c:pt idx="91">
                  <c:v>30.73</c:v>
                </c:pt>
                <c:pt idx="92">
                  <c:v>31.36</c:v>
                </c:pt>
                <c:pt idx="93">
                  <c:v>31.29</c:v>
                </c:pt>
                <c:pt idx="94">
                  <c:v>32.54</c:v>
                </c:pt>
                <c:pt idx="95">
                  <c:v>31.49</c:v>
                </c:pt>
                <c:pt idx="96">
                  <c:v>31.23</c:v>
                </c:pt>
                <c:pt idx="97">
                  <c:v>31.8</c:v>
                </c:pt>
                <c:pt idx="98">
                  <c:v>31.5</c:v>
                </c:pt>
                <c:pt idx="99">
                  <c:v>32</c:v>
                </c:pt>
                <c:pt idx="100">
                  <c:v>30.749998000000001</c:v>
                </c:pt>
                <c:pt idx="101">
                  <c:v>30.839998000000001</c:v>
                </c:pt>
                <c:pt idx="102">
                  <c:v>31.44</c:v>
                </c:pt>
                <c:pt idx="103">
                  <c:v>32.01</c:v>
                </c:pt>
                <c:pt idx="104">
                  <c:v>31.16</c:v>
                </c:pt>
                <c:pt idx="105">
                  <c:v>33.69</c:v>
                </c:pt>
                <c:pt idx="106">
                  <c:v>34.489998</c:v>
                </c:pt>
                <c:pt idx="107">
                  <c:v>34.51</c:v>
                </c:pt>
                <c:pt idx="108">
                  <c:v>35</c:v>
                </c:pt>
                <c:pt idx="109">
                  <c:v>34.559998</c:v>
                </c:pt>
                <c:pt idx="110">
                  <c:v>34.97</c:v>
                </c:pt>
                <c:pt idx="111">
                  <c:v>34.299999999999997</c:v>
                </c:pt>
                <c:pt idx="112">
                  <c:v>36.25</c:v>
                </c:pt>
                <c:pt idx="113">
                  <c:v>34.85</c:v>
                </c:pt>
                <c:pt idx="114">
                  <c:v>34.97</c:v>
                </c:pt>
                <c:pt idx="115">
                  <c:v>34.85</c:v>
                </c:pt>
                <c:pt idx="116">
                  <c:v>35.31</c:v>
                </c:pt>
                <c:pt idx="117">
                  <c:v>35.65</c:v>
                </c:pt>
                <c:pt idx="118">
                  <c:v>34.89</c:v>
                </c:pt>
                <c:pt idx="119">
                  <c:v>33.57</c:v>
                </c:pt>
                <c:pt idx="120">
                  <c:v>34.059998</c:v>
                </c:pt>
                <c:pt idx="121">
                  <c:v>34.81</c:v>
                </c:pt>
                <c:pt idx="122">
                  <c:v>33.71</c:v>
                </c:pt>
                <c:pt idx="123">
                  <c:v>33.21</c:v>
                </c:pt>
                <c:pt idx="124">
                  <c:v>30.73</c:v>
                </c:pt>
                <c:pt idx="125">
                  <c:v>30.039999000000002</c:v>
                </c:pt>
                <c:pt idx="126">
                  <c:v>30.099997999999999</c:v>
                </c:pt>
                <c:pt idx="127">
                  <c:v>30.86</c:v>
                </c:pt>
                <c:pt idx="128">
                  <c:v>30.03</c:v>
                </c:pt>
                <c:pt idx="129">
                  <c:v>30.06</c:v>
                </c:pt>
                <c:pt idx="130">
                  <c:v>29.730001000000001</c:v>
                </c:pt>
                <c:pt idx="131">
                  <c:v>30.109998999999998</c:v>
                </c:pt>
                <c:pt idx="132">
                  <c:v>29.72</c:v>
                </c:pt>
                <c:pt idx="133">
                  <c:v>29.859998999999998</c:v>
                </c:pt>
                <c:pt idx="134">
                  <c:v>27.71</c:v>
                </c:pt>
                <c:pt idx="135">
                  <c:v>27.93</c:v>
                </c:pt>
                <c:pt idx="136">
                  <c:v>28.500001999999999</c:v>
                </c:pt>
                <c:pt idx="137">
                  <c:v>28.460000999999998</c:v>
                </c:pt>
                <c:pt idx="138">
                  <c:v>28.650002000000001</c:v>
                </c:pt>
                <c:pt idx="139">
                  <c:v>29.330002</c:v>
                </c:pt>
                <c:pt idx="140">
                  <c:v>29.7</c:v>
                </c:pt>
                <c:pt idx="141">
                  <c:v>29.72</c:v>
                </c:pt>
                <c:pt idx="142">
                  <c:v>31.029999</c:v>
                </c:pt>
                <c:pt idx="143">
                  <c:v>33.299999999999997</c:v>
                </c:pt>
                <c:pt idx="144">
                  <c:v>32.659999999999997</c:v>
                </c:pt>
                <c:pt idx="145">
                  <c:v>31.69</c:v>
                </c:pt>
                <c:pt idx="146">
                  <c:v>32.200000000000003</c:v>
                </c:pt>
                <c:pt idx="147">
                  <c:v>32.659999999999997</c:v>
                </c:pt>
                <c:pt idx="148">
                  <c:v>32.950000000000003</c:v>
                </c:pt>
                <c:pt idx="149">
                  <c:v>33.28</c:v>
                </c:pt>
                <c:pt idx="150">
                  <c:v>33.79</c:v>
                </c:pt>
                <c:pt idx="151">
                  <c:v>33.5</c:v>
                </c:pt>
                <c:pt idx="152">
                  <c:v>33.18</c:v>
                </c:pt>
                <c:pt idx="153">
                  <c:v>33.89</c:v>
                </c:pt>
                <c:pt idx="154">
                  <c:v>34.130000000000003</c:v>
                </c:pt>
                <c:pt idx="155">
                  <c:v>34.07</c:v>
                </c:pt>
                <c:pt idx="156">
                  <c:v>30.91</c:v>
                </c:pt>
                <c:pt idx="157">
                  <c:v>30.710000999999998</c:v>
                </c:pt>
                <c:pt idx="158">
                  <c:v>31.38</c:v>
                </c:pt>
                <c:pt idx="159">
                  <c:v>30.93</c:v>
                </c:pt>
                <c:pt idx="160">
                  <c:v>31.65</c:v>
                </c:pt>
                <c:pt idx="161">
                  <c:v>31.74</c:v>
                </c:pt>
                <c:pt idx="162">
                  <c:v>30.97</c:v>
                </c:pt>
                <c:pt idx="163">
                  <c:v>30.24</c:v>
                </c:pt>
                <c:pt idx="164">
                  <c:v>30.08</c:v>
                </c:pt>
                <c:pt idx="165">
                  <c:v>30.12</c:v>
                </c:pt>
                <c:pt idx="166">
                  <c:v>30.12</c:v>
                </c:pt>
                <c:pt idx="167">
                  <c:v>29.919998</c:v>
                </c:pt>
                <c:pt idx="168">
                  <c:v>29.65</c:v>
                </c:pt>
                <c:pt idx="169">
                  <c:v>29.949998999999998</c:v>
                </c:pt>
                <c:pt idx="170">
                  <c:v>31.15</c:v>
                </c:pt>
                <c:pt idx="171">
                  <c:v>30.92</c:v>
                </c:pt>
                <c:pt idx="172">
                  <c:v>30.57</c:v>
                </c:pt>
                <c:pt idx="173">
                  <c:v>31.179998000000001</c:v>
                </c:pt>
                <c:pt idx="174">
                  <c:v>30.95</c:v>
                </c:pt>
                <c:pt idx="175">
                  <c:v>31.300001000000002</c:v>
                </c:pt>
                <c:pt idx="176">
                  <c:v>31.17</c:v>
                </c:pt>
                <c:pt idx="177">
                  <c:v>32.120002999999997</c:v>
                </c:pt>
                <c:pt idx="178">
                  <c:v>33.909999999999997</c:v>
                </c:pt>
                <c:pt idx="179">
                  <c:v>33.909999999999997</c:v>
                </c:pt>
                <c:pt idx="180">
                  <c:v>33.950000000000003</c:v>
                </c:pt>
                <c:pt idx="181">
                  <c:v>35.54</c:v>
                </c:pt>
                <c:pt idx="182">
                  <c:v>35.85</c:v>
                </c:pt>
                <c:pt idx="183">
                  <c:v>35.520000000000003</c:v>
                </c:pt>
                <c:pt idx="184">
                  <c:v>34.489998</c:v>
                </c:pt>
                <c:pt idx="185">
                  <c:v>33.99</c:v>
                </c:pt>
                <c:pt idx="186">
                  <c:v>35.36</c:v>
                </c:pt>
                <c:pt idx="187">
                  <c:v>35.31</c:v>
                </c:pt>
                <c:pt idx="188">
                  <c:v>36.79</c:v>
                </c:pt>
                <c:pt idx="189">
                  <c:v>36.020000000000003</c:v>
                </c:pt>
                <c:pt idx="190">
                  <c:v>36.5</c:v>
                </c:pt>
                <c:pt idx="191">
                  <c:v>36.729999999999997</c:v>
                </c:pt>
                <c:pt idx="192">
                  <c:v>36.380000000000003</c:v>
                </c:pt>
                <c:pt idx="193">
                  <c:v>37.799999999999997</c:v>
                </c:pt>
                <c:pt idx="194">
                  <c:v>37.270000000000003</c:v>
                </c:pt>
                <c:pt idx="195">
                  <c:v>37.11</c:v>
                </c:pt>
                <c:pt idx="196">
                  <c:v>38.539997</c:v>
                </c:pt>
                <c:pt idx="197">
                  <c:v>39.83</c:v>
                </c:pt>
                <c:pt idx="198">
                  <c:v>39.049999999999997</c:v>
                </c:pt>
                <c:pt idx="199">
                  <c:v>39.429996000000003</c:v>
                </c:pt>
                <c:pt idx="200">
                  <c:v>39.25</c:v>
                </c:pt>
                <c:pt idx="201">
                  <c:v>38.56</c:v>
                </c:pt>
                <c:pt idx="202">
                  <c:v>37.17</c:v>
                </c:pt>
                <c:pt idx="203">
                  <c:v>37.57</c:v>
                </c:pt>
                <c:pt idx="204">
                  <c:v>36.79</c:v>
                </c:pt>
                <c:pt idx="205">
                  <c:v>36.739998</c:v>
                </c:pt>
                <c:pt idx="206">
                  <c:v>37.549999999999997</c:v>
                </c:pt>
                <c:pt idx="207">
                  <c:v>37.64</c:v>
                </c:pt>
                <c:pt idx="208">
                  <c:v>36.58</c:v>
                </c:pt>
                <c:pt idx="209">
                  <c:v>37.619999999999997</c:v>
                </c:pt>
                <c:pt idx="210">
                  <c:v>38.53</c:v>
                </c:pt>
                <c:pt idx="211">
                  <c:v>38.47</c:v>
                </c:pt>
                <c:pt idx="212">
                  <c:v>37.31</c:v>
                </c:pt>
                <c:pt idx="213">
                  <c:v>37.289997</c:v>
                </c:pt>
                <c:pt idx="214">
                  <c:v>37.270000000000003</c:v>
                </c:pt>
                <c:pt idx="215">
                  <c:v>37.39</c:v>
                </c:pt>
                <c:pt idx="216">
                  <c:v>36.979999999999997</c:v>
                </c:pt>
                <c:pt idx="217">
                  <c:v>37.600002000000003</c:v>
                </c:pt>
                <c:pt idx="218">
                  <c:v>38.07</c:v>
                </c:pt>
                <c:pt idx="219">
                  <c:v>36.78</c:v>
                </c:pt>
                <c:pt idx="220">
                  <c:v>37.299999999999997</c:v>
                </c:pt>
                <c:pt idx="221">
                  <c:v>37.829998000000003</c:v>
                </c:pt>
                <c:pt idx="222">
                  <c:v>37.729999999999997</c:v>
                </c:pt>
                <c:pt idx="223">
                  <c:v>39.950000000000003</c:v>
                </c:pt>
                <c:pt idx="224">
                  <c:v>39.36</c:v>
                </c:pt>
                <c:pt idx="225">
                  <c:v>38.69</c:v>
                </c:pt>
                <c:pt idx="226">
                  <c:v>41.02</c:v>
                </c:pt>
                <c:pt idx="227">
                  <c:v>43.8</c:v>
                </c:pt>
                <c:pt idx="228">
                  <c:v>45.079998000000003</c:v>
                </c:pt>
                <c:pt idx="229">
                  <c:v>44.6</c:v>
                </c:pt>
                <c:pt idx="230">
                  <c:v>46.749996000000003</c:v>
                </c:pt>
                <c:pt idx="231">
                  <c:v>46.5</c:v>
                </c:pt>
                <c:pt idx="232">
                  <c:v>47.21</c:v>
                </c:pt>
                <c:pt idx="233">
                  <c:v>47.07</c:v>
                </c:pt>
                <c:pt idx="234">
                  <c:v>47.909996</c:v>
                </c:pt>
                <c:pt idx="235">
                  <c:v>49.179996000000003</c:v>
                </c:pt>
                <c:pt idx="236">
                  <c:v>48.43</c:v>
                </c:pt>
                <c:pt idx="237">
                  <c:v>46.129997000000003</c:v>
                </c:pt>
                <c:pt idx="238">
                  <c:v>45.269996999999996</c:v>
                </c:pt>
                <c:pt idx="239">
                  <c:v>46.03</c:v>
                </c:pt>
                <c:pt idx="240">
                  <c:v>45.43</c:v>
                </c:pt>
                <c:pt idx="241">
                  <c:v>46.43</c:v>
                </c:pt>
                <c:pt idx="242">
                  <c:v>45.84</c:v>
                </c:pt>
                <c:pt idx="243">
                  <c:v>43.819996000000003</c:v>
                </c:pt>
                <c:pt idx="244">
                  <c:v>43.97</c:v>
                </c:pt>
                <c:pt idx="245">
                  <c:v>43.609997</c:v>
                </c:pt>
                <c:pt idx="246">
                  <c:v>45.03</c:v>
                </c:pt>
                <c:pt idx="247">
                  <c:v>45.54</c:v>
                </c:pt>
                <c:pt idx="248">
                  <c:v>45.11</c:v>
                </c:pt>
                <c:pt idx="249">
                  <c:v>44.01</c:v>
                </c:pt>
                <c:pt idx="250">
                  <c:v>44.489998</c:v>
                </c:pt>
                <c:pt idx="251">
                  <c:v>45.100002000000003</c:v>
                </c:pt>
                <c:pt idx="252">
                  <c:v>44.499996000000003</c:v>
                </c:pt>
                <c:pt idx="253">
                  <c:v>43.66</c:v>
                </c:pt>
                <c:pt idx="254">
                  <c:v>43.28</c:v>
                </c:pt>
                <c:pt idx="255">
                  <c:v>45.690002</c:v>
                </c:pt>
                <c:pt idx="256">
                  <c:v>45.600002000000003</c:v>
                </c:pt>
                <c:pt idx="257">
                  <c:v>46.1</c:v>
                </c:pt>
                <c:pt idx="258">
                  <c:v>47.260002</c:v>
                </c:pt>
                <c:pt idx="259">
                  <c:v>46.809998</c:v>
                </c:pt>
                <c:pt idx="260">
                  <c:v>46.51</c:v>
                </c:pt>
                <c:pt idx="261">
                  <c:v>44.96</c:v>
                </c:pt>
                <c:pt idx="262">
                  <c:v>44.01</c:v>
                </c:pt>
                <c:pt idx="263">
                  <c:v>45.239998</c:v>
                </c:pt>
                <c:pt idx="264">
                  <c:v>47.1</c:v>
                </c:pt>
                <c:pt idx="265">
                  <c:v>47.98</c:v>
                </c:pt>
                <c:pt idx="266">
                  <c:v>47.75</c:v>
                </c:pt>
                <c:pt idx="267">
                  <c:v>46.659996</c:v>
                </c:pt>
                <c:pt idx="268">
                  <c:v>46.2</c:v>
                </c:pt>
                <c:pt idx="269">
                  <c:v>45.94</c:v>
                </c:pt>
                <c:pt idx="270">
                  <c:v>44.93</c:v>
                </c:pt>
                <c:pt idx="271">
                  <c:v>44.399997999999997</c:v>
                </c:pt>
                <c:pt idx="272">
                  <c:v>45.64</c:v>
                </c:pt>
                <c:pt idx="273">
                  <c:v>45.22</c:v>
                </c:pt>
                <c:pt idx="274">
                  <c:v>44.67</c:v>
                </c:pt>
                <c:pt idx="275">
                  <c:v>45.23</c:v>
                </c:pt>
                <c:pt idx="276">
                  <c:v>44.33</c:v>
                </c:pt>
                <c:pt idx="277">
                  <c:v>44.45</c:v>
                </c:pt>
                <c:pt idx="278">
                  <c:v>45.2</c:v>
                </c:pt>
                <c:pt idx="279">
                  <c:v>44.13</c:v>
                </c:pt>
                <c:pt idx="280">
                  <c:v>43.89</c:v>
                </c:pt>
                <c:pt idx="281">
                  <c:v>42.96</c:v>
                </c:pt>
                <c:pt idx="282">
                  <c:v>44.63</c:v>
                </c:pt>
                <c:pt idx="283">
                  <c:v>46.899997999999997</c:v>
                </c:pt>
                <c:pt idx="284">
                  <c:v>47.23</c:v>
                </c:pt>
                <c:pt idx="285">
                  <c:v>46.449997000000003</c:v>
                </c:pt>
                <c:pt idx="286">
                  <c:v>44.879997000000003</c:v>
                </c:pt>
                <c:pt idx="287">
                  <c:v>44.35</c:v>
                </c:pt>
                <c:pt idx="288">
                  <c:v>43.309998</c:v>
                </c:pt>
                <c:pt idx="289">
                  <c:v>44.52</c:v>
                </c:pt>
                <c:pt idx="290">
                  <c:v>42.280003000000001</c:v>
                </c:pt>
                <c:pt idx="291">
                  <c:v>41.49</c:v>
                </c:pt>
                <c:pt idx="292">
                  <c:v>41.12</c:v>
                </c:pt>
                <c:pt idx="293">
                  <c:v>41.98</c:v>
                </c:pt>
                <c:pt idx="294">
                  <c:v>43.940002</c:v>
                </c:pt>
                <c:pt idx="295">
                  <c:v>43.55</c:v>
                </c:pt>
                <c:pt idx="296">
                  <c:v>43.78</c:v>
                </c:pt>
                <c:pt idx="297">
                  <c:v>45.81</c:v>
                </c:pt>
                <c:pt idx="298">
                  <c:v>46.059998</c:v>
                </c:pt>
                <c:pt idx="299">
                  <c:v>41.53</c:v>
                </c:pt>
                <c:pt idx="300">
                  <c:v>39.409999999999997</c:v>
                </c:pt>
                <c:pt idx="301">
                  <c:v>39.199997000000003</c:v>
                </c:pt>
                <c:pt idx="302">
                  <c:v>41.559998</c:v>
                </c:pt>
                <c:pt idx="303">
                  <c:v>40.869999999999997</c:v>
                </c:pt>
                <c:pt idx="304">
                  <c:v>40.920001999999997</c:v>
                </c:pt>
                <c:pt idx="305">
                  <c:v>40.72</c:v>
                </c:pt>
                <c:pt idx="306">
                  <c:v>40.520000000000003</c:v>
                </c:pt>
                <c:pt idx="307">
                  <c:v>40.089995999999999</c:v>
                </c:pt>
                <c:pt idx="308">
                  <c:v>39.899997999999997</c:v>
                </c:pt>
                <c:pt idx="309">
                  <c:v>40.369999999999997</c:v>
                </c:pt>
                <c:pt idx="310">
                  <c:v>40.159999999999997</c:v>
                </c:pt>
                <c:pt idx="311">
                  <c:v>41.579998000000003</c:v>
                </c:pt>
                <c:pt idx="312">
                  <c:v>42.14</c:v>
                </c:pt>
                <c:pt idx="313">
                  <c:v>41.89</c:v>
                </c:pt>
                <c:pt idx="314">
                  <c:v>40.799995000000003</c:v>
                </c:pt>
                <c:pt idx="315">
                  <c:v>40.510002</c:v>
                </c:pt>
                <c:pt idx="316">
                  <c:v>41.239998</c:v>
                </c:pt>
                <c:pt idx="317">
                  <c:v>40.379997000000003</c:v>
                </c:pt>
                <c:pt idx="318">
                  <c:v>41.32</c:v>
                </c:pt>
                <c:pt idx="319">
                  <c:v>42</c:v>
                </c:pt>
                <c:pt idx="320">
                  <c:v>43.57</c:v>
                </c:pt>
                <c:pt idx="321">
                  <c:v>43.489998</c:v>
                </c:pt>
                <c:pt idx="322">
                  <c:v>44.89</c:v>
                </c:pt>
                <c:pt idx="323">
                  <c:v>44.6</c:v>
                </c:pt>
                <c:pt idx="324">
                  <c:v>44.37</c:v>
                </c:pt>
                <c:pt idx="325">
                  <c:v>46.7</c:v>
                </c:pt>
                <c:pt idx="326">
                  <c:v>47.51</c:v>
                </c:pt>
                <c:pt idx="327">
                  <c:v>46.870002999999997</c:v>
                </c:pt>
                <c:pt idx="328">
                  <c:v>47</c:v>
                </c:pt>
                <c:pt idx="329">
                  <c:v>48.05</c:v>
                </c:pt>
                <c:pt idx="330">
                  <c:v>46.38</c:v>
                </c:pt>
                <c:pt idx="331">
                  <c:v>47.760002</c:v>
                </c:pt>
                <c:pt idx="332">
                  <c:v>45.26</c:v>
                </c:pt>
                <c:pt idx="333">
                  <c:v>42.6</c:v>
                </c:pt>
                <c:pt idx="334">
                  <c:v>42.78</c:v>
                </c:pt>
                <c:pt idx="335">
                  <c:v>42.53</c:v>
                </c:pt>
                <c:pt idx="336">
                  <c:v>43.92</c:v>
                </c:pt>
                <c:pt idx="337">
                  <c:v>43.76</c:v>
                </c:pt>
                <c:pt idx="338">
                  <c:v>43.629997000000003</c:v>
                </c:pt>
                <c:pt idx="339">
                  <c:v>43.66</c:v>
                </c:pt>
                <c:pt idx="340">
                  <c:v>43.15</c:v>
                </c:pt>
                <c:pt idx="341">
                  <c:v>41.79</c:v>
                </c:pt>
                <c:pt idx="342">
                  <c:v>41.81</c:v>
                </c:pt>
                <c:pt idx="343">
                  <c:v>41.510002</c:v>
                </c:pt>
                <c:pt idx="344">
                  <c:v>41.49</c:v>
                </c:pt>
                <c:pt idx="345">
                  <c:v>41.07</c:v>
                </c:pt>
                <c:pt idx="346">
                  <c:v>42.26</c:v>
                </c:pt>
                <c:pt idx="347">
                  <c:v>39.270000000000003</c:v>
                </c:pt>
                <c:pt idx="348">
                  <c:v>39.879997000000003</c:v>
                </c:pt>
                <c:pt idx="349">
                  <c:v>38.619999999999997</c:v>
                </c:pt>
                <c:pt idx="350">
                  <c:v>39.54</c:v>
                </c:pt>
                <c:pt idx="351">
                  <c:v>40.07</c:v>
                </c:pt>
                <c:pt idx="352">
                  <c:v>45.17</c:v>
                </c:pt>
                <c:pt idx="353">
                  <c:v>45.7</c:v>
                </c:pt>
                <c:pt idx="354">
                  <c:v>44.920001999999997</c:v>
                </c:pt>
                <c:pt idx="355">
                  <c:v>45.22</c:v>
                </c:pt>
                <c:pt idx="356">
                  <c:v>44.899997999999997</c:v>
                </c:pt>
                <c:pt idx="357">
                  <c:v>43.350002000000003</c:v>
                </c:pt>
                <c:pt idx="358">
                  <c:v>44.25</c:v>
                </c:pt>
                <c:pt idx="359">
                  <c:v>43.789997</c:v>
                </c:pt>
                <c:pt idx="360">
                  <c:v>44.82</c:v>
                </c:pt>
                <c:pt idx="361">
                  <c:v>46</c:v>
                </c:pt>
                <c:pt idx="362">
                  <c:v>44.920001999999997</c:v>
                </c:pt>
                <c:pt idx="363">
                  <c:v>46.78</c:v>
                </c:pt>
                <c:pt idx="364">
                  <c:v>46.55</c:v>
                </c:pt>
                <c:pt idx="365">
                  <c:v>45.84</c:v>
                </c:pt>
                <c:pt idx="366">
                  <c:v>46.97</c:v>
                </c:pt>
                <c:pt idx="367">
                  <c:v>46.39</c:v>
                </c:pt>
                <c:pt idx="368">
                  <c:v>46.73</c:v>
                </c:pt>
                <c:pt idx="369">
                  <c:v>45.5</c:v>
                </c:pt>
                <c:pt idx="370">
                  <c:v>43.940002</c:v>
                </c:pt>
                <c:pt idx="371">
                  <c:v>43.89</c:v>
                </c:pt>
                <c:pt idx="372">
                  <c:v>43.260002</c:v>
                </c:pt>
                <c:pt idx="373">
                  <c:v>42.95</c:v>
                </c:pt>
                <c:pt idx="374">
                  <c:v>43.12</c:v>
                </c:pt>
                <c:pt idx="375">
                  <c:v>42.8</c:v>
                </c:pt>
                <c:pt idx="376">
                  <c:v>44.109997</c:v>
                </c:pt>
                <c:pt idx="377">
                  <c:v>45.92</c:v>
                </c:pt>
                <c:pt idx="378">
                  <c:v>46.01</c:v>
                </c:pt>
                <c:pt idx="379">
                  <c:v>47.84</c:v>
                </c:pt>
                <c:pt idx="380">
                  <c:v>47.68</c:v>
                </c:pt>
                <c:pt idx="381">
                  <c:v>49.25</c:v>
                </c:pt>
                <c:pt idx="382">
                  <c:v>48.01</c:v>
                </c:pt>
                <c:pt idx="383">
                  <c:v>48.46</c:v>
                </c:pt>
                <c:pt idx="384">
                  <c:v>48.51</c:v>
                </c:pt>
                <c:pt idx="385">
                  <c:v>48.219996999999999</c:v>
                </c:pt>
                <c:pt idx="386">
                  <c:v>48.219996999999999</c:v>
                </c:pt>
                <c:pt idx="387">
                  <c:v>48.319996000000003</c:v>
                </c:pt>
                <c:pt idx="388">
                  <c:v>47.609997</c:v>
                </c:pt>
                <c:pt idx="389">
                  <c:v>49.99</c:v>
                </c:pt>
                <c:pt idx="390">
                  <c:v>49.03</c:v>
                </c:pt>
                <c:pt idx="391">
                  <c:v>50.42</c:v>
                </c:pt>
                <c:pt idx="392">
                  <c:v>50.73</c:v>
                </c:pt>
                <c:pt idx="393">
                  <c:v>51.129997000000003</c:v>
                </c:pt>
                <c:pt idx="394">
                  <c:v>50.839995999999999</c:v>
                </c:pt>
                <c:pt idx="395">
                  <c:v>51.739998</c:v>
                </c:pt>
                <c:pt idx="396">
                  <c:v>51.03</c:v>
                </c:pt>
                <c:pt idx="397">
                  <c:v>50.41</c:v>
                </c:pt>
                <c:pt idx="398">
                  <c:v>49.559998</c:v>
                </c:pt>
                <c:pt idx="399">
                  <c:v>49.54</c:v>
                </c:pt>
                <c:pt idx="400">
                  <c:v>48.93</c:v>
                </c:pt>
                <c:pt idx="401">
                  <c:v>49.9</c:v>
                </c:pt>
                <c:pt idx="402">
                  <c:v>49.379997000000003</c:v>
                </c:pt>
                <c:pt idx="403">
                  <c:v>47.789997</c:v>
                </c:pt>
                <c:pt idx="404">
                  <c:v>48.25</c:v>
                </c:pt>
                <c:pt idx="405">
                  <c:v>48.199997000000003</c:v>
                </c:pt>
                <c:pt idx="406">
                  <c:v>47.01</c:v>
                </c:pt>
                <c:pt idx="407">
                  <c:v>47.329998000000003</c:v>
                </c:pt>
                <c:pt idx="408">
                  <c:v>46.749996000000003</c:v>
                </c:pt>
                <c:pt idx="409">
                  <c:v>46.79</c:v>
                </c:pt>
                <c:pt idx="410">
                  <c:v>45.469996999999999</c:v>
                </c:pt>
                <c:pt idx="411">
                  <c:v>46.129997000000003</c:v>
                </c:pt>
                <c:pt idx="412">
                  <c:v>48.28</c:v>
                </c:pt>
                <c:pt idx="413">
                  <c:v>46.94</c:v>
                </c:pt>
                <c:pt idx="414">
                  <c:v>45.49</c:v>
                </c:pt>
                <c:pt idx="415">
                  <c:v>43.83</c:v>
                </c:pt>
                <c:pt idx="416">
                  <c:v>45.04</c:v>
                </c:pt>
                <c:pt idx="417">
                  <c:v>43.74</c:v>
                </c:pt>
                <c:pt idx="418">
                  <c:v>40.549999999999997</c:v>
                </c:pt>
                <c:pt idx="419">
                  <c:v>43.170001999999997</c:v>
                </c:pt>
                <c:pt idx="420">
                  <c:v>42.549995000000003</c:v>
                </c:pt>
                <c:pt idx="421">
                  <c:v>43.77</c:v>
                </c:pt>
                <c:pt idx="422">
                  <c:v>44.679996000000003</c:v>
                </c:pt>
                <c:pt idx="423">
                  <c:v>47.29</c:v>
                </c:pt>
                <c:pt idx="424">
                  <c:v>49.510002</c:v>
                </c:pt>
                <c:pt idx="425">
                  <c:v>49.059998</c:v>
                </c:pt>
                <c:pt idx="426">
                  <c:v>49.420001999999997</c:v>
                </c:pt>
                <c:pt idx="427">
                  <c:v>49.62</c:v>
                </c:pt>
                <c:pt idx="428">
                  <c:v>51.729996</c:v>
                </c:pt>
                <c:pt idx="429">
                  <c:v>52.36</c:v>
                </c:pt>
                <c:pt idx="430">
                  <c:v>52.26</c:v>
                </c:pt>
                <c:pt idx="431">
                  <c:v>51.739998</c:v>
                </c:pt>
                <c:pt idx="432">
                  <c:v>52.809998</c:v>
                </c:pt>
                <c:pt idx="433">
                  <c:v>54.28</c:v>
                </c:pt>
                <c:pt idx="434">
                  <c:v>55.21</c:v>
                </c:pt>
                <c:pt idx="435">
                  <c:v>54.11</c:v>
                </c:pt>
                <c:pt idx="436">
                  <c:v>55.66</c:v>
                </c:pt>
                <c:pt idx="437">
                  <c:v>54.179996000000003</c:v>
                </c:pt>
                <c:pt idx="438">
                  <c:v>54.829998000000003</c:v>
                </c:pt>
                <c:pt idx="439">
                  <c:v>54.659996</c:v>
                </c:pt>
                <c:pt idx="440">
                  <c:v>54.6</c:v>
                </c:pt>
                <c:pt idx="441">
                  <c:v>56.76</c:v>
                </c:pt>
                <c:pt idx="442">
                  <c:v>56.1</c:v>
                </c:pt>
                <c:pt idx="443">
                  <c:v>55.989998</c:v>
                </c:pt>
                <c:pt idx="444">
                  <c:v>58.29</c:v>
                </c:pt>
                <c:pt idx="445">
                  <c:v>57.54</c:v>
                </c:pt>
                <c:pt idx="446">
                  <c:v>56.39</c:v>
                </c:pt>
                <c:pt idx="447">
                  <c:v>55.329998000000003</c:v>
                </c:pt>
                <c:pt idx="448">
                  <c:v>55.91</c:v>
                </c:pt>
                <c:pt idx="449">
                  <c:v>56.25</c:v>
                </c:pt>
                <c:pt idx="450">
                  <c:v>56.6</c:v>
                </c:pt>
                <c:pt idx="451">
                  <c:v>61.23</c:v>
                </c:pt>
                <c:pt idx="452">
                  <c:v>59.57</c:v>
                </c:pt>
                <c:pt idx="453">
                  <c:v>59.38</c:v>
                </c:pt>
                <c:pt idx="454">
                  <c:v>59.29</c:v>
                </c:pt>
                <c:pt idx="455">
                  <c:v>61.75</c:v>
                </c:pt>
                <c:pt idx="456">
                  <c:v>63.03</c:v>
                </c:pt>
                <c:pt idx="457">
                  <c:v>64.25</c:v>
                </c:pt>
                <c:pt idx="458">
                  <c:v>62.52</c:v>
                </c:pt>
                <c:pt idx="459">
                  <c:v>63.69</c:v>
                </c:pt>
                <c:pt idx="460">
                  <c:v>65.8</c:v>
                </c:pt>
                <c:pt idx="461">
                  <c:v>64.099999999999994</c:v>
                </c:pt>
                <c:pt idx="462">
                  <c:v>64.040000000000006</c:v>
                </c:pt>
                <c:pt idx="463">
                  <c:v>61.63</c:v>
                </c:pt>
                <c:pt idx="464">
                  <c:v>62.85</c:v>
                </c:pt>
                <c:pt idx="465">
                  <c:v>64.25</c:v>
                </c:pt>
                <c:pt idx="466">
                  <c:v>64.14</c:v>
                </c:pt>
                <c:pt idx="467">
                  <c:v>64</c:v>
                </c:pt>
                <c:pt idx="468">
                  <c:v>62.480003000000004</c:v>
                </c:pt>
                <c:pt idx="469">
                  <c:v>64.930000000000007</c:v>
                </c:pt>
                <c:pt idx="470">
                  <c:v>65.28</c:v>
                </c:pt>
                <c:pt idx="471">
                  <c:v>65.22</c:v>
                </c:pt>
                <c:pt idx="472">
                  <c:v>66.05</c:v>
                </c:pt>
                <c:pt idx="473">
                  <c:v>66.89</c:v>
                </c:pt>
                <c:pt idx="474">
                  <c:v>66.34</c:v>
                </c:pt>
                <c:pt idx="475">
                  <c:v>66.150000000000006</c:v>
                </c:pt>
                <c:pt idx="476">
                  <c:v>64.58</c:v>
                </c:pt>
                <c:pt idx="477">
                  <c:v>65.53</c:v>
                </c:pt>
                <c:pt idx="478">
                  <c:v>66.64</c:v>
                </c:pt>
                <c:pt idx="479">
                  <c:v>65.340003999999993</c:v>
                </c:pt>
                <c:pt idx="480">
                  <c:v>65.92</c:v>
                </c:pt>
                <c:pt idx="481">
                  <c:v>66.41</c:v>
                </c:pt>
                <c:pt idx="482">
                  <c:v>64.05</c:v>
                </c:pt>
                <c:pt idx="483">
                  <c:v>63.83</c:v>
                </c:pt>
                <c:pt idx="484">
                  <c:v>65.75</c:v>
                </c:pt>
                <c:pt idx="485">
                  <c:v>68.030010000000004</c:v>
                </c:pt>
                <c:pt idx="486">
                  <c:v>69.209999999999994</c:v>
                </c:pt>
                <c:pt idx="487">
                  <c:v>72.340003999999993</c:v>
                </c:pt>
                <c:pt idx="488">
                  <c:v>73.099999999999994</c:v>
                </c:pt>
                <c:pt idx="489">
                  <c:v>73.62</c:v>
                </c:pt>
                <c:pt idx="490">
                  <c:v>71.8</c:v>
                </c:pt>
                <c:pt idx="491">
                  <c:v>70.770004</c:v>
                </c:pt>
                <c:pt idx="492">
                  <c:v>73.53</c:v>
                </c:pt>
                <c:pt idx="493">
                  <c:v>69.37</c:v>
                </c:pt>
                <c:pt idx="494">
                  <c:v>69.38</c:v>
                </c:pt>
                <c:pt idx="495">
                  <c:v>67.97</c:v>
                </c:pt>
                <c:pt idx="496">
                  <c:v>71.7</c:v>
                </c:pt>
                <c:pt idx="497">
                  <c:v>69.600005999999993</c:v>
                </c:pt>
                <c:pt idx="498">
                  <c:v>67.58</c:v>
                </c:pt>
                <c:pt idx="499">
                  <c:v>64.569999999999993</c:v>
                </c:pt>
                <c:pt idx="500">
                  <c:v>67.63</c:v>
                </c:pt>
                <c:pt idx="501">
                  <c:v>67.12</c:v>
                </c:pt>
                <c:pt idx="502">
                  <c:v>67.34</c:v>
                </c:pt>
                <c:pt idx="503">
                  <c:v>66.23</c:v>
                </c:pt>
                <c:pt idx="504">
                  <c:v>64.930000000000007</c:v>
                </c:pt>
                <c:pt idx="505">
                  <c:v>66.72</c:v>
                </c:pt>
                <c:pt idx="506">
                  <c:v>66.090003999999993</c:v>
                </c:pt>
                <c:pt idx="507">
                  <c:v>68.010000000000005</c:v>
                </c:pt>
                <c:pt idx="508">
                  <c:v>68.840003999999993</c:v>
                </c:pt>
                <c:pt idx="509">
                  <c:v>70.89</c:v>
                </c:pt>
                <c:pt idx="510">
                  <c:v>68.69</c:v>
                </c:pt>
                <c:pt idx="511">
                  <c:v>67.42</c:v>
                </c:pt>
                <c:pt idx="512">
                  <c:v>65.180000000000007</c:v>
                </c:pt>
                <c:pt idx="513">
                  <c:v>66.81</c:v>
                </c:pt>
                <c:pt idx="514">
                  <c:v>69</c:v>
                </c:pt>
                <c:pt idx="515">
                  <c:v>68.67</c:v>
                </c:pt>
                <c:pt idx="516">
                  <c:v>67.92</c:v>
                </c:pt>
                <c:pt idx="517">
                  <c:v>66.670006000000001</c:v>
                </c:pt>
                <c:pt idx="518">
                  <c:v>66.150000000000006</c:v>
                </c:pt>
                <c:pt idx="519">
                  <c:v>64.61</c:v>
                </c:pt>
                <c:pt idx="520">
                  <c:v>65.97</c:v>
                </c:pt>
                <c:pt idx="521">
                  <c:v>67.740004999999996</c:v>
                </c:pt>
                <c:pt idx="522">
                  <c:v>67.569999999999993</c:v>
                </c:pt>
                <c:pt idx="523">
                  <c:v>67.92</c:v>
                </c:pt>
                <c:pt idx="524">
                  <c:v>69.09</c:v>
                </c:pt>
                <c:pt idx="525">
                  <c:v>68.099999999999994</c:v>
                </c:pt>
                <c:pt idx="526">
                  <c:v>70.090003999999993</c:v>
                </c:pt>
                <c:pt idx="527">
                  <c:v>69.45</c:v>
                </c:pt>
                <c:pt idx="528">
                  <c:v>67.61</c:v>
                </c:pt>
                <c:pt idx="529">
                  <c:v>67.63</c:v>
                </c:pt>
                <c:pt idx="530">
                  <c:v>65.56</c:v>
                </c:pt>
                <c:pt idx="531">
                  <c:v>64.97</c:v>
                </c:pt>
                <c:pt idx="532">
                  <c:v>67.75</c:v>
                </c:pt>
                <c:pt idx="533">
                  <c:v>68.19</c:v>
                </c:pt>
                <c:pt idx="534">
                  <c:v>67.25</c:v>
                </c:pt>
                <c:pt idx="535">
                  <c:v>64.010000000000005</c:v>
                </c:pt>
                <c:pt idx="536">
                  <c:v>61.88</c:v>
                </c:pt>
                <c:pt idx="537">
                  <c:v>60.120002999999997</c:v>
                </c:pt>
                <c:pt idx="538">
                  <c:v>59.57</c:v>
                </c:pt>
                <c:pt idx="539">
                  <c:v>60.55</c:v>
                </c:pt>
                <c:pt idx="540">
                  <c:v>61.16</c:v>
                </c:pt>
                <c:pt idx="541">
                  <c:v>61.05</c:v>
                </c:pt>
                <c:pt idx="542">
                  <c:v>61.010002</c:v>
                </c:pt>
                <c:pt idx="543">
                  <c:v>60.25</c:v>
                </c:pt>
                <c:pt idx="544">
                  <c:v>60.989998</c:v>
                </c:pt>
                <c:pt idx="545">
                  <c:v>62.2</c:v>
                </c:pt>
                <c:pt idx="546">
                  <c:v>61.49</c:v>
                </c:pt>
                <c:pt idx="547">
                  <c:v>62.4</c:v>
                </c:pt>
                <c:pt idx="548">
                  <c:v>63.7</c:v>
                </c:pt>
                <c:pt idx="549">
                  <c:v>64.02</c:v>
                </c:pt>
                <c:pt idx="550">
                  <c:v>62.8</c:v>
                </c:pt>
                <c:pt idx="551">
                  <c:v>63.51</c:v>
                </c:pt>
                <c:pt idx="552">
                  <c:v>61.980003000000004</c:v>
                </c:pt>
                <c:pt idx="553">
                  <c:v>61.420001999999997</c:v>
                </c:pt>
                <c:pt idx="554">
                  <c:v>59.87</c:v>
                </c:pt>
                <c:pt idx="555">
                  <c:v>59.74</c:v>
                </c:pt>
                <c:pt idx="556">
                  <c:v>61.4</c:v>
                </c:pt>
                <c:pt idx="557">
                  <c:v>60.920001999999997</c:v>
                </c:pt>
                <c:pt idx="558">
                  <c:v>59.23</c:v>
                </c:pt>
                <c:pt idx="559">
                  <c:v>59.440002</c:v>
                </c:pt>
                <c:pt idx="560">
                  <c:v>62.52</c:v>
                </c:pt>
                <c:pt idx="561">
                  <c:v>62.44</c:v>
                </c:pt>
                <c:pt idx="562">
                  <c:v>62.949997000000003</c:v>
                </c:pt>
                <c:pt idx="563">
                  <c:v>61.86</c:v>
                </c:pt>
                <c:pt idx="564">
                  <c:v>61.23</c:v>
                </c:pt>
                <c:pt idx="565">
                  <c:v>61.75</c:v>
                </c:pt>
                <c:pt idx="566">
                  <c:v>61.600002000000003</c:v>
                </c:pt>
                <c:pt idx="567">
                  <c:v>62.25</c:v>
                </c:pt>
                <c:pt idx="568">
                  <c:v>60.81</c:v>
                </c:pt>
                <c:pt idx="569">
                  <c:v>54.539997</c:v>
                </c:pt>
                <c:pt idx="570">
                  <c:v>54.13</c:v>
                </c:pt>
                <c:pt idx="571">
                  <c:v>53.69</c:v>
                </c:pt>
                <c:pt idx="572">
                  <c:v>51.92</c:v>
                </c:pt>
                <c:pt idx="573">
                  <c:v>53.7</c:v>
                </c:pt>
                <c:pt idx="574">
                  <c:v>53.489998</c:v>
                </c:pt>
                <c:pt idx="575">
                  <c:v>54.59</c:v>
                </c:pt>
                <c:pt idx="576">
                  <c:v>56.309998</c:v>
                </c:pt>
                <c:pt idx="577">
                  <c:v>55.95</c:v>
                </c:pt>
                <c:pt idx="578">
                  <c:v>55.87</c:v>
                </c:pt>
                <c:pt idx="579">
                  <c:v>54.569996000000003</c:v>
                </c:pt>
                <c:pt idx="580">
                  <c:v>54.09</c:v>
                </c:pt>
                <c:pt idx="581">
                  <c:v>51.729996</c:v>
                </c:pt>
                <c:pt idx="582">
                  <c:v>52.579998000000003</c:v>
                </c:pt>
                <c:pt idx="583">
                  <c:v>52.42</c:v>
                </c:pt>
                <c:pt idx="584">
                  <c:v>52.499996000000003</c:v>
                </c:pt>
                <c:pt idx="585">
                  <c:v>52.87</c:v>
                </c:pt>
                <c:pt idx="586">
                  <c:v>52.25</c:v>
                </c:pt>
                <c:pt idx="587">
                  <c:v>51.23</c:v>
                </c:pt>
                <c:pt idx="588">
                  <c:v>51.32</c:v>
                </c:pt>
                <c:pt idx="589">
                  <c:v>52.01</c:v>
                </c:pt>
                <c:pt idx="590">
                  <c:v>53.25</c:v>
                </c:pt>
                <c:pt idx="591">
                  <c:v>54.8</c:v>
                </c:pt>
                <c:pt idx="592">
                  <c:v>55.23</c:v>
                </c:pt>
                <c:pt idx="593">
                  <c:v>54.46</c:v>
                </c:pt>
                <c:pt idx="594">
                  <c:v>54.94</c:v>
                </c:pt>
                <c:pt idx="595">
                  <c:v>54.48</c:v>
                </c:pt>
                <c:pt idx="596">
                  <c:v>52.809998</c:v>
                </c:pt>
                <c:pt idx="597">
                  <c:v>53.01</c:v>
                </c:pt>
                <c:pt idx="598">
                  <c:v>51.69</c:v>
                </c:pt>
                <c:pt idx="599">
                  <c:v>51.5</c:v>
                </c:pt>
                <c:pt idx="600">
                  <c:v>53.85</c:v>
                </c:pt>
                <c:pt idx="601">
                  <c:v>54.31</c:v>
                </c:pt>
                <c:pt idx="602">
                  <c:v>52.82</c:v>
                </c:pt>
                <c:pt idx="603">
                  <c:v>53.26</c:v>
                </c:pt>
                <c:pt idx="604">
                  <c:v>55.51</c:v>
                </c:pt>
                <c:pt idx="605">
                  <c:v>56.39</c:v>
                </c:pt>
                <c:pt idx="606">
                  <c:v>55.73</c:v>
                </c:pt>
                <c:pt idx="607">
                  <c:v>55.5</c:v>
                </c:pt>
                <c:pt idx="608">
                  <c:v>54.98</c:v>
                </c:pt>
                <c:pt idx="609">
                  <c:v>55.39</c:v>
                </c:pt>
                <c:pt idx="610">
                  <c:v>55.35</c:v>
                </c:pt>
                <c:pt idx="611">
                  <c:v>55.97</c:v>
                </c:pt>
                <c:pt idx="612">
                  <c:v>57.07</c:v>
                </c:pt>
                <c:pt idx="613">
                  <c:v>56.67</c:v>
                </c:pt>
                <c:pt idx="614">
                  <c:v>56.489998</c:v>
                </c:pt>
                <c:pt idx="615">
                  <c:v>56.809998</c:v>
                </c:pt>
                <c:pt idx="616">
                  <c:v>58.42</c:v>
                </c:pt>
                <c:pt idx="617">
                  <c:v>57.209994999999999</c:v>
                </c:pt>
                <c:pt idx="618">
                  <c:v>56.84</c:v>
                </c:pt>
                <c:pt idx="619">
                  <c:v>56.39</c:v>
                </c:pt>
                <c:pt idx="620">
                  <c:v>58.32</c:v>
                </c:pt>
                <c:pt idx="621">
                  <c:v>58.95</c:v>
                </c:pt>
                <c:pt idx="622">
                  <c:v>58.11</c:v>
                </c:pt>
                <c:pt idx="623">
                  <c:v>57.510002</c:v>
                </c:pt>
                <c:pt idx="624">
                  <c:v>56.74</c:v>
                </c:pt>
                <c:pt idx="625">
                  <c:v>57.15</c:v>
                </c:pt>
                <c:pt idx="626">
                  <c:v>57.87</c:v>
                </c:pt>
                <c:pt idx="627">
                  <c:v>57.41</c:v>
                </c:pt>
                <c:pt idx="628">
                  <c:v>58.35</c:v>
                </c:pt>
                <c:pt idx="629">
                  <c:v>58.53</c:v>
                </c:pt>
                <c:pt idx="630">
                  <c:v>59.6</c:v>
                </c:pt>
                <c:pt idx="631">
                  <c:v>58.51</c:v>
                </c:pt>
                <c:pt idx="632">
                  <c:v>58.23</c:v>
                </c:pt>
                <c:pt idx="633">
                  <c:v>56.59</c:v>
                </c:pt>
                <c:pt idx="634">
                  <c:v>55.09</c:v>
                </c:pt>
                <c:pt idx="635">
                  <c:v>52.33</c:v>
                </c:pt>
                <c:pt idx="636">
                  <c:v>52.1</c:v>
                </c:pt>
                <c:pt idx="637">
                  <c:v>53.949997000000003</c:v>
                </c:pt>
                <c:pt idx="638">
                  <c:v>53.36</c:v>
                </c:pt>
                <c:pt idx="639">
                  <c:v>57.120002999999997</c:v>
                </c:pt>
                <c:pt idx="640">
                  <c:v>56.969996999999999</c:v>
                </c:pt>
                <c:pt idx="641">
                  <c:v>57.13</c:v>
                </c:pt>
                <c:pt idx="642">
                  <c:v>57.289997</c:v>
                </c:pt>
                <c:pt idx="643">
                  <c:v>57.25</c:v>
                </c:pt>
                <c:pt idx="644">
                  <c:v>56.69</c:v>
                </c:pt>
                <c:pt idx="645">
                  <c:v>57.510002</c:v>
                </c:pt>
                <c:pt idx="646">
                  <c:v>57.67</c:v>
                </c:pt>
                <c:pt idx="647">
                  <c:v>56.899997999999997</c:v>
                </c:pt>
                <c:pt idx="648">
                  <c:v>56.83</c:v>
                </c:pt>
                <c:pt idx="649">
                  <c:v>57.45</c:v>
                </c:pt>
                <c:pt idx="650">
                  <c:v>57.28</c:v>
                </c:pt>
                <c:pt idx="651">
                  <c:v>57.95</c:v>
                </c:pt>
                <c:pt idx="652">
                  <c:v>61.559998</c:v>
                </c:pt>
                <c:pt idx="653">
                  <c:v>60.309998</c:v>
                </c:pt>
                <c:pt idx="654">
                  <c:v>60.45</c:v>
                </c:pt>
                <c:pt idx="655">
                  <c:v>58.239998</c:v>
                </c:pt>
                <c:pt idx="656">
                  <c:v>58.17</c:v>
                </c:pt>
                <c:pt idx="657">
                  <c:v>56.329998000000003</c:v>
                </c:pt>
                <c:pt idx="658">
                  <c:v>55.42</c:v>
                </c:pt>
                <c:pt idx="659">
                  <c:v>53.72</c:v>
                </c:pt>
                <c:pt idx="660">
                  <c:v>52.46</c:v>
                </c:pt>
                <c:pt idx="661">
                  <c:v>53.05</c:v>
                </c:pt>
                <c:pt idx="662">
                  <c:v>52.999996000000003</c:v>
                </c:pt>
                <c:pt idx="663">
                  <c:v>51.760002</c:v>
                </c:pt>
                <c:pt idx="664">
                  <c:v>53.33</c:v>
                </c:pt>
                <c:pt idx="665">
                  <c:v>50.780003000000001</c:v>
                </c:pt>
                <c:pt idx="666">
                  <c:v>51.579998000000003</c:v>
                </c:pt>
                <c:pt idx="667">
                  <c:v>52.26</c:v>
                </c:pt>
                <c:pt idx="668">
                  <c:v>55.71</c:v>
                </c:pt>
                <c:pt idx="669">
                  <c:v>57.800002999999997</c:v>
                </c:pt>
                <c:pt idx="670">
                  <c:v>57.3</c:v>
                </c:pt>
                <c:pt idx="671">
                  <c:v>57.510002</c:v>
                </c:pt>
                <c:pt idx="672">
                  <c:v>57.76</c:v>
                </c:pt>
                <c:pt idx="673">
                  <c:v>55.97</c:v>
                </c:pt>
                <c:pt idx="674">
                  <c:v>56.75</c:v>
                </c:pt>
                <c:pt idx="675">
                  <c:v>55.75</c:v>
                </c:pt>
                <c:pt idx="676">
                  <c:v>54.55</c:v>
                </c:pt>
                <c:pt idx="677">
                  <c:v>56.05</c:v>
                </c:pt>
                <c:pt idx="678">
                  <c:v>59.68</c:v>
                </c:pt>
                <c:pt idx="679">
                  <c:v>61.02</c:v>
                </c:pt>
                <c:pt idx="680">
                  <c:v>60.940002</c:v>
                </c:pt>
                <c:pt idx="681">
                  <c:v>59.550002999999997</c:v>
                </c:pt>
                <c:pt idx="682">
                  <c:v>60.25</c:v>
                </c:pt>
                <c:pt idx="683">
                  <c:v>60.309998</c:v>
                </c:pt>
                <c:pt idx="684">
                  <c:v>60.6</c:v>
                </c:pt>
                <c:pt idx="685">
                  <c:v>60.84</c:v>
                </c:pt>
                <c:pt idx="686">
                  <c:v>60.29</c:v>
                </c:pt>
                <c:pt idx="687">
                  <c:v>60.3</c:v>
                </c:pt>
                <c:pt idx="688">
                  <c:v>61.49</c:v>
                </c:pt>
                <c:pt idx="689">
                  <c:v>60.15</c:v>
                </c:pt>
                <c:pt idx="690">
                  <c:v>60.06</c:v>
                </c:pt>
                <c:pt idx="691">
                  <c:v>59.640003</c:v>
                </c:pt>
                <c:pt idx="692">
                  <c:v>59.250003999999997</c:v>
                </c:pt>
                <c:pt idx="693">
                  <c:v>58.8</c:v>
                </c:pt>
                <c:pt idx="694">
                  <c:v>58.079998000000003</c:v>
                </c:pt>
                <c:pt idx="695">
                  <c:v>57.379997000000003</c:v>
                </c:pt>
                <c:pt idx="696">
                  <c:v>57.710003</c:v>
                </c:pt>
                <c:pt idx="697">
                  <c:v>58.5</c:v>
                </c:pt>
                <c:pt idx="698">
                  <c:v>58.81</c:v>
                </c:pt>
                <c:pt idx="699">
                  <c:v>58.56</c:v>
                </c:pt>
                <c:pt idx="700">
                  <c:v>56.8</c:v>
                </c:pt>
                <c:pt idx="701">
                  <c:v>56.219996999999999</c:v>
                </c:pt>
                <c:pt idx="702">
                  <c:v>56.819996000000003</c:v>
                </c:pt>
                <c:pt idx="703">
                  <c:v>55.73</c:v>
                </c:pt>
                <c:pt idx="704">
                  <c:v>56.989998</c:v>
                </c:pt>
                <c:pt idx="705">
                  <c:v>57.91</c:v>
                </c:pt>
                <c:pt idx="706">
                  <c:v>56.74</c:v>
                </c:pt>
                <c:pt idx="707">
                  <c:v>58.94</c:v>
                </c:pt>
                <c:pt idx="708">
                  <c:v>60.52</c:v>
                </c:pt>
                <c:pt idx="709">
                  <c:v>58.649997999999997</c:v>
                </c:pt>
                <c:pt idx="710">
                  <c:v>57.859997</c:v>
                </c:pt>
                <c:pt idx="711">
                  <c:v>59.53</c:v>
                </c:pt>
                <c:pt idx="712">
                  <c:v>57.030003000000001</c:v>
                </c:pt>
                <c:pt idx="713">
                  <c:v>57.3</c:v>
                </c:pt>
                <c:pt idx="714">
                  <c:v>57.9</c:v>
                </c:pt>
                <c:pt idx="715">
                  <c:v>58.870002999999997</c:v>
                </c:pt>
                <c:pt idx="716">
                  <c:v>57.32</c:v>
                </c:pt>
                <c:pt idx="717">
                  <c:v>56.920001999999997</c:v>
                </c:pt>
                <c:pt idx="718">
                  <c:v>58.05</c:v>
                </c:pt>
                <c:pt idx="719">
                  <c:v>58</c:v>
                </c:pt>
                <c:pt idx="720">
                  <c:v>58.35</c:v>
                </c:pt>
                <c:pt idx="721">
                  <c:v>59.78</c:v>
                </c:pt>
                <c:pt idx="722">
                  <c:v>59.01</c:v>
                </c:pt>
                <c:pt idx="723">
                  <c:v>59.3</c:v>
                </c:pt>
                <c:pt idx="724">
                  <c:v>57.510002</c:v>
                </c:pt>
                <c:pt idx="725">
                  <c:v>57.3</c:v>
                </c:pt>
                <c:pt idx="726">
                  <c:v>55.61</c:v>
                </c:pt>
                <c:pt idx="727">
                  <c:v>55.059998</c:v>
                </c:pt>
                <c:pt idx="728">
                  <c:v>55.2</c:v>
                </c:pt>
                <c:pt idx="729">
                  <c:v>52.63</c:v>
                </c:pt>
                <c:pt idx="730">
                  <c:v>51.89</c:v>
                </c:pt>
                <c:pt idx="731">
                  <c:v>51.62</c:v>
                </c:pt>
                <c:pt idx="732">
                  <c:v>50.859997</c:v>
                </c:pt>
                <c:pt idx="733">
                  <c:v>48.06</c:v>
                </c:pt>
                <c:pt idx="734">
                  <c:v>47.829998000000003</c:v>
                </c:pt>
                <c:pt idx="735">
                  <c:v>45.67</c:v>
                </c:pt>
                <c:pt idx="736">
                  <c:v>45.179996000000003</c:v>
                </c:pt>
                <c:pt idx="737">
                  <c:v>45.12</c:v>
                </c:pt>
                <c:pt idx="738">
                  <c:v>45.329998000000003</c:v>
                </c:pt>
                <c:pt idx="739">
                  <c:v>46.719996999999999</c:v>
                </c:pt>
                <c:pt idx="740">
                  <c:v>46.44</c:v>
                </c:pt>
                <c:pt idx="741">
                  <c:v>47.23</c:v>
                </c:pt>
                <c:pt idx="742">
                  <c:v>47.71</c:v>
                </c:pt>
                <c:pt idx="743">
                  <c:v>46.11</c:v>
                </c:pt>
                <c:pt idx="744">
                  <c:v>48.28</c:v>
                </c:pt>
                <c:pt idx="745">
                  <c:v>48.86</c:v>
                </c:pt>
                <c:pt idx="746">
                  <c:v>46.449997000000003</c:v>
                </c:pt>
                <c:pt idx="747">
                  <c:v>47.57</c:v>
                </c:pt>
                <c:pt idx="748">
                  <c:v>48.409996</c:v>
                </c:pt>
                <c:pt idx="749">
                  <c:v>46.86</c:v>
                </c:pt>
                <c:pt idx="750">
                  <c:v>45.679996000000003</c:v>
                </c:pt>
                <c:pt idx="751">
                  <c:v>46.48</c:v>
                </c:pt>
                <c:pt idx="752">
                  <c:v>47.71</c:v>
                </c:pt>
                <c:pt idx="753">
                  <c:v>46.98</c:v>
                </c:pt>
                <c:pt idx="754">
                  <c:v>48.35</c:v>
                </c:pt>
                <c:pt idx="755">
                  <c:v>48.87</c:v>
                </c:pt>
                <c:pt idx="756">
                  <c:v>50.61</c:v>
                </c:pt>
                <c:pt idx="757">
                  <c:v>51.940002</c:v>
                </c:pt>
                <c:pt idx="758">
                  <c:v>53.82</c:v>
                </c:pt>
                <c:pt idx="759">
                  <c:v>55.489998</c:v>
                </c:pt>
                <c:pt idx="760">
                  <c:v>55.449997000000003</c:v>
                </c:pt>
                <c:pt idx="761">
                  <c:v>56.260002</c:v>
                </c:pt>
                <c:pt idx="762">
                  <c:v>56.86</c:v>
                </c:pt>
                <c:pt idx="763">
                  <c:v>56.579998000000003</c:v>
                </c:pt>
                <c:pt idx="764">
                  <c:v>57.26</c:v>
                </c:pt>
                <c:pt idx="765">
                  <c:v>58.4</c:v>
                </c:pt>
                <c:pt idx="766">
                  <c:v>57.920001999999997</c:v>
                </c:pt>
                <c:pt idx="767">
                  <c:v>58.34</c:v>
                </c:pt>
                <c:pt idx="768">
                  <c:v>58</c:v>
                </c:pt>
                <c:pt idx="769">
                  <c:v>57.61</c:v>
                </c:pt>
                <c:pt idx="770">
                  <c:v>56.34</c:v>
                </c:pt>
                <c:pt idx="771">
                  <c:v>57.44</c:v>
                </c:pt>
                <c:pt idx="772">
                  <c:v>57.26</c:v>
                </c:pt>
                <c:pt idx="773">
                  <c:v>58.370002999999997</c:v>
                </c:pt>
                <c:pt idx="774">
                  <c:v>58.98</c:v>
                </c:pt>
                <c:pt idx="775">
                  <c:v>58.05</c:v>
                </c:pt>
                <c:pt idx="776">
                  <c:v>58.77</c:v>
                </c:pt>
                <c:pt idx="777">
                  <c:v>58.84</c:v>
                </c:pt>
                <c:pt idx="778">
                  <c:v>60.41</c:v>
                </c:pt>
                <c:pt idx="779">
                  <c:v>61.19</c:v>
                </c:pt>
                <c:pt idx="780">
                  <c:v>60.489998</c:v>
                </c:pt>
                <c:pt idx="781">
                  <c:v>59.74</c:v>
                </c:pt>
                <c:pt idx="782">
                  <c:v>57.84</c:v>
                </c:pt>
                <c:pt idx="783">
                  <c:v>57.91</c:v>
                </c:pt>
                <c:pt idx="784">
                  <c:v>58.660004000000001</c:v>
                </c:pt>
                <c:pt idx="785">
                  <c:v>59.82</c:v>
                </c:pt>
                <c:pt idx="786">
                  <c:v>59.86</c:v>
                </c:pt>
                <c:pt idx="787">
                  <c:v>56.719996999999999</c:v>
                </c:pt>
                <c:pt idx="788">
                  <c:v>55.850002000000003</c:v>
                </c:pt>
                <c:pt idx="789">
                  <c:v>55.58</c:v>
                </c:pt>
                <c:pt idx="790">
                  <c:v>55.14</c:v>
                </c:pt>
                <c:pt idx="791">
                  <c:v>53.16</c:v>
                </c:pt>
                <c:pt idx="792">
                  <c:v>53.079998000000003</c:v>
                </c:pt>
                <c:pt idx="793">
                  <c:v>53.71</c:v>
                </c:pt>
                <c:pt idx="794">
                  <c:v>54.069996000000003</c:v>
                </c:pt>
                <c:pt idx="795">
                  <c:v>55.58</c:v>
                </c:pt>
                <c:pt idx="796">
                  <c:v>56.73</c:v>
                </c:pt>
                <c:pt idx="797">
                  <c:v>56.899997999999997</c:v>
                </c:pt>
                <c:pt idx="798">
                  <c:v>56.98</c:v>
                </c:pt>
                <c:pt idx="799">
                  <c:v>58.05</c:v>
                </c:pt>
                <c:pt idx="800">
                  <c:v>58.600002000000003</c:v>
                </c:pt>
                <c:pt idx="801">
                  <c:v>52.76</c:v>
                </c:pt>
                <c:pt idx="802">
                  <c:v>50.739998</c:v>
                </c:pt>
                <c:pt idx="803">
                  <c:v>49.37</c:v>
                </c:pt>
                <c:pt idx="804">
                  <c:v>49.14</c:v>
                </c:pt>
                <c:pt idx="805">
                  <c:v>48.94</c:v>
                </c:pt>
                <c:pt idx="806">
                  <c:v>48.06</c:v>
                </c:pt>
                <c:pt idx="807">
                  <c:v>45.81</c:v>
                </c:pt>
                <c:pt idx="808">
                  <c:v>46.659996</c:v>
                </c:pt>
                <c:pt idx="809">
                  <c:v>47.129997000000003</c:v>
                </c:pt>
                <c:pt idx="810">
                  <c:v>45.55</c:v>
                </c:pt>
                <c:pt idx="811">
                  <c:v>44.989998</c:v>
                </c:pt>
                <c:pt idx="812">
                  <c:v>45.7</c:v>
                </c:pt>
                <c:pt idx="813">
                  <c:v>45.71</c:v>
                </c:pt>
                <c:pt idx="814">
                  <c:v>47</c:v>
                </c:pt>
                <c:pt idx="815">
                  <c:v>45.8</c:v>
                </c:pt>
                <c:pt idx="816">
                  <c:v>43.78</c:v>
                </c:pt>
                <c:pt idx="817">
                  <c:v>43.84</c:v>
                </c:pt>
                <c:pt idx="818">
                  <c:v>44.589995999999999</c:v>
                </c:pt>
                <c:pt idx="819">
                  <c:v>45.05</c:v>
                </c:pt>
                <c:pt idx="820">
                  <c:v>45.269996999999996</c:v>
                </c:pt>
                <c:pt idx="821">
                  <c:v>44.01</c:v>
                </c:pt>
                <c:pt idx="822">
                  <c:v>44.489998</c:v>
                </c:pt>
                <c:pt idx="823">
                  <c:v>44.199997000000003</c:v>
                </c:pt>
                <c:pt idx="824">
                  <c:v>44.989998</c:v>
                </c:pt>
                <c:pt idx="825">
                  <c:v>45.13</c:v>
                </c:pt>
                <c:pt idx="826">
                  <c:v>44.499996000000003</c:v>
                </c:pt>
                <c:pt idx="827">
                  <c:v>45.179996000000003</c:v>
                </c:pt>
                <c:pt idx="828">
                  <c:v>45.089995999999999</c:v>
                </c:pt>
                <c:pt idx="829">
                  <c:v>45.25</c:v>
                </c:pt>
                <c:pt idx="830">
                  <c:v>45.17</c:v>
                </c:pt>
                <c:pt idx="831">
                  <c:v>44.3</c:v>
                </c:pt>
                <c:pt idx="832">
                  <c:v>44.53</c:v>
                </c:pt>
                <c:pt idx="833">
                  <c:v>45.81</c:v>
                </c:pt>
                <c:pt idx="834">
                  <c:v>45.690002</c:v>
                </c:pt>
                <c:pt idx="835">
                  <c:v>46.7</c:v>
                </c:pt>
                <c:pt idx="836">
                  <c:v>46.08</c:v>
                </c:pt>
                <c:pt idx="837">
                  <c:v>44.06</c:v>
                </c:pt>
                <c:pt idx="838">
                  <c:v>42.09</c:v>
                </c:pt>
                <c:pt idx="839">
                  <c:v>42.89</c:v>
                </c:pt>
                <c:pt idx="840">
                  <c:v>41.829998000000003</c:v>
                </c:pt>
                <c:pt idx="841">
                  <c:v>42.62</c:v>
                </c:pt>
                <c:pt idx="842">
                  <c:v>43.399997999999997</c:v>
                </c:pt>
                <c:pt idx="843">
                  <c:v>44.86</c:v>
                </c:pt>
                <c:pt idx="844">
                  <c:v>45.089995999999999</c:v>
                </c:pt>
                <c:pt idx="845">
                  <c:v>45.17</c:v>
                </c:pt>
                <c:pt idx="846">
                  <c:v>41.059998</c:v>
                </c:pt>
                <c:pt idx="847">
                  <c:v>37.75</c:v>
                </c:pt>
                <c:pt idx="848">
                  <c:v>38.950000000000003</c:v>
                </c:pt>
                <c:pt idx="849">
                  <c:v>40.57</c:v>
                </c:pt>
                <c:pt idx="850">
                  <c:v>41.04</c:v>
                </c:pt>
                <c:pt idx="851">
                  <c:v>41.37</c:v>
                </c:pt>
                <c:pt idx="852">
                  <c:v>40.289997</c:v>
                </c:pt>
                <c:pt idx="853">
                  <c:v>39.309998</c:v>
                </c:pt>
                <c:pt idx="854">
                  <c:v>40.089995999999999</c:v>
                </c:pt>
                <c:pt idx="855">
                  <c:v>41.479996</c:v>
                </c:pt>
                <c:pt idx="856">
                  <c:v>42.41</c:v>
                </c:pt>
                <c:pt idx="857">
                  <c:v>46.159996</c:v>
                </c:pt>
                <c:pt idx="858">
                  <c:v>45.859997</c:v>
                </c:pt>
                <c:pt idx="859">
                  <c:v>47.850002000000003</c:v>
                </c:pt>
                <c:pt idx="860">
                  <c:v>47.429996000000003</c:v>
                </c:pt>
                <c:pt idx="861">
                  <c:v>47.71</c:v>
                </c:pt>
                <c:pt idx="862">
                  <c:v>47.850002000000003</c:v>
                </c:pt>
                <c:pt idx="863">
                  <c:v>48.3</c:v>
                </c:pt>
                <c:pt idx="864">
                  <c:v>46.659996</c:v>
                </c:pt>
                <c:pt idx="865">
                  <c:v>47.57</c:v>
                </c:pt>
                <c:pt idx="866">
                  <c:v>46.89</c:v>
                </c:pt>
                <c:pt idx="867">
                  <c:v>47.729996</c:v>
                </c:pt>
                <c:pt idx="868">
                  <c:v>47.44</c:v>
                </c:pt>
                <c:pt idx="869">
                  <c:v>47.399997999999997</c:v>
                </c:pt>
                <c:pt idx="870">
                  <c:v>46.89</c:v>
                </c:pt>
                <c:pt idx="871">
                  <c:v>47.36</c:v>
                </c:pt>
                <c:pt idx="872">
                  <c:v>44.399997999999997</c:v>
                </c:pt>
                <c:pt idx="873">
                  <c:v>44.899997999999997</c:v>
                </c:pt>
                <c:pt idx="874">
                  <c:v>45.9</c:v>
                </c:pt>
                <c:pt idx="875">
                  <c:v>48.409996</c:v>
                </c:pt>
                <c:pt idx="876">
                  <c:v>48.489998</c:v>
                </c:pt>
                <c:pt idx="877">
                  <c:v>47.809998</c:v>
                </c:pt>
                <c:pt idx="878">
                  <c:v>47.12</c:v>
                </c:pt>
                <c:pt idx="879">
                  <c:v>47.27</c:v>
                </c:pt>
                <c:pt idx="880">
                  <c:v>47.1</c:v>
                </c:pt>
                <c:pt idx="881">
                  <c:v>48.01</c:v>
                </c:pt>
                <c:pt idx="882">
                  <c:v>47.989998</c:v>
                </c:pt>
                <c:pt idx="883">
                  <c:v>48.18</c:v>
                </c:pt>
                <c:pt idx="884">
                  <c:v>47.6</c:v>
                </c:pt>
                <c:pt idx="885">
                  <c:v>47.09</c:v>
                </c:pt>
                <c:pt idx="886">
                  <c:v>46.949997000000003</c:v>
                </c:pt>
                <c:pt idx="887">
                  <c:v>47.489998</c:v>
                </c:pt>
                <c:pt idx="888">
                  <c:v>47.6</c:v>
                </c:pt>
                <c:pt idx="889">
                  <c:v>47.53</c:v>
                </c:pt>
                <c:pt idx="890">
                  <c:v>46.870002999999997</c:v>
                </c:pt>
                <c:pt idx="891">
                  <c:v>46.949997000000003</c:v>
                </c:pt>
                <c:pt idx="892">
                  <c:v>50.99</c:v>
                </c:pt>
                <c:pt idx="893">
                  <c:v>50.41</c:v>
                </c:pt>
                <c:pt idx="894">
                  <c:v>50.89</c:v>
                </c:pt>
                <c:pt idx="895">
                  <c:v>51.09</c:v>
                </c:pt>
                <c:pt idx="896">
                  <c:v>51.14</c:v>
                </c:pt>
                <c:pt idx="897">
                  <c:v>53.679996000000003</c:v>
                </c:pt>
                <c:pt idx="898">
                  <c:v>54.359997</c:v>
                </c:pt>
                <c:pt idx="899">
                  <c:v>52.45</c:v>
                </c:pt>
                <c:pt idx="900">
                  <c:v>53.25</c:v>
                </c:pt>
                <c:pt idx="901">
                  <c:v>51.639995999999996</c:v>
                </c:pt>
                <c:pt idx="902">
                  <c:v>51</c:v>
                </c:pt>
                <c:pt idx="903">
                  <c:v>51.71</c:v>
                </c:pt>
                <c:pt idx="904">
                  <c:v>51</c:v>
                </c:pt>
                <c:pt idx="905">
                  <c:v>50.960003</c:v>
                </c:pt>
                <c:pt idx="906">
                  <c:v>50.31</c:v>
                </c:pt>
                <c:pt idx="907">
                  <c:v>50.23</c:v>
                </c:pt>
                <c:pt idx="908">
                  <c:v>51.039997</c:v>
                </c:pt>
                <c:pt idx="909">
                  <c:v>50.949997000000003</c:v>
                </c:pt>
                <c:pt idx="910">
                  <c:v>49.45</c:v>
                </c:pt>
                <c:pt idx="911">
                  <c:v>50.41</c:v>
                </c:pt>
                <c:pt idx="912">
                  <c:v>50.659996</c:v>
                </c:pt>
                <c:pt idx="913">
                  <c:v>51.14</c:v>
                </c:pt>
                <c:pt idx="914">
                  <c:v>52.47</c:v>
                </c:pt>
                <c:pt idx="915">
                  <c:v>53.25</c:v>
                </c:pt>
                <c:pt idx="916">
                  <c:v>53.73</c:v>
                </c:pt>
                <c:pt idx="917">
                  <c:v>53.82</c:v>
                </c:pt>
                <c:pt idx="918">
                  <c:v>53.979996</c:v>
                </c:pt>
                <c:pt idx="919">
                  <c:v>52.82</c:v>
                </c:pt>
                <c:pt idx="920">
                  <c:v>54.2</c:v>
                </c:pt>
                <c:pt idx="921">
                  <c:v>53.52</c:v>
                </c:pt>
                <c:pt idx="922">
                  <c:v>52.879997000000003</c:v>
                </c:pt>
                <c:pt idx="923">
                  <c:v>53.69</c:v>
                </c:pt>
                <c:pt idx="924">
                  <c:v>53.199997000000003</c:v>
                </c:pt>
                <c:pt idx="925">
                  <c:v>53.03</c:v>
                </c:pt>
                <c:pt idx="926">
                  <c:v>53.679996000000003</c:v>
                </c:pt>
                <c:pt idx="927">
                  <c:v>55.44</c:v>
                </c:pt>
                <c:pt idx="928">
                  <c:v>56.57</c:v>
                </c:pt>
                <c:pt idx="929">
                  <c:v>55.6</c:v>
                </c:pt>
                <c:pt idx="930">
                  <c:v>55.039997</c:v>
                </c:pt>
                <c:pt idx="931">
                  <c:v>54.629997000000003</c:v>
                </c:pt>
                <c:pt idx="932">
                  <c:v>53.979996</c:v>
                </c:pt>
                <c:pt idx="933">
                  <c:v>54.42</c:v>
                </c:pt>
                <c:pt idx="934">
                  <c:v>55.11</c:v>
                </c:pt>
                <c:pt idx="935">
                  <c:v>56.229996</c:v>
                </c:pt>
                <c:pt idx="936">
                  <c:v>56</c:v>
                </c:pt>
                <c:pt idx="937">
                  <c:v>56.140003</c:v>
                </c:pt>
                <c:pt idx="938">
                  <c:v>55.94</c:v>
                </c:pt>
                <c:pt idx="939">
                  <c:v>57.23</c:v>
                </c:pt>
                <c:pt idx="940">
                  <c:v>58.53</c:v>
                </c:pt>
                <c:pt idx="941">
                  <c:v>59.309998</c:v>
                </c:pt>
                <c:pt idx="942">
                  <c:v>60.13</c:v>
                </c:pt>
                <c:pt idx="943">
                  <c:v>59.940002</c:v>
                </c:pt>
                <c:pt idx="944">
                  <c:v>60.25</c:v>
                </c:pt>
                <c:pt idx="945">
                  <c:v>62.94</c:v>
                </c:pt>
                <c:pt idx="946">
                  <c:v>66.06</c:v>
                </c:pt>
                <c:pt idx="947">
                  <c:v>65.5</c:v>
                </c:pt>
                <c:pt idx="948">
                  <c:v>67.86</c:v>
                </c:pt>
                <c:pt idx="949">
                  <c:v>68.290000000000006</c:v>
                </c:pt>
                <c:pt idx="950">
                  <c:v>68.989999999999995</c:v>
                </c:pt>
                <c:pt idx="951">
                  <c:v>69.5</c:v>
                </c:pt>
                <c:pt idx="952">
                  <c:v>69.88</c:v>
                </c:pt>
                <c:pt idx="953">
                  <c:v>70.090003999999993</c:v>
                </c:pt>
                <c:pt idx="954">
                  <c:v>69.25</c:v>
                </c:pt>
                <c:pt idx="955">
                  <c:v>69.72</c:v>
                </c:pt>
                <c:pt idx="956">
                  <c:v>68.95</c:v>
                </c:pt>
                <c:pt idx="957">
                  <c:v>68.47</c:v>
                </c:pt>
                <c:pt idx="958">
                  <c:v>69.27</c:v>
                </c:pt>
                <c:pt idx="959">
                  <c:v>68.260000000000005</c:v>
                </c:pt>
                <c:pt idx="960">
                  <c:v>70.97</c:v>
                </c:pt>
                <c:pt idx="961">
                  <c:v>72.430000000000007</c:v>
                </c:pt>
                <c:pt idx="962">
                  <c:v>72.739999999999995</c:v>
                </c:pt>
                <c:pt idx="963">
                  <c:v>75.170006000000001</c:v>
                </c:pt>
                <c:pt idx="964">
                  <c:v>73.239999999999995</c:v>
                </c:pt>
                <c:pt idx="965">
                  <c:v>72.55</c:v>
                </c:pt>
                <c:pt idx="966">
                  <c:v>72.94</c:v>
                </c:pt>
                <c:pt idx="967">
                  <c:v>74.790000000000006</c:v>
                </c:pt>
                <c:pt idx="968">
                  <c:v>74.42</c:v>
                </c:pt>
                <c:pt idx="969">
                  <c:v>74.48</c:v>
                </c:pt>
                <c:pt idx="970">
                  <c:v>76.05</c:v>
                </c:pt>
                <c:pt idx="971">
                  <c:v>75.72</c:v>
                </c:pt>
                <c:pt idx="972">
                  <c:v>74.19</c:v>
                </c:pt>
                <c:pt idx="973">
                  <c:v>74.790000000000006</c:v>
                </c:pt>
                <c:pt idx="974">
                  <c:v>74.67</c:v>
                </c:pt>
                <c:pt idx="975">
                  <c:v>73.53</c:v>
                </c:pt>
                <c:pt idx="976">
                  <c:v>73.28</c:v>
                </c:pt>
                <c:pt idx="977">
                  <c:v>72.88</c:v>
                </c:pt>
                <c:pt idx="978">
                  <c:v>72.709999999999994</c:v>
                </c:pt>
                <c:pt idx="979">
                  <c:v>73.020004</c:v>
                </c:pt>
                <c:pt idx="980">
                  <c:v>70.930000000000007</c:v>
                </c:pt>
                <c:pt idx="981">
                  <c:v>71.37</c:v>
                </c:pt>
                <c:pt idx="982">
                  <c:v>71.28</c:v>
                </c:pt>
                <c:pt idx="983">
                  <c:v>73.659996000000007</c:v>
                </c:pt>
                <c:pt idx="984">
                  <c:v>75.040000000000006</c:v>
                </c:pt>
                <c:pt idx="985">
                  <c:v>74</c:v>
                </c:pt>
                <c:pt idx="986">
                  <c:v>74.319999999999993</c:v>
                </c:pt>
                <c:pt idx="987">
                  <c:v>73.739999999999995</c:v>
                </c:pt>
                <c:pt idx="988">
                  <c:v>74</c:v>
                </c:pt>
                <c:pt idx="989">
                  <c:v>74.020004</c:v>
                </c:pt>
                <c:pt idx="990">
                  <c:v>75.239999999999995</c:v>
                </c:pt>
                <c:pt idx="991">
                  <c:v>72.75</c:v>
                </c:pt>
                <c:pt idx="992">
                  <c:v>73.180000000000007</c:v>
                </c:pt>
                <c:pt idx="993">
                  <c:v>73.59</c:v>
                </c:pt>
                <c:pt idx="994">
                  <c:v>75.380004999999997</c:v>
                </c:pt>
                <c:pt idx="995">
                  <c:v>74.42</c:v>
                </c:pt>
                <c:pt idx="996">
                  <c:v>71.72</c:v>
                </c:pt>
                <c:pt idx="997">
                  <c:v>70.47</c:v>
                </c:pt>
                <c:pt idx="998">
                  <c:v>71.48</c:v>
                </c:pt>
                <c:pt idx="999">
                  <c:v>72.14</c:v>
                </c:pt>
                <c:pt idx="1000">
                  <c:v>73.06</c:v>
                </c:pt>
                <c:pt idx="1001">
                  <c:v>73.5</c:v>
                </c:pt>
                <c:pt idx="1002">
                  <c:v>71.290000000000006</c:v>
                </c:pt>
                <c:pt idx="1003">
                  <c:v>71.7</c:v>
                </c:pt>
                <c:pt idx="1004">
                  <c:v>72.98</c:v>
                </c:pt>
                <c:pt idx="1005">
                  <c:v>72.599999999999994</c:v>
                </c:pt>
                <c:pt idx="1006">
                  <c:v>73.840003999999993</c:v>
                </c:pt>
                <c:pt idx="1007">
                  <c:v>73.739999999999995</c:v>
                </c:pt>
                <c:pt idx="1008">
                  <c:v>75.75</c:v>
                </c:pt>
                <c:pt idx="1009">
                  <c:v>75.67</c:v>
                </c:pt>
                <c:pt idx="1010">
                  <c:v>75.959999999999994</c:v>
                </c:pt>
                <c:pt idx="1011">
                  <c:v>75.41</c:v>
                </c:pt>
                <c:pt idx="1012">
                  <c:v>75.430000000000007</c:v>
                </c:pt>
                <c:pt idx="1013">
                  <c:v>74.56</c:v>
                </c:pt>
                <c:pt idx="1014">
                  <c:v>75.08</c:v>
                </c:pt>
                <c:pt idx="1015">
                  <c:v>75.28</c:v>
                </c:pt>
                <c:pt idx="1016">
                  <c:v>74.090003999999993</c:v>
                </c:pt>
                <c:pt idx="1017">
                  <c:v>75.39</c:v>
                </c:pt>
                <c:pt idx="1018">
                  <c:v>73.28</c:v>
                </c:pt>
                <c:pt idx="1019">
                  <c:v>75.590003999999993</c:v>
                </c:pt>
                <c:pt idx="1020">
                  <c:v>73.14</c:v>
                </c:pt>
                <c:pt idx="1021">
                  <c:v>72.64</c:v>
                </c:pt>
                <c:pt idx="1022">
                  <c:v>73.44</c:v>
                </c:pt>
                <c:pt idx="1023">
                  <c:v>72.540000000000006</c:v>
                </c:pt>
                <c:pt idx="1024">
                  <c:v>72.340003999999993</c:v>
                </c:pt>
                <c:pt idx="1025">
                  <c:v>69.849999999999994</c:v>
                </c:pt>
                <c:pt idx="1026">
                  <c:v>66.549994999999996</c:v>
                </c:pt>
                <c:pt idx="1027">
                  <c:v>68.17</c:v>
                </c:pt>
                <c:pt idx="1028">
                  <c:v>67.560005000000004</c:v>
                </c:pt>
                <c:pt idx="1029">
                  <c:v>66.790000000000006</c:v>
                </c:pt>
                <c:pt idx="1030">
                  <c:v>67.489999999999995</c:v>
                </c:pt>
                <c:pt idx="1031">
                  <c:v>65.28</c:v>
                </c:pt>
                <c:pt idx="1032">
                  <c:v>66.95</c:v>
                </c:pt>
                <c:pt idx="1033">
                  <c:v>67.5</c:v>
                </c:pt>
                <c:pt idx="1034">
                  <c:v>67.930000000000007</c:v>
                </c:pt>
                <c:pt idx="1035">
                  <c:v>68.37</c:v>
                </c:pt>
                <c:pt idx="1036">
                  <c:v>70.739999999999995</c:v>
                </c:pt>
                <c:pt idx="1037">
                  <c:v>69.849999999999994</c:v>
                </c:pt>
                <c:pt idx="1038">
                  <c:v>70.78</c:v>
                </c:pt>
                <c:pt idx="1039">
                  <c:v>70.64</c:v>
                </c:pt>
                <c:pt idx="1040">
                  <c:v>71.349999999999994</c:v>
                </c:pt>
                <c:pt idx="1041">
                  <c:v>69.760000000000005</c:v>
                </c:pt>
                <c:pt idx="1042">
                  <c:v>70.06</c:v>
                </c:pt>
                <c:pt idx="1043">
                  <c:v>70.22</c:v>
                </c:pt>
                <c:pt idx="1044">
                  <c:v>70.880004999999997</c:v>
                </c:pt>
                <c:pt idx="1045">
                  <c:v>71.52</c:v>
                </c:pt>
                <c:pt idx="1046">
                  <c:v>70.709999999999994</c:v>
                </c:pt>
                <c:pt idx="1047">
                  <c:v>69.930000000000007</c:v>
                </c:pt>
                <c:pt idx="1048">
                  <c:v>69.069999999999993</c:v>
                </c:pt>
                <c:pt idx="1049">
                  <c:v>70.770004</c:v>
                </c:pt>
                <c:pt idx="1050">
                  <c:v>67.75</c:v>
                </c:pt>
                <c:pt idx="1051">
                  <c:v>69.290000000000006</c:v>
                </c:pt>
                <c:pt idx="1052">
                  <c:v>69.8</c:v>
                </c:pt>
                <c:pt idx="1053">
                  <c:v>69.56</c:v>
                </c:pt>
                <c:pt idx="1054">
                  <c:v>71</c:v>
                </c:pt>
                <c:pt idx="1055">
                  <c:v>70.97</c:v>
                </c:pt>
                <c:pt idx="1056">
                  <c:v>71.33</c:v>
                </c:pt>
                <c:pt idx="1057">
                  <c:v>70.700005000000004</c:v>
                </c:pt>
                <c:pt idx="1058">
                  <c:v>70.209999999999994</c:v>
                </c:pt>
                <c:pt idx="1059">
                  <c:v>70.27</c:v>
                </c:pt>
                <c:pt idx="1060">
                  <c:v>73.94</c:v>
                </c:pt>
                <c:pt idx="1061">
                  <c:v>74.209999999999994</c:v>
                </c:pt>
                <c:pt idx="1062">
                  <c:v>74.91</c:v>
                </c:pt>
                <c:pt idx="1063">
                  <c:v>75.3</c:v>
                </c:pt>
                <c:pt idx="1064">
                  <c:v>74.98</c:v>
                </c:pt>
                <c:pt idx="1065">
                  <c:v>78.549994999999996</c:v>
                </c:pt>
                <c:pt idx="1066">
                  <c:v>78.549994999999996</c:v>
                </c:pt>
                <c:pt idx="1067">
                  <c:v>77.36</c:v>
                </c:pt>
                <c:pt idx="1068">
                  <c:v>76.409996000000007</c:v>
                </c:pt>
                <c:pt idx="1069">
                  <c:v>77.789990000000003</c:v>
                </c:pt>
                <c:pt idx="1070">
                  <c:v>79.06</c:v>
                </c:pt>
                <c:pt idx="1071">
                  <c:v>76.180000000000007</c:v>
                </c:pt>
                <c:pt idx="1072">
                  <c:v>75.98</c:v>
                </c:pt>
                <c:pt idx="1073">
                  <c:v>77.979996</c:v>
                </c:pt>
                <c:pt idx="1074">
                  <c:v>78.92</c:v>
                </c:pt>
                <c:pt idx="1075">
                  <c:v>79.03</c:v>
                </c:pt>
                <c:pt idx="1076">
                  <c:v>78.94</c:v>
                </c:pt>
                <c:pt idx="1077">
                  <c:v>81.409996000000007</c:v>
                </c:pt>
                <c:pt idx="1078">
                  <c:v>81.25</c:v>
                </c:pt>
                <c:pt idx="1079">
                  <c:v>79.25</c:v>
                </c:pt>
                <c:pt idx="1080">
                  <c:v>79.67</c:v>
                </c:pt>
                <c:pt idx="1081">
                  <c:v>80.979996</c:v>
                </c:pt>
                <c:pt idx="1082">
                  <c:v>82.03</c:v>
                </c:pt>
                <c:pt idx="1083">
                  <c:v>81.67</c:v>
                </c:pt>
                <c:pt idx="1084">
                  <c:v>81.239999999999995</c:v>
                </c:pt>
                <c:pt idx="1085">
                  <c:v>81.66</c:v>
                </c:pt>
                <c:pt idx="1086">
                  <c:v>80.52</c:v>
                </c:pt>
                <c:pt idx="1087">
                  <c:v>78.83</c:v>
                </c:pt>
                <c:pt idx="1088">
                  <c:v>77.729996</c:v>
                </c:pt>
                <c:pt idx="1089">
                  <c:v>77.479996</c:v>
                </c:pt>
                <c:pt idx="1090">
                  <c:v>77.56</c:v>
                </c:pt>
                <c:pt idx="1091">
                  <c:v>77.340003999999993</c:v>
                </c:pt>
                <c:pt idx="1092">
                  <c:v>76.78</c:v>
                </c:pt>
                <c:pt idx="1093">
                  <c:v>78.63</c:v>
                </c:pt>
                <c:pt idx="1094">
                  <c:v>77.279989999999998</c:v>
                </c:pt>
                <c:pt idx="1095">
                  <c:v>77.59</c:v>
                </c:pt>
                <c:pt idx="1096">
                  <c:v>77.45</c:v>
                </c:pt>
                <c:pt idx="1097">
                  <c:v>76.789990000000003</c:v>
                </c:pt>
                <c:pt idx="1098">
                  <c:v>77.03</c:v>
                </c:pt>
                <c:pt idx="1099">
                  <c:v>76</c:v>
                </c:pt>
                <c:pt idx="1100">
                  <c:v>76.7</c:v>
                </c:pt>
                <c:pt idx="1101">
                  <c:v>75.44</c:v>
                </c:pt>
                <c:pt idx="1102">
                  <c:v>75.25</c:v>
                </c:pt>
                <c:pt idx="1103">
                  <c:v>75.08</c:v>
                </c:pt>
                <c:pt idx="1104">
                  <c:v>76.540000000000006</c:v>
                </c:pt>
                <c:pt idx="1105">
                  <c:v>77.709999999999994</c:v>
                </c:pt>
                <c:pt idx="1106">
                  <c:v>78.94</c:v>
                </c:pt>
                <c:pt idx="1107">
                  <c:v>78.259995000000004</c:v>
                </c:pt>
                <c:pt idx="1108">
                  <c:v>76.920006000000001</c:v>
                </c:pt>
                <c:pt idx="1109">
                  <c:v>80.529989999999998</c:v>
                </c:pt>
                <c:pt idx="1110">
                  <c:v>80.17</c:v>
                </c:pt>
                <c:pt idx="1111">
                  <c:v>79.849999999999994</c:v>
                </c:pt>
                <c:pt idx="1112">
                  <c:v>79.78</c:v>
                </c:pt>
                <c:pt idx="1113">
                  <c:v>78.900000000000006</c:v>
                </c:pt>
                <c:pt idx="1114">
                  <c:v>74.239999999999995</c:v>
                </c:pt>
                <c:pt idx="1115">
                  <c:v>72.08</c:v>
                </c:pt>
                <c:pt idx="1116">
                  <c:v>71.569999999999993</c:v>
                </c:pt>
                <c:pt idx="1117">
                  <c:v>70.430000000000007</c:v>
                </c:pt>
                <c:pt idx="1118">
                  <c:v>69.479996</c:v>
                </c:pt>
                <c:pt idx="1119">
                  <c:v>70.239999999999995</c:v>
                </c:pt>
                <c:pt idx="1120">
                  <c:v>68.09</c:v>
                </c:pt>
                <c:pt idx="1121">
                  <c:v>67.88</c:v>
                </c:pt>
                <c:pt idx="1122">
                  <c:v>67.680000000000007</c:v>
                </c:pt>
                <c:pt idx="1123">
                  <c:v>67.86</c:v>
                </c:pt>
                <c:pt idx="1124">
                  <c:v>67.439994999999996</c:v>
                </c:pt>
                <c:pt idx="1125">
                  <c:v>68.19</c:v>
                </c:pt>
                <c:pt idx="1126">
                  <c:v>68.91</c:v>
                </c:pt>
                <c:pt idx="1127">
                  <c:v>68.39</c:v>
                </c:pt>
                <c:pt idx="1128">
                  <c:v>67.790000000000006</c:v>
                </c:pt>
                <c:pt idx="1129">
                  <c:v>67.060005000000004</c:v>
                </c:pt>
                <c:pt idx="1130">
                  <c:v>65.239999999999995</c:v>
                </c:pt>
                <c:pt idx="1131">
                  <c:v>65.869995000000003</c:v>
                </c:pt>
                <c:pt idx="1132">
                  <c:v>66.709999999999994</c:v>
                </c:pt>
                <c:pt idx="1133">
                  <c:v>66.959999999999994</c:v>
                </c:pt>
                <c:pt idx="1134">
                  <c:v>66.92</c:v>
                </c:pt>
                <c:pt idx="1135">
                  <c:v>64.7</c:v>
                </c:pt>
                <c:pt idx="1136">
                  <c:v>64.75</c:v>
                </c:pt>
                <c:pt idx="1137">
                  <c:v>64.849999999999994</c:v>
                </c:pt>
                <c:pt idx="1138">
                  <c:v>64.7</c:v>
                </c:pt>
                <c:pt idx="1139">
                  <c:v>62.829998000000003</c:v>
                </c:pt>
                <c:pt idx="1140">
                  <c:v>61.48</c:v>
                </c:pt>
                <c:pt idx="1141">
                  <c:v>63.36</c:v>
                </c:pt>
                <c:pt idx="1142">
                  <c:v>63.15</c:v>
                </c:pt>
                <c:pt idx="1143">
                  <c:v>62.89</c:v>
                </c:pt>
                <c:pt idx="1144">
                  <c:v>62.02</c:v>
                </c:pt>
                <c:pt idx="1145">
                  <c:v>61.96</c:v>
                </c:pt>
                <c:pt idx="1146">
                  <c:v>62.43</c:v>
                </c:pt>
                <c:pt idx="1147">
                  <c:v>61.100002000000003</c:v>
                </c:pt>
                <c:pt idx="1148">
                  <c:v>60.33</c:v>
                </c:pt>
                <c:pt idx="1149">
                  <c:v>58.58</c:v>
                </c:pt>
                <c:pt idx="1150">
                  <c:v>58.38</c:v>
                </c:pt>
                <c:pt idx="1151">
                  <c:v>60.46</c:v>
                </c:pt>
                <c:pt idx="1152">
                  <c:v>61.24</c:v>
                </c:pt>
                <c:pt idx="1153">
                  <c:v>61.66</c:v>
                </c:pt>
                <c:pt idx="1154">
                  <c:v>61.25</c:v>
                </c:pt>
                <c:pt idx="1155">
                  <c:v>59.8</c:v>
                </c:pt>
                <c:pt idx="1156">
                  <c:v>58.11</c:v>
                </c:pt>
                <c:pt idx="1157">
                  <c:v>57.54</c:v>
                </c:pt>
                <c:pt idx="1158">
                  <c:v>58.059998</c:v>
                </c:pt>
                <c:pt idx="1159">
                  <c:v>58.53</c:v>
                </c:pt>
                <c:pt idx="1160">
                  <c:v>58.8</c:v>
                </c:pt>
                <c:pt idx="1161">
                  <c:v>59.440002</c:v>
                </c:pt>
                <c:pt idx="1162">
                  <c:v>59.68</c:v>
                </c:pt>
                <c:pt idx="1163">
                  <c:v>60.920001999999997</c:v>
                </c:pt>
                <c:pt idx="1164">
                  <c:v>61.16</c:v>
                </c:pt>
                <c:pt idx="1165">
                  <c:v>60.879997000000003</c:v>
                </c:pt>
                <c:pt idx="1166">
                  <c:v>60.43</c:v>
                </c:pt>
                <c:pt idx="1167">
                  <c:v>64.14</c:v>
                </c:pt>
                <c:pt idx="1168">
                  <c:v>64.47</c:v>
                </c:pt>
                <c:pt idx="1169">
                  <c:v>64.319999999999993</c:v>
                </c:pt>
                <c:pt idx="1170">
                  <c:v>65.25</c:v>
                </c:pt>
                <c:pt idx="1171">
                  <c:v>64.7</c:v>
                </c:pt>
                <c:pt idx="1172">
                  <c:v>67.72</c:v>
                </c:pt>
                <c:pt idx="1173">
                  <c:v>67.400000000000006</c:v>
                </c:pt>
                <c:pt idx="1174">
                  <c:v>66.64</c:v>
                </c:pt>
                <c:pt idx="1175">
                  <c:v>67.569999999999993</c:v>
                </c:pt>
                <c:pt idx="1176">
                  <c:v>66.95</c:v>
                </c:pt>
                <c:pt idx="1177">
                  <c:v>67.510000000000005</c:v>
                </c:pt>
                <c:pt idx="1178">
                  <c:v>67.989999999999995</c:v>
                </c:pt>
                <c:pt idx="1179">
                  <c:v>59.78</c:v>
                </c:pt>
                <c:pt idx="1180">
                  <c:v>59.899997999999997</c:v>
                </c:pt>
                <c:pt idx="1181">
                  <c:v>59.1</c:v>
                </c:pt>
                <c:pt idx="1182">
                  <c:v>59.91</c:v>
                </c:pt>
                <c:pt idx="1183">
                  <c:v>59.92</c:v>
                </c:pt>
                <c:pt idx="1184">
                  <c:v>59.95</c:v>
                </c:pt>
                <c:pt idx="1185">
                  <c:v>60.25</c:v>
                </c:pt>
                <c:pt idx="1186">
                  <c:v>59.039997</c:v>
                </c:pt>
                <c:pt idx="1187">
                  <c:v>58.480003000000004</c:v>
                </c:pt>
                <c:pt idx="1188">
                  <c:v>58.64</c:v>
                </c:pt>
                <c:pt idx="1189">
                  <c:v>58.269996999999996</c:v>
                </c:pt>
                <c:pt idx="1190">
                  <c:v>59.65</c:v>
                </c:pt>
                <c:pt idx="1191">
                  <c:v>59.92</c:v>
                </c:pt>
                <c:pt idx="1192">
                  <c:v>58.71</c:v>
                </c:pt>
                <c:pt idx="1193">
                  <c:v>58.92</c:v>
                </c:pt>
                <c:pt idx="1194">
                  <c:v>58.39</c:v>
                </c:pt>
                <c:pt idx="1195">
                  <c:v>58.52</c:v>
                </c:pt>
                <c:pt idx="1196">
                  <c:v>57.81</c:v>
                </c:pt>
                <c:pt idx="1197">
                  <c:v>57.199997000000003</c:v>
                </c:pt>
                <c:pt idx="1198">
                  <c:v>57.489998</c:v>
                </c:pt>
                <c:pt idx="1199">
                  <c:v>58.68</c:v>
                </c:pt>
                <c:pt idx="1200">
                  <c:v>58.2</c:v>
                </c:pt>
                <c:pt idx="1201">
                  <c:v>58.760002</c:v>
                </c:pt>
                <c:pt idx="1202">
                  <c:v>59.71</c:v>
                </c:pt>
                <c:pt idx="1203">
                  <c:v>59.69</c:v>
                </c:pt>
                <c:pt idx="1204">
                  <c:v>59.429996000000003</c:v>
                </c:pt>
                <c:pt idx="1205">
                  <c:v>59.09</c:v>
                </c:pt>
                <c:pt idx="1206">
                  <c:v>60.19</c:v>
                </c:pt>
                <c:pt idx="1207">
                  <c:v>62.09</c:v>
                </c:pt>
                <c:pt idx="1208">
                  <c:v>63.32</c:v>
                </c:pt>
                <c:pt idx="1209">
                  <c:v>62.570003999999997</c:v>
                </c:pt>
                <c:pt idx="1210">
                  <c:v>62.59</c:v>
                </c:pt>
                <c:pt idx="1211">
                  <c:v>62.2</c:v>
                </c:pt>
                <c:pt idx="1212">
                  <c:v>62.190002</c:v>
                </c:pt>
                <c:pt idx="1213">
                  <c:v>63.53</c:v>
                </c:pt>
                <c:pt idx="1214">
                  <c:v>63.550002999999997</c:v>
                </c:pt>
                <c:pt idx="1215">
                  <c:v>64.240004999999996</c:v>
                </c:pt>
                <c:pt idx="1216">
                  <c:v>63.36</c:v>
                </c:pt>
                <c:pt idx="1217">
                  <c:v>63.03</c:v>
                </c:pt>
                <c:pt idx="1218">
                  <c:v>63.129997000000003</c:v>
                </c:pt>
                <c:pt idx="1219">
                  <c:v>63.760002</c:v>
                </c:pt>
                <c:pt idx="1220">
                  <c:v>64.56</c:v>
                </c:pt>
                <c:pt idx="1221">
                  <c:v>64.430000000000007</c:v>
                </c:pt>
                <c:pt idx="1222">
                  <c:v>65.900000000000006</c:v>
                </c:pt>
                <c:pt idx="1223">
                  <c:v>67.28</c:v>
                </c:pt>
                <c:pt idx="1224">
                  <c:v>67.25</c:v>
                </c:pt>
                <c:pt idx="1225">
                  <c:v>67.350005999999993</c:v>
                </c:pt>
                <c:pt idx="1226">
                  <c:v>67.12</c:v>
                </c:pt>
                <c:pt idx="1227">
                  <c:v>67.540000000000006</c:v>
                </c:pt>
                <c:pt idx="1228">
                  <c:v>67.400000000000006</c:v>
                </c:pt>
                <c:pt idx="1229">
                  <c:v>68.94</c:v>
                </c:pt>
                <c:pt idx="1230">
                  <c:v>68.489999999999995</c:v>
                </c:pt>
                <c:pt idx="1231">
                  <c:v>69.260000000000005</c:v>
                </c:pt>
                <c:pt idx="1232">
                  <c:v>69.36</c:v>
                </c:pt>
                <c:pt idx="1233">
                  <c:v>68.510000000000005</c:v>
                </c:pt>
                <c:pt idx="1234">
                  <c:v>68.48</c:v>
                </c:pt>
                <c:pt idx="1235">
                  <c:v>73.08</c:v>
                </c:pt>
                <c:pt idx="1236">
                  <c:v>76.450005000000004</c:v>
                </c:pt>
                <c:pt idx="1237">
                  <c:v>78.399994000000007</c:v>
                </c:pt>
                <c:pt idx="1238">
                  <c:v>77.489999999999995</c:v>
                </c:pt>
                <c:pt idx="1239">
                  <c:v>76.58</c:v>
                </c:pt>
                <c:pt idx="1240">
                  <c:v>76.3</c:v>
                </c:pt>
                <c:pt idx="1241">
                  <c:v>76.5</c:v>
                </c:pt>
                <c:pt idx="1242">
                  <c:v>76.87</c:v>
                </c:pt>
                <c:pt idx="1243">
                  <c:v>77.969989999999996</c:v>
                </c:pt>
                <c:pt idx="1244">
                  <c:v>69.05</c:v>
                </c:pt>
                <c:pt idx="1245">
                  <c:v>66.08</c:v>
                </c:pt>
                <c:pt idx="1246">
                  <c:v>66.56</c:v>
                </c:pt>
                <c:pt idx="1247">
                  <c:v>65.78</c:v>
                </c:pt>
                <c:pt idx="1248">
                  <c:v>67.010000000000005</c:v>
                </c:pt>
                <c:pt idx="1249">
                  <c:v>67.819999999999993</c:v>
                </c:pt>
                <c:pt idx="1250">
                  <c:v>67.150000000000006</c:v>
                </c:pt>
                <c:pt idx="1251">
                  <c:v>65.680000000000007</c:v>
                </c:pt>
                <c:pt idx="1252">
                  <c:v>63.4</c:v>
                </c:pt>
                <c:pt idx="1253">
                  <c:v>63.95</c:v>
                </c:pt>
                <c:pt idx="1254">
                  <c:v>65.36</c:v>
                </c:pt>
                <c:pt idx="1255">
                  <c:v>63.370002999999997</c:v>
                </c:pt>
                <c:pt idx="1256">
                  <c:v>62.98</c:v>
                </c:pt>
                <c:pt idx="1257">
                  <c:v>64.14</c:v>
                </c:pt>
                <c:pt idx="1258">
                  <c:v>65.700005000000004</c:v>
                </c:pt>
                <c:pt idx="1259">
                  <c:v>65.680000000000007</c:v>
                </c:pt>
                <c:pt idx="1260">
                  <c:v>66.739999999999995</c:v>
                </c:pt>
                <c:pt idx="1261">
                  <c:v>66.52</c:v>
                </c:pt>
                <c:pt idx="1262">
                  <c:v>66.590003999999993</c:v>
                </c:pt>
                <c:pt idx="1263">
                  <c:v>67</c:v>
                </c:pt>
                <c:pt idx="1264">
                  <c:v>66.700005000000004</c:v>
                </c:pt>
                <c:pt idx="1265">
                  <c:v>67.569999999999993</c:v>
                </c:pt>
                <c:pt idx="1266">
                  <c:v>69.260000000000005</c:v>
                </c:pt>
                <c:pt idx="1267">
                  <c:v>67.86</c:v>
                </c:pt>
                <c:pt idx="1268">
                  <c:v>67.790000000000006</c:v>
                </c:pt>
                <c:pt idx="1269">
                  <c:v>67.540000000000006</c:v>
                </c:pt>
                <c:pt idx="1270">
                  <c:v>67.510000000000005</c:v>
                </c:pt>
                <c:pt idx="1271">
                  <c:v>67.209999999999994</c:v>
                </c:pt>
                <c:pt idx="1272">
                  <c:v>67.52</c:v>
                </c:pt>
                <c:pt idx="1273">
                  <c:v>67.81</c:v>
                </c:pt>
                <c:pt idx="1274">
                  <c:v>69.869995000000003</c:v>
                </c:pt>
                <c:pt idx="1275">
                  <c:v>71.55</c:v>
                </c:pt>
                <c:pt idx="1276">
                  <c:v>72</c:v>
                </c:pt>
                <c:pt idx="1277">
                  <c:v>72.599999999999994</c:v>
                </c:pt>
                <c:pt idx="1278">
                  <c:v>70.739999999999995</c:v>
                </c:pt>
                <c:pt idx="1279">
                  <c:v>70.14</c:v>
                </c:pt>
                <c:pt idx="1280">
                  <c:v>70.880004999999997</c:v>
                </c:pt>
                <c:pt idx="1281">
                  <c:v>70.13</c:v>
                </c:pt>
                <c:pt idx="1282">
                  <c:v>70.48</c:v>
                </c:pt>
                <c:pt idx="1283">
                  <c:v>69.94</c:v>
                </c:pt>
                <c:pt idx="1284">
                  <c:v>68.450005000000004</c:v>
                </c:pt>
                <c:pt idx="1285">
                  <c:v>67.39</c:v>
                </c:pt>
                <c:pt idx="1286">
                  <c:v>68.48</c:v>
                </c:pt>
                <c:pt idx="1287">
                  <c:v>68.180000000000007</c:v>
                </c:pt>
                <c:pt idx="1288">
                  <c:v>67.909996000000007</c:v>
                </c:pt>
                <c:pt idx="1289">
                  <c:v>69.47</c:v>
                </c:pt>
                <c:pt idx="1290">
                  <c:v>66.770004</c:v>
                </c:pt>
                <c:pt idx="1291">
                  <c:v>69.189994999999996</c:v>
                </c:pt>
                <c:pt idx="1292">
                  <c:v>69.990004999999996</c:v>
                </c:pt>
                <c:pt idx="1293">
                  <c:v>70.69</c:v>
                </c:pt>
                <c:pt idx="1294">
                  <c:v>68.630004999999997</c:v>
                </c:pt>
                <c:pt idx="1295">
                  <c:v>68.520004</c:v>
                </c:pt>
                <c:pt idx="1296">
                  <c:v>67.590003999999993</c:v>
                </c:pt>
                <c:pt idx="1297">
                  <c:v>64.87</c:v>
                </c:pt>
                <c:pt idx="1298">
                  <c:v>66.099999999999994</c:v>
                </c:pt>
                <c:pt idx="1299">
                  <c:v>66.540000000000006</c:v>
                </c:pt>
                <c:pt idx="1300">
                  <c:v>67.31</c:v>
                </c:pt>
                <c:pt idx="1301">
                  <c:v>67.34</c:v>
                </c:pt>
                <c:pt idx="1302">
                  <c:v>70.58</c:v>
                </c:pt>
                <c:pt idx="1303">
                  <c:v>70.23</c:v>
                </c:pt>
                <c:pt idx="1304">
                  <c:v>71.75</c:v>
                </c:pt>
                <c:pt idx="1305">
                  <c:v>70.33</c:v>
                </c:pt>
                <c:pt idx="1306">
                  <c:v>68.95</c:v>
                </c:pt>
                <c:pt idx="1307">
                  <c:v>68.510000000000005</c:v>
                </c:pt>
                <c:pt idx="1308">
                  <c:v>66.62</c:v>
                </c:pt>
                <c:pt idx="1309">
                  <c:v>67.86</c:v>
                </c:pt>
                <c:pt idx="1310">
                  <c:v>67.540000000000006</c:v>
                </c:pt>
                <c:pt idx="1311">
                  <c:v>68.38</c:v>
                </c:pt>
                <c:pt idx="1312">
                  <c:v>67.92</c:v>
                </c:pt>
                <c:pt idx="1313">
                  <c:v>67.52</c:v>
                </c:pt>
                <c:pt idx="1314">
                  <c:v>68.319999999999993</c:v>
                </c:pt>
                <c:pt idx="1315">
                  <c:v>67.52</c:v>
                </c:pt>
                <c:pt idx="1316">
                  <c:v>67.72</c:v>
                </c:pt>
                <c:pt idx="1317">
                  <c:v>65.8</c:v>
                </c:pt>
                <c:pt idx="1318">
                  <c:v>66.020004</c:v>
                </c:pt>
                <c:pt idx="1319">
                  <c:v>66.92</c:v>
                </c:pt>
                <c:pt idx="1320">
                  <c:v>66.64</c:v>
                </c:pt>
                <c:pt idx="1321">
                  <c:v>68.030010000000004</c:v>
                </c:pt>
                <c:pt idx="1322">
                  <c:v>69.739999999999995</c:v>
                </c:pt>
                <c:pt idx="1323">
                  <c:v>69.489999999999995</c:v>
                </c:pt>
                <c:pt idx="1324">
                  <c:v>68.42</c:v>
                </c:pt>
                <c:pt idx="1325">
                  <c:v>70.069999999999993</c:v>
                </c:pt>
                <c:pt idx="1326">
                  <c:v>69.990004999999996</c:v>
                </c:pt>
                <c:pt idx="1327">
                  <c:v>69.540000000000006</c:v>
                </c:pt>
                <c:pt idx="1328">
                  <c:v>70.47</c:v>
                </c:pt>
                <c:pt idx="1329">
                  <c:v>71.680000000000007</c:v>
                </c:pt>
                <c:pt idx="1330">
                  <c:v>69.520004</c:v>
                </c:pt>
                <c:pt idx="1331">
                  <c:v>69.8</c:v>
                </c:pt>
                <c:pt idx="1332">
                  <c:v>69.59</c:v>
                </c:pt>
                <c:pt idx="1333">
                  <c:v>69.25</c:v>
                </c:pt>
                <c:pt idx="1334">
                  <c:v>69.979996</c:v>
                </c:pt>
                <c:pt idx="1335">
                  <c:v>69.319999999999993</c:v>
                </c:pt>
                <c:pt idx="1336">
                  <c:v>70.36</c:v>
                </c:pt>
                <c:pt idx="1337">
                  <c:v>69.540000000000006</c:v>
                </c:pt>
                <c:pt idx="1338">
                  <c:v>69.990004999999996</c:v>
                </c:pt>
                <c:pt idx="1339">
                  <c:v>72.150000000000006</c:v>
                </c:pt>
                <c:pt idx="1340">
                  <c:v>72.39</c:v>
                </c:pt>
                <c:pt idx="1341">
                  <c:v>72.5</c:v>
                </c:pt>
                <c:pt idx="1342">
                  <c:v>73.020004</c:v>
                </c:pt>
                <c:pt idx="1343">
                  <c:v>73.89</c:v>
                </c:pt>
                <c:pt idx="1344">
                  <c:v>74.490004999999996</c:v>
                </c:pt>
                <c:pt idx="1345">
                  <c:v>73</c:v>
                </c:pt>
                <c:pt idx="1346">
                  <c:v>74.069999999999993</c:v>
                </c:pt>
                <c:pt idx="1347">
                  <c:v>74.42</c:v>
                </c:pt>
                <c:pt idx="1348">
                  <c:v>72.94</c:v>
                </c:pt>
                <c:pt idx="1349">
                  <c:v>71.33</c:v>
                </c:pt>
                <c:pt idx="1350">
                  <c:v>71.02</c:v>
                </c:pt>
                <c:pt idx="1351">
                  <c:v>69.569999999999993</c:v>
                </c:pt>
                <c:pt idx="1352">
                  <c:v>69.44</c:v>
                </c:pt>
                <c:pt idx="1353">
                  <c:v>69.73</c:v>
                </c:pt>
                <c:pt idx="1354">
                  <c:v>70.92</c:v>
                </c:pt>
                <c:pt idx="1355">
                  <c:v>70.159996000000007</c:v>
                </c:pt>
                <c:pt idx="1356">
                  <c:v>70.92</c:v>
                </c:pt>
                <c:pt idx="1357">
                  <c:v>70.959999999999994</c:v>
                </c:pt>
                <c:pt idx="1358">
                  <c:v>71.790000000000006</c:v>
                </c:pt>
                <c:pt idx="1359">
                  <c:v>71.3</c:v>
                </c:pt>
                <c:pt idx="1360">
                  <c:v>68.88</c:v>
                </c:pt>
                <c:pt idx="1361">
                  <c:v>71.040000000000006</c:v>
                </c:pt>
                <c:pt idx="1362">
                  <c:v>72.099999999999994</c:v>
                </c:pt>
                <c:pt idx="1363">
                  <c:v>72.260000000000005</c:v>
                </c:pt>
                <c:pt idx="1364">
                  <c:v>72.619995000000003</c:v>
                </c:pt>
                <c:pt idx="1365">
                  <c:v>79</c:v>
                </c:pt>
                <c:pt idx="1366">
                  <c:v>80.59</c:v>
                </c:pt>
                <c:pt idx="1367">
                  <c:v>80.909996000000007</c:v>
                </c:pt>
                <c:pt idx="1368">
                  <c:v>81.59</c:v>
                </c:pt>
                <c:pt idx="1369">
                  <c:v>80.039990000000003</c:v>
                </c:pt>
                <c:pt idx="1370">
                  <c:v>80.56</c:v>
                </c:pt>
                <c:pt idx="1371">
                  <c:v>81.239999999999995</c:v>
                </c:pt>
                <c:pt idx="1372">
                  <c:v>80.010000000000005</c:v>
                </c:pt>
                <c:pt idx="1373">
                  <c:v>80.069999999999993</c:v>
                </c:pt>
                <c:pt idx="1374">
                  <c:v>80.399994000000007</c:v>
                </c:pt>
                <c:pt idx="1375">
                  <c:v>80.02</c:v>
                </c:pt>
                <c:pt idx="1376">
                  <c:v>80.849999999999994</c:v>
                </c:pt>
                <c:pt idx="1377">
                  <c:v>81.34</c:v>
                </c:pt>
                <c:pt idx="1378">
                  <c:v>81.829993999999999</c:v>
                </c:pt>
                <c:pt idx="1379">
                  <c:v>82.32</c:v>
                </c:pt>
                <c:pt idx="1380">
                  <c:v>82.79</c:v>
                </c:pt>
                <c:pt idx="1381">
                  <c:v>82.75</c:v>
                </c:pt>
                <c:pt idx="1382">
                  <c:v>81.719989999999996</c:v>
                </c:pt>
                <c:pt idx="1383">
                  <c:v>81.209999999999994</c:v>
                </c:pt>
                <c:pt idx="1384">
                  <c:v>81.44</c:v>
                </c:pt>
                <c:pt idx="1385">
                  <c:v>81.869995000000003</c:v>
                </c:pt>
                <c:pt idx="1386">
                  <c:v>81.900000000000006</c:v>
                </c:pt>
                <c:pt idx="1387">
                  <c:v>82.009995000000004</c:v>
                </c:pt>
                <c:pt idx="1388">
                  <c:v>85.22</c:v>
                </c:pt>
                <c:pt idx="1389">
                  <c:v>85.659996000000007</c:v>
                </c:pt>
                <c:pt idx="1390">
                  <c:v>84.53</c:v>
                </c:pt>
                <c:pt idx="1391">
                  <c:v>84.740004999999996</c:v>
                </c:pt>
                <c:pt idx="1392">
                  <c:v>85.14</c:v>
                </c:pt>
                <c:pt idx="1393">
                  <c:v>85.94</c:v>
                </c:pt>
                <c:pt idx="1394">
                  <c:v>86.82</c:v>
                </c:pt>
                <c:pt idx="1395">
                  <c:v>87.109989999999996</c:v>
                </c:pt>
                <c:pt idx="1396">
                  <c:v>86.92</c:v>
                </c:pt>
                <c:pt idx="1397">
                  <c:v>87.42</c:v>
                </c:pt>
                <c:pt idx="1398">
                  <c:v>88.3</c:v>
                </c:pt>
                <c:pt idx="1399">
                  <c:v>88.19</c:v>
                </c:pt>
                <c:pt idx="1400">
                  <c:v>87.13</c:v>
                </c:pt>
                <c:pt idx="1401">
                  <c:v>87.68</c:v>
                </c:pt>
                <c:pt idx="1402">
                  <c:v>88.09</c:v>
                </c:pt>
                <c:pt idx="1403">
                  <c:v>89.119995000000003</c:v>
                </c:pt>
                <c:pt idx="1404">
                  <c:v>87.799994999999996</c:v>
                </c:pt>
                <c:pt idx="1405">
                  <c:v>89.579993999999999</c:v>
                </c:pt>
                <c:pt idx="1406">
                  <c:v>90.33</c:v>
                </c:pt>
                <c:pt idx="1407">
                  <c:v>90.159996000000007</c:v>
                </c:pt>
                <c:pt idx="1408">
                  <c:v>90.11</c:v>
                </c:pt>
                <c:pt idx="1409">
                  <c:v>89.35</c:v>
                </c:pt>
                <c:pt idx="1410">
                  <c:v>89.119995000000003</c:v>
                </c:pt>
                <c:pt idx="1411">
                  <c:v>89.939994999999996</c:v>
                </c:pt>
                <c:pt idx="1412">
                  <c:v>87.84</c:v>
                </c:pt>
                <c:pt idx="1413">
                  <c:v>87.92</c:v>
                </c:pt>
                <c:pt idx="1414">
                  <c:v>88.97</c:v>
                </c:pt>
                <c:pt idx="1415">
                  <c:v>88.34</c:v>
                </c:pt>
                <c:pt idx="1416">
                  <c:v>89.06</c:v>
                </c:pt>
                <c:pt idx="1417">
                  <c:v>87.61</c:v>
                </c:pt>
                <c:pt idx="1418">
                  <c:v>86.71</c:v>
                </c:pt>
                <c:pt idx="1419">
                  <c:v>87.39</c:v>
                </c:pt>
                <c:pt idx="1420">
                  <c:v>86.039990000000003</c:v>
                </c:pt>
                <c:pt idx="1421">
                  <c:v>84.139989999999997</c:v>
                </c:pt>
                <c:pt idx="1422">
                  <c:v>83.68</c:v>
                </c:pt>
                <c:pt idx="1423">
                  <c:v>81.430000000000007</c:v>
                </c:pt>
                <c:pt idx="1424">
                  <c:v>78.929990000000004</c:v>
                </c:pt>
                <c:pt idx="1425">
                  <c:v>80.12</c:v>
                </c:pt>
                <c:pt idx="1426">
                  <c:v>80.179990000000004</c:v>
                </c:pt>
                <c:pt idx="1427">
                  <c:v>81.34</c:v>
                </c:pt>
                <c:pt idx="1428">
                  <c:v>83.52</c:v>
                </c:pt>
                <c:pt idx="1429">
                  <c:v>88.49</c:v>
                </c:pt>
                <c:pt idx="1430">
                  <c:v>87.09</c:v>
                </c:pt>
                <c:pt idx="1431">
                  <c:v>87.43</c:v>
                </c:pt>
                <c:pt idx="1432">
                  <c:v>88.61</c:v>
                </c:pt>
                <c:pt idx="1433">
                  <c:v>86.329993999999999</c:v>
                </c:pt>
                <c:pt idx="1434">
                  <c:v>82.189994999999996</c:v>
                </c:pt>
                <c:pt idx="1435">
                  <c:v>85.6</c:v>
                </c:pt>
                <c:pt idx="1436">
                  <c:v>84.63</c:v>
                </c:pt>
                <c:pt idx="1437">
                  <c:v>84.99</c:v>
                </c:pt>
                <c:pt idx="1438">
                  <c:v>85.85</c:v>
                </c:pt>
                <c:pt idx="1439">
                  <c:v>85.509995000000004</c:v>
                </c:pt>
                <c:pt idx="1440">
                  <c:v>88.039990000000003</c:v>
                </c:pt>
                <c:pt idx="1441">
                  <c:v>88.68</c:v>
                </c:pt>
                <c:pt idx="1442">
                  <c:v>89.469989999999996</c:v>
                </c:pt>
                <c:pt idx="1443">
                  <c:v>89.64</c:v>
                </c:pt>
                <c:pt idx="1444">
                  <c:v>92.16</c:v>
                </c:pt>
                <c:pt idx="1445">
                  <c:v>92.560005000000004</c:v>
                </c:pt>
                <c:pt idx="1446">
                  <c:v>92.35</c:v>
                </c:pt>
                <c:pt idx="1447">
                  <c:v>91.200005000000004</c:v>
                </c:pt>
                <c:pt idx="1448">
                  <c:v>92.6</c:v>
                </c:pt>
                <c:pt idx="1449">
                  <c:v>91.789990000000003</c:v>
                </c:pt>
                <c:pt idx="1450">
                  <c:v>91.98</c:v>
                </c:pt>
                <c:pt idx="1451">
                  <c:v>92.259995000000004</c:v>
                </c:pt>
                <c:pt idx="1452">
                  <c:v>92.090003999999993</c:v>
                </c:pt>
                <c:pt idx="1453">
                  <c:v>91.77</c:v>
                </c:pt>
                <c:pt idx="1454">
                  <c:v>92.86</c:v>
                </c:pt>
                <c:pt idx="1455">
                  <c:v>94.84</c:v>
                </c:pt>
                <c:pt idx="1456">
                  <c:v>91.75</c:v>
                </c:pt>
                <c:pt idx="1457">
                  <c:v>93.38</c:v>
                </c:pt>
                <c:pt idx="1458">
                  <c:v>94.479996</c:v>
                </c:pt>
                <c:pt idx="1459">
                  <c:v>95.07</c:v>
                </c:pt>
                <c:pt idx="1460">
                  <c:v>96.7</c:v>
                </c:pt>
                <c:pt idx="1461">
                  <c:v>96.46</c:v>
                </c:pt>
                <c:pt idx="1462">
                  <c:v>91.939994999999996</c:v>
                </c:pt>
                <c:pt idx="1463">
                  <c:v>93.029989999999998</c:v>
                </c:pt>
                <c:pt idx="1464">
                  <c:v>88.229996</c:v>
                </c:pt>
                <c:pt idx="1465">
                  <c:v>88.55</c:v>
                </c:pt>
                <c:pt idx="1466">
                  <c:v>88.14</c:v>
                </c:pt>
                <c:pt idx="1467">
                  <c:v>89.63</c:v>
                </c:pt>
                <c:pt idx="1468">
                  <c:v>87.48</c:v>
                </c:pt>
                <c:pt idx="1469">
                  <c:v>87.74</c:v>
                </c:pt>
                <c:pt idx="1470">
                  <c:v>86.21</c:v>
                </c:pt>
                <c:pt idx="1471">
                  <c:v>87.799994999999996</c:v>
                </c:pt>
                <c:pt idx="1472">
                  <c:v>86.369995000000003</c:v>
                </c:pt>
                <c:pt idx="1473">
                  <c:v>84.409996000000007</c:v>
                </c:pt>
                <c:pt idx="1474">
                  <c:v>81.469989999999996</c:v>
                </c:pt>
                <c:pt idx="1475">
                  <c:v>79.12</c:v>
                </c:pt>
                <c:pt idx="1476">
                  <c:v>83.8</c:v>
                </c:pt>
                <c:pt idx="1477">
                  <c:v>83.04</c:v>
                </c:pt>
                <c:pt idx="1478">
                  <c:v>83.17</c:v>
                </c:pt>
                <c:pt idx="1479">
                  <c:v>83.729996</c:v>
                </c:pt>
                <c:pt idx="1480">
                  <c:v>84.18</c:v>
                </c:pt>
                <c:pt idx="1481">
                  <c:v>79.999989999999997</c:v>
                </c:pt>
                <c:pt idx="1482">
                  <c:v>82.68</c:v>
                </c:pt>
                <c:pt idx="1483">
                  <c:v>83.229996</c:v>
                </c:pt>
                <c:pt idx="1484">
                  <c:v>82.38</c:v>
                </c:pt>
                <c:pt idx="1485">
                  <c:v>83.76</c:v>
                </c:pt>
                <c:pt idx="1486">
                  <c:v>81.37</c:v>
                </c:pt>
                <c:pt idx="1487">
                  <c:v>80.069999999999993</c:v>
                </c:pt>
                <c:pt idx="1488">
                  <c:v>79.909996000000007</c:v>
                </c:pt>
                <c:pt idx="1489">
                  <c:v>81.2</c:v>
                </c:pt>
                <c:pt idx="1490">
                  <c:v>86.36</c:v>
                </c:pt>
                <c:pt idx="1491">
                  <c:v>86.74</c:v>
                </c:pt>
                <c:pt idx="1492">
                  <c:v>85.59</c:v>
                </c:pt>
                <c:pt idx="1493">
                  <c:v>83.34</c:v>
                </c:pt>
                <c:pt idx="1494">
                  <c:v>82.88</c:v>
                </c:pt>
                <c:pt idx="1495">
                  <c:v>84.029989999999998</c:v>
                </c:pt>
                <c:pt idx="1496">
                  <c:v>84.139989999999997</c:v>
                </c:pt>
                <c:pt idx="1497">
                  <c:v>84.6</c:v>
                </c:pt>
                <c:pt idx="1498">
                  <c:v>85.67</c:v>
                </c:pt>
                <c:pt idx="1499">
                  <c:v>87.47</c:v>
                </c:pt>
                <c:pt idx="1500">
                  <c:v>87.27</c:v>
                </c:pt>
                <c:pt idx="1501">
                  <c:v>87.49</c:v>
                </c:pt>
                <c:pt idx="1502">
                  <c:v>88.619995000000003</c:v>
                </c:pt>
                <c:pt idx="1503">
                  <c:v>89.46</c:v>
                </c:pt>
                <c:pt idx="1504">
                  <c:v>89.75</c:v>
                </c:pt>
                <c:pt idx="1505">
                  <c:v>87.86</c:v>
                </c:pt>
                <c:pt idx="1506">
                  <c:v>88.17</c:v>
                </c:pt>
                <c:pt idx="1507">
                  <c:v>89.15</c:v>
                </c:pt>
                <c:pt idx="1508">
                  <c:v>87.97</c:v>
                </c:pt>
                <c:pt idx="1509">
                  <c:v>88.579993999999999</c:v>
                </c:pt>
                <c:pt idx="1510">
                  <c:v>88.149994000000007</c:v>
                </c:pt>
                <c:pt idx="1511">
                  <c:v>88.31</c:v>
                </c:pt>
                <c:pt idx="1512">
                  <c:v>89.240004999999996</c:v>
                </c:pt>
                <c:pt idx="1513">
                  <c:v>88.5</c:v>
                </c:pt>
                <c:pt idx="1514">
                  <c:v>88.840003999999993</c:v>
                </c:pt>
                <c:pt idx="1515">
                  <c:v>89.43</c:v>
                </c:pt>
                <c:pt idx="1516">
                  <c:v>89.579993999999999</c:v>
                </c:pt>
                <c:pt idx="1517">
                  <c:v>89.53</c:v>
                </c:pt>
                <c:pt idx="1518">
                  <c:v>87.6</c:v>
                </c:pt>
                <c:pt idx="1519">
                  <c:v>87.81</c:v>
                </c:pt>
                <c:pt idx="1520">
                  <c:v>86.92</c:v>
                </c:pt>
                <c:pt idx="1521">
                  <c:v>84.31</c:v>
                </c:pt>
                <c:pt idx="1522">
                  <c:v>85.05</c:v>
                </c:pt>
                <c:pt idx="1523">
                  <c:v>84.33</c:v>
                </c:pt>
                <c:pt idx="1524">
                  <c:v>82.61</c:v>
                </c:pt>
                <c:pt idx="1525">
                  <c:v>82.4</c:v>
                </c:pt>
                <c:pt idx="1526">
                  <c:v>82.38</c:v>
                </c:pt>
                <c:pt idx="1527">
                  <c:v>79.849999999999994</c:v>
                </c:pt>
                <c:pt idx="1528">
                  <c:v>81.209999999999994</c:v>
                </c:pt>
                <c:pt idx="1529">
                  <c:v>81.489999999999995</c:v>
                </c:pt>
                <c:pt idx="1530">
                  <c:v>81.689994999999996</c:v>
                </c:pt>
                <c:pt idx="1531">
                  <c:v>80.73</c:v>
                </c:pt>
                <c:pt idx="1532">
                  <c:v>81.34</c:v>
                </c:pt>
                <c:pt idx="1533">
                  <c:v>79.83</c:v>
                </c:pt>
                <c:pt idx="1534">
                  <c:v>80.999989999999997</c:v>
                </c:pt>
                <c:pt idx="1535">
                  <c:v>79.63</c:v>
                </c:pt>
                <c:pt idx="1536">
                  <c:v>78.12</c:v>
                </c:pt>
                <c:pt idx="1537">
                  <c:v>77.489999999999995</c:v>
                </c:pt>
                <c:pt idx="1538">
                  <c:v>78.53</c:v>
                </c:pt>
                <c:pt idx="1539">
                  <c:v>78.599999999999994</c:v>
                </c:pt>
                <c:pt idx="1540">
                  <c:v>79.78</c:v>
                </c:pt>
                <c:pt idx="1541">
                  <c:v>80.869995000000003</c:v>
                </c:pt>
                <c:pt idx="1542">
                  <c:v>82.77</c:v>
                </c:pt>
                <c:pt idx="1543">
                  <c:v>84.2</c:v>
                </c:pt>
                <c:pt idx="1544">
                  <c:v>84.64</c:v>
                </c:pt>
                <c:pt idx="1545">
                  <c:v>84.909996000000007</c:v>
                </c:pt>
                <c:pt idx="1546">
                  <c:v>84.58</c:v>
                </c:pt>
                <c:pt idx="1547">
                  <c:v>84.25</c:v>
                </c:pt>
                <c:pt idx="1548">
                  <c:v>84.52</c:v>
                </c:pt>
                <c:pt idx="1549">
                  <c:v>85.75</c:v>
                </c:pt>
                <c:pt idx="1550">
                  <c:v>85.49</c:v>
                </c:pt>
                <c:pt idx="1551">
                  <c:v>84.52</c:v>
                </c:pt>
                <c:pt idx="1552">
                  <c:v>85.17</c:v>
                </c:pt>
                <c:pt idx="1553">
                  <c:v>89.240004999999996</c:v>
                </c:pt>
                <c:pt idx="1554">
                  <c:v>88.28</c:v>
                </c:pt>
                <c:pt idx="1555">
                  <c:v>87.56</c:v>
                </c:pt>
                <c:pt idx="1556">
                  <c:v>87.97</c:v>
                </c:pt>
                <c:pt idx="1557">
                  <c:v>88.03</c:v>
                </c:pt>
                <c:pt idx="1558">
                  <c:v>86.859989999999996</c:v>
                </c:pt>
                <c:pt idx="1559">
                  <c:v>87.94</c:v>
                </c:pt>
                <c:pt idx="1560">
                  <c:v>89.61</c:v>
                </c:pt>
                <c:pt idx="1561">
                  <c:v>88.86</c:v>
                </c:pt>
                <c:pt idx="1562">
                  <c:v>87.94</c:v>
                </c:pt>
                <c:pt idx="1563">
                  <c:v>88.31</c:v>
                </c:pt>
                <c:pt idx="1564">
                  <c:v>88.5</c:v>
                </c:pt>
                <c:pt idx="1565">
                  <c:v>87.79</c:v>
                </c:pt>
                <c:pt idx="1566">
                  <c:v>85.679990000000004</c:v>
                </c:pt>
                <c:pt idx="1567">
                  <c:v>84.64</c:v>
                </c:pt>
                <c:pt idx="1568">
                  <c:v>84.119995000000003</c:v>
                </c:pt>
                <c:pt idx="1569">
                  <c:v>84.789990000000003</c:v>
                </c:pt>
                <c:pt idx="1570">
                  <c:v>82.069990000000004</c:v>
                </c:pt>
                <c:pt idx="1571">
                  <c:v>83.45</c:v>
                </c:pt>
                <c:pt idx="1572">
                  <c:v>82.35</c:v>
                </c:pt>
                <c:pt idx="1573">
                  <c:v>82.579993999999999</c:v>
                </c:pt>
                <c:pt idx="1574">
                  <c:v>81.5</c:v>
                </c:pt>
                <c:pt idx="1575">
                  <c:v>81.739999999999995</c:v>
                </c:pt>
                <c:pt idx="1576">
                  <c:v>82.97</c:v>
                </c:pt>
                <c:pt idx="1577">
                  <c:v>81.88</c:v>
                </c:pt>
                <c:pt idx="1578">
                  <c:v>80.909996000000007</c:v>
                </c:pt>
                <c:pt idx="1579">
                  <c:v>80.790000000000006</c:v>
                </c:pt>
                <c:pt idx="1580">
                  <c:v>79.900000000000006</c:v>
                </c:pt>
                <c:pt idx="1581">
                  <c:v>79.25</c:v>
                </c:pt>
                <c:pt idx="1582">
                  <c:v>79.47</c:v>
                </c:pt>
                <c:pt idx="1583">
                  <c:v>77.650000000000006</c:v>
                </c:pt>
                <c:pt idx="1584">
                  <c:v>77.72</c:v>
                </c:pt>
                <c:pt idx="1585">
                  <c:v>80.52</c:v>
                </c:pt>
                <c:pt idx="1586">
                  <c:v>81.849999999999994</c:v>
                </c:pt>
                <c:pt idx="1587">
                  <c:v>82.959990000000005</c:v>
                </c:pt>
                <c:pt idx="1588">
                  <c:v>83.270004</c:v>
                </c:pt>
                <c:pt idx="1589">
                  <c:v>82.669989999999999</c:v>
                </c:pt>
                <c:pt idx="1590">
                  <c:v>82.77</c:v>
                </c:pt>
                <c:pt idx="1591">
                  <c:v>83.789990000000003</c:v>
                </c:pt>
                <c:pt idx="1592">
                  <c:v>87.109989999999996</c:v>
                </c:pt>
                <c:pt idx="1593">
                  <c:v>87.12</c:v>
                </c:pt>
                <c:pt idx="1594">
                  <c:v>86.77</c:v>
                </c:pt>
                <c:pt idx="1595">
                  <c:v>87.399994000000007</c:v>
                </c:pt>
                <c:pt idx="1596">
                  <c:v>88.66</c:v>
                </c:pt>
                <c:pt idx="1597">
                  <c:v>87.14</c:v>
                </c:pt>
                <c:pt idx="1598">
                  <c:v>86.72</c:v>
                </c:pt>
                <c:pt idx="1599">
                  <c:v>86.549994999999996</c:v>
                </c:pt>
                <c:pt idx="1600">
                  <c:v>85.06</c:v>
                </c:pt>
                <c:pt idx="1601">
                  <c:v>85.329993999999999</c:v>
                </c:pt>
                <c:pt idx="1602">
                  <c:v>86.43</c:v>
                </c:pt>
                <c:pt idx="1603">
                  <c:v>87.549994999999996</c:v>
                </c:pt>
                <c:pt idx="1604">
                  <c:v>88.45</c:v>
                </c:pt>
                <c:pt idx="1605">
                  <c:v>88.869995000000003</c:v>
                </c:pt>
                <c:pt idx="1606">
                  <c:v>90.67</c:v>
                </c:pt>
                <c:pt idx="1607">
                  <c:v>90.59</c:v>
                </c:pt>
                <c:pt idx="1608">
                  <c:v>90.67</c:v>
                </c:pt>
                <c:pt idx="1609">
                  <c:v>89.46</c:v>
                </c:pt>
                <c:pt idx="1610">
                  <c:v>89.509995000000004</c:v>
                </c:pt>
                <c:pt idx="1611">
                  <c:v>89.48</c:v>
                </c:pt>
                <c:pt idx="1612">
                  <c:v>91.229996</c:v>
                </c:pt>
                <c:pt idx="1613">
                  <c:v>91.32</c:v>
                </c:pt>
                <c:pt idx="1614">
                  <c:v>93.920006000000001</c:v>
                </c:pt>
                <c:pt idx="1615">
                  <c:v>94.78</c:v>
                </c:pt>
                <c:pt idx="1616">
                  <c:v>95.279989999999998</c:v>
                </c:pt>
                <c:pt idx="1617">
                  <c:v>93.83</c:v>
                </c:pt>
                <c:pt idx="1618">
                  <c:v>93.83</c:v>
                </c:pt>
                <c:pt idx="1619">
                  <c:v>94.929990000000004</c:v>
                </c:pt>
                <c:pt idx="1620">
                  <c:v>95.11</c:v>
                </c:pt>
                <c:pt idx="1621">
                  <c:v>93.93</c:v>
                </c:pt>
                <c:pt idx="1622">
                  <c:v>93.36</c:v>
                </c:pt>
                <c:pt idx="1623">
                  <c:v>93.439994999999996</c:v>
                </c:pt>
                <c:pt idx="1624">
                  <c:v>93.93</c:v>
                </c:pt>
                <c:pt idx="1625">
                  <c:v>91.91</c:v>
                </c:pt>
                <c:pt idx="1626">
                  <c:v>90.489990000000006</c:v>
                </c:pt>
                <c:pt idx="1627">
                  <c:v>89.43</c:v>
                </c:pt>
                <c:pt idx="1628">
                  <c:v>85.59</c:v>
                </c:pt>
                <c:pt idx="1629">
                  <c:v>85.46</c:v>
                </c:pt>
                <c:pt idx="1630">
                  <c:v>86.479996</c:v>
                </c:pt>
                <c:pt idx="1631">
                  <c:v>87.63</c:v>
                </c:pt>
                <c:pt idx="1632">
                  <c:v>86.979996</c:v>
                </c:pt>
                <c:pt idx="1633">
                  <c:v>84.71</c:v>
                </c:pt>
                <c:pt idx="1634">
                  <c:v>84.560005000000004</c:v>
                </c:pt>
                <c:pt idx="1635">
                  <c:v>81.95</c:v>
                </c:pt>
                <c:pt idx="1636">
                  <c:v>81.62</c:v>
                </c:pt>
                <c:pt idx="1637">
                  <c:v>82.939994999999996</c:v>
                </c:pt>
                <c:pt idx="1638">
                  <c:v>83.89</c:v>
                </c:pt>
                <c:pt idx="1639">
                  <c:v>84.029989999999998</c:v>
                </c:pt>
                <c:pt idx="1640">
                  <c:v>85.29</c:v>
                </c:pt>
                <c:pt idx="1641">
                  <c:v>85.56</c:v>
                </c:pt>
                <c:pt idx="1642">
                  <c:v>82.53</c:v>
                </c:pt>
                <c:pt idx="1643">
                  <c:v>83.58</c:v>
                </c:pt>
                <c:pt idx="1644">
                  <c:v>81.939994999999996</c:v>
                </c:pt>
                <c:pt idx="1645">
                  <c:v>82.45</c:v>
                </c:pt>
                <c:pt idx="1646">
                  <c:v>84.69</c:v>
                </c:pt>
                <c:pt idx="1647">
                  <c:v>84.31</c:v>
                </c:pt>
                <c:pt idx="1648">
                  <c:v>83.15</c:v>
                </c:pt>
                <c:pt idx="1649">
                  <c:v>83.91</c:v>
                </c:pt>
                <c:pt idx="1650">
                  <c:v>85.84</c:v>
                </c:pt>
                <c:pt idx="1651">
                  <c:v>86.3</c:v>
                </c:pt>
                <c:pt idx="1652">
                  <c:v>87.329993999999999</c:v>
                </c:pt>
                <c:pt idx="1653">
                  <c:v>87.56</c:v>
                </c:pt>
                <c:pt idx="1654">
                  <c:v>88.38</c:v>
                </c:pt>
                <c:pt idx="1655">
                  <c:v>89.38</c:v>
                </c:pt>
                <c:pt idx="1656">
                  <c:v>91.35</c:v>
                </c:pt>
                <c:pt idx="1657">
                  <c:v>88.759995000000004</c:v>
                </c:pt>
                <c:pt idx="1658">
                  <c:v>89.979996</c:v>
                </c:pt>
                <c:pt idx="1659">
                  <c:v>90.229996</c:v>
                </c:pt>
                <c:pt idx="1660">
                  <c:v>89.419989999999999</c:v>
                </c:pt>
                <c:pt idx="1661">
                  <c:v>89.09</c:v>
                </c:pt>
                <c:pt idx="1662">
                  <c:v>88.21</c:v>
                </c:pt>
                <c:pt idx="1663">
                  <c:v>88.3</c:v>
                </c:pt>
                <c:pt idx="1664">
                  <c:v>89.17</c:v>
                </c:pt>
                <c:pt idx="1665">
                  <c:v>88.45</c:v>
                </c:pt>
                <c:pt idx="1666">
                  <c:v>88.14</c:v>
                </c:pt>
                <c:pt idx="1667">
                  <c:v>88.409996000000007</c:v>
                </c:pt>
                <c:pt idx="1668">
                  <c:v>87.84</c:v>
                </c:pt>
                <c:pt idx="1669">
                  <c:v>83.69</c:v>
                </c:pt>
                <c:pt idx="1670">
                  <c:v>83.270004</c:v>
                </c:pt>
                <c:pt idx="1671">
                  <c:v>84.29</c:v>
                </c:pt>
                <c:pt idx="1672">
                  <c:v>84.85</c:v>
                </c:pt>
                <c:pt idx="1673">
                  <c:v>84.69</c:v>
                </c:pt>
                <c:pt idx="1674">
                  <c:v>86.459990000000005</c:v>
                </c:pt>
                <c:pt idx="1675">
                  <c:v>87.34</c:v>
                </c:pt>
                <c:pt idx="1676">
                  <c:v>87.149994000000007</c:v>
                </c:pt>
                <c:pt idx="1677">
                  <c:v>86.969989999999996</c:v>
                </c:pt>
                <c:pt idx="1678">
                  <c:v>87.880004999999997</c:v>
                </c:pt>
                <c:pt idx="1679">
                  <c:v>89.7</c:v>
                </c:pt>
                <c:pt idx="1680">
                  <c:v>89.46</c:v>
                </c:pt>
                <c:pt idx="1681">
                  <c:v>90.09</c:v>
                </c:pt>
                <c:pt idx="1682">
                  <c:v>90.779989999999998</c:v>
                </c:pt>
                <c:pt idx="1683">
                  <c:v>89.709990000000005</c:v>
                </c:pt>
                <c:pt idx="1684">
                  <c:v>89.9</c:v>
                </c:pt>
                <c:pt idx="1685">
                  <c:v>89.81</c:v>
                </c:pt>
                <c:pt idx="1686">
                  <c:v>91.64</c:v>
                </c:pt>
                <c:pt idx="1687">
                  <c:v>92.189994999999996</c:v>
                </c:pt>
                <c:pt idx="1688">
                  <c:v>91.03</c:v>
                </c:pt>
                <c:pt idx="1689">
                  <c:v>91.670006000000001</c:v>
                </c:pt>
                <c:pt idx="1690">
                  <c:v>90.840003999999993</c:v>
                </c:pt>
                <c:pt idx="1691">
                  <c:v>91.649994000000007</c:v>
                </c:pt>
                <c:pt idx="1692">
                  <c:v>92.39</c:v>
                </c:pt>
                <c:pt idx="1693">
                  <c:v>93.119995000000003</c:v>
                </c:pt>
                <c:pt idx="1694">
                  <c:v>93.340003999999993</c:v>
                </c:pt>
                <c:pt idx="1695">
                  <c:v>93.799994999999996</c:v>
                </c:pt>
                <c:pt idx="1696">
                  <c:v>93.439994999999996</c:v>
                </c:pt>
                <c:pt idx="1697">
                  <c:v>93.53</c:v>
                </c:pt>
                <c:pt idx="1698">
                  <c:v>92.719989999999996</c:v>
                </c:pt>
                <c:pt idx="1699">
                  <c:v>92.42</c:v>
                </c:pt>
                <c:pt idx="1700">
                  <c:v>92.52</c:v>
                </c:pt>
                <c:pt idx="1701">
                  <c:v>92.51</c:v>
                </c:pt>
                <c:pt idx="1702">
                  <c:v>92.77</c:v>
                </c:pt>
                <c:pt idx="1703">
                  <c:v>93.29</c:v>
                </c:pt>
                <c:pt idx="1704">
                  <c:v>91.7</c:v>
                </c:pt>
                <c:pt idx="1705">
                  <c:v>90.97</c:v>
                </c:pt>
                <c:pt idx="1706">
                  <c:v>91.78</c:v>
                </c:pt>
                <c:pt idx="1707">
                  <c:v>92.52</c:v>
                </c:pt>
                <c:pt idx="1708">
                  <c:v>92.76</c:v>
                </c:pt>
                <c:pt idx="1709">
                  <c:v>93.05</c:v>
                </c:pt>
                <c:pt idx="1710">
                  <c:v>92.8</c:v>
                </c:pt>
                <c:pt idx="1711">
                  <c:v>91.63</c:v>
                </c:pt>
                <c:pt idx="1712">
                  <c:v>88.869995000000003</c:v>
                </c:pt>
                <c:pt idx="1713">
                  <c:v>88.17</c:v>
                </c:pt>
                <c:pt idx="1714">
                  <c:v>87.86</c:v>
                </c:pt>
                <c:pt idx="1715">
                  <c:v>88.579993999999999</c:v>
                </c:pt>
                <c:pt idx="1716">
                  <c:v>87.61</c:v>
                </c:pt>
                <c:pt idx="1717">
                  <c:v>86.509995000000004</c:v>
                </c:pt>
                <c:pt idx="1718">
                  <c:v>87.02</c:v>
                </c:pt>
                <c:pt idx="1719">
                  <c:v>88.469989999999996</c:v>
                </c:pt>
                <c:pt idx="1720">
                  <c:v>87.579993999999999</c:v>
                </c:pt>
                <c:pt idx="1721">
                  <c:v>88.63</c:v>
                </c:pt>
                <c:pt idx="1722">
                  <c:v>89.359989999999996</c:v>
                </c:pt>
                <c:pt idx="1723">
                  <c:v>88.840003999999993</c:v>
                </c:pt>
                <c:pt idx="1724">
                  <c:v>89.219989999999996</c:v>
                </c:pt>
                <c:pt idx="1725">
                  <c:v>89.28</c:v>
                </c:pt>
                <c:pt idx="1726">
                  <c:v>89.44</c:v>
                </c:pt>
                <c:pt idx="1727">
                  <c:v>89.15</c:v>
                </c:pt>
                <c:pt idx="1728">
                  <c:v>89.26</c:v>
                </c:pt>
                <c:pt idx="1729">
                  <c:v>88.37</c:v>
                </c:pt>
                <c:pt idx="1730">
                  <c:v>87.96</c:v>
                </c:pt>
                <c:pt idx="1731">
                  <c:v>88.09</c:v>
                </c:pt>
                <c:pt idx="1732">
                  <c:v>89.74</c:v>
                </c:pt>
                <c:pt idx="1733">
                  <c:v>87.9</c:v>
                </c:pt>
                <c:pt idx="1734">
                  <c:v>87.700005000000004</c:v>
                </c:pt>
                <c:pt idx="1735">
                  <c:v>86.77</c:v>
                </c:pt>
                <c:pt idx="1736">
                  <c:v>87.3</c:v>
                </c:pt>
                <c:pt idx="1737">
                  <c:v>87.95</c:v>
                </c:pt>
                <c:pt idx="1738">
                  <c:v>87.31</c:v>
                </c:pt>
                <c:pt idx="1739">
                  <c:v>86.89</c:v>
                </c:pt>
                <c:pt idx="1740">
                  <c:v>87.85</c:v>
                </c:pt>
                <c:pt idx="1741">
                  <c:v>88.289990000000003</c:v>
                </c:pt>
                <c:pt idx="1742">
                  <c:v>89.54</c:v>
                </c:pt>
                <c:pt idx="1743">
                  <c:v>89.7</c:v>
                </c:pt>
                <c:pt idx="1744">
                  <c:v>85.789990000000003</c:v>
                </c:pt>
                <c:pt idx="1745">
                  <c:v>83.34</c:v>
                </c:pt>
                <c:pt idx="1746">
                  <c:v>84.88</c:v>
                </c:pt>
                <c:pt idx="1747">
                  <c:v>81.900000000000006</c:v>
                </c:pt>
                <c:pt idx="1748">
                  <c:v>77.630004999999997</c:v>
                </c:pt>
                <c:pt idx="1749">
                  <c:v>77.05</c:v>
                </c:pt>
                <c:pt idx="1750">
                  <c:v>75.209999999999994</c:v>
                </c:pt>
                <c:pt idx="1751">
                  <c:v>77.749989999999997</c:v>
                </c:pt>
                <c:pt idx="1752">
                  <c:v>74.8</c:v>
                </c:pt>
                <c:pt idx="1753">
                  <c:v>74.91</c:v>
                </c:pt>
                <c:pt idx="1754">
                  <c:v>78.89</c:v>
                </c:pt>
                <c:pt idx="1755">
                  <c:v>81.849999999999994</c:v>
                </c:pt>
                <c:pt idx="1756">
                  <c:v>80.5</c:v>
                </c:pt>
                <c:pt idx="1757">
                  <c:v>79.48</c:v>
                </c:pt>
                <c:pt idx="1758">
                  <c:v>79.47</c:v>
                </c:pt>
                <c:pt idx="1759">
                  <c:v>80.529989999999998</c:v>
                </c:pt>
                <c:pt idx="1760">
                  <c:v>82.200005000000004</c:v>
                </c:pt>
                <c:pt idx="1761">
                  <c:v>80.989999999999995</c:v>
                </c:pt>
                <c:pt idx="1762">
                  <c:v>79.549994999999996</c:v>
                </c:pt>
                <c:pt idx="1763">
                  <c:v>80.239990000000006</c:v>
                </c:pt>
                <c:pt idx="1764">
                  <c:v>79.42</c:v>
                </c:pt>
                <c:pt idx="1765">
                  <c:v>79.909996000000007</c:v>
                </c:pt>
                <c:pt idx="1766">
                  <c:v>78.010000000000005</c:v>
                </c:pt>
                <c:pt idx="1767">
                  <c:v>75.47</c:v>
                </c:pt>
                <c:pt idx="1768">
                  <c:v>70.569999999999993</c:v>
                </c:pt>
                <c:pt idx="1769">
                  <c:v>66.53</c:v>
                </c:pt>
                <c:pt idx="1770">
                  <c:v>64.94</c:v>
                </c:pt>
                <c:pt idx="1771">
                  <c:v>61.590004</c:v>
                </c:pt>
                <c:pt idx="1772">
                  <c:v>61.26</c:v>
                </c:pt>
                <c:pt idx="1773">
                  <c:v>58.29</c:v>
                </c:pt>
                <c:pt idx="1774">
                  <c:v>59.47</c:v>
                </c:pt>
                <c:pt idx="1775">
                  <c:v>51.59</c:v>
                </c:pt>
                <c:pt idx="1776">
                  <c:v>52.1</c:v>
                </c:pt>
                <c:pt idx="1777">
                  <c:v>46.78</c:v>
                </c:pt>
                <c:pt idx="1778">
                  <c:v>52.56</c:v>
                </c:pt>
                <c:pt idx="1779">
                  <c:v>49.34</c:v>
                </c:pt>
                <c:pt idx="1780">
                  <c:v>37.079998000000003</c:v>
                </c:pt>
                <c:pt idx="1781">
                  <c:v>41.64</c:v>
                </c:pt>
                <c:pt idx="1782">
                  <c:v>35.47</c:v>
                </c:pt>
                <c:pt idx="1783">
                  <c:v>30.67</c:v>
                </c:pt>
                <c:pt idx="1784">
                  <c:v>21.380001</c:v>
                </c:pt>
                <c:pt idx="1785">
                  <c:v>21.28</c:v>
                </c:pt>
                <c:pt idx="1786">
                  <c:v>24.5</c:v>
                </c:pt>
                <c:pt idx="1787">
                  <c:v>26.249998000000001</c:v>
                </c:pt>
                <c:pt idx="1788">
                  <c:v>33</c:v>
                </c:pt>
                <c:pt idx="1789">
                  <c:v>36.6</c:v>
                </c:pt>
                <c:pt idx="1790">
                  <c:v>35.549999999999997</c:v>
                </c:pt>
                <c:pt idx="1791">
                  <c:v>32.840000000000003</c:v>
                </c:pt>
                <c:pt idx="1792">
                  <c:v>30.159998000000002</c:v>
                </c:pt>
                <c:pt idx="1793">
                  <c:v>31.55</c:v>
                </c:pt>
                <c:pt idx="1794">
                  <c:v>25.65</c:v>
                </c:pt>
                <c:pt idx="1795">
                  <c:v>23.419998</c:v>
                </c:pt>
                <c:pt idx="1796">
                  <c:v>22.890001000000002</c:v>
                </c:pt>
                <c:pt idx="1797">
                  <c:v>24.02</c:v>
                </c:pt>
                <c:pt idx="1798">
                  <c:v>24.48</c:v>
                </c:pt>
                <c:pt idx="1799">
                  <c:v>27.51</c:v>
                </c:pt>
                <c:pt idx="1800">
                  <c:v>31.5</c:v>
                </c:pt>
                <c:pt idx="1801">
                  <c:v>28.91</c:v>
                </c:pt>
                <c:pt idx="1802">
                  <c:v>30.900002000000001</c:v>
                </c:pt>
                <c:pt idx="1803">
                  <c:v>31.859998999999998</c:v>
                </c:pt>
                <c:pt idx="1804">
                  <c:v>28.210000999999998</c:v>
                </c:pt>
                <c:pt idx="1805">
                  <c:v>29.08</c:v>
                </c:pt>
                <c:pt idx="1806">
                  <c:v>27.79</c:v>
                </c:pt>
                <c:pt idx="1807">
                  <c:v>27.880001</c:v>
                </c:pt>
                <c:pt idx="1808">
                  <c:v>25.880001</c:v>
                </c:pt>
                <c:pt idx="1809">
                  <c:v>25.720001</c:v>
                </c:pt>
                <c:pt idx="1810">
                  <c:v>25.56</c:v>
                </c:pt>
                <c:pt idx="1811">
                  <c:v>25</c:v>
                </c:pt>
                <c:pt idx="1812">
                  <c:v>27.84</c:v>
                </c:pt>
                <c:pt idx="1813">
                  <c:v>31.21</c:v>
                </c:pt>
                <c:pt idx="1814">
                  <c:v>29.58</c:v>
                </c:pt>
                <c:pt idx="1815">
                  <c:v>26.62</c:v>
                </c:pt>
                <c:pt idx="1816">
                  <c:v>25.26</c:v>
                </c:pt>
                <c:pt idx="1817">
                  <c:v>24.12</c:v>
                </c:pt>
                <c:pt idx="1818">
                  <c:v>22.91</c:v>
                </c:pt>
                <c:pt idx="1819">
                  <c:v>22.75</c:v>
                </c:pt>
                <c:pt idx="1820">
                  <c:v>25.419998</c:v>
                </c:pt>
                <c:pt idx="1821">
                  <c:v>23.970001</c:v>
                </c:pt>
                <c:pt idx="1822">
                  <c:v>22.76</c:v>
                </c:pt>
                <c:pt idx="1823">
                  <c:v>20.71</c:v>
                </c:pt>
                <c:pt idx="1824">
                  <c:v>20.300001000000002</c:v>
                </c:pt>
                <c:pt idx="1825">
                  <c:v>19.920000000000002</c:v>
                </c:pt>
                <c:pt idx="1826">
                  <c:v>24.13</c:v>
                </c:pt>
                <c:pt idx="1827">
                  <c:v>23.68</c:v>
                </c:pt>
                <c:pt idx="1828">
                  <c:v>24.91</c:v>
                </c:pt>
                <c:pt idx="1829">
                  <c:v>25.84</c:v>
                </c:pt>
                <c:pt idx="1830">
                  <c:v>25.4</c:v>
                </c:pt>
                <c:pt idx="1831">
                  <c:v>29.54</c:v>
                </c:pt>
                <c:pt idx="1832">
                  <c:v>30.689999</c:v>
                </c:pt>
                <c:pt idx="1833">
                  <c:v>28.890001000000002</c:v>
                </c:pt>
                <c:pt idx="1834">
                  <c:v>28.039999000000002</c:v>
                </c:pt>
                <c:pt idx="1835">
                  <c:v>29.46</c:v>
                </c:pt>
                <c:pt idx="1836">
                  <c:v>29.91</c:v>
                </c:pt>
                <c:pt idx="1837">
                  <c:v>33.65</c:v>
                </c:pt>
                <c:pt idx="1838">
                  <c:v>39.1</c:v>
                </c:pt>
                <c:pt idx="1839">
                  <c:v>42.41</c:v>
                </c:pt>
                <c:pt idx="1840">
                  <c:v>48.69</c:v>
                </c:pt>
                <c:pt idx="1841">
                  <c:v>44.64</c:v>
                </c:pt>
                <c:pt idx="1842">
                  <c:v>39.719996999999999</c:v>
                </c:pt>
                <c:pt idx="1843">
                  <c:v>33.32</c:v>
                </c:pt>
                <c:pt idx="1844">
                  <c:v>39.659999999999997</c:v>
                </c:pt>
                <c:pt idx="1845">
                  <c:v>39</c:v>
                </c:pt>
                <c:pt idx="1846">
                  <c:v>40.209994999999999</c:v>
                </c:pt>
                <c:pt idx="1847">
                  <c:v>39.25</c:v>
                </c:pt>
                <c:pt idx="1848">
                  <c:v>39.340000000000003</c:v>
                </c:pt>
                <c:pt idx="1849">
                  <c:v>36.840000000000003</c:v>
                </c:pt>
                <c:pt idx="1850">
                  <c:v>36.54</c:v>
                </c:pt>
                <c:pt idx="1851">
                  <c:v>36.08</c:v>
                </c:pt>
                <c:pt idx="1852">
                  <c:v>33.07</c:v>
                </c:pt>
                <c:pt idx="1853">
                  <c:v>34.69</c:v>
                </c:pt>
                <c:pt idx="1854">
                  <c:v>32.89</c:v>
                </c:pt>
                <c:pt idx="1855">
                  <c:v>35.270000000000003</c:v>
                </c:pt>
                <c:pt idx="1856">
                  <c:v>34.61</c:v>
                </c:pt>
                <c:pt idx="1857">
                  <c:v>34.450000000000003</c:v>
                </c:pt>
                <c:pt idx="1858">
                  <c:v>34.14</c:v>
                </c:pt>
                <c:pt idx="1859">
                  <c:v>35.21</c:v>
                </c:pt>
                <c:pt idx="1860">
                  <c:v>32.549999999999997</c:v>
                </c:pt>
                <c:pt idx="1861">
                  <c:v>32.53</c:v>
                </c:pt>
                <c:pt idx="1862">
                  <c:v>30.17</c:v>
                </c:pt>
                <c:pt idx="1863">
                  <c:v>32.670001999999997</c:v>
                </c:pt>
                <c:pt idx="1864">
                  <c:v>31.76</c:v>
                </c:pt>
                <c:pt idx="1865">
                  <c:v>31.74</c:v>
                </c:pt>
                <c:pt idx="1866">
                  <c:v>36.369999999999997</c:v>
                </c:pt>
                <c:pt idx="1867">
                  <c:v>34.489998</c:v>
                </c:pt>
                <c:pt idx="1868">
                  <c:v>33.92</c:v>
                </c:pt>
                <c:pt idx="1869">
                  <c:v>32.33</c:v>
                </c:pt>
                <c:pt idx="1870">
                  <c:v>33.07</c:v>
                </c:pt>
                <c:pt idx="1871">
                  <c:v>31.669998</c:v>
                </c:pt>
                <c:pt idx="1872">
                  <c:v>33.229999999999997</c:v>
                </c:pt>
                <c:pt idx="1873">
                  <c:v>32.880000000000003</c:v>
                </c:pt>
                <c:pt idx="1874">
                  <c:v>32.420001999999997</c:v>
                </c:pt>
                <c:pt idx="1875">
                  <c:v>33.46</c:v>
                </c:pt>
                <c:pt idx="1876">
                  <c:v>32.57</c:v>
                </c:pt>
                <c:pt idx="1877">
                  <c:v>31.74</c:v>
                </c:pt>
                <c:pt idx="1878">
                  <c:v>31.38</c:v>
                </c:pt>
                <c:pt idx="1879">
                  <c:v>31.869999</c:v>
                </c:pt>
                <c:pt idx="1880">
                  <c:v>32.29</c:v>
                </c:pt>
                <c:pt idx="1881">
                  <c:v>33.729999999999997</c:v>
                </c:pt>
                <c:pt idx="1882">
                  <c:v>34.399997999999997</c:v>
                </c:pt>
                <c:pt idx="1883">
                  <c:v>34.33</c:v>
                </c:pt>
                <c:pt idx="1884">
                  <c:v>37.54</c:v>
                </c:pt>
                <c:pt idx="1885">
                  <c:v>36.83</c:v>
                </c:pt>
                <c:pt idx="1886">
                  <c:v>36.4</c:v>
                </c:pt>
                <c:pt idx="1887">
                  <c:v>35.81</c:v>
                </c:pt>
                <c:pt idx="1888">
                  <c:v>36.18</c:v>
                </c:pt>
                <c:pt idx="1889">
                  <c:v>34.4</c:v>
                </c:pt>
                <c:pt idx="1890">
                  <c:v>33.979999999999997</c:v>
                </c:pt>
                <c:pt idx="1891">
                  <c:v>34.44</c:v>
                </c:pt>
                <c:pt idx="1892">
                  <c:v>34.049999999999997</c:v>
                </c:pt>
                <c:pt idx="1893">
                  <c:v>33.04</c:v>
                </c:pt>
                <c:pt idx="1894">
                  <c:v>36.32</c:v>
                </c:pt>
                <c:pt idx="1895">
                  <c:v>35.22</c:v>
                </c:pt>
                <c:pt idx="1896">
                  <c:v>34.25</c:v>
                </c:pt>
                <c:pt idx="1897">
                  <c:v>36.22</c:v>
                </c:pt>
                <c:pt idx="1898">
                  <c:v>37.340000000000003</c:v>
                </c:pt>
                <c:pt idx="1899">
                  <c:v>36</c:v>
                </c:pt>
                <c:pt idx="1900">
                  <c:v>36.01</c:v>
                </c:pt>
                <c:pt idx="1901">
                  <c:v>36.89</c:v>
                </c:pt>
                <c:pt idx="1902">
                  <c:v>37.4</c:v>
                </c:pt>
                <c:pt idx="1903">
                  <c:v>38.21</c:v>
                </c:pt>
                <c:pt idx="1904">
                  <c:v>37.28</c:v>
                </c:pt>
                <c:pt idx="1905">
                  <c:v>36.03</c:v>
                </c:pt>
                <c:pt idx="1906">
                  <c:v>36.450000000000003</c:v>
                </c:pt>
                <c:pt idx="1907">
                  <c:v>36.07</c:v>
                </c:pt>
                <c:pt idx="1908">
                  <c:v>36.74</c:v>
                </c:pt>
                <c:pt idx="1909">
                  <c:v>36.799999999999997</c:v>
                </c:pt>
                <c:pt idx="1910">
                  <c:v>38.299999999999997</c:v>
                </c:pt>
                <c:pt idx="1911">
                  <c:v>38.35</c:v>
                </c:pt>
                <c:pt idx="1912">
                  <c:v>36.97</c:v>
                </c:pt>
                <c:pt idx="1913">
                  <c:v>33.79</c:v>
                </c:pt>
                <c:pt idx="1914">
                  <c:v>34.07</c:v>
                </c:pt>
                <c:pt idx="1915">
                  <c:v>33.08</c:v>
                </c:pt>
                <c:pt idx="1916">
                  <c:v>32.74</c:v>
                </c:pt>
                <c:pt idx="1917">
                  <c:v>34.200000000000003</c:v>
                </c:pt>
                <c:pt idx="1918">
                  <c:v>35.94</c:v>
                </c:pt>
                <c:pt idx="1919">
                  <c:v>34.51</c:v>
                </c:pt>
                <c:pt idx="1920">
                  <c:v>34.75</c:v>
                </c:pt>
                <c:pt idx="1921">
                  <c:v>35.18</c:v>
                </c:pt>
                <c:pt idx="1922">
                  <c:v>36.01</c:v>
                </c:pt>
                <c:pt idx="1923">
                  <c:v>36.200000000000003</c:v>
                </c:pt>
                <c:pt idx="1924">
                  <c:v>34.880000000000003</c:v>
                </c:pt>
                <c:pt idx="1925">
                  <c:v>36.380000000000003</c:v>
                </c:pt>
                <c:pt idx="1926">
                  <c:v>37</c:v>
                </c:pt>
                <c:pt idx="1927">
                  <c:v>37.119999999999997</c:v>
                </c:pt>
                <c:pt idx="1928">
                  <c:v>36.380000000000003</c:v>
                </c:pt>
                <c:pt idx="1929">
                  <c:v>35.26</c:v>
                </c:pt>
                <c:pt idx="1930">
                  <c:v>35.61</c:v>
                </c:pt>
                <c:pt idx="1931">
                  <c:v>34.25</c:v>
                </c:pt>
                <c:pt idx="1932">
                  <c:v>34.159999999999997</c:v>
                </c:pt>
                <c:pt idx="1933">
                  <c:v>35.5</c:v>
                </c:pt>
                <c:pt idx="1934">
                  <c:v>36.06</c:v>
                </c:pt>
                <c:pt idx="1935">
                  <c:v>35.54</c:v>
                </c:pt>
                <c:pt idx="1936">
                  <c:v>37.24</c:v>
                </c:pt>
                <c:pt idx="1937">
                  <c:v>38.01</c:v>
                </c:pt>
                <c:pt idx="1938">
                  <c:v>35.340000000000003</c:v>
                </c:pt>
                <c:pt idx="1939">
                  <c:v>34.17</c:v>
                </c:pt>
                <c:pt idx="1940">
                  <c:v>32.6</c:v>
                </c:pt>
                <c:pt idx="1941">
                  <c:v>33.57</c:v>
                </c:pt>
                <c:pt idx="1942">
                  <c:v>33.86</c:v>
                </c:pt>
                <c:pt idx="1943">
                  <c:v>33.78</c:v>
                </c:pt>
                <c:pt idx="1944">
                  <c:v>34.020000000000003</c:v>
                </c:pt>
                <c:pt idx="1945">
                  <c:v>33.340000000000003</c:v>
                </c:pt>
                <c:pt idx="1946">
                  <c:v>35.35</c:v>
                </c:pt>
                <c:pt idx="1947">
                  <c:v>34.68</c:v>
                </c:pt>
                <c:pt idx="1948">
                  <c:v>41.32</c:v>
                </c:pt>
                <c:pt idx="1949">
                  <c:v>40.049999999999997</c:v>
                </c:pt>
                <c:pt idx="1950">
                  <c:v>38.51</c:v>
                </c:pt>
                <c:pt idx="1951">
                  <c:v>36.85</c:v>
                </c:pt>
                <c:pt idx="1952">
                  <c:v>38.990004999999996</c:v>
                </c:pt>
                <c:pt idx="1953">
                  <c:v>41</c:v>
                </c:pt>
                <c:pt idx="1954">
                  <c:v>40.6</c:v>
                </c:pt>
                <c:pt idx="1955">
                  <c:v>41.05</c:v>
                </c:pt>
                <c:pt idx="1956">
                  <c:v>40.94</c:v>
                </c:pt>
                <c:pt idx="1957">
                  <c:v>39.9</c:v>
                </c:pt>
                <c:pt idx="1958">
                  <c:v>40.93</c:v>
                </c:pt>
                <c:pt idx="1959">
                  <c:v>44.96</c:v>
                </c:pt>
                <c:pt idx="1960">
                  <c:v>45.64</c:v>
                </c:pt>
                <c:pt idx="1961">
                  <c:v>45.299995000000003</c:v>
                </c:pt>
                <c:pt idx="1962">
                  <c:v>45.05</c:v>
                </c:pt>
                <c:pt idx="1963">
                  <c:v>45.32</c:v>
                </c:pt>
                <c:pt idx="1964">
                  <c:v>46.73</c:v>
                </c:pt>
                <c:pt idx="1965">
                  <c:v>49.91</c:v>
                </c:pt>
                <c:pt idx="1966">
                  <c:v>49.239998</c:v>
                </c:pt>
                <c:pt idx="1967">
                  <c:v>49.2</c:v>
                </c:pt>
                <c:pt idx="1968">
                  <c:v>49.04</c:v>
                </c:pt>
                <c:pt idx="1969">
                  <c:v>48.019996999999996</c:v>
                </c:pt>
                <c:pt idx="1970">
                  <c:v>49.64</c:v>
                </c:pt>
                <c:pt idx="1971">
                  <c:v>48.36</c:v>
                </c:pt>
                <c:pt idx="1972">
                  <c:v>46.719996999999999</c:v>
                </c:pt>
                <c:pt idx="1973">
                  <c:v>47.459994999999999</c:v>
                </c:pt>
                <c:pt idx="1974">
                  <c:v>46</c:v>
                </c:pt>
                <c:pt idx="1975">
                  <c:v>45.88</c:v>
                </c:pt>
                <c:pt idx="1976">
                  <c:v>44.74</c:v>
                </c:pt>
                <c:pt idx="1977">
                  <c:v>44.06</c:v>
                </c:pt>
                <c:pt idx="1978">
                  <c:v>42.97</c:v>
                </c:pt>
                <c:pt idx="1979">
                  <c:v>44.11</c:v>
                </c:pt>
                <c:pt idx="1980">
                  <c:v>43.259995000000004</c:v>
                </c:pt>
                <c:pt idx="1981">
                  <c:v>43.92</c:v>
                </c:pt>
                <c:pt idx="1982">
                  <c:v>43.74</c:v>
                </c:pt>
                <c:pt idx="1983">
                  <c:v>44.649997999999997</c:v>
                </c:pt>
                <c:pt idx="1984">
                  <c:v>43.25</c:v>
                </c:pt>
                <c:pt idx="1985">
                  <c:v>41.63</c:v>
                </c:pt>
                <c:pt idx="1986">
                  <c:v>43.4</c:v>
                </c:pt>
                <c:pt idx="1987">
                  <c:v>43.54</c:v>
                </c:pt>
                <c:pt idx="1988">
                  <c:v>43.62</c:v>
                </c:pt>
                <c:pt idx="1989">
                  <c:v>43.29</c:v>
                </c:pt>
                <c:pt idx="1990">
                  <c:v>42.7</c:v>
                </c:pt>
                <c:pt idx="1991">
                  <c:v>44.08</c:v>
                </c:pt>
                <c:pt idx="1992">
                  <c:v>44.43</c:v>
                </c:pt>
                <c:pt idx="1993">
                  <c:v>46.29</c:v>
                </c:pt>
                <c:pt idx="1994">
                  <c:v>43.89</c:v>
                </c:pt>
                <c:pt idx="1995">
                  <c:v>44.75</c:v>
                </c:pt>
                <c:pt idx="1996">
                  <c:v>45.179996000000003</c:v>
                </c:pt>
                <c:pt idx="1997">
                  <c:v>42.59</c:v>
                </c:pt>
                <c:pt idx="1998">
                  <c:v>42.14</c:v>
                </c:pt>
                <c:pt idx="1999">
                  <c:v>40.379997000000003</c:v>
                </c:pt>
                <c:pt idx="2000">
                  <c:v>41.25</c:v>
                </c:pt>
                <c:pt idx="2001">
                  <c:v>40.909999999999997</c:v>
                </c:pt>
                <c:pt idx="2002">
                  <c:v>42.549995000000003</c:v>
                </c:pt>
                <c:pt idx="2003">
                  <c:v>39.99</c:v>
                </c:pt>
                <c:pt idx="2004">
                  <c:v>39.939995000000003</c:v>
                </c:pt>
                <c:pt idx="2005">
                  <c:v>40.83</c:v>
                </c:pt>
                <c:pt idx="2006">
                  <c:v>42.039997</c:v>
                </c:pt>
                <c:pt idx="2007">
                  <c:v>42.41</c:v>
                </c:pt>
                <c:pt idx="2008">
                  <c:v>42.14</c:v>
                </c:pt>
                <c:pt idx="2009">
                  <c:v>44.349995</c:v>
                </c:pt>
                <c:pt idx="2010">
                  <c:v>43.32</c:v>
                </c:pt>
                <c:pt idx="2011">
                  <c:v>43.78</c:v>
                </c:pt>
                <c:pt idx="2012">
                  <c:v>43.44</c:v>
                </c:pt>
                <c:pt idx="2013">
                  <c:v>43.939995000000003</c:v>
                </c:pt>
                <c:pt idx="2014">
                  <c:v>45.71</c:v>
                </c:pt>
                <c:pt idx="2015">
                  <c:v>46.08</c:v>
                </c:pt>
                <c:pt idx="2016">
                  <c:v>44.96</c:v>
                </c:pt>
                <c:pt idx="2017">
                  <c:v>48.029995</c:v>
                </c:pt>
                <c:pt idx="2018">
                  <c:v>49.7</c:v>
                </c:pt>
                <c:pt idx="2019">
                  <c:v>50.61</c:v>
                </c:pt>
                <c:pt idx="2020">
                  <c:v>54.959994999999999</c:v>
                </c:pt>
                <c:pt idx="2021">
                  <c:v>51.78</c:v>
                </c:pt>
                <c:pt idx="2022">
                  <c:v>52.68</c:v>
                </c:pt>
                <c:pt idx="2023">
                  <c:v>53.31</c:v>
                </c:pt>
                <c:pt idx="2024">
                  <c:v>53.209994999999999</c:v>
                </c:pt>
                <c:pt idx="2025">
                  <c:v>54.569996000000003</c:v>
                </c:pt>
                <c:pt idx="2026">
                  <c:v>52.049995000000003</c:v>
                </c:pt>
                <c:pt idx="2027">
                  <c:v>50.52</c:v>
                </c:pt>
                <c:pt idx="2028">
                  <c:v>54.059998</c:v>
                </c:pt>
                <c:pt idx="2029">
                  <c:v>53.43</c:v>
                </c:pt>
                <c:pt idx="2030">
                  <c:v>53.919994000000003</c:v>
                </c:pt>
                <c:pt idx="2031">
                  <c:v>54.059998</c:v>
                </c:pt>
                <c:pt idx="2032">
                  <c:v>56.289997</c:v>
                </c:pt>
                <c:pt idx="2033">
                  <c:v>60.940002</c:v>
                </c:pt>
                <c:pt idx="2034">
                  <c:v>59.810004999999997</c:v>
                </c:pt>
                <c:pt idx="2035">
                  <c:v>62.450004999999997</c:v>
                </c:pt>
                <c:pt idx="2036">
                  <c:v>60.820003999999997</c:v>
                </c:pt>
                <c:pt idx="2037">
                  <c:v>60.77</c:v>
                </c:pt>
                <c:pt idx="2038">
                  <c:v>58.330005999999997</c:v>
                </c:pt>
                <c:pt idx="2039">
                  <c:v>54.36</c:v>
                </c:pt>
                <c:pt idx="2040">
                  <c:v>53.829998000000003</c:v>
                </c:pt>
                <c:pt idx="2041">
                  <c:v>56.049995000000003</c:v>
                </c:pt>
                <c:pt idx="2042">
                  <c:v>56.83</c:v>
                </c:pt>
                <c:pt idx="2043">
                  <c:v>56.199997000000003</c:v>
                </c:pt>
                <c:pt idx="2044">
                  <c:v>58.21</c:v>
                </c:pt>
                <c:pt idx="2045">
                  <c:v>57.54</c:v>
                </c:pt>
                <c:pt idx="2046">
                  <c:v>57.82</c:v>
                </c:pt>
                <c:pt idx="2047">
                  <c:v>59.29</c:v>
                </c:pt>
                <c:pt idx="2048">
                  <c:v>59.48</c:v>
                </c:pt>
                <c:pt idx="2049">
                  <c:v>59.57</c:v>
                </c:pt>
                <c:pt idx="2050">
                  <c:v>59.429996000000003</c:v>
                </c:pt>
                <c:pt idx="2051">
                  <c:v>58.43</c:v>
                </c:pt>
                <c:pt idx="2052">
                  <c:v>56.16</c:v>
                </c:pt>
                <c:pt idx="2053">
                  <c:v>56.66</c:v>
                </c:pt>
                <c:pt idx="2054">
                  <c:v>56.92</c:v>
                </c:pt>
                <c:pt idx="2055">
                  <c:v>56.12</c:v>
                </c:pt>
                <c:pt idx="2056">
                  <c:v>55.87</c:v>
                </c:pt>
                <c:pt idx="2057">
                  <c:v>54.99</c:v>
                </c:pt>
                <c:pt idx="2058">
                  <c:v>50.3</c:v>
                </c:pt>
                <c:pt idx="2059">
                  <c:v>51.86</c:v>
                </c:pt>
                <c:pt idx="2060">
                  <c:v>51.03</c:v>
                </c:pt>
                <c:pt idx="2061">
                  <c:v>53.11</c:v>
                </c:pt>
                <c:pt idx="2062">
                  <c:v>53.78</c:v>
                </c:pt>
                <c:pt idx="2063">
                  <c:v>53.48</c:v>
                </c:pt>
                <c:pt idx="2064">
                  <c:v>53.55</c:v>
                </c:pt>
                <c:pt idx="2065">
                  <c:v>53.69</c:v>
                </c:pt>
                <c:pt idx="2066">
                  <c:v>54.4</c:v>
                </c:pt>
                <c:pt idx="2067">
                  <c:v>54.46</c:v>
                </c:pt>
                <c:pt idx="2068">
                  <c:v>52.8</c:v>
                </c:pt>
                <c:pt idx="2069">
                  <c:v>53.269996999999996</c:v>
                </c:pt>
                <c:pt idx="2070">
                  <c:v>53.05</c:v>
                </c:pt>
                <c:pt idx="2071">
                  <c:v>54.73</c:v>
                </c:pt>
                <c:pt idx="2072">
                  <c:v>54.03</c:v>
                </c:pt>
                <c:pt idx="2073">
                  <c:v>52.699997000000003</c:v>
                </c:pt>
                <c:pt idx="2074">
                  <c:v>51.01</c:v>
                </c:pt>
                <c:pt idx="2075">
                  <c:v>52.43</c:v>
                </c:pt>
                <c:pt idx="2076">
                  <c:v>55.28</c:v>
                </c:pt>
                <c:pt idx="2077">
                  <c:v>56.57</c:v>
                </c:pt>
                <c:pt idx="2078">
                  <c:v>56.38</c:v>
                </c:pt>
                <c:pt idx="2079">
                  <c:v>55.79</c:v>
                </c:pt>
                <c:pt idx="2080">
                  <c:v>55.09</c:v>
                </c:pt>
                <c:pt idx="2081">
                  <c:v>55.3</c:v>
                </c:pt>
                <c:pt idx="2082">
                  <c:v>56.140003</c:v>
                </c:pt>
                <c:pt idx="2083">
                  <c:v>56.98</c:v>
                </c:pt>
                <c:pt idx="2084">
                  <c:v>58.010002</c:v>
                </c:pt>
                <c:pt idx="2085">
                  <c:v>59.129997000000003</c:v>
                </c:pt>
                <c:pt idx="2086">
                  <c:v>58.35</c:v>
                </c:pt>
                <c:pt idx="2087">
                  <c:v>59.670001999999997</c:v>
                </c:pt>
                <c:pt idx="2088">
                  <c:v>60.29</c:v>
                </c:pt>
                <c:pt idx="2089">
                  <c:v>57.73</c:v>
                </c:pt>
                <c:pt idx="2090">
                  <c:v>56.93</c:v>
                </c:pt>
                <c:pt idx="2091">
                  <c:v>57.3</c:v>
                </c:pt>
                <c:pt idx="2092">
                  <c:v>57.73</c:v>
                </c:pt>
                <c:pt idx="2093">
                  <c:v>57.23</c:v>
                </c:pt>
                <c:pt idx="2094">
                  <c:v>56.260002</c:v>
                </c:pt>
                <c:pt idx="2095">
                  <c:v>56.519996999999996</c:v>
                </c:pt>
                <c:pt idx="2096">
                  <c:v>55.739998</c:v>
                </c:pt>
                <c:pt idx="2097">
                  <c:v>55.29</c:v>
                </c:pt>
                <c:pt idx="2098">
                  <c:v>55.6</c:v>
                </c:pt>
                <c:pt idx="2099">
                  <c:v>54.239998</c:v>
                </c:pt>
                <c:pt idx="2100">
                  <c:v>54.92</c:v>
                </c:pt>
                <c:pt idx="2101">
                  <c:v>55.69</c:v>
                </c:pt>
                <c:pt idx="2102">
                  <c:v>55.170001999999997</c:v>
                </c:pt>
                <c:pt idx="2103">
                  <c:v>55.12</c:v>
                </c:pt>
                <c:pt idx="2104">
                  <c:v>54.34</c:v>
                </c:pt>
                <c:pt idx="2105">
                  <c:v>53.879997000000003</c:v>
                </c:pt>
                <c:pt idx="2106">
                  <c:v>52.489998</c:v>
                </c:pt>
                <c:pt idx="2107">
                  <c:v>52.15</c:v>
                </c:pt>
                <c:pt idx="2108">
                  <c:v>52.289997</c:v>
                </c:pt>
                <c:pt idx="2109">
                  <c:v>53.079998000000003</c:v>
                </c:pt>
              </c:numCache>
            </c:numRef>
          </c:val>
          <c:smooth val="0"/>
          <c:extLst>
            <c:ext xmlns:c16="http://schemas.microsoft.com/office/drawing/2014/chart" uri="{C3380CC4-5D6E-409C-BE32-E72D297353CC}">
              <c16:uniqueId val="{00000000-2056-994A-AFD2-B78CCEC2330F}"/>
            </c:ext>
          </c:extLst>
        </c:ser>
        <c:ser>
          <c:idx val="1"/>
          <c:order val="1"/>
          <c:tx>
            <c:strRef>
              <c:f>Sheet1!$C$1</c:f>
              <c:strCache>
                <c:ptCount val="1"/>
                <c:pt idx="0">
                  <c:v>Predicted</c:v>
                </c:pt>
              </c:strCache>
            </c:strRef>
          </c:tx>
          <c:spPr>
            <a:ln w="12700"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26.646072</c:v>
                </c:pt>
                <c:pt idx="1">
                  <c:v>26.59496</c:v>
                </c:pt>
                <c:pt idx="2">
                  <c:v>26.506150000000002</c:v>
                </c:pt>
                <c:pt idx="3">
                  <c:v>26.651667</c:v>
                </c:pt>
                <c:pt idx="4">
                  <c:v>26.680471000000001</c:v>
                </c:pt>
                <c:pt idx="5">
                  <c:v>26.744415</c:v>
                </c:pt>
                <c:pt idx="6">
                  <c:v>26.905756</c:v>
                </c:pt>
                <c:pt idx="7">
                  <c:v>26.864222999999999</c:v>
                </c:pt>
                <c:pt idx="8">
                  <c:v>26.776555999999999</c:v>
                </c:pt>
                <c:pt idx="9">
                  <c:v>26.761206000000001</c:v>
                </c:pt>
                <c:pt idx="10">
                  <c:v>26.833632999999999</c:v>
                </c:pt>
                <c:pt idx="11">
                  <c:v>26.810686</c:v>
                </c:pt>
                <c:pt idx="12">
                  <c:v>26.719346999999999</c:v>
                </c:pt>
                <c:pt idx="13">
                  <c:v>26.544687</c:v>
                </c:pt>
                <c:pt idx="14">
                  <c:v>26.582578999999999</c:v>
                </c:pt>
                <c:pt idx="15">
                  <c:v>26.533833000000001</c:v>
                </c:pt>
                <c:pt idx="16">
                  <c:v>26.263037000000001</c:v>
                </c:pt>
                <c:pt idx="17">
                  <c:v>26.247205999999998</c:v>
                </c:pt>
                <c:pt idx="18">
                  <c:v>26.189833</c:v>
                </c:pt>
                <c:pt idx="19">
                  <c:v>26.273783000000002</c:v>
                </c:pt>
                <c:pt idx="20">
                  <c:v>26.473959000000001</c:v>
                </c:pt>
                <c:pt idx="21">
                  <c:v>26.537375999999998</c:v>
                </c:pt>
                <c:pt idx="22">
                  <c:v>26.755168999999999</c:v>
                </c:pt>
                <c:pt idx="23">
                  <c:v>26.877797999999999</c:v>
                </c:pt>
                <c:pt idx="24">
                  <c:v>26.865584999999999</c:v>
                </c:pt>
                <c:pt idx="25">
                  <c:v>26.912057999999998</c:v>
                </c:pt>
                <c:pt idx="26">
                  <c:v>27.059193</c:v>
                </c:pt>
                <c:pt idx="27">
                  <c:v>27.241657</c:v>
                </c:pt>
                <c:pt idx="28">
                  <c:v>27.430119999999999</c:v>
                </c:pt>
                <c:pt idx="29">
                  <c:v>27.644297000000002</c:v>
                </c:pt>
                <c:pt idx="30">
                  <c:v>27.873059999999999</c:v>
                </c:pt>
                <c:pt idx="31">
                  <c:v>27.835391999999999</c:v>
                </c:pt>
                <c:pt idx="32">
                  <c:v>27.382100000000001</c:v>
                </c:pt>
                <c:pt idx="33">
                  <c:v>26.813454</c:v>
                </c:pt>
                <c:pt idx="34">
                  <c:v>26.793379999999999</c:v>
                </c:pt>
                <c:pt idx="35">
                  <c:v>26.571090000000002</c:v>
                </c:pt>
                <c:pt idx="36">
                  <c:v>26.676762</c:v>
                </c:pt>
                <c:pt idx="37">
                  <c:v>26.793894000000002</c:v>
                </c:pt>
                <c:pt idx="38">
                  <c:v>27.002714000000001</c:v>
                </c:pt>
                <c:pt idx="39">
                  <c:v>27.294678000000001</c:v>
                </c:pt>
                <c:pt idx="40">
                  <c:v>27.445803000000002</c:v>
                </c:pt>
                <c:pt idx="41">
                  <c:v>27.359406</c:v>
                </c:pt>
                <c:pt idx="42">
                  <c:v>27.446736999999999</c:v>
                </c:pt>
                <c:pt idx="43">
                  <c:v>27.460706999999999</c:v>
                </c:pt>
                <c:pt idx="44">
                  <c:v>27.44603</c:v>
                </c:pt>
                <c:pt idx="45">
                  <c:v>27.545513</c:v>
                </c:pt>
                <c:pt idx="46">
                  <c:v>27.702121999999999</c:v>
                </c:pt>
                <c:pt idx="47">
                  <c:v>27.56729</c:v>
                </c:pt>
                <c:pt idx="48">
                  <c:v>27.512689999999999</c:v>
                </c:pt>
                <c:pt idx="49">
                  <c:v>27.436178000000002</c:v>
                </c:pt>
                <c:pt idx="50">
                  <c:v>27.522393999999998</c:v>
                </c:pt>
                <c:pt idx="51">
                  <c:v>27.608561999999999</c:v>
                </c:pt>
                <c:pt idx="52">
                  <c:v>27.714762</c:v>
                </c:pt>
                <c:pt idx="53">
                  <c:v>27.751252999999998</c:v>
                </c:pt>
                <c:pt idx="54">
                  <c:v>28.002628000000001</c:v>
                </c:pt>
                <c:pt idx="55">
                  <c:v>28.199287000000002</c:v>
                </c:pt>
                <c:pt idx="56">
                  <c:v>28.475573000000001</c:v>
                </c:pt>
                <c:pt idx="57">
                  <c:v>28.821583</c:v>
                </c:pt>
                <c:pt idx="58">
                  <c:v>28.901275999999999</c:v>
                </c:pt>
                <c:pt idx="59">
                  <c:v>29.018090000000001</c:v>
                </c:pt>
                <c:pt idx="60">
                  <c:v>29.228075</c:v>
                </c:pt>
                <c:pt idx="61">
                  <c:v>29.250523000000001</c:v>
                </c:pt>
                <c:pt idx="62">
                  <c:v>29.482341999999999</c:v>
                </c:pt>
                <c:pt idx="63">
                  <c:v>29.518205999999999</c:v>
                </c:pt>
                <c:pt idx="64">
                  <c:v>29.508316000000001</c:v>
                </c:pt>
                <c:pt idx="65">
                  <c:v>29.580155999999999</c:v>
                </c:pt>
                <c:pt idx="66">
                  <c:v>29.730442</c:v>
                </c:pt>
                <c:pt idx="67">
                  <c:v>29.348638999999999</c:v>
                </c:pt>
                <c:pt idx="68">
                  <c:v>29.383241999999999</c:v>
                </c:pt>
                <c:pt idx="69">
                  <c:v>29.343895</c:v>
                </c:pt>
                <c:pt idx="70">
                  <c:v>29.527342000000001</c:v>
                </c:pt>
                <c:pt idx="71">
                  <c:v>29.747029999999999</c:v>
                </c:pt>
                <c:pt idx="72">
                  <c:v>29.832761999999999</c:v>
                </c:pt>
                <c:pt idx="73">
                  <c:v>29.991737000000001</c:v>
                </c:pt>
                <c:pt idx="74">
                  <c:v>30.001722000000001</c:v>
                </c:pt>
                <c:pt idx="75">
                  <c:v>30.012513999999999</c:v>
                </c:pt>
                <c:pt idx="76">
                  <c:v>29.594474999999999</c:v>
                </c:pt>
                <c:pt idx="77">
                  <c:v>29.591728</c:v>
                </c:pt>
                <c:pt idx="78">
                  <c:v>29.217863000000001</c:v>
                </c:pt>
                <c:pt idx="79">
                  <c:v>29.100676</c:v>
                </c:pt>
                <c:pt idx="80">
                  <c:v>29.159974999999999</c:v>
                </c:pt>
                <c:pt idx="81">
                  <c:v>29.045636999999999</c:v>
                </c:pt>
                <c:pt idx="82">
                  <c:v>29.18684</c:v>
                </c:pt>
                <c:pt idx="83">
                  <c:v>29.237452000000001</c:v>
                </c:pt>
                <c:pt idx="84">
                  <c:v>29.422743000000001</c:v>
                </c:pt>
                <c:pt idx="85">
                  <c:v>29.626503</c:v>
                </c:pt>
                <c:pt idx="86">
                  <c:v>29.971015999999999</c:v>
                </c:pt>
                <c:pt idx="87">
                  <c:v>30.210657000000001</c:v>
                </c:pt>
                <c:pt idx="88">
                  <c:v>30.223602</c:v>
                </c:pt>
                <c:pt idx="89">
                  <c:v>29.842759999999998</c:v>
                </c:pt>
                <c:pt idx="90">
                  <c:v>29.706484</c:v>
                </c:pt>
                <c:pt idx="91">
                  <c:v>29.667687999999998</c:v>
                </c:pt>
                <c:pt idx="92">
                  <c:v>29.749625999999999</c:v>
                </c:pt>
                <c:pt idx="93">
                  <c:v>29.851063</c:v>
                </c:pt>
                <c:pt idx="94">
                  <c:v>29.767831999999999</c:v>
                </c:pt>
                <c:pt idx="95">
                  <c:v>29.759743</c:v>
                </c:pt>
                <c:pt idx="96">
                  <c:v>29.82152</c:v>
                </c:pt>
                <c:pt idx="97">
                  <c:v>29.974678000000001</c:v>
                </c:pt>
                <c:pt idx="98">
                  <c:v>30.172777</c:v>
                </c:pt>
                <c:pt idx="99">
                  <c:v>30.370338</c:v>
                </c:pt>
                <c:pt idx="100">
                  <c:v>30.562086000000001</c:v>
                </c:pt>
                <c:pt idx="101">
                  <c:v>30.609338999999999</c:v>
                </c:pt>
                <c:pt idx="102">
                  <c:v>30.604337999999998</c:v>
                </c:pt>
                <c:pt idx="103">
                  <c:v>30.813680000000002</c:v>
                </c:pt>
                <c:pt idx="104">
                  <c:v>30.953377</c:v>
                </c:pt>
                <c:pt idx="105">
                  <c:v>31.119924999999999</c:v>
                </c:pt>
                <c:pt idx="106">
                  <c:v>30.842687999999999</c:v>
                </c:pt>
                <c:pt idx="107">
                  <c:v>30.757421000000001</c:v>
                </c:pt>
                <c:pt idx="108">
                  <c:v>30.888532999999999</c:v>
                </c:pt>
                <c:pt idx="109">
                  <c:v>31.018388999999999</c:v>
                </c:pt>
                <c:pt idx="110">
                  <c:v>31.092243</c:v>
                </c:pt>
                <c:pt idx="111">
                  <c:v>30.880068000000001</c:v>
                </c:pt>
                <c:pt idx="112">
                  <c:v>30.572680999999999</c:v>
                </c:pt>
                <c:pt idx="113">
                  <c:v>30.451014000000001</c:v>
                </c:pt>
                <c:pt idx="114">
                  <c:v>30.398008000000001</c:v>
                </c:pt>
                <c:pt idx="115">
                  <c:v>30.506333999999999</c:v>
                </c:pt>
                <c:pt idx="116">
                  <c:v>30.543928000000001</c:v>
                </c:pt>
                <c:pt idx="117">
                  <c:v>30.695437999999999</c:v>
                </c:pt>
                <c:pt idx="118">
                  <c:v>30.9741</c:v>
                </c:pt>
                <c:pt idx="119">
                  <c:v>31.293734000000001</c:v>
                </c:pt>
                <c:pt idx="120">
                  <c:v>31.441845000000001</c:v>
                </c:pt>
                <c:pt idx="121">
                  <c:v>31.647819999999999</c:v>
                </c:pt>
                <c:pt idx="122">
                  <c:v>31.689119999999999</c:v>
                </c:pt>
                <c:pt idx="123">
                  <c:v>31.761679000000001</c:v>
                </c:pt>
                <c:pt idx="124">
                  <c:v>31.861886999999999</c:v>
                </c:pt>
                <c:pt idx="125">
                  <c:v>30.401312000000001</c:v>
                </c:pt>
                <c:pt idx="126">
                  <c:v>29.608376</c:v>
                </c:pt>
                <c:pt idx="127">
                  <c:v>29.152937000000001</c:v>
                </c:pt>
                <c:pt idx="128">
                  <c:v>28.845762000000001</c:v>
                </c:pt>
                <c:pt idx="129">
                  <c:v>28.900583000000001</c:v>
                </c:pt>
                <c:pt idx="130">
                  <c:v>29.060675</c:v>
                </c:pt>
                <c:pt idx="131">
                  <c:v>29.172884</c:v>
                </c:pt>
                <c:pt idx="132">
                  <c:v>29.296198</c:v>
                </c:pt>
                <c:pt idx="133">
                  <c:v>29.460726000000001</c:v>
                </c:pt>
                <c:pt idx="134">
                  <c:v>29.464174</c:v>
                </c:pt>
                <c:pt idx="135">
                  <c:v>28.813670999999999</c:v>
                </c:pt>
                <c:pt idx="136">
                  <c:v>28.518837000000001</c:v>
                </c:pt>
                <c:pt idx="137">
                  <c:v>28.383179999999999</c:v>
                </c:pt>
                <c:pt idx="138">
                  <c:v>28.188894000000001</c:v>
                </c:pt>
                <c:pt idx="139">
                  <c:v>28.204884</c:v>
                </c:pt>
                <c:pt idx="140">
                  <c:v>28.236643000000001</c:v>
                </c:pt>
                <c:pt idx="141">
                  <c:v>28.436682000000001</c:v>
                </c:pt>
                <c:pt idx="142">
                  <c:v>28.528089999999999</c:v>
                </c:pt>
                <c:pt idx="143">
                  <c:v>28.531013000000002</c:v>
                </c:pt>
                <c:pt idx="144">
                  <c:v>28.195094999999998</c:v>
                </c:pt>
                <c:pt idx="145">
                  <c:v>28.167044000000001</c:v>
                </c:pt>
                <c:pt idx="146">
                  <c:v>28.239682999999999</c:v>
                </c:pt>
                <c:pt idx="147">
                  <c:v>28.541594</c:v>
                </c:pt>
                <c:pt idx="148">
                  <c:v>28.730160000000001</c:v>
                </c:pt>
                <c:pt idx="149">
                  <c:v>29.123494999999998</c:v>
                </c:pt>
                <c:pt idx="150">
                  <c:v>29.381094000000001</c:v>
                </c:pt>
                <c:pt idx="151">
                  <c:v>29.677866000000002</c:v>
                </c:pt>
                <c:pt idx="152">
                  <c:v>29.718</c:v>
                </c:pt>
                <c:pt idx="153">
                  <c:v>29.870583</c:v>
                </c:pt>
                <c:pt idx="154">
                  <c:v>29.99521</c:v>
                </c:pt>
                <c:pt idx="155">
                  <c:v>30.330352999999999</c:v>
                </c:pt>
                <c:pt idx="156">
                  <c:v>30.638719999999999</c:v>
                </c:pt>
                <c:pt idx="157">
                  <c:v>30.023734999999999</c:v>
                </c:pt>
                <c:pt idx="158">
                  <c:v>29.848139</c:v>
                </c:pt>
                <c:pt idx="159">
                  <c:v>29.668299000000001</c:v>
                </c:pt>
                <c:pt idx="160">
                  <c:v>29.491416999999998</c:v>
                </c:pt>
                <c:pt idx="161">
                  <c:v>29.52487</c:v>
                </c:pt>
                <c:pt idx="162">
                  <c:v>29.654070000000001</c:v>
                </c:pt>
                <c:pt idx="163">
                  <c:v>29.795349999999999</c:v>
                </c:pt>
                <c:pt idx="164">
                  <c:v>29.844550000000002</c:v>
                </c:pt>
                <c:pt idx="165">
                  <c:v>30.066347</c:v>
                </c:pt>
                <c:pt idx="166">
                  <c:v>30.27215</c:v>
                </c:pt>
                <c:pt idx="167">
                  <c:v>30.574583000000001</c:v>
                </c:pt>
                <c:pt idx="168">
                  <c:v>30.856808000000001</c:v>
                </c:pt>
                <c:pt idx="169">
                  <c:v>31.085633999999999</c:v>
                </c:pt>
                <c:pt idx="170">
                  <c:v>31.086344</c:v>
                </c:pt>
                <c:pt idx="171">
                  <c:v>31.123515999999999</c:v>
                </c:pt>
                <c:pt idx="172">
                  <c:v>31.484780000000001</c:v>
                </c:pt>
                <c:pt idx="173">
                  <c:v>31.853490000000001</c:v>
                </c:pt>
                <c:pt idx="174">
                  <c:v>32.227173000000001</c:v>
                </c:pt>
                <c:pt idx="175">
                  <c:v>32.492420000000003</c:v>
                </c:pt>
                <c:pt idx="176">
                  <c:v>32.148327000000002</c:v>
                </c:pt>
                <c:pt idx="177">
                  <c:v>31.893024</c:v>
                </c:pt>
                <c:pt idx="178">
                  <c:v>31.709821999999999</c:v>
                </c:pt>
                <c:pt idx="179">
                  <c:v>31.214613</c:v>
                </c:pt>
                <c:pt idx="180">
                  <c:v>31.187052000000001</c:v>
                </c:pt>
                <c:pt idx="181">
                  <c:v>31.103739000000001</c:v>
                </c:pt>
                <c:pt idx="182">
                  <c:v>30.888452999999998</c:v>
                </c:pt>
                <c:pt idx="183">
                  <c:v>30.794101999999999</c:v>
                </c:pt>
                <c:pt idx="184">
                  <c:v>30.93505</c:v>
                </c:pt>
                <c:pt idx="185">
                  <c:v>31.055319999999998</c:v>
                </c:pt>
                <c:pt idx="186">
                  <c:v>31.118611999999999</c:v>
                </c:pt>
                <c:pt idx="187">
                  <c:v>31.358764999999998</c:v>
                </c:pt>
                <c:pt idx="188">
                  <c:v>31.758500999999999</c:v>
                </c:pt>
                <c:pt idx="189">
                  <c:v>31.210132999999999</c:v>
                </c:pt>
                <c:pt idx="190">
                  <c:v>31.527377999999999</c:v>
                </c:pt>
                <c:pt idx="191">
                  <c:v>31.889610000000001</c:v>
                </c:pt>
                <c:pt idx="192">
                  <c:v>32.278114000000002</c:v>
                </c:pt>
                <c:pt idx="193">
                  <c:v>32.542180000000002</c:v>
                </c:pt>
                <c:pt idx="194">
                  <c:v>31.870296</c:v>
                </c:pt>
                <c:pt idx="195">
                  <c:v>32.370068000000003</c:v>
                </c:pt>
                <c:pt idx="196">
                  <c:v>32.881912</c:v>
                </c:pt>
                <c:pt idx="197">
                  <c:v>32.779339999999998</c:v>
                </c:pt>
                <c:pt idx="198">
                  <c:v>32.788699999999999</c:v>
                </c:pt>
                <c:pt idx="199">
                  <c:v>33.020020000000002</c:v>
                </c:pt>
                <c:pt idx="200">
                  <c:v>33.668953000000002</c:v>
                </c:pt>
                <c:pt idx="201">
                  <c:v>34.467213000000001</c:v>
                </c:pt>
                <c:pt idx="202">
                  <c:v>34.760554999999997</c:v>
                </c:pt>
                <c:pt idx="203">
                  <c:v>34.843020000000003</c:v>
                </c:pt>
                <c:pt idx="204">
                  <c:v>35.176043999999997</c:v>
                </c:pt>
                <c:pt idx="205">
                  <c:v>35.488582999999998</c:v>
                </c:pt>
                <c:pt idx="206">
                  <c:v>36.430816999999998</c:v>
                </c:pt>
                <c:pt idx="207">
                  <c:v>37.128914000000002</c:v>
                </c:pt>
                <c:pt idx="208">
                  <c:v>37.777299999999997</c:v>
                </c:pt>
                <c:pt idx="209">
                  <c:v>38.520256000000003</c:v>
                </c:pt>
                <c:pt idx="210">
                  <c:v>38.879840000000002</c:v>
                </c:pt>
                <c:pt idx="211">
                  <c:v>39.388176000000001</c:v>
                </c:pt>
                <c:pt idx="212">
                  <c:v>40.469048000000001</c:v>
                </c:pt>
                <c:pt idx="213">
                  <c:v>41.303215000000002</c:v>
                </c:pt>
                <c:pt idx="214">
                  <c:v>42.159469999999999</c:v>
                </c:pt>
                <c:pt idx="215">
                  <c:v>43.184795000000001</c:v>
                </c:pt>
                <c:pt idx="216">
                  <c:v>44.144455000000001</c:v>
                </c:pt>
                <c:pt idx="217">
                  <c:v>45.574570000000001</c:v>
                </c:pt>
                <c:pt idx="218">
                  <c:v>46.460147999999997</c:v>
                </c:pt>
                <c:pt idx="219">
                  <c:v>48.528910000000003</c:v>
                </c:pt>
                <c:pt idx="220">
                  <c:v>49.551760000000002</c:v>
                </c:pt>
                <c:pt idx="221">
                  <c:v>50.428646000000001</c:v>
                </c:pt>
                <c:pt idx="222">
                  <c:v>51.121630000000003</c:v>
                </c:pt>
                <c:pt idx="223">
                  <c:v>51.706313999999999</c:v>
                </c:pt>
                <c:pt idx="224">
                  <c:v>52.596072999999997</c:v>
                </c:pt>
                <c:pt idx="225">
                  <c:v>53.275973999999998</c:v>
                </c:pt>
                <c:pt idx="226">
                  <c:v>53.618929999999999</c:v>
                </c:pt>
                <c:pt idx="227">
                  <c:v>53.639015000000001</c:v>
                </c:pt>
                <c:pt idx="228">
                  <c:v>51.588245000000001</c:v>
                </c:pt>
                <c:pt idx="229">
                  <c:v>50.773482999999999</c:v>
                </c:pt>
                <c:pt idx="230">
                  <c:v>51.078583000000002</c:v>
                </c:pt>
                <c:pt idx="231">
                  <c:v>50.713802000000001</c:v>
                </c:pt>
                <c:pt idx="232">
                  <c:v>50.686095999999999</c:v>
                </c:pt>
                <c:pt idx="233">
                  <c:v>51.784269999999999</c:v>
                </c:pt>
                <c:pt idx="234">
                  <c:v>52.442763999999997</c:v>
                </c:pt>
                <c:pt idx="235">
                  <c:v>52.881816999999998</c:v>
                </c:pt>
                <c:pt idx="236">
                  <c:v>53.290750000000003</c:v>
                </c:pt>
                <c:pt idx="237">
                  <c:v>52.715510000000002</c:v>
                </c:pt>
                <c:pt idx="238">
                  <c:v>52.063110000000002</c:v>
                </c:pt>
                <c:pt idx="239">
                  <c:v>52.190689999999996</c:v>
                </c:pt>
                <c:pt idx="240">
                  <c:v>52.578339999999997</c:v>
                </c:pt>
                <c:pt idx="241">
                  <c:v>53.026867000000003</c:v>
                </c:pt>
                <c:pt idx="242">
                  <c:v>53.691490000000002</c:v>
                </c:pt>
                <c:pt idx="243">
                  <c:v>53.886029999999998</c:v>
                </c:pt>
                <c:pt idx="244">
                  <c:v>52.493899999999996</c:v>
                </c:pt>
                <c:pt idx="245">
                  <c:v>52.359524</c:v>
                </c:pt>
                <c:pt idx="246">
                  <c:v>51.739905999999998</c:v>
                </c:pt>
                <c:pt idx="247">
                  <c:v>51.247860000000003</c:v>
                </c:pt>
                <c:pt idx="248">
                  <c:v>51.047325000000001</c:v>
                </c:pt>
                <c:pt idx="249">
                  <c:v>50.722610000000003</c:v>
                </c:pt>
                <c:pt idx="250">
                  <c:v>49.864750000000001</c:v>
                </c:pt>
                <c:pt idx="251">
                  <c:v>49.587569999999999</c:v>
                </c:pt>
                <c:pt idx="252">
                  <c:v>49.195545000000003</c:v>
                </c:pt>
                <c:pt idx="253">
                  <c:v>48.540005000000001</c:v>
                </c:pt>
                <c:pt idx="254">
                  <c:v>48.576965000000001</c:v>
                </c:pt>
                <c:pt idx="255">
                  <c:v>48.238922000000002</c:v>
                </c:pt>
                <c:pt idx="256">
                  <c:v>47.179589999999997</c:v>
                </c:pt>
                <c:pt idx="257">
                  <c:v>47.585766</c:v>
                </c:pt>
                <c:pt idx="258">
                  <c:v>50.927326000000001</c:v>
                </c:pt>
                <c:pt idx="259">
                  <c:v>50.553609999999999</c:v>
                </c:pt>
                <c:pt idx="260">
                  <c:v>50.476790000000001</c:v>
                </c:pt>
                <c:pt idx="261">
                  <c:v>50.343719999999998</c:v>
                </c:pt>
                <c:pt idx="262">
                  <c:v>49.480240000000002</c:v>
                </c:pt>
                <c:pt idx="263">
                  <c:v>49.33108</c:v>
                </c:pt>
                <c:pt idx="264">
                  <c:v>49.610979999999998</c:v>
                </c:pt>
                <c:pt idx="265">
                  <c:v>49.944991999999999</c:v>
                </c:pt>
                <c:pt idx="266">
                  <c:v>50.317689999999999</c:v>
                </c:pt>
                <c:pt idx="267">
                  <c:v>52.404559999999996</c:v>
                </c:pt>
                <c:pt idx="268">
                  <c:v>54.297977000000003</c:v>
                </c:pt>
                <c:pt idx="269">
                  <c:v>55.990307000000001</c:v>
                </c:pt>
                <c:pt idx="270">
                  <c:v>57.317917000000001</c:v>
                </c:pt>
                <c:pt idx="271">
                  <c:v>58.402144999999997</c:v>
                </c:pt>
                <c:pt idx="272">
                  <c:v>59.044612999999998</c:v>
                </c:pt>
                <c:pt idx="273">
                  <c:v>59.910780000000003</c:v>
                </c:pt>
                <c:pt idx="274">
                  <c:v>61.176025000000003</c:v>
                </c:pt>
                <c:pt idx="275">
                  <c:v>62.017150000000001</c:v>
                </c:pt>
                <c:pt idx="276">
                  <c:v>62.721179999999997</c:v>
                </c:pt>
                <c:pt idx="277">
                  <c:v>62.920433000000003</c:v>
                </c:pt>
                <c:pt idx="278">
                  <c:v>63.373370000000001</c:v>
                </c:pt>
                <c:pt idx="279">
                  <c:v>63.8932</c:v>
                </c:pt>
                <c:pt idx="280">
                  <c:v>63.945160000000001</c:v>
                </c:pt>
                <c:pt idx="281">
                  <c:v>63.932693</c:v>
                </c:pt>
                <c:pt idx="282">
                  <c:v>63.975270000000002</c:v>
                </c:pt>
                <c:pt idx="283">
                  <c:v>64.058430000000001</c:v>
                </c:pt>
                <c:pt idx="284">
                  <c:v>63.876860000000001</c:v>
                </c:pt>
                <c:pt idx="285">
                  <c:v>64.276700000000005</c:v>
                </c:pt>
                <c:pt idx="286">
                  <c:v>64.572559999999996</c:v>
                </c:pt>
                <c:pt idx="287">
                  <c:v>64.548720000000003</c:v>
                </c:pt>
                <c:pt idx="288">
                  <c:v>64.367530000000002</c:v>
                </c:pt>
                <c:pt idx="289">
                  <c:v>64.146249999999995</c:v>
                </c:pt>
                <c:pt idx="290">
                  <c:v>64.019109999999998</c:v>
                </c:pt>
                <c:pt idx="291">
                  <c:v>64.101249999999993</c:v>
                </c:pt>
                <c:pt idx="292">
                  <c:v>63.868749999999999</c:v>
                </c:pt>
                <c:pt idx="293">
                  <c:v>63.891030000000001</c:v>
                </c:pt>
                <c:pt idx="294">
                  <c:v>63.89611</c:v>
                </c:pt>
                <c:pt idx="295">
                  <c:v>64.001279999999994</c:v>
                </c:pt>
                <c:pt idx="296">
                  <c:v>64.244995000000003</c:v>
                </c:pt>
                <c:pt idx="297">
                  <c:v>64.616929999999996</c:v>
                </c:pt>
                <c:pt idx="298">
                  <c:v>64.625569999999996</c:v>
                </c:pt>
                <c:pt idx="299">
                  <c:v>64.839370000000002</c:v>
                </c:pt>
                <c:pt idx="300">
                  <c:v>63.575446999999997</c:v>
                </c:pt>
                <c:pt idx="301">
                  <c:v>62.183860000000003</c:v>
                </c:pt>
                <c:pt idx="302">
                  <c:v>60.514690000000002</c:v>
                </c:pt>
                <c:pt idx="303">
                  <c:v>59.339092000000001</c:v>
                </c:pt>
                <c:pt idx="304">
                  <c:v>58.851419999999997</c:v>
                </c:pt>
                <c:pt idx="305">
                  <c:v>60.651409999999998</c:v>
                </c:pt>
                <c:pt idx="306">
                  <c:v>62.927630000000001</c:v>
                </c:pt>
                <c:pt idx="307">
                  <c:v>64.617890000000003</c:v>
                </c:pt>
                <c:pt idx="308">
                  <c:v>66.265870000000007</c:v>
                </c:pt>
                <c:pt idx="309">
                  <c:v>66.962400000000002</c:v>
                </c:pt>
                <c:pt idx="310">
                  <c:v>67.584029999999998</c:v>
                </c:pt>
                <c:pt idx="311">
                  <c:v>68.281875999999997</c:v>
                </c:pt>
                <c:pt idx="312">
                  <c:v>68.512569999999997</c:v>
                </c:pt>
                <c:pt idx="313">
                  <c:v>68.816315000000003</c:v>
                </c:pt>
                <c:pt idx="314">
                  <c:v>68.77216</c:v>
                </c:pt>
                <c:pt idx="315">
                  <c:v>68.549440000000004</c:v>
                </c:pt>
                <c:pt idx="316">
                  <c:v>68.489554999999996</c:v>
                </c:pt>
                <c:pt idx="317">
                  <c:v>68.582030000000003</c:v>
                </c:pt>
                <c:pt idx="318">
                  <c:v>68.320070000000001</c:v>
                </c:pt>
                <c:pt idx="319">
                  <c:v>67.889089999999996</c:v>
                </c:pt>
                <c:pt idx="320">
                  <c:v>67.854089999999999</c:v>
                </c:pt>
                <c:pt idx="321">
                  <c:v>67.697569999999999</c:v>
                </c:pt>
                <c:pt idx="322">
                  <c:v>68.273629999999997</c:v>
                </c:pt>
                <c:pt idx="323">
                  <c:v>68.593720000000005</c:v>
                </c:pt>
                <c:pt idx="324">
                  <c:v>68.696119999999993</c:v>
                </c:pt>
                <c:pt idx="325">
                  <c:v>68.618570000000005</c:v>
                </c:pt>
                <c:pt idx="326">
                  <c:v>68.454520000000002</c:v>
                </c:pt>
                <c:pt idx="327">
                  <c:v>68.246505999999997</c:v>
                </c:pt>
                <c:pt idx="328">
                  <c:v>67.031319999999994</c:v>
                </c:pt>
                <c:pt idx="329">
                  <c:v>67.332213999999993</c:v>
                </c:pt>
                <c:pt idx="330">
                  <c:v>68.362319999999997</c:v>
                </c:pt>
                <c:pt idx="331">
                  <c:v>68.138170000000002</c:v>
                </c:pt>
                <c:pt idx="332">
                  <c:v>67.987920000000003</c:v>
                </c:pt>
                <c:pt idx="333">
                  <c:v>66.963134999999994</c:v>
                </c:pt>
                <c:pt idx="334">
                  <c:v>63.320732</c:v>
                </c:pt>
                <c:pt idx="335">
                  <c:v>61.410136999999999</c:v>
                </c:pt>
                <c:pt idx="336">
                  <c:v>61.75018</c:v>
                </c:pt>
                <c:pt idx="337">
                  <c:v>62.810028000000003</c:v>
                </c:pt>
                <c:pt idx="338">
                  <c:v>64.799480000000003</c:v>
                </c:pt>
                <c:pt idx="339">
                  <c:v>67.249589999999998</c:v>
                </c:pt>
                <c:pt idx="340">
                  <c:v>69.018829999999994</c:v>
                </c:pt>
                <c:pt idx="341">
                  <c:v>70.342709999999997</c:v>
                </c:pt>
                <c:pt idx="342">
                  <c:v>70.529920000000004</c:v>
                </c:pt>
                <c:pt idx="343">
                  <c:v>71.188990000000004</c:v>
                </c:pt>
                <c:pt idx="344">
                  <c:v>71.125889999999998</c:v>
                </c:pt>
                <c:pt idx="345">
                  <c:v>71.578559999999996</c:v>
                </c:pt>
                <c:pt idx="346">
                  <c:v>72.216819999999998</c:v>
                </c:pt>
                <c:pt idx="347">
                  <c:v>72.123729999999995</c:v>
                </c:pt>
                <c:pt idx="348">
                  <c:v>69.331670000000003</c:v>
                </c:pt>
                <c:pt idx="349">
                  <c:v>69.507199999999997</c:v>
                </c:pt>
                <c:pt idx="350">
                  <c:v>68.676349999999999</c:v>
                </c:pt>
                <c:pt idx="351">
                  <c:v>64.961299999999994</c:v>
                </c:pt>
                <c:pt idx="352">
                  <c:v>64.278469999999999</c:v>
                </c:pt>
                <c:pt idx="353">
                  <c:v>60.162709999999997</c:v>
                </c:pt>
                <c:pt idx="354">
                  <c:v>60.262478000000002</c:v>
                </c:pt>
                <c:pt idx="355">
                  <c:v>62.677821999999999</c:v>
                </c:pt>
                <c:pt idx="356">
                  <c:v>65.203919999999997</c:v>
                </c:pt>
                <c:pt idx="357">
                  <c:v>67.942670000000007</c:v>
                </c:pt>
                <c:pt idx="358">
                  <c:v>68.379080000000002</c:v>
                </c:pt>
                <c:pt idx="359">
                  <c:v>69.598439999999997</c:v>
                </c:pt>
                <c:pt idx="360">
                  <c:v>71.783820000000006</c:v>
                </c:pt>
                <c:pt idx="361">
                  <c:v>73.247739999999993</c:v>
                </c:pt>
                <c:pt idx="362">
                  <c:v>72.427379999999999</c:v>
                </c:pt>
                <c:pt idx="363">
                  <c:v>68.492000000000004</c:v>
                </c:pt>
                <c:pt idx="364">
                  <c:v>65.586489999999998</c:v>
                </c:pt>
                <c:pt idx="365">
                  <c:v>65.998795000000001</c:v>
                </c:pt>
                <c:pt idx="366">
                  <c:v>67.38203</c:v>
                </c:pt>
                <c:pt idx="367">
                  <c:v>67.903009999999995</c:v>
                </c:pt>
                <c:pt idx="368">
                  <c:v>69.033874999999995</c:v>
                </c:pt>
                <c:pt idx="369">
                  <c:v>70.878739999999993</c:v>
                </c:pt>
                <c:pt idx="370">
                  <c:v>71.811629999999994</c:v>
                </c:pt>
                <c:pt idx="371">
                  <c:v>70.930940000000007</c:v>
                </c:pt>
                <c:pt idx="372">
                  <c:v>71.111496000000002</c:v>
                </c:pt>
                <c:pt idx="373">
                  <c:v>71.242069999999998</c:v>
                </c:pt>
                <c:pt idx="374">
                  <c:v>70.968149999999994</c:v>
                </c:pt>
                <c:pt idx="375">
                  <c:v>71.389660000000006</c:v>
                </c:pt>
                <c:pt idx="376">
                  <c:v>72.054419999999993</c:v>
                </c:pt>
                <c:pt idx="377">
                  <c:v>72.87679</c:v>
                </c:pt>
                <c:pt idx="378">
                  <c:v>72.978700000000003</c:v>
                </c:pt>
                <c:pt idx="379">
                  <c:v>72.91328</c:v>
                </c:pt>
                <c:pt idx="380">
                  <c:v>72.826935000000006</c:v>
                </c:pt>
                <c:pt idx="381">
                  <c:v>72.848179999999999</c:v>
                </c:pt>
                <c:pt idx="382">
                  <c:v>73.105549999999994</c:v>
                </c:pt>
                <c:pt idx="383">
                  <c:v>73.360209999999995</c:v>
                </c:pt>
                <c:pt idx="384">
                  <c:v>74.107079999999996</c:v>
                </c:pt>
                <c:pt idx="385">
                  <c:v>74.786490000000001</c:v>
                </c:pt>
                <c:pt idx="386">
                  <c:v>75.742324999999994</c:v>
                </c:pt>
                <c:pt idx="387">
                  <c:v>76.383849999999995</c:v>
                </c:pt>
                <c:pt idx="388">
                  <c:v>76.491776000000002</c:v>
                </c:pt>
                <c:pt idx="389">
                  <c:v>75.702370000000002</c:v>
                </c:pt>
                <c:pt idx="390">
                  <c:v>74.545615999999995</c:v>
                </c:pt>
                <c:pt idx="391">
                  <c:v>73.817269999999994</c:v>
                </c:pt>
                <c:pt idx="392">
                  <c:v>73.359160000000003</c:v>
                </c:pt>
                <c:pt idx="393">
                  <c:v>72.899919999999995</c:v>
                </c:pt>
                <c:pt idx="394">
                  <c:v>72.693470000000005</c:v>
                </c:pt>
                <c:pt idx="395">
                  <c:v>72.603039999999993</c:v>
                </c:pt>
                <c:pt idx="396">
                  <c:v>72.820403999999996</c:v>
                </c:pt>
                <c:pt idx="397">
                  <c:v>72.735825000000006</c:v>
                </c:pt>
                <c:pt idx="398">
                  <c:v>72.794319999999999</c:v>
                </c:pt>
                <c:pt idx="399">
                  <c:v>73.260829999999999</c:v>
                </c:pt>
                <c:pt idx="400">
                  <c:v>73.497039999999998</c:v>
                </c:pt>
                <c:pt idx="401">
                  <c:v>73.522919999999999</c:v>
                </c:pt>
                <c:pt idx="402">
                  <c:v>74.053290000000004</c:v>
                </c:pt>
                <c:pt idx="403">
                  <c:v>73.938389999999998</c:v>
                </c:pt>
                <c:pt idx="404">
                  <c:v>73.883210000000005</c:v>
                </c:pt>
                <c:pt idx="405">
                  <c:v>74.101264999999998</c:v>
                </c:pt>
                <c:pt idx="406">
                  <c:v>74.406289999999998</c:v>
                </c:pt>
                <c:pt idx="407">
                  <c:v>74.141379999999998</c:v>
                </c:pt>
                <c:pt idx="408">
                  <c:v>74.567769999999996</c:v>
                </c:pt>
                <c:pt idx="409">
                  <c:v>74.742649999999998</c:v>
                </c:pt>
                <c:pt idx="410">
                  <c:v>74.382679999999993</c:v>
                </c:pt>
                <c:pt idx="411">
                  <c:v>72.942490000000006</c:v>
                </c:pt>
                <c:pt idx="412">
                  <c:v>72.715935000000002</c:v>
                </c:pt>
                <c:pt idx="413">
                  <c:v>72.464460000000003</c:v>
                </c:pt>
                <c:pt idx="414">
                  <c:v>72.491839999999996</c:v>
                </c:pt>
                <c:pt idx="415">
                  <c:v>72.342569999999995</c:v>
                </c:pt>
                <c:pt idx="416">
                  <c:v>70.770129999999995</c:v>
                </c:pt>
                <c:pt idx="417">
                  <c:v>66.692599999999999</c:v>
                </c:pt>
                <c:pt idx="418">
                  <c:v>64.961426000000003</c:v>
                </c:pt>
                <c:pt idx="419">
                  <c:v>61.940629999999999</c:v>
                </c:pt>
                <c:pt idx="420">
                  <c:v>60.852607999999996</c:v>
                </c:pt>
                <c:pt idx="421">
                  <c:v>58.813957000000002</c:v>
                </c:pt>
                <c:pt idx="422">
                  <c:v>58.628480000000003</c:v>
                </c:pt>
                <c:pt idx="423">
                  <c:v>61.289185000000003</c:v>
                </c:pt>
                <c:pt idx="424">
                  <c:v>62.724870000000003</c:v>
                </c:pt>
                <c:pt idx="425">
                  <c:v>63.444786000000001</c:v>
                </c:pt>
                <c:pt idx="426">
                  <c:v>64.600470000000001</c:v>
                </c:pt>
                <c:pt idx="427">
                  <c:v>62.611713000000002</c:v>
                </c:pt>
                <c:pt idx="428">
                  <c:v>63.320489999999999</c:v>
                </c:pt>
                <c:pt idx="429">
                  <c:v>63.479885000000003</c:v>
                </c:pt>
                <c:pt idx="430">
                  <c:v>64.038700000000006</c:v>
                </c:pt>
                <c:pt idx="431">
                  <c:v>65.879195999999993</c:v>
                </c:pt>
                <c:pt idx="432">
                  <c:v>68.343599999999995</c:v>
                </c:pt>
                <c:pt idx="433">
                  <c:v>69.311310000000006</c:v>
                </c:pt>
                <c:pt idx="434">
                  <c:v>70.458160000000007</c:v>
                </c:pt>
                <c:pt idx="435">
                  <c:v>70.134383999999997</c:v>
                </c:pt>
                <c:pt idx="436">
                  <c:v>71.105580000000003</c:v>
                </c:pt>
                <c:pt idx="437">
                  <c:v>70.883150000000001</c:v>
                </c:pt>
                <c:pt idx="438">
                  <c:v>70.996170000000006</c:v>
                </c:pt>
                <c:pt idx="439">
                  <c:v>71.701300000000003</c:v>
                </c:pt>
                <c:pt idx="440">
                  <c:v>72.479960000000005</c:v>
                </c:pt>
                <c:pt idx="441">
                  <c:v>73.355549999999994</c:v>
                </c:pt>
                <c:pt idx="442">
                  <c:v>72.874709999999993</c:v>
                </c:pt>
                <c:pt idx="443">
                  <c:v>72.637559999999993</c:v>
                </c:pt>
                <c:pt idx="444">
                  <c:v>72.608599999999996</c:v>
                </c:pt>
                <c:pt idx="445">
                  <c:v>72.012699999999995</c:v>
                </c:pt>
                <c:pt idx="446">
                  <c:v>72.313323999999994</c:v>
                </c:pt>
                <c:pt idx="447">
                  <c:v>72.352990000000005</c:v>
                </c:pt>
                <c:pt idx="448">
                  <c:v>72.227620000000002</c:v>
                </c:pt>
                <c:pt idx="449">
                  <c:v>72.514015000000001</c:v>
                </c:pt>
                <c:pt idx="450">
                  <c:v>71.741799999999998</c:v>
                </c:pt>
                <c:pt idx="451">
                  <c:v>72.123900000000006</c:v>
                </c:pt>
                <c:pt idx="452">
                  <c:v>70.695310000000006</c:v>
                </c:pt>
                <c:pt idx="453">
                  <c:v>70.293859999999995</c:v>
                </c:pt>
                <c:pt idx="454">
                  <c:v>70.132279999999994</c:v>
                </c:pt>
                <c:pt idx="455">
                  <c:v>70.664100000000005</c:v>
                </c:pt>
                <c:pt idx="456">
                  <c:v>69.347594999999998</c:v>
                </c:pt>
                <c:pt idx="457">
                  <c:v>68.214410000000001</c:v>
                </c:pt>
                <c:pt idx="458">
                  <c:v>68.188400000000001</c:v>
                </c:pt>
                <c:pt idx="459">
                  <c:v>67.08672</c:v>
                </c:pt>
                <c:pt idx="460">
                  <c:v>66.014859999999999</c:v>
                </c:pt>
                <c:pt idx="461">
                  <c:v>66.04562</c:v>
                </c:pt>
                <c:pt idx="462">
                  <c:v>65.844319999999996</c:v>
                </c:pt>
                <c:pt idx="463">
                  <c:v>66.285139999999998</c:v>
                </c:pt>
                <c:pt idx="464">
                  <c:v>67.03134</c:v>
                </c:pt>
                <c:pt idx="465">
                  <c:v>66.870660000000001</c:v>
                </c:pt>
                <c:pt idx="466">
                  <c:v>67.831590000000006</c:v>
                </c:pt>
                <c:pt idx="467">
                  <c:v>68.925719999999998</c:v>
                </c:pt>
                <c:pt idx="468">
                  <c:v>70.220519999999993</c:v>
                </c:pt>
                <c:pt idx="469">
                  <c:v>70.888329999999996</c:v>
                </c:pt>
                <c:pt idx="470">
                  <c:v>72.196579999999997</c:v>
                </c:pt>
                <c:pt idx="471">
                  <c:v>73.130480000000006</c:v>
                </c:pt>
                <c:pt idx="472">
                  <c:v>73.790469999999999</c:v>
                </c:pt>
                <c:pt idx="473">
                  <c:v>74.294120000000007</c:v>
                </c:pt>
                <c:pt idx="474">
                  <c:v>73.850716000000006</c:v>
                </c:pt>
                <c:pt idx="475">
                  <c:v>72.661100000000005</c:v>
                </c:pt>
                <c:pt idx="476">
                  <c:v>71.950969999999998</c:v>
                </c:pt>
                <c:pt idx="477">
                  <c:v>71.11609</c:v>
                </c:pt>
                <c:pt idx="478">
                  <c:v>70.877750000000006</c:v>
                </c:pt>
                <c:pt idx="479">
                  <c:v>70.139300000000006</c:v>
                </c:pt>
                <c:pt idx="480">
                  <c:v>70.779719999999998</c:v>
                </c:pt>
                <c:pt idx="481">
                  <c:v>70.872609999999995</c:v>
                </c:pt>
                <c:pt idx="482">
                  <c:v>70.673850000000002</c:v>
                </c:pt>
                <c:pt idx="483">
                  <c:v>70.173540000000003</c:v>
                </c:pt>
                <c:pt idx="484">
                  <c:v>69.904300000000006</c:v>
                </c:pt>
                <c:pt idx="485">
                  <c:v>69.040649999999999</c:v>
                </c:pt>
                <c:pt idx="486">
                  <c:v>67.691180000000003</c:v>
                </c:pt>
                <c:pt idx="487">
                  <c:v>67.259309999999999</c:v>
                </c:pt>
                <c:pt idx="488">
                  <c:v>66.101685000000003</c:v>
                </c:pt>
                <c:pt idx="489">
                  <c:v>67.311049999999994</c:v>
                </c:pt>
                <c:pt idx="490">
                  <c:v>68.224109999999996</c:v>
                </c:pt>
                <c:pt idx="491">
                  <c:v>69.383414999999999</c:v>
                </c:pt>
                <c:pt idx="492">
                  <c:v>70.389160000000004</c:v>
                </c:pt>
                <c:pt idx="493">
                  <c:v>70.557525999999996</c:v>
                </c:pt>
                <c:pt idx="494">
                  <c:v>69.667289999999994</c:v>
                </c:pt>
                <c:pt idx="495">
                  <c:v>67.960266000000004</c:v>
                </c:pt>
                <c:pt idx="496">
                  <c:v>66.76164</c:v>
                </c:pt>
                <c:pt idx="497">
                  <c:v>66.814080000000004</c:v>
                </c:pt>
                <c:pt idx="498">
                  <c:v>67.725809999999996</c:v>
                </c:pt>
                <c:pt idx="499">
                  <c:v>68.138390000000001</c:v>
                </c:pt>
                <c:pt idx="500">
                  <c:v>67.77431</c:v>
                </c:pt>
                <c:pt idx="501">
                  <c:v>68.358029999999999</c:v>
                </c:pt>
                <c:pt idx="502">
                  <c:v>69.471360000000004</c:v>
                </c:pt>
                <c:pt idx="503">
                  <c:v>70.438384999999997</c:v>
                </c:pt>
                <c:pt idx="504">
                  <c:v>71.125693999999996</c:v>
                </c:pt>
                <c:pt idx="505">
                  <c:v>71.503990000000002</c:v>
                </c:pt>
                <c:pt idx="506">
                  <c:v>71.674194</c:v>
                </c:pt>
                <c:pt idx="507">
                  <c:v>71.545615999999995</c:v>
                </c:pt>
                <c:pt idx="508">
                  <c:v>71.384900000000002</c:v>
                </c:pt>
                <c:pt idx="509">
                  <c:v>71.008880000000005</c:v>
                </c:pt>
                <c:pt idx="510">
                  <c:v>70.591835000000003</c:v>
                </c:pt>
                <c:pt idx="511">
                  <c:v>70.54365</c:v>
                </c:pt>
                <c:pt idx="512">
                  <c:v>69.282390000000007</c:v>
                </c:pt>
                <c:pt idx="513">
                  <c:v>68.720349999999996</c:v>
                </c:pt>
                <c:pt idx="514">
                  <c:v>68.751059999999995</c:v>
                </c:pt>
                <c:pt idx="515">
                  <c:v>68.51343</c:v>
                </c:pt>
                <c:pt idx="516">
                  <c:v>68.903949999999995</c:v>
                </c:pt>
                <c:pt idx="517">
                  <c:v>69.671549999999996</c:v>
                </c:pt>
                <c:pt idx="518">
                  <c:v>71.035240000000002</c:v>
                </c:pt>
                <c:pt idx="519">
                  <c:v>71.349699999999999</c:v>
                </c:pt>
                <c:pt idx="520">
                  <c:v>71.627200000000002</c:v>
                </c:pt>
                <c:pt idx="521">
                  <c:v>71.55247</c:v>
                </c:pt>
                <c:pt idx="522">
                  <c:v>71.681309999999996</c:v>
                </c:pt>
                <c:pt idx="523">
                  <c:v>71.624300000000005</c:v>
                </c:pt>
                <c:pt idx="524">
                  <c:v>71.815560000000005</c:v>
                </c:pt>
                <c:pt idx="525">
                  <c:v>71.741770000000002</c:v>
                </c:pt>
                <c:pt idx="526">
                  <c:v>71.474159999999998</c:v>
                </c:pt>
                <c:pt idx="527">
                  <c:v>71.126429999999999</c:v>
                </c:pt>
                <c:pt idx="528">
                  <c:v>68.968199999999996</c:v>
                </c:pt>
                <c:pt idx="529">
                  <c:v>68.592389999999995</c:v>
                </c:pt>
                <c:pt idx="530">
                  <c:v>69.210494999999995</c:v>
                </c:pt>
                <c:pt idx="531">
                  <c:v>69.365684999999999</c:v>
                </c:pt>
                <c:pt idx="532">
                  <c:v>69.249549999999999</c:v>
                </c:pt>
                <c:pt idx="533">
                  <c:v>69.526489999999995</c:v>
                </c:pt>
                <c:pt idx="534">
                  <c:v>70.589950000000002</c:v>
                </c:pt>
                <c:pt idx="535">
                  <c:v>71.635900000000007</c:v>
                </c:pt>
                <c:pt idx="536">
                  <c:v>70.834919999999997</c:v>
                </c:pt>
                <c:pt idx="537">
                  <c:v>69.745850000000004</c:v>
                </c:pt>
                <c:pt idx="538">
                  <c:v>68.482640000000004</c:v>
                </c:pt>
                <c:pt idx="539">
                  <c:v>68.614019999999996</c:v>
                </c:pt>
                <c:pt idx="540">
                  <c:v>68.291979999999995</c:v>
                </c:pt>
                <c:pt idx="541">
                  <c:v>67.090990000000005</c:v>
                </c:pt>
                <c:pt idx="542">
                  <c:v>68.064840000000004</c:v>
                </c:pt>
                <c:pt idx="543">
                  <c:v>68.885919999999999</c:v>
                </c:pt>
                <c:pt idx="544">
                  <c:v>69.541916000000001</c:v>
                </c:pt>
                <c:pt idx="545">
                  <c:v>69.554885999999996</c:v>
                </c:pt>
                <c:pt idx="546">
                  <c:v>70.026060000000001</c:v>
                </c:pt>
                <c:pt idx="547">
                  <c:v>70.605530000000002</c:v>
                </c:pt>
                <c:pt idx="548">
                  <c:v>70.833855</c:v>
                </c:pt>
                <c:pt idx="549">
                  <c:v>70.494339999999994</c:v>
                </c:pt>
                <c:pt idx="550">
                  <c:v>69.837580000000003</c:v>
                </c:pt>
                <c:pt idx="551">
                  <c:v>68.221950000000007</c:v>
                </c:pt>
                <c:pt idx="552">
                  <c:v>66.632675000000006</c:v>
                </c:pt>
                <c:pt idx="553">
                  <c:v>66.948419999999999</c:v>
                </c:pt>
                <c:pt idx="554">
                  <c:v>68.002129999999994</c:v>
                </c:pt>
                <c:pt idx="555">
                  <c:v>67.670364000000006</c:v>
                </c:pt>
                <c:pt idx="556">
                  <c:v>67.294044</c:v>
                </c:pt>
                <c:pt idx="557">
                  <c:v>68.144806000000003</c:v>
                </c:pt>
                <c:pt idx="558">
                  <c:v>69.35521</c:v>
                </c:pt>
                <c:pt idx="559">
                  <c:v>70.468019999999996</c:v>
                </c:pt>
                <c:pt idx="560">
                  <c:v>71.054410000000004</c:v>
                </c:pt>
                <c:pt idx="561">
                  <c:v>69.914985999999999</c:v>
                </c:pt>
                <c:pt idx="562">
                  <c:v>69.885024999999999</c:v>
                </c:pt>
                <c:pt idx="563">
                  <c:v>70.887720000000002</c:v>
                </c:pt>
                <c:pt idx="564">
                  <c:v>71.167649999999995</c:v>
                </c:pt>
                <c:pt idx="565">
                  <c:v>71.191220000000001</c:v>
                </c:pt>
                <c:pt idx="566">
                  <c:v>71.492410000000007</c:v>
                </c:pt>
                <c:pt idx="567">
                  <c:v>72.117676000000003</c:v>
                </c:pt>
                <c:pt idx="568">
                  <c:v>72.074039999999997</c:v>
                </c:pt>
                <c:pt idx="569">
                  <c:v>71.612724</c:v>
                </c:pt>
                <c:pt idx="570">
                  <c:v>64.903840000000002</c:v>
                </c:pt>
                <c:pt idx="571">
                  <c:v>61.781745999999998</c:v>
                </c:pt>
                <c:pt idx="572">
                  <c:v>61.736939999999997</c:v>
                </c:pt>
                <c:pt idx="573">
                  <c:v>61.010249999999999</c:v>
                </c:pt>
                <c:pt idx="574">
                  <c:v>62.153939999999999</c:v>
                </c:pt>
                <c:pt idx="575">
                  <c:v>64.326485000000005</c:v>
                </c:pt>
                <c:pt idx="576">
                  <c:v>65.456695999999994</c:v>
                </c:pt>
                <c:pt idx="577">
                  <c:v>65.335530000000006</c:v>
                </c:pt>
                <c:pt idx="578">
                  <c:v>66.058639999999997</c:v>
                </c:pt>
                <c:pt idx="579">
                  <c:v>68.094449999999995</c:v>
                </c:pt>
                <c:pt idx="580">
                  <c:v>68.485100000000003</c:v>
                </c:pt>
                <c:pt idx="581">
                  <c:v>69.351789999999994</c:v>
                </c:pt>
                <c:pt idx="582">
                  <c:v>68.294799999999995</c:v>
                </c:pt>
                <c:pt idx="583">
                  <c:v>65.954549999999998</c:v>
                </c:pt>
                <c:pt idx="584">
                  <c:v>66.105484000000004</c:v>
                </c:pt>
                <c:pt idx="585">
                  <c:v>68.028319999999994</c:v>
                </c:pt>
                <c:pt idx="586">
                  <c:v>69.603065000000001</c:v>
                </c:pt>
                <c:pt idx="587">
                  <c:v>71.202489999999997</c:v>
                </c:pt>
                <c:pt idx="588">
                  <c:v>71.738799999999998</c:v>
                </c:pt>
                <c:pt idx="589">
                  <c:v>72.323549999999997</c:v>
                </c:pt>
                <c:pt idx="590">
                  <c:v>72.415419999999997</c:v>
                </c:pt>
                <c:pt idx="591">
                  <c:v>71.644859999999994</c:v>
                </c:pt>
                <c:pt idx="592">
                  <c:v>70.355369999999994</c:v>
                </c:pt>
                <c:pt idx="593">
                  <c:v>69.779730000000001</c:v>
                </c:pt>
                <c:pt idx="594">
                  <c:v>70.016090000000005</c:v>
                </c:pt>
                <c:pt idx="595">
                  <c:v>70.30283</c:v>
                </c:pt>
                <c:pt idx="596">
                  <c:v>70.539370000000005</c:v>
                </c:pt>
                <c:pt idx="597">
                  <c:v>70.281099999999995</c:v>
                </c:pt>
                <c:pt idx="598">
                  <c:v>70.341160000000002</c:v>
                </c:pt>
                <c:pt idx="599">
                  <c:v>67.110213999999999</c:v>
                </c:pt>
                <c:pt idx="600">
                  <c:v>66.855279999999993</c:v>
                </c:pt>
                <c:pt idx="601">
                  <c:v>66.913309999999996</c:v>
                </c:pt>
                <c:pt idx="602">
                  <c:v>66.971320000000006</c:v>
                </c:pt>
                <c:pt idx="603">
                  <c:v>67.877520000000004</c:v>
                </c:pt>
                <c:pt idx="604">
                  <c:v>69.408225999999999</c:v>
                </c:pt>
                <c:pt idx="605">
                  <c:v>69.762079999999997</c:v>
                </c:pt>
                <c:pt idx="606">
                  <c:v>70.482839999999996</c:v>
                </c:pt>
                <c:pt idx="607">
                  <c:v>70.946560000000005</c:v>
                </c:pt>
                <c:pt idx="608">
                  <c:v>70.563649999999996</c:v>
                </c:pt>
                <c:pt idx="609">
                  <c:v>70.265590000000003</c:v>
                </c:pt>
                <c:pt idx="610">
                  <c:v>69.780945000000003</c:v>
                </c:pt>
                <c:pt idx="611">
                  <c:v>70.333600000000004</c:v>
                </c:pt>
                <c:pt idx="612">
                  <c:v>70.742689999999996</c:v>
                </c:pt>
                <c:pt idx="613">
                  <c:v>68.994519999999994</c:v>
                </c:pt>
                <c:pt idx="614">
                  <c:v>66.667336000000006</c:v>
                </c:pt>
                <c:pt idx="615">
                  <c:v>64.864800000000002</c:v>
                </c:pt>
                <c:pt idx="616">
                  <c:v>65.134129999999999</c:v>
                </c:pt>
                <c:pt idx="617">
                  <c:v>65.835840000000005</c:v>
                </c:pt>
                <c:pt idx="618">
                  <c:v>67.138565</c:v>
                </c:pt>
                <c:pt idx="619">
                  <c:v>69.056984</c:v>
                </c:pt>
                <c:pt idx="620">
                  <c:v>70.570946000000006</c:v>
                </c:pt>
                <c:pt idx="621">
                  <c:v>70.882323999999997</c:v>
                </c:pt>
                <c:pt idx="622">
                  <c:v>71.050255000000007</c:v>
                </c:pt>
                <c:pt idx="623">
                  <c:v>71.190219999999997</c:v>
                </c:pt>
                <c:pt idx="624">
                  <c:v>71.57423</c:v>
                </c:pt>
                <c:pt idx="625">
                  <c:v>72.016249999999999</c:v>
                </c:pt>
                <c:pt idx="626">
                  <c:v>72.56317</c:v>
                </c:pt>
                <c:pt idx="627">
                  <c:v>72.374669999999995</c:v>
                </c:pt>
                <c:pt idx="628">
                  <c:v>71.946550000000002</c:v>
                </c:pt>
                <c:pt idx="629">
                  <c:v>72.237960000000001</c:v>
                </c:pt>
                <c:pt idx="630">
                  <c:v>72.924679999999995</c:v>
                </c:pt>
                <c:pt idx="631">
                  <c:v>73.024820000000005</c:v>
                </c:pt>
                <c:pt idx="632">
                  <c:v>73.063980000000001</c:v>
                </c:pt>
                <c:pt idx="633">
                  <c:v>73.03134</c:v>
                </c:pt>
                <c:pt idx="634">
                  <c:v>72.827309999999997</c:v>
                </c:pt>
                <c:pt idx="635">
                  <c:v>71.925330000000002</c:v>
                </c:pt>
                <c:pt idx="636">
                  <c:v>70.883156</c:v>
                </c:pt>
                <c:pt idx="637">
                  <c:v>70.918625000000006</c:v>
                </c:pt>
                <c:pt idx="638">
                  <c:v>71.424959999999999</c:v>
                </c:pt>
                <c:pt idx="639">
                  <c:v>71.78322</c:v>
                </c:pt>
                <c:pt idx="640">
                  <c:v>67.755065999999999</c:v>
                </c:pt>
                <c:pt idx="641">
                  <c:v>64.849699999999999</c:v>
                </c:pt>
                <c:pt idx="642">
                  <c:v>62.026420000000002</c:v>
                </c:pt>
                <c:pt idx="643">
                  <c:v>52.503292000000002</c:v>
                </c:pt>
                <c:pt idx="644">
                  <c:v>49.949959999999997</c:v>
                </c:pt>
                <c:pt idx="645">
                  <c:v>52.518222999999999</c:v>
                </c:pt>
                <c:pt idx="646">
                  <c:v>55.157314</c:v>
                </c:pt>
                <c:pt idx="647">
                  <c:v>56.901961999999997</c:v>
                </c:pt>
                <c:pt idx="648">
                  <c:v>59.450904999999999</c:v>
                </c:pt>
                <c:pt idx="649">
                  <c:v>63.016249999999999</c:v>
                </c:pt>
                <c:pt idx="650">
                  <c:v>66.016549999999995</c:v>
                </c:pt>
                <c:pt idx="651">
                  <c:v>68.126495000000006</c:v>
                </c:pt>
                <c:pt idx="652">
                  <c:v>69.800439999999995</c:v>
                </c:pt>
                <c:pt idx="653">
                  <c:v>66.725449999999995</c:v>
                </c:pt>
                <c:pt idx="654">
                  <c:v>66.322815000000006</c:v>
                </c:pt>
                <c:pt idx="655">
                  <c:v>67.333879999999994</c:v>
                </c:pt>
                <c:pt idx="656">
                  <c:v>68.415779999999998</c:v>
                </c:pt>
                <c:pt idx="657">
                  <c:v>69.874189999999999</c:v>
                </c:pt>
                <c:pt idx="658">
                  <c:v>70.549679999999995</c:v>
                </c:pt>
                <c:pt idx="659">
                  <c:v>70.77458</c:v>
                </c:pt>
                <c:pt idx="660">
                  <c:v>71.104354999999998</c:v>
                </c:pt>
                <c:pt idx="661">
                  <c:v>71.126509999999996</c:v>
                </c:pt>
                <c:pt idx="662">
                  <c:v>71.124870000000001</c:v>
                </c:pt>
                <c:pt idx="663">
                  <c:v>71.21378</c:v>
                </c:pt>
                <c:pt idx="664">
                  <c:v>71.028720000000007</c:v>
                </c:pt>
                <c:pt idx="665">
                  <c:v>71.162604999999999</c:v>
                </c:pt>
                <c:pt idx="666">
                  <c:v>70.495490000000004</c:v>
                </c:pt>
                <c:pt idx="667">
                  <c:v>69.995369999999994</c:v>
                </c:pt>
                <c:pt idx="668">
                  <c:v>70.400440000000003</c:v>
                </c:pt>
                <c:pt idx="669">
                  <c:v>68.380486000000005</c:v>
                </c:pt>
                <c:pt idx="670">
                  <c:v>68.026210000000006</c:v>
                </c:pt>
                <c:pt idx="671">
                  <c:v>68.250479999999996</c:v>
                </c:pt>
                <c:pt idx="672">
                  <c:v>68.707059999999998</c:v>
                </c:pt>
                <c:pt idx="673">
                  <c:v>69.863699999999994</c:v>
                </c:pt>
                <c:pt idx="674">
                  <c:v>66.874170000000007</c:v>
                </c:pt>
                <c:pt idx="675">
                  <c:v>66.491010000000003</c:v>
                </c:pt>
                <c:pt idx="676">
                  <c:v>66.55247</c:v>
                </c:pt>
                <c:pt idx="677">
                  <c:v>66.616290000000006</c:v>
                </c:pt>
                <c:pt idx="678">
                  <c:v>66.714219999999997</c:v>
                </c:pt>
                <c:pt idx="679">
                  <c:v>64.983429999999998</c:v>
                </c:pt>
                <c:pt idx="680">
                  <c:v>65.577920000000006</c:v>
                </c:pt>
                <c:pt idx="681">
                  <c:v>66.686599999999999</c:v>
                </c:pt>
                <c:pt idx="682">
                  <c:v>67.728459999999998</c:v>
                </c:pt>
                <c:pt idx="683">
                  <c:v>69.090559999999996</c:v>
                </c:pt>
                <c:pt idx="684">
                  <c:v>69.793840000000003</c:v>
                </c:pt>
                <c:pt idx="685">
                  <c:v>70.820599999999999</c:v>
                </c:pt>
                <c:pt idx="686">
                  <c:v>71.217510000000004</c:v>
                </c:pt>
                <c:pt idx="687">
                  <c:v>70.817359999999994</c:v>
                </c:pt>
                <c:pt idx="688">
                  <c:v>70.87679</c:v>
                </c:pt>
                <c:pt idx="689">
                  <c:v>70.136330000000001</c:v>
                </c:pt>
                <c:pt idx="690">
                  <c:v>70.676360000000003</c:v>
                </c:pt>
                <c:pt idx="691">
                  <c:v>71.720889999999997</c:v>
                </c:pt>
                <c:pt idx="692">
                  <c:v>72.800520000000006</c:v>
                </c:pt>
                <c:pt idx="693">
                  <c:v>73.454220000000007</c:v>
                </c:pt>
                <c:pt idx="694">
                  <c:v>73.764520000000005</c:v>
                </c:pt>
                <c:pt idx="695">
                  <c:v>72.775239999999997</c:v>
                </c:pt>
                <c:pt idx="696">
                  <c:v>72.450699999999998</c:v>
                </c:pt>
                <c:pt idx="697">
                  <c:v>72.225160000000002</c:v>
                </c:pt>
                <c:pt idx="698">
                  <c:v>72.464805999999996</c:v>
                </c:pt>
                <c:pt idx="699">
                  <c:v>72.837220000000002</c:v>
                </c:pt>
                <c:pt idx="700">
                  <c:v>73.475149999999999</c:v>
                </c:pt>
                <c:pt idx="701">
                  <c:v>72.472319999999996</c:v>
                </c:pt>
                <c:pt idx="702">
                  <c:v>72.284835999999999</c:v>
                </c:pt>
                <c:pt idx="703">
                  <c:v>73.314760000000007</c:v>
                </c:pt>
                <c:pt idx="704">
                  <c:v>73.480193999999997</c:v>
                </c:pt>
                <c:pt idx="705">
                  <c:v>73.733559999999997</c:v>
                </c:pt>
                <c:pt idx="706">
                  <c:v>73.561745000000002</c:v>
                </c:pt>
                <c:pt idx="707">
                  <c:v>73.663309999999996</c:v>
                </c:pt>
                <c:pt idx="708">
                  <c:v>73.703254999999999</c:v>
                </c:pt>
                <c:pt idx="709">
                  <c:v>73.225555</c:v>
                </c:pt>
                <c:pt idx="710">
                  <c:v>73.198943999999997</c:v>
                </c:pt>
                <c:pt idx="711">
                  <c:v>73.128969999999995</c:v>
                </c:pt>
                <c:pt idx="712">
                  <c:v>73.078490000000002</c:v>
                </c:pt>
                <c:pt idx="713">
                  <c:v>72.960049999999995</c:v>
                </c:pt>
                <c:pt idx="714">
                  <c:v>72.749859999999998</c:v>
                </c:pt>
                <c:pt idx="715">
                  <c:v>73.197599999999994</c:v>
                </c:pt>
                <c:pt idx="716">
                  <c:v>73.629639999999995</c:v>
                </c:pt>
                <c:pt idx="717">
                  <c:v>73.954669999999993</c:v>
                </c:pt>
                <c:pt idx="718">
                  <c:v>73.860699999999994</c:v>
                </c:pt>
                <c:pt idx="719">
                  <c:v>74.415694999999999</c:v>
                </c:pt>
                <c:pt idx="720">
                  <c:v>74.629715000000004</c:v>
                </c:pt>
                <c:pt idx="721">
                  <c:v>74.920299999999997</c:v>
                </c:pt>
                <c:pt idx="722">
                  <c:v>75.191590000000005</c:v>
                </c:pt>
                <c:pt idx="723">
                  <c:v>75.404669999999996</c:v>
                </c:pt>
                <c:pt idx="724">
                  <c:v>75.43038</c:v>
                </c:pt>
                <c:pt idx="725">
                  <c:v>74.588419999999999</c:v>
                </c:pt>
                <c:pt idx="726">
                  <c:v>73.489829999999998</c:v>
                </c:pt>
                <c:pt idx="727">
                  <c:v>72.288290000000003</c:v>
                </c:pt>
                <c:pt idx="728">
                  <c:v>71.899879999999996</c:v>
                </c:pt>
                <c:pt idx="729">
                  <c:v>72.035510000000002</c:v>
                </c:pt>
                <c:pt idx="730">
                  <c:v>72.096689999999995</c:v>
                </c:pt>
                <c:pt idx="731">
                  <c:v>71.840774999999994</c:v>
                </c:pt>
                <c:pt idx="732">
                  <c:v>71.379819999999995</c:v>
                </c:pt>
                <c:pt idx="733">
                  <c:v>70.341669999999993</c:v>
                </c:pt>
                <c:pt idx="734">
                  <c:v>69.132720000000006</c:v>
                </c:pt>
                <c:pt idx="735">
                  <c:v>67.519909999999996</c:v>
                </c:pt>
                <c:pt idx="736">
                  <c:v>65.30341</c:v>
                </c:pt>
                <c:pt idx="737">
                  <c:v>64.208336000000003</c:v>
                </c:pt>
                <c:pt idx="738">
                  <c:v>62.532020000000003</c:v>
                </c:pt>
                <c:pt idx="739">
                  <c:v>61.614019999999996</c:v>
                </c:pt>
                <c:pt idx="740">
                  <c:v>62.031844999999997</c:v>
                </c:pt>
                <c:pt idx="741">
                  <c:v>63.683098000000001</c:v>
                </c:pt>
                <c:pt idx="742">
                  <c:v>65.507260000000002</c:v>
                </c:pt>
                <c:pt idx="743">
                  <c:v>66.086259999999996</c:v>
                </c:pt>
                <c:pt idx="744">
                  <c:v>66.480850000000004</c:v>
                </c:pt>
                <c:pt idx="745">
                  <c:v>66.445790000000002</c:v>
                </c:pt>
                <c:pt idx="746">
                  <c:v>67.03913</c:v>
                </c:pt>
                <c:pt idx="747">
                  <c:v>67.444239999999994</c:v>
                </c:pt>
                <c:pt idx="748">
                  <c:v>67.983029999999999</c:v>
                </c:pt>
                <c:pt idx="749">
                  <c:v>68.882866000000007</c:v>
                </c:pt>
                <c:pt idx="750">
                  <c:v>69.820625000000007</c:v>
                </c:pt>
                <c:pt idx="751">
                  <c:v>69.649209999999997</c:v>
                </c:pt>
                <c:pt idx="752">
                  <c:v>68.702079999999995</c:v>
                </c:pt>
                <c:pt idx="753">
                  <c:v>68.280550000000005</c:v>
                </c:pt>
                <c:pt idx="754">
                  <c:v>69.139080000000007</c:v>
                </c:pt>
                <c:pt idx="755">
                  <c:v>70.535060000000001</c:v>
                </c:pt>
                <c:pt idx="756">
                  <c:v>71.638850000000005</c:v>
                </c:pt>
                <c:pt idx="757">
                  <c:v>72.634379999999993</c:v>
                </c:pt>
                <c:pt idx="758">
                  <c:v>72.828999999999994</c:v>
                </c:pt>
                <c:pt idx="759">
                  <c:v>71.464330000000004</c:v>
                </c:pt>
                <c:pt idx="760">
                  <c:v>70.998379999999997</c:v>
                </c:pt>
                <c:pt idx="761">
                  <c:v>71.424064999999999</c:v>
                </c:pt>
                <c:pt idx="762">
                  <c:v>71.570589999999996</c:v>
                </c:pt>
                <c:pt idx="763">
                  <c:v>72.047454999999999</c:v>
                </c:pt>
                <c:pt idx="764">
                  <c:v>72.606449999999995</c:v>
                </c:pt>
                <c:pt idx="765">
                  <c:v>72.681884999999994</c:v>
                </c:pt>
                <c:pt idx="766">
                  <c:v>72.987853999999999</c:v>
                </c:pt>
                <c:pt idx="767">
                  <c:v>73.304739999999995</c:v>
                </c:pt>
                <c:pt idx="768">
                  <c:v>73.418710000000004</c:v>
                </c:pt>
                <c:pt idx="769">
                  <c:v>73.253330000000005</c:v>
                </c:pt>
                <c:pt idx="770">
                  <c:v>73.287704000000005</c:v>
                </c:pt>
                <c:pt idx="771">
                  <c:v>72.481030000000004</c:v>
                </c:pt>
                <c:pt idx="772">
                  <c:v>72.510670000000005</c:v>
                </c:pt>
                <c:pt idx="773">
                  <c:v>73.082089999999994</c:v>
                </c:pt>
                <c:pt idx="774">
                  <c:v>73.867744000000002</c:v>
                </c:pt>
                <c:pt idx="775">
                  <c:v>74.190910000000002</c:v>
                </c:pt>
                <c:pt idx="776">
                  <c:v>74.194180000000003</c:v>
                </c:pt>
                <c:pt idx="777">
                  <c:v>74.452650000000006</c:v>
                </c:pt>
                <c:pt idx="778">
                  <c:v>74.757225000000005</c:v>
                </c:pt>
                <c:pt idx="779">
                  <c:v>74.084159999999997</c:v>
                </c:pt>
                <c:pt idx="780">
                  <c:v>74.264129999999994</c:v>
                </c:pt>
                <c:pt idx="781">
                  <c:v>74.3446</c:v>
                </c:pt>
                <c:pt idx="782">
                  <c:v>74.372960000000006</c:v>
                </c:pt>
                <c:pt idx="783">
                  <c:v>73.896079999999998</c:v>
                </c:pt>
                <c:pt idx="784">
                  <c:v>74.207949999999997</c:v>
                </c:pt>
                <c:pt idx="785">
                  <c:v>74.512726000000001</c:v>
                </c:pt>
                <c:pt idx="786">
                  <c:v>74.832015999999996</c:v>
                </c:pt>
                <c:pt idx="787">
                  <c:v>74.555300000000003</c:v>
                </c:pt>
                <c:pt idx="788">
                  <c:v>73.883194000000003</c:v>
                </c:pt>
                <c:pt idx="789">
                  <c:v>73.744330000000005</c:v>
                </c:pt>
                <c:pt idx="790">
                  <c:v>74.238889999999998</c:v>
                </c:pt>
                <c:pt idx="791">
                  <c:v>74.738849999999999</c:v>
                </c:pt>
                <c:pt idx="792">
                  <c:v>74.136309999999995</c:v>
                </c:pt>
                <c:pt idx="793">
                  <c:v>74.326530000000005</c:v>
                </c:pt>
                <c:pt idx="794">
                  <c:v>74.354900000000001</c:v>
                </c:pt>
                <c:pt idx="795">
                  <c:v>74.658240000000006</c:v>
                </c:pt>
                <c:pt idx="796">
                  <c:v>74.861760000000004</c:v>
                </c:pt>
                <c:pt idx="797">
                  <c:v>74.929590000000005</c:v>
                </c:pt>
                <c:pt idx="798">
                  <c:v>75.081519999999998</c:v>
                </c:pt>
                <c:pt idx="799">
                  <c:v>75.128510000000006</c:v>
                </c:pt>
                <c:pt idx="800">
                  <c:v>74.688410000000005</c:v>
                </c:pt>
                <c:pt idx="801">
                  <c:v>73.801739999999995</c:v>
                </c:pt>
                <c:pt idx="802">
                  <c:v>70.972080000000005</c:v>
                </c:pt>
                <c:pt idx="803">
                  <c:v>67.294690000000003</c:v>
                </c:pt>
                <c:pt idx="804">
                  <c:v>64.994063999999995</c:v>
                </c:pt>
                <c:pt idx="805">
                  <c:v>63.812603000000003</c:v>
                </c:pt>
                <c:pt idx="806">
                  <c:v>64.465900000000005</c:v>
                </c:pt>
                <c:pt idx="807">
                  <c:v>65.583039999999997</c:v>
                </c:pt>
                <c:pt idx="808">
                  <c:v>64.973249999999993</c:v>
                </c:pt>
                <c:pt idx="809">
                  <c:v>65.514114000000006</c:v>
                </c:pt>
                <c:pt idx="810">
                  <c:v>66.255650000000003</c:v>
                </c:pt>
                <c:pt idx="811">
                  <c:v>66.712104999999994</c:v>
                </c:pt>
                <c:pt idx="812">
                  <c:v>67.530699999999996</c:v>
                </c:pt>
                <c:pt idx="813">
                  <c:v>66.938805000000002</c:v>
                </c:pt>
                <c:pt idx="814">
                  <c:v>68.084450000000004</c:v>
                </c:pt>
                <c:pt idx="815">
                  <c:v>69.296189999999996</c:v>
                </c:pt>
                <c:pt idx="816">
                  <c:v>70.087580000000003</c:v>
                </c:pt>
                <c:pt idx="817">
                  <c:v>69.391159999999999</c:v>
                </c:pt>
                <c:pt idx="818">
                  <c:v>69.387270000000001</c:v>
                </c:pt>
                <c:pt idx="819">
                  <c:v>69.417884999999998</c:v>
                </c:pt>
                <c:pt idx="820">
                  <c:v>69.475914000000003</c:v>
                </c:pt>
                <c:pt idx="821">
                  <c:v>70.151929999999993</c:v>
                </c:pt>
                <c:pt idx="822">
                  <c:v>70.311745000000002</c:v>
                </c:pt>
                <c:pt idx="823">
                  <c:v>71.357209999999995</c:v>
                </c:pt>
                <c:pt idx="824">
                  <c:v>72.105999999999995</c:v>
                </c:pt>
                <c:pt idx="825">
                  <c:v>72.649600000000007</c:v>
                </c:pt>
                <c:pt idx="826">
                  <c:v>72.978480000000005</c:v>
                </c:pt>
                <c:pt idx="827">
                  <c:v>72.575835999999995</c:v>
                </c:pt>
                <c:pt idx="828">
                  <c:v>72.603049999999996</c:v>
                </c:pt>
                <c:pt idx="829">
                  <c:v>71.592370000000003</c:v>
                </c:pt>
                <c:pt idx="830">
                  <c:v>71.442665000000005</c:v>
                </c:pt>
                <c:pt idx="831">
                  <c:v>71.735789999999994</c:v>
                </c:pt>
                <c:pt idx="832">
                  <c:v>71.274010000000004</c:v>
                </c:pt>
                <c:pt idx="833">
                  <c:v>70.929159999999996</c:v>
                </c:pt>
                <c:pt idx="834">
                  <c:v>70.364369999999994</c:v>
                </c:pt>
                <c:pt idx="835">
                  <c:v>70.276949999999999</c:v>
                </c:pt>
                <c:pt idx="836">
                  <c:v>70.329589999999996</c:v>
                </c:pt>
                <c:pt idx="837">
                  <c:v>70.622839999999997</c:v>
                </c:pt>
                <c:pt idx="838">
                  <c:v>69.986496000000002</c:v>
                </c:pt>
                <c:pt idx="839">
                  <c:v>68.762529999999998</c:v>
                </c:pt>
                <c:pt idx="840">
                  <c:v>68.288666000000006</c:v>
                </c:pt>
                <c:pt idx="841">
                  <c:v>67.562780000000004</c:v>
                </c:pt>
                <c:pt idx="842">
                  <c:v>66.646479999999997</c:v>
                </c:pt>
                <c:pt idx="843">
                  <c:v>67.498565999999997</c:v>
                </c:pt>
                <c:pt idx="844">
                  <c:v>67.186004999999994</c:v>
                </c:pt>
                <c:pt idx="845">
                  <c:v>67.91619</c:v>
                </c:pt>
                <c:pt idx="846">
                  <c:v>68.775639999999996</c:v>
                </c:pt>
                <c:pt idx="847">
                  <c:v>66.485720000000001</c:v>
                </c:pt>
                <c:pt idx="848">
                  <c:v>63.832123000000003</c:v>
                </c:pt>
                <c:pt idx="849">
                  <c:v>63.625999999999998</c:v>
                </c:pt>
                <c:pt idx="850">
                  <c:v>64.289375000000007</c:v>
                </c:pt>
                <c:pt idx="851">
                  <c:v>65.582689999999999</c:v>
                </c:pt>
                <c:pt idx="852">
                  <c:v>67.178650000000005</c:v>
                </c:pt>
                <c:pt idx="853">
                  <c:v>68.524500000000003</c:v>
                </c:pt>
                <c:pt idx="854">
                  <c:v>68.261709999999994</c:v>
                </c:pt>
                <c:pt idx="855">
                  <c:v>69.167689999999993</c:v>
                </c:pt>
                <c:pt idx="856">
                  <c:v>69.798069999999996</c:v>
                </c:pt>
                <c:pt idx="857">
                  <c:v>70.361850000000004</c:v>
                </c:pt>
                <c:pt idx="858">
                  <c:v>68.580969999999994</c:v>
                </c:pt>
                <c:pt idx="859">
                  <c:v>68.385360000000006</c:v>
                </c:pt>
                <c:pt idx="860">
                  <c:v>67.642030000000005</c:v>
                </c:pt>
                <c:pt idx="861">
                  <c:v>67.956320000000005</c:v>
                </c:pt>
                <c:pt idx="862">
                  <c:v>69.061065999999997</c:v>
                </c:pt>
                <c:pt idx="863">
                  <c:v>69.621430000000004</c:v>
                </c:pt>
                <c:pt idx="864">
                  <c:v>68.372429999999994</c:v>
                </c:pt>
                <c:pt idx="865">
                  <c:v>68.081924000000001</c:v>
                </c:pt>
                <c:pt idx="866">
                  <c:v>68.444916000000006</c:v>
                </c:pt>
                <c:pt idx="867">
                  <c:v>69.323909999999998</c:v>
                </c:pt>
                <c:pt idx="868">
                  <c:v>69.878333999999995</c:v>
                </c:pt>
                <c:pt idx="869">
                  <c:v>70.660169999999994</c:v>
                </c:pt>
                <c:pt idx="870">
                  <c:v>71.588189999999997</c:v>
                </c:pt>
                <c:pt idx="871">
                  <c:v>71.832920000000001</c:v>
                </c:pt>
                <c:pt idx="872">
                  <c:v>72.060670000000002</c:v>
                </c:pt>
                <c:pt idx="873">
                  <c:v>70.309470000000005</c:v>
                </c:pt>
                <c:pt idx="874">
                  <c:v>69.686660000000003</c:v>
                </c:pt>
                <c:pt idx="875">
                  <c:v>69.648830000000004</c:v>
                </c:pt>
                <c:pt idx="876">
                  <c:v>68.853545999999994</c:v>
                </c:pt>
                <c:pt idx="877">
                  <c:v>68.764089999999996</c:v>
                </c:pt>
                <c:pt idx="878">
                  <c:v>69.016210000000001</c:v>
                </c:pt>
                <c:pt idx="879">
                  <c:v>69.627309999999994</c:v>
                </c:pt>
                <c:pt idx="880">
                  <c:v>69.828990000000005</c:v>
                </c:pt>
                <c:pt idx="881">
                  <c:v>70.680756000000002</c:v>
                </c:pt>
                <c:pt idx="882">
                  <c:v>71.107950000000002</c:v>
                </c:pt>
                <c:pt idx="883">
                  <c:v>71.178210000000007</c:v>
                </c:pt>
                <c:pt idx="884">
                  <c:v>71.299614000000005</c:v>
                </c:pt>
                <c:pt idx="885">
                  <c:v>70.713040000000007</c:v>
                </c:pt>
                <c:pt idx="886">
                  <c:v>70.763509999999997</c:v>
                </c:pt>
                <c:pt idx="887">
                  <c:v>71.157129999999995</c:v>
                </c:pt>
                <c:pt idx="888">
                  <c:v>71.914460000000005</c:v>
                </c:pt>
                <c:pt idx="889">
                  <c:v>72.41386</c:v>
                </c:pt>
                <c:pt idx="890">
                  <c:v>72.810469999999995</c:v>
                </c:pt>
                <c:pt idx="891">
                  <c:v>72.345249999999993</c:v>
                </c:pt>
                <c:pt idx="892">
                  <c:v>71.889240000000001</c:v>
                </c:pt>
                <c:pt idx="893">
                  <c:v>70.021609999999995</c:v>
                </c:pt>
                <c:pt idx="894">
                  <c:v>69.975296</c:v>
                </c:pt>
                <c:pt idx="895">
                  <c:v>70.703810000000004</c:v>
                </c:pt>
                <c:pt idx="896">
                  <c:v>71.401009999999999</c:v>
                </c:pt>
                <c:pt idx="897">
                  <c:v>71.853669999999994</c:v>
                </c:pt>
                <c:pt idx="898">
                  <c:v>71.647440000000003</c:v>
                </c:pt>
                <c:pt idx="899">
                  <c:v>71.230029999999999</c:v>
                </c:pt>
                <c:pt idx="900">
                  <c:v>70.632355000000004</c:v>
                </c:pt>
                <c:pt idx="901">
                  <c:v>70.366900000000001</c:v>
                </c:pt>
                <c:pt idx="902">
                  <c:v>70.12988</c:v>
                </c:pt>
                <c:pt idx="903">
                  <c:v>71.237273999999999</c:v>
                </c:pt>
                <c:pt idx="904">
                  <c:v>71.780479999999997</c:v>
                </c:pt>
                <c:pt idx="905">
                  <c:v>69.887619999999998</c:v>
                </c:pt>
                <c:pt idx="906">
                  <c:v>75.107544000000004</c:v>
                </c:pt>
                <c:pt idx="907">
                  <c:v>78.984566000000001</c:v>
                </c:pt>
                <c:pt idx="908">
                  <c:v>79.33081</c:v>
                </c:pt>
                <c:pt idx="909">
                  <c:v>73.755030000000005</c:v>
                </c:pt>
                <c:pt idx="910">
                  <c:v>74.055090000000007</c:v>
                </c:pt>
                <c:pt idx="911">
                  <c:v>70.843519999999998</c:v>
                </c:pt>
                <c:pt idx="912">
                  <c:v>70.823729999999998</c:v>
                </c:pt>
                <c:pt idx="913">
                  <c:v>71.004670000000004</c:v>
                </c:pt>
                <c:pt idx="914">
                  <c:v>70.219215000000005</c:v>
                </c:pt>
                <c:pt idx="915">
                  <c:v>69.757019999999997</c:v>
                </c:pt>
                <c:pt idx="916">
                  <c:v>69.518569999999997</c:v>
                </c:pt>
                <c:pt idx="917">
                  <c:v>68.905709999999999</c:v>
                </c:pt>
                <c:pt idx="918">
                  <c:v>69.671639999999996</c:v>
                </c:pt>
                <c:pt idx="919">
                  <c:v>70.510040000000004</c:v>
                </c:pt>
                <c:pt idx="920">
                  <c:v>71.270830000000004</c:v>
                </c:pt>
                <c:pt idx="921">
                  <c:v>71.304220000000001</c:v>
                </c:pt>
                <c:pt idx="922">
                  <c:v>70.352090000000004</c:v>
                </c:pt>
                <c:pt idx="923">
                  <c:v>69.867615000000001</c:v>
                </c:pt>
                <c:pt idx="924">
                  <c:v>68.319389999999999</c:v>
                </c:pt>
                <c:pt idx="925">
                  <c:v>67.020610000000005</c:v>
                </c:pt>
                <c:pt idx="926">
                  <c:v>66.397400000000005</c:v>
                </c:pt>
                <c:pt idx="927">
                  <c:v>64.300910000000002</c:v>
                </c:pt>
                <c:pt idx="928">
                  <c:v>63.737118000000002</c:v>
                </c:pt>
                <c:pt idx="929">
                  <c:v>62.966920000000002</c:v>
                </c:pt>
                <c:pt idx="930">
                  <c:v>64.557760000000002</c:v>
                </c:pt>
                <c:pt idx="931">
                  <c:v>67.017160000000004</c:v>
                </c:pt>
                <c:pt idx="932">
                  <c:v>69.092089999999999</c:v>
                </c:pt>
                <c:pt idx="933">
                  <c:v>69.432914999999994</c:v>
                </c:pt>
                <c:pt idx="934">
                  <c:v>69.818150000000003</c:v>
                </c:pt>
                <c:pt idx="935">
                  <c:v>69.960880000000003</c:v>
                </c:pt>
                <c:pt idx="936">
                  <c:v>69.894103999999999</c:v>
                </c:pt>
                <c:pt idx="937">
                  <c:v>70.003365000000002</c:v>
                </c:pt>
                <c:pt idx="938">
                  <c:v>70.433075000000002</c:v>
                </c:pt>
                <c:pt idx="939">
                  <c:v>70.95684</c:v>
                </c:pt>
                <c:pt idx="940">
                  <c:v>70.845150000000004</c:v>
                </c:pt>
                <c:pt idx="941">
                  <c:v>70.886060000000001</c:v>
                </c:pt>
                <c:pt idx="942">
                  <c:v>71.014349999999993</c:v>
                </c:pt>
                <c:pt idx="943">
                  <c:v>70.550240000000002</c:v>
                </c:pt>
                <c:pt idx="944">
                  <c:v>69.842250000000007</c:v>
                </c:pt>
                <c:pt idx="945">
                  <c:v>69.389340000000004</c:v>
                </c:pt>
                <c:pt idx="946">
                  <c:v>68.422104000000004</c:v>
                </c:pt>
                <c:pt idx="947">
                  <c:v>66.094954999999999</c:v>
                </c:pt>
                <c:pt idx="948">
                  <c:v>66.027114999999995</c:v>
                </c:pt>
                <c:pt idx="949">
                  <c:v>66.612780000000001</c:v>
                </c:pt>
                <c:pt idx="950">
                  <c:v>67.236130000000003</c:v>
                </c:pt>
                <c:pt idx="951">
                  <c:v>66.179085000000001</c:v>
                </c:pt>
                <c:pt idx="952">
                  <c:v>66.592010000000002</c:v>
                </c:pt>
                <c:pt idx="953">
                  <c:v>67.770920000000004</c:v>
                </c:pt>
                <c:pt idx="954">
                  <c:v>69.84478</c:v>
                </c:pt>
                <c:pt idx="955">
                  <c:v>70.060299999999998</c:v>
                </c:pt>
                <c:pt idx="956">
                  <c:v>70.910409999999999</c:v>
                </c:pt>
                <c:pt idx="957">
                  <c:v>70.867099999999994</c:v>
                </c:pt>
                <c:pt idx="958">
                  <c:v>71.047809999999998</c:v>
                </c:pt>
                <c:pt idx="959">
                  <c:v>71.4666</c:v>
                </c:pt>
                <c:pt idx="960">
                  <c:v>71.419319999999999</c:v>
                </c:pt>
                <c:pt idx="961">
                  <c:v>70.828379999999996</c:v>
                </c:pt>
                <c:pt idx="962">
                  <c:v>70.34984</c:v>
                </c:pt>
                <c:pt idx="963">
                  <c:v>70.401759999999996</c:v>
                </c:pt>
                <c:pt idx="964">
                  <c:v>69.540120000000002</c:v>
                </c:pt>
                <c:pt idx="965">
                  <c:v>69.461494000000002</c:v>
                </c:pt>
                <c:pt idx="966">
                  <c:v>69.664159999999995</c:v>
                </c:pt>
                <c:pt idx="967">
                  <c:v>69.387726000000001</c:v>
                </c:pt>
                <c:pt idx="968">
                  <c:v>68.740769999999998</c:v>
                </c:pt>
                <c:pt idx="969">
                  <c:v>67.411339999999996</c:v>
                </c:pt>
                <c:pt idx="970">
                  <c:v>67.759674000000004</c:v>
                </c:pt>
                <c:pt idx="971">
                  <c:v>68.273415</c:v>
                </c:pt>
                <c:pt idx="972">
                  <c:v>69.253876000000005</c:v>
                </c:pt>
                <c:pt idx="973">
                  <c:v>69.907139999999998</c:v>
                </c:pt>
                <c:pt idx="974">
                  <c:v>70.710920000000002</c:v>
                </c:pt>
                <c:pt idx="975">
                  <c:v>71.602890000000002</c:v>
                </c:pt>
                <c:pt idx="976">
                  <c:v>71.957490000000007</c:v>
                </c:pt>
                <c:pt idx="977">
                  <c:v>71.999160000000003</c:v>
                </c:pt>
                <c:pt idx="978">
                  <c:v>70.800510000000003</c:v>
                </c:pt>
                <c:pt idx="979">
                  <c:v>68.548860000000005</c:v>
                </c:pt>
                <c:pt idx="980">
                  <c:v>66.224230000000006</c:v>
                </c:pt>
                <c:pt idx="981">
                  <c:v>67.722740000000002</c:v>
                </c:pt>
                <c:pt idx="982">
                  <c:v>68.202644000000006</c:v>
                </c:pt>
                <c:pt idx="983">
                  <c:v>67.981660000000005</c:v>
                </c:pt>
                <c:pt idx="984">
                  <c:v>67.879943999999995</c:v>
                </c:pt>
                <c:pt idx="985">
                  <c:v>66.747344999999996</c:v>
                </c:pt>
                <c:pt idx="986">
                  <c:v>65.862769999999998</c:v>
                </c:pt>
                <c:pt idx="987">
                  <c:v>64.662834000000004</c:v>
                </c:pt>
                <c:pt idx="988">
                  <c:v>63.762520000000002</c:v>
                </c:pt>
                <c:pt idx="989">
                  <c:v>62.940019999999997</c:v>
                </c:pt>
                <c:pt idx="990">
                  <c:v>62.282899999999998</c:v>
                </c:pt>
                <c:pt idx="991">
                  <c:v>62.051920000000003</c:v>
                </c:pt>
                <c:pt idx="992">
                  <c:v>61.747005000000001</c:v>
                </c:pt>
                <c:pt idx="993">
                  <c:v>61.62482</c:v>
                </c:pt>
                <c:pt idx="994">
                  <c:v>62.072223999999999</c:v>
                </c:pt>
                <c:pt idx="995">
                  <c:v>61.616959999999999</c:v>
                </c:pt>
                <c:pt idx="996">
                  <c:v>60.929409999999997</c:v>
                </c:pt>
                <c:pt idx="997">
                  <c:v>60.36009</c:v>
                </c:pt>
                <c:pt idx="998">
                  <c:v>59.774352999999998</c:v>
                </c:pt>
                <c:pt idx="999">
                  <c:v>59.554430000000004</c:v>
                </c:pt>
                <c:pt idx="1000">
                  <c:v>58.928626999999999</c:v>
                </c:pt>
                <c:pt idx="1001">
                  <c:v>58.705063000000003</c:v>
                </c:pt>
                <c:pt idx="1002">
                  <c:v>58.257446000000002</c:v>
                </c:pt>
                <c:pt idx="1003">
                  <c:v>57.763412000000002</c:v>
                </c:pt>
                <c:pt idx="1004">
                  <c:v>57.323276999999997</c:v>
                </c:pt>
                <c:pt idx="1005">
                  <c:v>56.871870000000001</c:v>
                </c:pt>
                <c:pt idx="1006">
                  <c:v>56.773345999999997</c:v>
                </c:pt>
                <c:pt idx="1007">
                  <c:v>56.758102000000001</c:v>
                </c:pt>
                <c:pt idx="1008">
                  <c:v>66.549080000000004</c:v>
                </c:pt>
                <c:pt idx="1009">
                  <c:v>70.585599999999999</c:v>
                </c:pt>
                <c:pt idx="1010">
                  <c:v>69.662580000000005</c:v>
                </c:pt>
                <c:pt idx="1011">
                  <c:v>69.917100000000005</c:v>
                </c:pt>
                <c:pt idx="1012">
                  <c:v>69.893870000000007</c:v>
                </c:pt>
                <c:pt idx="1013">
                  <c:v>69.807400000000001</c:v>
                </c:pt>
                <c:pt idx="1014">
                  <c:v>68.87867</c:v>
                </c:pt>
                <c:pt idx="1015">
                  <c:v>69.128619999999998</c:v>
                </c:pt>
                <c:pt idx="1016">
                  <c:v>69.224519999999998</c:v>
                </c:pt>
                <c:pt idx="1017">
                  <c:v>68.883759999999995</c:v>
                </c:pt>
                <c:pt idx="1018">
                  <c:v>68.278580000000005</c:v>
                </c:pt>
                <c:pt idx="1019">
                  <c:v>67.599130000000002</c:v>
                </c:pt>
                <c:pt idx="1020">
                  <c:v>67.294809999999998</c:v>
                </c:pt>
                <c:pt idx="1021">
                  <c:v>66.603485000000006</c:v>
                </c:pt>
                <c:pt idx="1022">
                  <c:v>66.453766000000002</c:v>
                </c:pt>
                <c:pt idx="1023">
                  <c:v>66.549189999999996</c:v>
                </c:pt>
                <c:pt idx="1024">
                  <c:v>66.57047</c:v>
                </c:pt>
                <c:pt idx="1025">
                  <c:v>67.011979999999994</c:v>
                </c:pt>
                <c:pt idx="1026">
                  <c:v>67.921589999999995</c:v>
                </c:pt>
                <c:pt idx="1027">
                  <c:v>71.068770000000001</c:v>
                </c:pt>
                <c:pt idx="1028">
                  <c:v>58.960740000000001</c:v>
                </c:pt>
                <c:pt idx="1029">
                  <c:v>60.921405999999998</c:v>
                </c:pt>
                <c:pt idx="1030">
                  <c:v>63.226883000000001</c:v>
                </c:pt>
                <c:pt idx="1031">
                  <c:v>67.538759999999996</c:v>
                </c:pt>
                <c:pt idx="1032">
                  <c:v>65.63064</c:v>
                </c:pt>
                <c:pt idx="1033">
                  <c:v>64.223920000000007</c:v>
                </c:pt>
                <c:pt idx="1034">
                  <c:v>64.163809999999998</c:v>
                </c:pt>
                <c:pt idx="1035">
                  <c:v>62.622166</c:v>
                </c:pt>
                <c:pt idx="1036">
                  <c:v>63.296061999999999</c:v>
                </c:pt>
                <c:pt idx="1037">
                  <c:v>63.078859999999999</c:v>
                </c:pt>
                <c:pt idx="1038">
                  <c:v>78.848259999999996</c:v>
                </c:pt>
                <c:pt idx="1039">
                  <c:v>59.223125000000003</c:v>
                </c:pt>
                <c:pt idx="1040">
                  <c:v>80.887634000000006</c:v>
                </c:pt>
                <c:pt idx="1041">
                  <c:v>69.352220000000003</c:v>
                </c:pt>
                <c:pt idx="1042">
                  <c:v>69.236400000000003</c:v>
                </c:pt>
                <c:pt idx="1043">
                  <c:v>69.077479999999994</c:v>
                </c:pt>
                <c:pt idx="1044">
                  <c:v>69.212879999999998</c:v>
                </c:pt>
                <c:pt idx="1045">
                  <c:v>69.050929999999994</c:v>
                </c:pt>
                <c:pt idx="1046">
                  <c:v>68.409310000000005</c:v>
                </c:pt>
                <c:pt idx="1047">
                  <c:v>62.597991999999998</c:v>
                </c:pt>
                <c:pt idx="1048">
                  <c:v>60.627293000000002</c:v>
                </c:pt>
                <c:pt idx="1049">
                  <c:v>60.848033999999998</c:v>
                </c:pt>
                <c:pt idx="1050">
                  <c:v>61.842525000000002</c:v>
                </c:pt>
                <c:pt idx="1051">
                  <c:v>60.687399999999997</c:v>
                </c:pt>
                <c:pt idx="1052">
                  <c:v>61.025359999999999</c:v>
                </c:pt>
                <c:pt idx="1053">
                  <c:v>62.840297999999997</c:v>
                </c:pt>
                <c:pt idx="1054">
                  <c:v>65.003249999999994</c:v>
                </c:pt>
                <c:pt idx="1055">
                  <c:v>66.239570000000001</c:v>
                </c:pt>
                <c:pt idx="1056">
                  <c:v>67.365750000000006</c:v>
                </c:pt>
                <c:pt idx="1057">
                  <c:v>67.556939999999997</c:v>
                </c:pt>
                <c:pt idx="1058">
                  <c:v>67.001464999999996</c:v>
                </c:pt>
                <c:pt idx="1059">
                  <c:v>67.487755000000007</c:v>
                </c:pt>
                <c:pt idx="1060">
                  <c:v>67.86121</c:v>
                </c:pt>
                <c:pt idx="1061">
                  <c:v>67.169439999999994</c:v>
                </c:pt>
                <c:pt idx="1062">
                  <c:v>67.521805000000001</c:v>
                </c:pt>
                <c:pt idx="1063">
                  <c:v>67.830605000000006</c:v>
                </c:pt>
                <c:pt idx="1064">
                  <c:v>68.323459999999997</c:v>
                </c:pt>
                <c:pt idx="1065">
                  <c:v>68.259770000000003</c:v>
                </c:pt>
                <c:pt idx="1066">
                  <c:v>66.874880000000005</c:v>
                </c:pt>
                <c:pt idx="1067">
                  <c:v>66.580560000000006</c:v>
                </c:pt>
                <c:pt idx="1068">
                  <c:v>66.716099999999997</c:v>
                </c:pt>
                <c:pt idx="1069">
                  <c:v>67.214129999999997</c:v>
                </c:pt>
                <c:pt idx="1070">
                  <c:v>67.057686000000004</c:v>
                </c:pt>
                <c:pt idx="1071">
                  <c:v>66.85163</c:v>
                </c:pt>
                <c:pt idx="1072">
                  <c:v>65.656790000000001</c:v>
                </c:pt>
                <c:pt idx="1073">
                  <c:v>65.518196000000003</c:v>
                </c:pt>
                <c:pt idx="1074">
                  <c:v>65.367133999999993</c:v>
                </c:pt>
                <c:pt idx="1075">
                  <c:v>65.938910000000007</c:v>
                </c:pt>
                <c:pt idx="1076">
                  <c:v>66.756614999999996</c:v>
                </c:pt>
                <c:pt idx="1077">
                  <c:v>67.186645999999996</c:v>
                </c:pt>
                <c:pt idx="1078">
                  <c:v>66.870549999999994</c:v>
                </c:pt>
                <c:pt idx="1079">
                  <c:v>66.927605</c:v>
                </c:pt>
                <c:pt idx="1080">
                  <c:v>66.576224999999994</c:v>
                </c:pt>
                <c:pt idx="1081">
                  <c:v>66.605130000000003</c:v>
                </c:pt>
                <c:pt idx="1082">
                  <c:v>66.843215999999998</c:v>
                </c:pt>
                <c:pt idx="1083">
                  <c:v>66.695594999999997</c:v>
                </c:pt>
                <c:pt idx="1084">
                  <c:v>67.041039999999995</c:v>
                </c:pt>
                <c:pt idx="1085">
                  <c:v>67.394965999999997</c:v>
                </c:pt>
                <c:pt idx="1086">
                  <c:v>65.934494000000001</c:v>
                </c:pt>
                <c:pt idx="1087">
                  <c:v>65.515450000000001</c:v>
                </c:pt>
                <c:pt idx="1088">
                  <c:v>65.159859999999995</c:v>
                </c:pt>
                <c:pt idx="1089">
                  <c:v>64.307204999999996</c:v>
                </c:pt>
                <c:pt idx="1090">
                  <c:v>64.044849999999997</c:v>
                </c:pt>
                <c:pt idx="1091">
                  <c:v>66.814670000000007</c:v>
                </c:pt>
                <c:pt idx="1092">
                  <c:v>65.467129999999997</c:v>
                </c:pt>
                <c:pt idx="1093">
                  <c:v>65.080730000000003</c:v>
                </c:pt>
                <c:pt idx="1094">
                  <c:v>64.657250000000005</c:v>
                </c:pt>
                <c:pt idx="1095">
                  <c:v>65.104256000000007</c:v>
                </c:pt>
                <c:pt idx="1096">
                  <c:v>66.890854000000004</c:v>
                </c:pt>
                <c:pt idx="1097">
                  <c:v>66.404210000000006</c:v>
                </c:pt>
                <c:pt idx="1098">
                  <c:v>67.261439999999993</c:v>
                </c:pt>
                <c:pt idx="1099">
                  <c:v>65.689605999999998</c:v>
                </c:pt>
                <c:pt idx="1100">
                  <c:v>66.030900000000003</c:v>
                </c:pt>
                <c:pt idx="1101">
                  <c:v>66.572410000000005</c:v>
                </c:pt>
                <c:pt idx="1102">
                  <c:v>57.998165</c:v>
                </c:pt>
                <c:pt idx="1103">
                  <c:v>58.032960000000003</c:v>
                </c:pt>
                <c:pt idx="1104">
                  <c:v>58.425260000000002</c:v>
                </c:pt>
                <c:pt idx="1105">
                  <c:v>58.088099999999997</c:v>
                </c:pt>
                <c:pt idx="1106">
                  <c:v>67.586870000000005</c:v>
                </c:pt>
                <c:pt idx="1107">
                  <c:v>64.439896000000005</c:v>
                </c:pt>
                <c:pt idx="1108">
                  <c:v>64.231819999999999</c:v>
                </c:pt>
                <c:pt idx="1109">
                  <c:v>63.866610000000001</c:v>
                </c:pt>
                <c:pt idx="1110">
                  <c:v>63.341022000000002</c:v>
                </c:pt>
                <c:pt idx="1111">
                  <c:v>63.312019999999997</c:v>
                </c:pt>
                <c:pt idx="1112">
                  <c:v>64.01634</c:v>
                </c:pt>
                <c:pt idx="1113">
                  <c:v>64.654624999999996</c:v>
                </c:pt>
                <c:pt idx="1114">
                  <c:v>64.477670000000003</c:v>
                </c:pt>
                <c:pt idx="1115">
                  <c:v>60.226726999999997</c:v>
                </c:pt>
                <c:pt idx="1116">
                  <c:v>58.365462999999998</c:v>
                </c:pt>
                <c:pt idx="1117">
                  <c:v>58.146811999999997</c:v>
                </c:pt>
                <c:pt idx="1118">
                  <c:v>59.011726000000003</c:v>
                </c:pt>
                <c:pt idx="1119">
                  <c:v>60.193719999999999</c:v>
                </c:pt>
                <c:pt idx="1120">
                  <c:v>63.056103</c:v>
                </c:pt>
                <c:pt idx="1121">
                  <c:v>61.150047000000001</c:v>
                </c:pt>
                <c:pt idx="1122">
                  <c:v>61.898949999999999</c:v>
                </c:pt>
                <c:pt idx="1123">
                  <c:v>63.715342999999997</c:v>
                </c:pt>
                <c:pt idx="1124">
                  <c:v>65.338009999999997</c:v>
                </c:pt>
                <c:pt idx="1125">
                  <c:v>66.394289999999998</c:v>
                </c:pt>
                <c:pt idx="1126">
                  <c:v>66.806190000000001</c:v>
                </c:pt>
                <c:pt idx="1127">
                  <c:v>67.046430000000001</c:v>
                </c:pt>
                <c:pt idx="1128">
                  <c:v>67.113945000000001</c:v>
                </c:pt>
                <c:pt idx="1129">
                  <c:v>67.296790000000001</c:v>
                </c:pt>
                <c:pt idx="1130">
                  <c:v>66.954189999999997</c:v>
                </c:pt>
                <c:pt idx="1131">
                  <c:v>65.940370000000001</c:v>
                </c:pt>
                <c:pt idx="1132">
                  <c:v>65.672263999999998</c:v>
                </c:pt>
                <c:pt idx="1133">
                  <c:v>65.639449999999997</c:v>
                </c:pt>
                <c:pt idx="1134">
                  <c:v>66.138729999999995</c:v>
                </c:pt>
                <c:pt idx="1135">
                  <c:v>66.616659999999996</c:v>
                </c:pt>
                <c:pt idx="1136">
                  <c:v>66.108609999999999</c:v>
                </c:pt>
                <c:pt idx="1137">
                  <c:v>65.907234000000003</c:v>
                </c:pt>
                <c:pt idx="1138">
                  <c:v>65.911704999999998</c:v>
                </c:pt>
                <c:pt idx="1139">
                  <c:v>65.615600000000001</c:v>
                </c:pt>
                <c:pt idx="1140">
                  <c:v>64.744259999999997</c:v>
                </c:pt>
                <c:pt idx="1141">
                  <c:v>64.115110000000001</c:v>
                </c:pt>
                <c:pt idx="1142">
                  <c:v>63.702804999999998</c:v>
                </c:pt>
                <c:pt idx="1143">
                  <c:v>63.620544000000002</c:v>
                </c:pt>
                <c:pt idx="1144">
                  <c:v>63.180675999999998</c:v>
                </c:pt>
                <c:pt idx="1145">
                  <c:v>62.682020000000001</c:v>
                </c:pt>
                <c:pt idx="1146">
                  <c:v>62.753304</c:v>
                </c:pt>
                <c:pt idx="1147">
                  <c:v>62.940227999999998</c:v>
                </c:pt>
                <c:pt idx="1148">
                  <c:v>62.518676999999997</c:v>
                </c:pt>
                <c:pt idx="1149">
                  <c:v>60.208694000000001</c:v>
                </c:pt>
                <c:pt idx="1150">
                  <c:v>59.415604000000002</c:v>
                </c:pt>
                <c:pt idx="1151">
                  <c:v>59.952126</c:v>
                </c:pt>
                <c:pt idx="1152">
                  <c:v>60.093615999999997</c:v>
                </c:pt>
                <c:pt idx="1153">
                  <c:v>60.839126999999998</c:v>
                </c:pt>
                <c:pt idx="1154">
                  <c:v>61.852992999999998</c:v>
                </c:pt>
                <c:pt idx="1155">
                  <c:v>63.045430000000003</c:v>
                </c:pt>
                <c:pt idx="1156">
                  <c:v>61.782207</c:v>
                </c:pt>
                <c:pt idx="1157">
                  <c:v>61.696415000000002</c:v>
                </c:pt>
                <c:pt idx="1158">
                  <c:v>62.421523999999998</c:v>
                </c:pt>
                <c:pt idx="1159">
                  <c:v>63.141419999999997</c:v>
                </c:pt>
                <c:pt idx="1160">
                  <c:v>64.199740000000006</c:v>
                </c:pt>
                <c:pt idx="1161">
                  <c:v>65.050079999999994</c:v>
                </c:pt>
                <c:pt idx="1162">
                  <c:v>65.552734000000001</c:v>
                </c:pt>
                <c:pt idx="1163">
                  <c:v>66.143159999999995</c:v>
                </c:pt>
                <c:pt idx="1164">
                  <c:v>66.212450000000004</c:v>
                </c:pt>
                <c:pt idx="1165">
                  <c:v>66.426993999999993</c:v>
                </c:pt>
                <c:pt idx="1166">
                  <c:v>66.520390000000006</c:v>
                </c:pt>
                <c:pt idx="1167">
                  <c:v>66.31653</c:v>
                </c:pt>
                <c:pt idx="1168">
                  <c:v>65.097785999999999</c:v>
                </c:pt>
                <c:pt idx="1169">
                  <c:v>64.508674999999997</c:v>
                </c:pt>
                <c:pt idx="1170">
                  <c:v>64.707589999999996</c:v>
                </c:pt>
                <c:pt idx="1171">
                  <c:v>65.023124999999993</c:v>
                </c:pt>
                <c:pt idx="1172">
                  <c:v>65.796549999999996</c:v>
                </c:pt>
                <c:pt idx="1173">
                  <c:v>63.499825000000001</c:v>
                </c:pt>
                <c:pt idx="1174">
                  <c:v>62.61401</c:v>
                </c:pt>
                <c:pt idx="1175">
                  <c:v>63.537759999999999</c:v>
                </c:pt>
                <c:pt idx="1176">
                  <c:v>64.38261</c:v>
                </c:pt>
                <c:pt idx="1177">
                  <c:v>65.091515000000001</c:v>
                </c:pt>
                <c:pt idx="1178">
                  <c:v>65.193200000000004</c:v>
                </c:pt>
                <c:pt idx="1179">
                  <c:v>64.813140000000004</c:v>
                </c:pt>
                <c:pt idx="1180">
                  <c:v>57.478949999999998</c:v>
                </c:pt>
                <c:pt idx="1181">
                  <c:v>55.845511999999999</c:v>
                </c:pt>
                <c:pt idx="1182">
                  <c:v>57.217174999999997</c:v>
                </c:pt>
                <c:pt idx="1183">
                  <c:v>58.340829999999997</c:v>
                </c:pt>
                <c:pt idx="1184">
                  <c:v>60.003825999999997</c:v>
                </c:pt>
                <c:pt idx="1185">
                  <c:v>60.550800000000002</c:v>
                </c:pt>
                <c:pt idx="1186">
                  <c:v>62.219430000000003</c:v>
                </c:pt>
                <c:pt idx="1187">
                  <c:v>63.908050000000003</c:v>
                </c:pt>
                <c:pt idx="1188">
                  <c:v>65.196460000000002</c:v>
                </c:pt>
                <c:pt idx="1189">
                  <c:v>66.169110000000003</c:v>
                </c:pt>
                <c:pt idx="1190">
                  <c:v>67.155876000000006</c:v>
                </c:pt>
                <c:pt idx="1191">
                  <c:v>67.318089999999998</c:v>
                </c:pt>
                <c:pt idx="1192">
                  <c:v>67.522896000000003</c:v>
                </c:pt>
                <c:pt idx="1193">
                  <c:v>67.669715999999994</c:v>
                </c:pt>
                <c:pt idx="1194">
                  <c:v>68.03595</c:v>
                </c:pt>
                <c:pt idx="1195">
                  <c:v>67.825919999999996</c:v>
                </c:pt>
                <c:pt idx="1196">
                  <c:v>67.619069999999994</c:v>
                </c:pt>
                <c:pt idx="1197">
                  <c:v>66.790059999999997</c:v>
                </c:pt>
                <c:pt idx="1198">
                  <c:v>65.674933999999993</c:v>
                </c:pt>
                <c:pt idx="1199">
                  <c:v>64.909890000000004</c:v>
                </c:pt>
                <c:pt idx="1200">
                  <c:v>65.148330000000001</c:v>
                </c:pt>
                <c:pt idx="1201">
                  <c:v>65.003900000000002</c:v>
                </c:pt>
                <c:pt idx="1202">
                  <c:v>65.324879999999993</c:v>
                </c:pt>
                <c:pt idx="1203">
                  <c:v>65.597909999999999</c:v>
                </c:pt>
                <c:pt idx="1204">
                  <c:v>66.241069999999993</c:v>
                </c:pt>
                <c:pt idx="1205">
                  <c:v>66.987235999999996</c:v>
                </c:pt>
                <c:pt idx="1206">
                  <c:v>66.673689999999993</c:v>
                </c:pt>
                <c:pt idx="1207">
                  <c:v>65.625699999999995</c:v>
                </c:pt>
                <c:pt idx="1208">
                  <c:v>63.794499999999999</c:v>
                </c:pt>
                <c:pt idx="1209">
                  <c:v>62.671275999999999</c:v>
                </c:pt>
                <c:pt idx="1210">
                  <c:v>61.763176000000001</c:v>
                </c:pt>
                <c:pt idx="1211">
                  <c:v>61.044857</c:v>
                </c:pt>
                <c:pt idx="1212">
                  <c:v>61.503104999999998</c:v>
                </c:pt>
                <c:pt idx="1213">
                  <c:v>61.808146999999998</c:v>
                </c:pt>
                <c:pt idx="1214">
                  <c:v>61.798943000000001</c:v>
                </c:pt>
                <c:pt idx="1215">
                  <c:v>60.930889999999998</c:v>
                </c:pt>
                <c:pt idx="1216">
                  <c:v>60.779876999999999</c:v>
                </c:pt>
                <c:pt idx="1217">
                  <c:v>61.120809999999999</c:v>
                </c:pt>
                <c:pt idx="1218">
                  <c:v>61.083523</c:v>
                </c:pt>
                <c:pt idx="1219">
                  <c:v>60.199672999999997</c:v>
                </c:pt>
                <c:pt idx="1220">
                  <c:v>59.163497999999997</c:v>
                </c:pt>
                <c:pt idx="1221">
                  <c:v>59.267679999999999</c:v>
                </c:pt>
                <c:pt idx="1222">
                  <c:v>59.844619999999999</c:v>
                </c:pt>
                <c:pt idx="1223">
                  <c:v>60.006599999999999</c:v>
                </c:pt>
                <c:pt idx="1224">
                  <c:v>60.252830000000003</c:v>
                </c:pt>
                <c:pt idx="1225">
                  <c:v>61.290557999999997</c:v>
                </c:pt>
                <c:pt idx="1226">
                  <c:v>62.255282999999999</c:v>
                </c:pt>
                <c:pt idx="1227">
                  <c:v>62.574047</c:v>
                </c:pt>
                <c:pt idx="1228">
                  <c:v>62.801499999999997</c:v>
                </c:pt>
                <c:pt idx="1229">
                  <c:v>62.66431</c:v>
                </c:pt>
                <c:pt idx="1230">
                  <c:v>62.514225000000003</c:v>
                </c:pt>
                <c:pt idx="1231">
                  <c:v>61.679115000000003</c:v>
                </c:pt>
                <c:pt idx="1232">
                  <c:v>61.222683000000004</c:v>
                </c:pt>
                <c:pt idx="1233">
                  <c:v>61.352733999999998</c:v>
                </c:pt>
                <c:pt idx="1234">
                  <c:v>60.919032999999999</c:v>
                </c:pt>
                <c:pt idx="1235">
                  <c:v>60.958205999999997</c:v>
                </c:pt>
                <c:pt idx="1236">
                  <c:v>58.64723</c:v>
                </c:pt>
                <c:pt idx="1237">
                  <c:v>57.359386000000001</c:v>
                </c:pt>
                <c:pt idx="1238">
                  <c:v>57.256189999999997</c:v>
                </c:pt>
                <c:pt idx="1239">
                  <c:v>57.700319999999998</c:v>
                </c:pt>
                <c:pt idx="1240">
                  <c:v>58.642246</c:v>
                </c:pt>
                <c:pt idx="1241">
                  <c:v>59.258719999999997</c:v>
                </c:pt>
                <c:pt idx="1242">
                  <c:v>59.852069999999998</c:v>
                </c:pt>
                <c:pt idx="1243">
                  <c:v>60.56118</c:v>
                </c:pt>
                <c:pt idx="1244">
                  <c:v>60.198914000000002</c:v>
                </c:pt>
                <c:pt idx="1245">
                  <c:v>53.785927000000001</c:v>
                </c:pt>
                <c:pt idx="1246">
                  <c:v>50.574226000000003</c:v>
                </c:pt>
                <c:pt idx="1247">
                  <c:v>51.494950000000003</c:v>
                </c:pt>
                <c:pt idx="1248">
                  <c:v>53.500652000000002</c:v>
                </c:pt>
                <c:pt idx="1249">
                  <c:v>54.524085999999997</c:v>
                </c:pt>
                <c:pt idx="1250">
                  <c:v>55.605441999999996</c:v>
                </c:pt>
                <c:pt idx="1251">
                  <c:v>57.544089999999997</c:v>
                </c:pt>
                <c:pt idx="1252">
                  <c:v>59.882730000000002</c:v>
                </c:pt>
                <c:pt idx="1253">
                  <c:v>61.418109999999999</c:v>
                </c:pt>
                <c:pt idx="1254">
                  <c:v>62.91545</c:v>
                </c:pt>
                <c:pt idx="1255">
                  <c:v>63.953785000000003</c:v>
                </c:pt>
                <c:pt idx="1256">
                  <c:v>64.975520000000003</c:v>
                </c:pt>
                <c:pt idx="1257">
                  <c:v>65.157060000000001</c:v>
                </c:pt>
                <c:pt idx="1258">
                  <c:v>66.112409999999997</c:v>
                </c:pt>
                <c:pt idx="1259">
                  <c:v>66.863759999999999</c:v>
                </c:pt>
                <c:pt idx="1260">
                  <c:v>67.343710000000002</c:v>
                </c:pt>
                <c:pt idx="1261">
                  <c:v>66.965705999999997</c:v>
                </c:pt>
                <c:pt idx="1262">
                  <c:v>66.508835000000005</c:v>
                </c:pt>
                <c:pt idx="1263">
                  <c:v>65.984160000000003</c:v>
                </c:pt>
                <c:pt idx="1264">
                  <c:v>65.461780000000005</c:v>
                </c:pt>
                <c:pt idx="1265">
                  <c:v>65.373760000000004</c:v>
                </c:pt>
                <c:pt idx="1266">
                  <c:v>65.085279999999997</c:v>
                </c:pt>
                <c:pt idx="1267">
                  <c:v>63.924976000000001</c:v>
                </c:pt>
                <c:pt idx="1268">
                  <c:v>63.298580000000001</c:v>
                </c:pt>
                <c:pt idx="1269">
                  <c:v>63.118361999999998</c:v>
                </c:pt>
                <c:pt idx="1270">
                  <c:v>62.703696999999998</c:v>
                </c:pt>
                <c:pt idx="1271">
                  <c:v>62.797234000000003</c:v>
                </c:pt>
                <c:pt idx="1272">
                  <c:v>63.031562999999998</c:v>
                </c:pt>
                <c:pt idx="1273">
                  <c:v>63.416054000000003</c:v>
                </c:pt>
                <c:pt idx="1274">
                  <c:v>63.515304999999998</c:v>
                </c:pt>
                <c:pt idx="1275">
                  <c:v>61.298225000000002</c:v>
                </c:pt>
                <c:pt idx="1276">
                  <c:v>59.803443999999999</c:v>
                </c:pt>
                <c:pt idx="1277">
                  <c:v>59.630504999999999</c:v>
                </c:pt>
                <c:pt idx="1278">
                  <c:v>59.254672999999997</c:v>
                </c:pt>
                <c:pt idx="1279">
                  <c:v>59.016390000000001</c:v>
                </c:pt>
                <c:pt idx="1280">
                  <c:v>59.203330000000001</c:v>
                </c:pt>
                <c:pt idx="1281">
                  <c:v>58.844790000000003</c:v>
                </c:pt>
                <c:pt idx="1282">
                  <c:v>59.661296999999998</c:v>
                </c:pt>
                <c:pt idx="1283">
                  <c:v>60.500442999999997</c:v>
                </c:pt>
                <c:pt idx="1284">
                  <c:v>61.009216000000002</c:v>
                </c:pt>
                <c:pt idx="1285">
                  <c:v>60.753796000000001</c:v>
                </c:pt>
                <c:pt idx="1286">
                  <c:v>60.938800000000001</c:v>
                </c:pt>
                <c:pt idx="1287">
                  <c:v>61.068420000000003</c:v>
                </c:pt>
                <c:pt idx="1288">
                  <c:v>61.299686000000001</c:v>
                </c:pt>
                <c:pt idx="1289">
                  <c:v>61.652450000000002</c:v>
                </c:pt>
                <c:pt idx="1290">
                  <c:v>62.060524000000001</c:v>
                </c:pt>
                <c:pt idx="1291">
                  <c:v>61.718345999999997</c:v>
                </c:pt>
                <c:pt idx="1292">
                  <c:v>61.374046</c:v>
                </c:pt>
                <c:pt idx="1293">
                  <c:v>61.533282999999997</c:v>
                </c:pt>
                <c:pt idx="1294">
                  <c:v>61.689895999999997</c:v>
                </c:pt>
                <c:pt idx="1295">
                  <c:v>61.58211</c:v>
                </c:pt>
                <c:pt idx="1296">
                  <c:v>60.907130000000002</c:v>
                </c:pt>
                <c:pt idx="1297">
                  <c:v>60.105716999999999</c:v>
                </c:pt>
                <c:pt idx="1298">
                  <c:v>59.513309999999997</c:v>
                </c:pt>
                <c:pt idx="1299">
                  <c:v>59.38796</c:v>
                </c:pt>
                <c:pt idx="1300">
                  <c:v>60.078494999999997</c:v>
                </c:pt>
                <c:pt idx="1301">
                  <c:v>60.907603999999999</c:v>
                </c:pt>
                <c:pt idx="1302">
                  <c:v>60.854916000000003</c:v>
                </c:pt>
                <c:pt idx="1303">
                  <c:v>58.740242000000002</c:v>
                </c:pt>
                <c:pt idx="1304">
                  <c:v>58.033790000000003</c:v>
                </c:pt>
                <c:pt idx="1305">
                  <c:v>57.389415999999997</c:v>
                </c:pt>
                <c:pt idx="1306">
                  <c:v>58.071309999999997</c:v>
                </c:pt>
                <c:pt idx="1307">
                  <c:v>59.201687</c:v>
                </c:pt>
                <c:pt idx="1308">
                  <c:v>60.162426000000004</c:v>
                </c:pt>
                <c:pt idx="1309">
                  <c:v>60.498446999999999</c:v>
                </c:pt>
                <c:pt idx="1310">
                  <c:v>61.790194999999997</c:v>
                </c:pt>
                <c:pt idx="1311">
                  <c:v>62.843162999999997</c:v>
                </c:pt>
                <c:pt idx="1312">
                  <c:v>64.23021</c:v>
                </c:pt>
                <c:pt idx="1313">
                  <c:v>64.814269999999993</c:v>
                </c:pt>
                <c:pt idx="1314">
                  <c:v>65.311970000000002</c:v>
                </c:pt>
                <c:pt idx="1315">
                  <c:v>65.542000000000002</c:v>
                </c:pt>
                <c:pt idx="1316">
                  <c:v>65.555840000000003</c:v>
                </c:pt>
                <c:pt idx="1317">
                  <c:v>65.088165000000004</c:v>
                </c:pt>
                <c:pt idx="1318">
                  <c:v>63.787483000000002</c:v>
                </c:pt>
                <c:pt idx="1319">
                  <c:v>63.260905999999999</c:v>
                </c:pt>
                <c:pt idx="1320">
                  <c:v>62.722042000000002</c:v>
                </c:pt>
                <c:pt idx="1321">
                  <c:v>62.242485000000002</c:v>
                </c:pt>
                <c:pt idx="1322">
                  <c:v>61.597836000000001</c:v>
                </c:pt>
                <c:pt idx="1323">
                  <c:v>61.057484000000002</c:v>
                </c:pt>
                <c:pt idx="1324">
                  <c:v>60.870933999999998</c:v>
                </c:pt>
                <c:pt idx="1325">
                  <c:v>60.340916</c:v>
                </c:pt>
                <c:pt idx="1326">
                  <c:v>59.909157</c:v>
                </c:pt>
                <c:pt idx="1327">
                  <c:v>59.618895999999999</c:v>
                </c:pt>
                <c:pt idx="1328">
                  <c:v>59.89667</c:v>
                </c:pt>
                <c:pt idx="1329">
                  <c:v>60.143250000000002</c:v>
                </c:pt>
                <c:pt idx="1330">
                  <c:v>59.707507999999997</c:v>
                </c:pt>
                <c:pt idx="1331">
                  <c:v>59.739040000000003</c:v>
                </c:pt>
                <c:pt idx="1332">
                  <c:v>59.56127</c:v>
                </c:pt>
                <c:pt idx="1333">
                  <c:v>59.070065</c:v>
                </c:pt>
                <c:pt idx="1334">
                  <c:v>59.086677999999999</c:v>
                </c:pt>
                <c:pt idx="1335">
                  <c:v>59.220959999999998</c:v>
                </c:pt>
                <c:pt idx="1336">
                  <c:v>59.456769999999999</c:v>
                </c:pt>
                <c:pt idx="1337">
                  <c:v>59.588932</c:v>
                </c:pt>
                <c:pt idx="1338">
                  <c:v>59.566696</c:v>
                </c:pt>
                <c:pt idx="1339">
                  <c:v>59.857872</c:v>
                </c:pt>
                <c:pt idx="1340">
                  <c:v>58.890326999999999</c:v>
                </c:pt>
                <c:pt idx="1341">
                  <c:v>58.688034000000002</c:v>
                </c:pt>
                <c:pt idx="1342">
                  <c:v>58.596519999999998</c:v>
                </c:pt>
                <c:pt idx="1343">
                  <c:v>58.513939999999998</c:v>
                </c:pt>
                <c:pt idx="1344">
                  <c:v>57.178626999999999</c:v>
                </c:pt>
                <c:pt idx="1345">
                  <c:v>56.201039999999999</c:v>
                </c:pt>
                <c:pt idx="1346">
                  <c:v>55.727325</c:v>
                </c:pt>
                <c:pt idx="1347">
                  <c:v>56.013330000000003</c:v>
                </c:pt>
                <c:pt idx="1348">
                  <c:v>56.407874999999997</c:v>
                </c:pt>
                <c:pt idx="1349">
                  <c:v>56.09883</c:v>
                </c:pt>
                <c:pt idx="1350">
                  <c:v>55.903587000000002</c:v>
                </c:pt>
                <c:pt idx="1351">
                  <c:v>56.218178000000002</c:v>
                </c:pt>
                <c:pt idx="1352">
                  <c:v>56.456356</c:v>
                </c:pt>
                <c:pt idx="1353">
                  <c:v>56.933666000000002</c:v>
                </c:pt>
                <c:pt idx="1354">
                  <c:v>57.475566999999998</c:v>
                </c:pt>
                <c:pt idx="1355">
                  <c:v>58.099964</c:v>
                </c:pt>
                <c:pt idx="1356">
                  <c:v>58.855193999999997</c:v>
                </c:pt>
                <c:pt idx="1357">
                  <c:v>58.614635</c:v>
                </c:pt>
                <c:pt idx="1358">
                  <c:v>58.924320000000002</c:v>
                </c:pt>
                <c:pt idx="1359">
                  <c:v>59.294359999999998</c:v>
                </c:pt>
                <c:pt idx="1360">
                  <c:v>59.412959999999998</c:v>
                </c:pt>
                <c:pt idx="1361">
                  <c:v>57.638415999999999</c:v>
                </c:pt>
                <c:pt idx="1362">
                  <c:v>56.566012999999998</c:v>
                </c:pt>
                <c:pt idx="1363">
                  <c:v>56.237965000000003</c:v>
                </c:pt>
                <c:pt idx="1364">
                  <c:v>55.744858000000001</c:v>
                </c:pt>
                <c:pt idx="1365">
                  <c:v>54.663179999999997</c:v>
                </c:pt>
                <c:pt idx="1366">
                  <c:v>50.916443000000001</c:v>
                </c:pt>
                <c:pt idx="1367">
                  <c:v>48.840004</c:v>
                </c:pt>
                <c:pt idx="1368">
                  <c:v>48.99926</c:v>
                </c:pt>
                <c:pt idx="1369">
                  <c:v>50.234726000000002</c:v>
                </c:pt>
                <c:pt idx="1370">
                  <c:v>51.514229999999998</c:v>
                </c:pt>
                <c:pt idx="1371">
                  <c:v>53.353729999999999</c:v>
                </c:pt>
                <c:pt idx="1372">
                  <c:v>55.211260000000003</c:v>
                </c:pt>
                <c:pt idx="1373">
                  <c:v>56.983795000000001</c:v>
                </c:pt>
                <c:pt idx="1374">
                  <c:v>58.064846000000003</c:v>
                </c:pt>
                <c:pt idx="1375">
                  <c:v>59.535075999999997</c:v>
                </c:pt>
                <c:pt idx="1376">
                  <c:v>60.153953999999999</c:v>
                </c:pt>
                <c:pt idx="1377">
                  <c:v>61.432487000000002</c:v>
                </c:pt>
                <c:pt idx="1378">
                  <c:v>62.566659999999999</c:v>
                </c:pt>
                <c:pt idx="1379">
                  <c:v>63.021366</c:v>
                </c:pt>
                <c:pt idx="1380">
                  <c:v>63.307715999999999</c:v>
                </c:pt>
                <c:pt idx="1381">
                  <c:v>63.482489999999999</c:v>
                </c:pt>
                <c:pt idx="1382">
                  <c:v>63.354075999999999</c:v>
                </c:pt>
                <c:pt idx="1383">
                  <c:v>62.725070000000002</c:v>
                </c:pt>
                <c:pt idx="1384">
                  <c:v>62.296387000000003</c:v>
                </c:pt>
                <c:pt idx="1385">
                  <c:v>61.939762000000002</c:v>
                </c:pt>
                <c:pt idx="1386">
                  <c:v>61.252274</c:v>
                </c:pt>
                <c:pt idx="1387">
                  <c:v>60.847126000000003</c:v>
                </c:pt>
                <c:pt idx="1388">
                  <c:v>60.677140000000001</c:v>
                </c:pt>
                <c:pt idx="1389">
                  <c:v>58.921329999999998</c:v>
                </c:pt>
                <c:pt idx="1390">
                  <c:v>58.235275000000001</c:v>
                </c:pt>
                <c:pt idx="1391">
                  <c:v>58.404246999999998</c:v>
                </c:pt>
                <c:pt idx="1392">
                  <c:v>58.667225000000002</c:v>
                </c:pt>
                <c:pt idx="1393">
                  <c:v>58.551400000000001</c:v>
                </c:pt>
                <c:pt idx="1394">
                  <c:v>58.549743999999997</c:v>
                </c:pt>
                <c:pt idx="1395">
                  <c:v>58.055256</c:v>
                </c:pt>
                <c:pt idx="1396">
                  <c:v>57.853459999999998</c:v>
                </c:pt>
                <c:pt idx="1397">
                  <c:v>58.147765999999997</c:v>
                </c:pt>
                <c:pt idx="1398">
                  <c:v>57.852352000000003</c:v>
                </c:pt>
                <c:pt idx="1399">
                  <c:v>57.403754999999997</c:v>
                </c:pt>
                <c:pt idx="1400">
                  <c:v>56.46566</c:v>
                </c:pt>
                <c:pt idx="1401">
                  <c:v>54.830710000000003</c:v>
                </c:pt>
                <c:pt idx="1402">
                  <c:v>54.630450000000003</c:v>
                </c:pt>
                <c:pt idx="1403">
                  <c:v>54.318644999999997</c:v>
                </c:pt>
                <c:pt idx="1404">
                  <c:v>53.91751</c:v>
                </c:pt>
                <c:pt idx="1405">
                  <c:v>53.860146</c:v>
                </c:pt>
                <c:pt idx="1406">
                  <c:v>53.800471999999999</c:v>
                </c:pt>
                <c:pt idx="1407">
                  <c:v>53.749079999999999</c:v>
                </c:pt>
                <c:pt idx="1408">
                  <c:v>54.016567000000002</c:v>
                </c:pt>
                <c:pt idx="1409">
                  <c:v>54.308169999999997</c:v>
                </c:pt>
                <c:pt idx="1410">
                  <c:v>54.303750000000001</c:v>
                </c:pt>
                <c:pt idx="1411">
                  <c:v>54.316741999999998</c:v>
                </c:pt>
                <c:pt idx="1412">
                  <c:v>53.434714999999997</c:v>
                </c:pt>
                <c:pt idx="1413">
                  <c:v>52.925026000000003</c:v>
                </c:pt>
                <c:pt idx="1414">
                  <c:v>53.002926000000002</c:v>
                </c:pt>
                <c:pt idx="1415">
                  <c:v>53.209305000000001</c:v>
                </c:pt>
                <c:pt idx="1416">
                  <c:v>53.439888000000003</c:v>
                </c:pt>
                <c:pt idx="1417">
                  <c:v>53.691160000000004</c:v>
                </c:pt>
                <c:pt idx="1418">
                  <c:v>53.824629999999999</c:v>
                </c:pt>
                <c:pt idx="1419">
                  <c:v>53.644913000000003</c:v>
                </c:pt>
                <c:pt idx="1420">
                  <c:v>53.862969999999997</c:v>
                </c:pt>
                <c:pt idx="1421">
                  <c:v>53.725696999999997</c:v>
                </c:pt>
                <c:pt idx="1422">
                  <c:v>53.044409999999999</c:v>
                </c:pt>
                <c:pt idx="1423">
                  <c:v>52.833281999999997</c:v>
                </c:pt>
                <c:pt idx="1424">
                  <c:v>52.266449999999999</c:v>
                </c:pt>
                <c:pt idx="1425">
                  <c:v>51.128579999999999</c:v>
                </c:pt>
                <c:pt idx="1426">
                  <c:v>50.18768</c:v>
                </c:pt>
                <c:pt idx="1427">
                  <c:v>50.435229999999997</c:v>
                </c:pt>
                <c:pt idx="1428">
                  <c:v>50.630809999999997</c:v>
                </c:pt>
                <c:pt idx="1429">
                  <c:v>50.626697999999998</c:v>
                </c:pt>
                <c:pt idx="1430">
                  <c:v>49.054188000000003</c:v>
                </c:pt>
                <c:pt idx="1431">
                  <c:v>48.639384999999997</c:v>
                </c:pt>
                <c:pt idx="1432">
                  <c:v>49.360863000000002</c:v>
                </c:pt>
                <c:pt idx="1433">
                  <c:v>50.516953000000001</c:v>
                </c:pt>
                <c:pt idx="1434">
                  <c:v>51.322166000000003</c:v>
                </c:pt>
                <c:pt idx="1435">
                  <c:v>52.496000000000002</c:v>
                </c:pt>
                <c:pt idx="1436">
                  <c:v>54.079239999999999</c:v>
                </c:pt>
                <c:pt idx="1437">
                  <c:v>56.303874999999998</c:v>
                </c:pt>
                <c:pt idx="1438">
                  <c:v>58.560963000000001</c:v>
                </c:pt>
                <c:pt idx="1439">
                  <c:v>60.286380000000001</c:v>
                </c:pt>
                <c:pt idx="1440">
                  <c:v>61.628143000000001</c:v>
                </c:pt>
                <c:pt idx="1441">
                  <c:v>62.700145999999997</c:v>
                </c:pt>
                <c:pt idx="1442">
                  <c:v>63.077922999999998</c:v>
                </c:pt>
                <c:pt idx="1443">
                  <c:v>63.632489999999997</c:v>
                </c:pt>
                <c:pt idx="1444">
                  <c:v>64.256996000000001</c:v>
                </c:pt>
                <c:pt idx="1445">
                  <c:v>63.833255999999999</c:v>
                </c:pt>
                <c:pt idx="1446">
                  <c:v>63.612409999999997</c:v>
                </c:pt>
                <c:pt idx="1447">
                  <c:v>62.584766000000002</c:v>
                </c:pt>
                <c:pt idx="1448">
                  <c:v>62.173737000000003</c:v>
                </c:pt>
                <c:pt idx="1449">
                  <c:v>61.677430000000001</c:v>
                </c:pt>
                <c:pt idx="1450">
                  <c:v>61.874519999999997</c:v>
                </c:pt>
                <c:pt idx="1451">
                  <c:v>61.654780000000002</c:v>
                </c:pt>
                <c:pt idx="1452">
                  <c:v>61.688057000000001</c:v>
                </c:pt>
                <c:pt idx="1453">
                  <c:v>61.835070000000002</c:v>
                </c:pt>
                <c:pt idx="1454">
                  <c:v>61.734079999999999</c:v>
                </c:pt>
                <c:pt idx="1455">
                  <c:v>61.454535999999997</c:v>
                </c:pt>
                <c:pt idx="1456">
                  <c:v>61.646349999999998</c:v>
                </c:pt>
                <c:pt idx="1457">
                  <c:v>61.456684000000003</c:v>
                </c:pt>
                <c:pt idx="1458">
                  <c:v>61.205401999999999</c:v>
                </c:pt>
                <c:pt idx="1459">
                  <c:v>61.087654000000001</c:v>
                </c:pt>
                <c:pt idx="1460">
                  <c:v>60.277293999999998</c:v>
                </c:pt>
                <c:pt idx="1461">
                  <c:v>59.735911999999999</c:v>
                </c:pt>
                <c:pt idx="1462">
                  <c:v>59.670929999999998</c:v>
                </c:pt>
                <c:pt idx="1463">
                  <c:v>58.535603000000002</c:v>
                </c:pt>
                <c:pt idx="1464">
                  <c:v>57.904716000000001</c:v>
                </c:pt>
                <c:pt idx="1465">
                  <c:v>57.101875</c:v>
                </c:pt>
                <c:pt idx="1466">
                  <c:v>57.384182000000003</c:v>
                </c:pt>
                <c:pt idx="1467">
                  <c:v>57.564712999999998</c:v>
                </c:pt>
                <c:pt idx="1468">
                  <c:v>58.267302999999998</c:v>
                </c:pt>
                <c:pt idx="1469">
                  <c:v>58.57105</c:v>
                </c:pt>
                <c:pt idx="1470">
                  <c:v>59.238273999999997</c:v>
                </c:pt>
                <c:pt idx="1471">
                  <c:v>59.536769999999997</c:v>
                </c:pt>
                <c:pt idx="1472">
                  <c:v>60.204796000000002</c:v>
                </c:pt>
                <c:pt idx="1473">
                  <c:v>61.214576999999998</c:v>
                </c:pt>
                <c:pt idx="1474">
                  <c:v>61.789966999999997</c:v>
                </c:pt>
                <c:pt idx="1475">
                  <c:v>59.563076000000002</c:v>
                </c:pt>
                <c:pt idx="1476">
                  <c:v>60.334674999999997</c:v>
                </c:pt>
                <c:pt idx="1477">
                  <c:v>60.859780000000001</c:v>
                </c:pt>
                <c:pt idx="1478">
                  <c:v>61.893794999999997</c:v>
                </c:pt>
                <c:pt idx="1479">
                  <c:v>63.446342000000001</c:v>
                </c:pt>
                <c:pt idx="1480">
                  <c:v>64.860825000000006</c:v>
                </c:pt>
                <c:pt idx="1481">
                  <c:v>65.547169999999994</c:v>
                </c:pt>
                <c:pt idx="1482">
                  <c:v>64.569534000000004</c:v>
                </c:pt>
                <c:pt idx="1483">
                  <c:v>64.625690000000006</c:v>
                </c:pt>
                <c:pt idx="1484">
                  <c:v>65.086510000000004</c:v>
                </c:pt>
                <c:pt idx="1485">
                  <c:v>64.855999999999995</c:v>
                </c:pt>
                <c:pt idx="1486">
                  <c:v>63.917520000000003</c:v>
                </c:pt>
                <c:pt idx="1487">
                  <c:v>62.147514000000001</c:v>
                </c:pt>
                <c:pt idx="1488">
                  <c:v>61.776000000000003</c:v>
                </c:pt>
                <c:pt idx="1489">
                  <c:v>61.914230000000003</c:v>
                </c:pt>
                <c:pt idx="1490">
                  <c:v>61.406359999999999</c:v>
                </c:pt>
                <c:pt idx="1491">
                  <c:v>59.234580000000001</c:v>
                </c:pt>
                <c:pt idx="1492">
                  <c:v>59.931854000000001</c:v>
                </c:pt>
                <c:pt idx="1493">
                  <c:v>60.913296000000003</c:v>
                </c:pt>
                <c:pt idx="1494">
                  <c:v>61.86242</c:v>
                </c:pt>
                <c:pt idx="1495">
                  <c:v>62.553032000000002</c:v>
                </c:pt>
                <c:pt idx="1496">
                  <c:v>62.872990000000001</c:v>
                </c:pt>
                <c:pt idx="1497">
                  <c:v>62.916319999999999</c:v>
                </c:pt>
                <c:pt idx="1498">
                  <c:v>63.757269999999998</c:v>
                </c:pt>
                <c:pt idx="1499">
                  <c:v>64.66619</c:v>
                </c:pt>
                <c:pt idx="1500">
                  <c:v>65.238579999999999</c:v>
                </c:pt>
                <c:pt idx="1501">
                  <c:v>64.863945000000001</c:v>
                </c:pt>
                <c:pt idx="1502">
                  <c:v>65.105354000000005</c:v>
                </c:pt>
                <c:pt idx="1503">
                  <c:v>64.981279999999998</c:v>
                </c:pt>
                <c:pt idx="1504">
                  <c:v>64.303635</c:v>
                </c:pt>
                <c:pt idx="1505">
                  <c:v>63.718612999999998</c:v>
                </c:pt>
                <c:pt idx="1506">
                  <c:v>63.008870000000002</c:v>
                </c:pt>
                <c:pt idx="1507">
                  <c:v>62.715724999999999</c:v>
                </c:pt>
                <c:pt idx="1508">
                  <c:v>62.474761999999998</c:v>
                </c:pt>
                <c:pt idx="1509">
                  <c:v>62.139009999999999</c:v>
                </c:pt>
                <c:pt idx="1510">
                  <c:v>61.377544</c:v>
                </c:pt>
                <c:pt idx="1511">
                  <c:v>61.535029999999999</c:v>
                </c:pt>
                <c:pt idx="1512">
                  <c:v>61.353569999999998</c:v>
                </c:pt>
                <c:pt idx="1513">
                  <c:v>61.173588000000002</c:v>
                </c:pt>
                <c:pt idx="1514">
                  <c:v>60.601353000000003</c:v>
                </c:pt>
                <c:pt idx="1515">
                  <c:v>60.395564999999998</c:v>
                </c:pt>
                <c:pt idx="1516">
                  <c:v>60.34243</c:v>
                </c:pt>
                <c:pt idx="1517">
                  <c:v>60.07047</c:v>
                </c:pt>
                <c:pt idx="1518">
                  <c:v>59.117493000000003</c:v>
                </c:pt>
                <c:pt idx="1519">
                  <c:v>58.876730000000002</c:v>
                </c:pt>
                <c:pt idx="1520">
                  <c:v>58.885086000000001</c:v>
                </c:pt>
                <c:pt idx="1521">
                  <c:v>58.838535</c:v>
                </c:pt>
                <c:pt idx="1522">
                  <c:v>57.930252000000003</c:v>
                </c:pt>
                <c:pt idx="1523">
                  <c:v>57.656939999999999</c:v>
                </c:pt>
                <c:pt idx="1524">
                  <c:v>57.603565000000003</c:v>
                </c:pt>
                <c:pt idx="1525">
                  <c:v>56.664368000000003</c:v>
                </c:pt>
                <c:pt idx="1526">
                  <c:v>56.858851999999999</c:v>
                </c:pt>
                <c:pt idx="1527">
                  <c:v>56.036259999999999</c:v>
                </c:pt>
                <c:pt idx="1528">
                  <c:v>54.437828000000003</c:v>
                </c:pt>
                <c:pt idx="1529">
                  <c:v>53.960217</c:v>
                </c:pt>
                <c:pt idx="1530">
                  <c:v>54.366894000000002</c:v>
                </c:pt>
                <c:pt idx="1531">
                  <c:v>53.881756000000003</c:v>
                </c:pt>
                <c:pt idx="1532">
                  <c:v>53.989845000000003</c:v>
                </c:pt>
                <c:pt idx="1533">
                  <c:v>54.396210000000004</c:v>
                </c:pt>
                <c:pt idx="1534">
                  <c:v>53.998069999999998</c:v>
                </c:pt>
                <c:pt idx="1535">
                  <c:v>54.438343000000003</c:v>
                </c:pt>
                <c:pt idx="1536">
                  <c:v>54.522590000000001</c:v>
                </c:pt>
                <c:pt idx="1537">
                  <c:v>54.212032000000001</c:v>
                </c:pt>
                <c:pt idx="1538">
                  <c:v>54.514384999999997</c:v>
                </c:pt>
                <c:pt idx="1539">
                  <c:v>55.058779999999999</c:v>
                </c:pt>
                <c:pt idx="1540">
                  <c:v>55.808852999999999</c:v>
                </c:pt>
                <c:pt idx="1541">
                  <c:v>56.672004999999999</c:v>
                </c:pt>
                <c:pt idx="1542">
                  <c:v>57.13129</c:v>
                </c:pt>
                <c:pt idx="1543">
                  <c:v>56.988754</c:v>
                </c:pt>
                <c:pt idx="1544">
                  <c:v>56.438842999999999</c:v>
                </c:pt>
                <c:pt idx="1545">
                  <c:v>56.963529999999999</c:v>
                </c:pt>
                <c:pt idx="1546">
                  <c:v>57.072020000000002</c:v>
                </c:pt>
                <c:pt idx="1547">
                  <c:v>57.370136000000002</c:v>
                </c:pt>
                <c:pt idx="1548">
                  <c:v>57.237118000000002</c:v>
                </c:pt>
                <c:pt idx="1549">
                  <c:v>56.844726999999999</c:v>
                </c:pt>
                <c:pt idx="1550">
                  <c:v>56.764873999999999</c:v>
                </c:pt>
                <c:pt idx="1551">
                  <c:v>55.749003999999999</c:v>
                </c:pt>
                <c:pt idx="1552">
                  <c:v>55.445304999999998</c:v>
                </c:pt>
                <c:pt idx="1553">
                  <c:v>54.959133000000001</c:v>
                </c:pt>
                <c:pt idx="1554">
                  <c:v>53.416404999999997</c:v>
                </c:pt>
                <c:pt idx="1555">
                  <c:v>52.700519999999997</c:v>
                </c:pt>
                <c:pt idx="1556">
                  <c:v>53.095115999999997</c:v>
                </c:pt>
                <c:pt idx="1557">
                  <c:v>53.000774</c:v>
                </c:pt>
                <c:pt idx="1558">
                  <c:v>52.897750000000002</c:v>
                </c:pt>
                <c:pt idx="1559">
                  <c:v>53.186010000000003</c:v>
                </c:pt>
                <c:pt idx="1560">
                  <c:v>53.879837000000002</c:v>
                </c:pt>
                <c:pt idx="1561">
                  <c:v>53.801364999999997</c:v>
                </c:pt>
                <c:pt idx="1562">
                  <c:v>53.833205999999997</c:v>
                </c:pt>
                <c:pt idx="1563">
                  <c:v>53.969380000000001</c:v>
                </c:pt>
                <c:pt idx="1564">
                  <c:v>54.081614999999999</c:v>
                </c:pt>
                <c:pt idx="1565">
                  <c:v>54.720694999999999</c:v>
                </c:pt>
                <c:pt idx="1566">
                  <c:v>55.109439999999999</c:v>
                </c:pt>
                <c:pt idx="1567">
                  <c:v>55.067010000000003</c:v>
                </c:pt>
                <c:pt idx="1568">
                  <c:v>55.277836000000001</c:v>
                </c:pt>
                <c:pt idx="1569">
                  <c:v>55.318725999999998</c:v>
                </c:pt>
                <c:pt idx="1570">
                  <c:v>55.153027000000002</c:v>
                </c:pt>
                <c:pt idx="1571">
                  <c:v>54.383811999999999</c:v>
                </c:pt>
                <c:pt idx="1572">
                  <c:v>54.510033</c:v>
                </c:pt>
                <c:pt idx="1573">
                  <c:v>54.594555</c:v>
                </c:pt>
                <c:pt idx="1574">
                  <c:v>54.974350000000001</c:v>
                </c:pt>
                <c:pt idx="1575">
                  <c:v>54.87856</c:v>
                </c:pt>
                <c:pt idx="1576">
                  <c:v>54.929499999999997</c:v>
                </c:pt>
                <c:pt idx="1577">
                  <c:v>55.174137000000002</c:v>
                </c:pt>
                <c:pt idx="1578">
                  <c:v>55.707541999999997</c:v>
                </c:pt>
                <c:pt idx="1579">
                  <c:v>55.918143999999998</c:v>
                </c:pt>
                <c:pt idx="1580">
                  <c:v>56.142806999999998</c:v>
                </c:pt>
                <c:pt idx="1581">
                  <c:v>56.441630000000004</c:v>
                </c:pt>
                <c:pt idx="1582">
                  <c:v>56.237439999999999</c:v>
                </c:pt>
                <c:pt idx="1583">
                  <c:v>56.982379999999999</c:v>
                </c:pt>
                <c:pt idx="1584">
                  <c:v>57.436934999999998</c:v>
                </c:pt>
                <c:pt idx="1585">
                  <c:v>58.057685999999997</c:v>
                </c:pt>
                <c:pt idx="1586">
                  <c:v>57.974029999999999</c:v>
                </c:pt>
                <c:pt idx="1587">
                  <c:v>58.463154000000003</c:v>
                </c:pt>
                <c:pt idx="1588">
                  <c:v>58.735621999999999</c:v>
                </c:pt>
                <c:pt idx="1589">
                  <c:v>59.584662999999999</c:v>
                </c:pt>
                <c:pt idx="1590">
                  <c:v>60.210799999999999</c:v>
                </c:pt>
                <c:pt idx="1591">
                  <c:v>61.07367</c:v>
                </c:pt>
                <c:pt idx="1592">
                  <c:v>61.905098000000002</c:v>
                </c:pt>
                <c:pt idx="1593">
                  <c:v>61.100999999999999</c:v>
                </c:pt>
                <c:pt idx="1594">
                  <c:v>61.309330000000003</c:v>
                </c:pt>
                <c:pt idx="1595">
                  <c:v>61.271250000000002</c:v>
                </c:pt>
                <c:pt idx="1596">
                  <c:v>61.622447999999999</c:v>
                </c:pt>
                <c:pt idx="1597">
                  <c:v>61.933224000000003</c:v>
                </c:pt>
                <c:pt idx="1598">
                  <c:v>61.13861</c:v>
                </c:pt>
                <c:pt idx="1599">
                  <c:v>60.843758000000001</c:v>
                </c:pt>
                <c:pt idx="1600">
                  <c:v>61.439697000000002</c:v>
                </c:pt>
                <c:pt idx="1601">
                  <c:v>61.778815999999999</c:v>
                </c:pt>
                <c:pt idx="1602">
                  <c:v>61.347729999999999</c:v>
                </c:pt>
                <c:pt idx="1603">
                  <c:v>61.717052000000002</c:v>
                </c:pt>
                <c:pt idx="1604">
                  <c:v>60.768433000000002</c:v>
                </c:pt>
                <c:pt idx="1605">
                  <c:v>59.512813999999999</c:v>
                </c:pt>
                <c:pt idx="1606">
                  <c:v>58.928550000000001</c:v>
                </c:pt>
                <c:pt idx="1607">
                  <c:v>58.768740000000001</c:v>
                </c:pt>
                <c:pt idx="1608">
                  <c:v>57.5304</c:v>
                </c:pt>
                <c:pt idx="1609">
                  <c:v>56.887123000000003</c:v>
                </c:pt>
                <c:pt idx="1610">
                  <c:v>55.671104</c:v>
                </c:pt>
                <c:pt idx="1611">
                  <c:v>55.187429999999999</c:v>
                </c:pt>
                <c:pt idx="1612">
                  <c:v>55.059134999999998</c:v>
                </c:pt>
                <c:pt idx="1613">
                  <c:v>54.416206000000003</c:v>
                </c:pt>
                <c:pt idx="1614">
                  <c:v>54.331119999999999</c:v>
                </c:pt>
                <c:pt idx="1615">
                  <c:v>53.097892999999999</c:v>
                </c:pt>
                <c:pt idx="1616">
                  <c:v>51.596290000000003</c:v>
                </c:pt>
                <c:pt idx="1617">
                  <c:v>50.95438</c:v>
                </c:pt>
                <c:pt idx="1618">
                  <c:v>50.514589999999998</c:v>
                </c:pt>
                <c:pt idx="1619">
                  <c:v>50.392242000000003</c:v>
                </c:pt>
                <c:pt idx="1620">
                  <c:v>50.504818</c:v>
                </c:pt>
                <c:pt idx="1621">
                  <c:v>50.618828000000001</c:v>
                </c:pt>
                <c:pt idx="1622">
                  <c:v>50.451230000000002</c:v>
                </c:pt>
                <c:pt idx="1623">
                  <c:v>50.896700000000003</c:v>
                </c:pt>
                <c:pt idx="1624">
                  <c:v>51.111730000000001</c:v>
                </c:pt>
                <c:pt idx="1625">
                  <c:v>51.406283999999999</c:v>
                </c:pt>
                <c:pt idx="1626">
                  <c:v>51.548319999999997</c:v>
                </c:pt>
                <c:pt idx="1627">
                  <c:v>51.556564000000002</c:v>
                </c:pt>
                <c:pt idx="1628">
                  <c:v>51.672286999999997</c:v>
                </c:pt>
                <c:pt idx="1629">
                  <c:v>51.175080000000001</c:v>
                </c:pt>
                <c:pt idx="1630">
                  <c:v>51.19435</c:v>
                </c:pt>
                <c:pt idx="1631">
                  <c:v>51.333083999999999</c:v>
                </c:pt>
                <c:pt idx="1632">
                  <c:v>51.917369999999998</c:v>
                </c:pt>
                <c:pt idx="1633">
                  <c:v>52.302135</c:v>
                </c:pt>
                <c:pt idx="1634">
                  <c:v>52.501632999999998</c:v>
                </c:pt>
                <c:pt idx="1635">
                  <c:v>52.591988000000001</c:v>
                </c:pt>
                <c:pt idx="1636">
                  <c:v>52.321648000000003</c:v>
                </c:pt>
                <c:pt idx="1637">
                  <c:v>52.177574</c:v>
                </c:pt>
                <c:pt idx="1638">
                  <c:v>52.384839999999997</c:v>
                </c:pt>
                <c:pt idx="1639">
                  <c:v>52.710743000000001</c:v>
                </c:pt>
                <c:pt idx="1640">
                  <c:v>53.182827000000003</c:v>
                </c:pt>
                <c:pt idx="1641">
                  <c:v>53.77176</c:v>
                </c:pt>
                <c:pt idx="1642">
                  <c:v>54.481050000000003</c:v>
                </c:pt>
                <c:pt idx="1643">
                  <c:v>54.090119999999999</c:v>
                </c:pt>
                <c:pt idx="1644">
                  <c:v>54.435467000000003</c:v>
                </c:pt>
                <c:pt idx="1645">
                  <c:v>54.713679999999997</c:v>
                </c:pt>
                <c:pt idx="1646">
                  <c:v>55.198833</c:v>
                </c:pt>
                <c:pt idx="1647">
                  <c:v>54.779057000000002</c:v>
                </c:pt>
                <c:pt idx="1648">
                  <c:v>55.129620000000003</c:v>
                </c:pt>
                <c:pt idx="1649">
                  <c:v>55.232464</c:v>
                </c:pt>
                <c:pt idx="1650">
                  <c:v>55.190224000000001</c:v>
                </c:pt>
                <c:pt idx="1651">
                  <c:v>55.076298000000001</c:v>
                </c:pt>
                <c:pt idx="1652">
                  <c:v>55.260449999999999</c:v>
                </c:pt>
                <c:pt idx="1653">
                  <c:v>55.312007999999999</c:v>
                </c:pt>
                <c:pt idx="1654">
                  <c:v>55.595511999999999</c:v>
                </c:pt>
                <c:pt idx="1655">
                  <c:v>55.544837999999999</c:v>
                </c:pt>
                <c:pt idx="1656">
                  <c:v>55.320847000000001</c:v>
                </c:pt>
                <c:pt idx="1657">
                  <c:v>54.948462999999997</c:v>
                </c:pt>
                <c:pt idx="1658">
                  <c:v>54.309550000000002</c:v>
                </c:pt>
                <c:pt idx="1659">
                  <c:v>53.771520000000002</c:v>
                </c:pt>
                <c:pt idx="1660">
                  <c:v>53.632849999999998</c:v>
                </c:pt>
                <c:pt idx="1661">
                  <c:v>53.508470000000003</c:v>
                </c:pt>
                <c:pt idx="1662">
                  <c:v>53.172634000000002</c:v>
                </c:pt>
                <c:pt idx="1663">
                  <c:v>52.778213999999998</c:v>
                </c:pt>
                <c:pt idx="1664">
                  <c:v>52.922429999999999</c:v>
                </c:pt>
                <c:pt idx="1665">
                  <c:v>53.225574000000002</c:v>
                </c:pt>
                <c:pt idx="1666">
                  <c:v>53.712657999999998</c:v>
                </c:pt>
                <c:pt idx="1667">
                  <c:v>54.069096000000002</c:v>
                </c:pt>
                <c:pt idx="1668">
                  <c:v>54.205159999999999</c:v>
                </c:pt>
                <c:pt idx="1669">
                  <c:v>54.061751999999998</c:v>
                </c:pt>
                <c:pt idx="1670">
                  <c:v>53.044894999999997</c:v>
                </c:pt>
                <c:pt idx="1671">
                  <c:v>52.669690000000003</c:v>
                </c:pt>
                <c:pt idx="1672">
                  <c:v>52.743079999999999</c:v>
                </c:pt>
                <c:pt idx="1673">
                  <c:v>52.921706999999998</c:v>
                </c:pt>
                <c:pt idx="1674">
                  <c:v>52.75264</c:v>
                </c:pt>
                <c:pt idx="1675">
                  <c:v>52.4833</c:v>
                </c:pt>
                <c:pt idx="1676">
                  <c:v>52.385513000000003</c:v>
                </c:pt>
                <c:pt idx="1677">
                  <c:v>52.564137000000002</c:v>
                </c:pt>
                <c:pt idx="1678">
                  <c:v>52.216071999999997</c:v>
                </c:pt>
                <c:pt idx="1679">
                  <c:v>51.584983999999999</c:v>
                </c:pt>
                <c:pt idx="1680">
                  <c:v>50.21658</c:v>
                </c:pt>
                <c:pt idx="1681">
                  <c:v>50.10313</c:v>
                </c:pt>
                <c:pt idx="1682">
                  <c:v>50.09516</c:v>
                </c:pt>
                <c:pt idx="1683">
                  <c:v>50.347279999999998</c:v>
                </c:pt>
                <c:pt idx="1684">
                  <c:v>50.640113999999997</c:v>
                </c:pt>
                <c:pt idx="1685">
                  <c:v>51.136561999999998</c:v>
                </c:pt>
                <c:pt idx="1686">
                  <c:v>51.461570000000002</c:v>
                </c:pt>
                <c:pt idx="1687">
                  <c:v>51.77543</c:v>
                </c:pt>
                <c:pt idx="1688">
                  <c:v>52.227040000000002</c:v>
                </c:pt>
                <c:pt idx="1689">
                  <c:v>52.764828000000001</c:v>
                </c:pt>
                <c:pt idx="1690">
                  <c:v>53.131749999999997</c:v>
                </c:pt>
                <c:pt idx="1691">
                  <c:v>53.333556999999999</c:v>
                </c:pt>
                <c:pt idx="1692">
                  <c:v>53.440345999999998</c:v>
                </c:pt>
                <c:pt idx="1693">
                  <c:v>53.627189999999999</c:v>
                </c:pt>
                <c:pt idx="1694">
                  <c:v>53.354145000000003</c:v>
                </c:pt>
                <c:pt idx="1695">
                  <c:v>53.602932000000003</c:v>
                </c:pt>
                <c:pt idx="1696">
                  <c:v>53.204872000000002</c:v>
                </c:pt>
                <c:pt idx="1697">
                  <c:v>53.519267999999997</c:v>
                </c:pt>
                <c:pt idx="1698">
                  <c:v>53.853935</c:v>
                </c:pt>
                <c:pt idx="1699">
                  <c:v>54.000743999999997</c:v>
                </c:pt>
                <c:pt idx="1700">
                  <c:v>54.005099999999999</c:v>
                </c:pt>
                <c:pt idx="1701">
                  <c:v>54.241109999999999</c:v>
                </c:pt>
                <c:pt idx="1702">
                  <c:v>54.304333</c:v>
                </c:pt>
                <c:pt idx="1703">
                  <c:v>54.206116000000002</c:v>
                </c:pt>
                <c:pt idx="1704">
                  <c:v>54.149360000000001</c:v>
                </c:pt>
                <c:pt idx="1705">
                  <c:v>53.54477</c:v>
                </c:pt>
                <c:pt idx="1706">
                  <c:v>53.451949999999997</c:v>
                </c:pt>
                <c:pt idx="1707">
                  <c:v>53.525416999999997</c:v>
                </c:pt>
                <c:pt idx="1708">
                  <c:v>53.487816000000002</c:v>
                </c:pt>
                <c:pt idx="1709">
                  <c:v>53.493682999999997</c:v>
                </c:pt>
                <c:pt idx="1710">
                  <c:v>53.980483999999997</c:v>
                </c:pt>
                <c:pt idx="1711">
                  <c:v>54.270470000000003</c:v>
                </c:pt>
                <c:pt idx="1712">
                  <c:v>54.204383999999997</c:v>
                </c:pt>
                <c:pt idx="1713">
                  <c:v>53.512520000000002</c:v>
                </c:pt>
                <c:pt idx="1714">
                  <c:v>53.281956000000001</c:v>
                </c:pt>
                <c:pt idx="1715">
                  <c:v>53.121299999999998</c:v>
                </c:pt>
                <c:pt idx="1716">
                  <c:v>53.248013</c:v>
                </c:pt>
                <c:pt idx="1717">
                  <c:v>53.132731999999997</c:v>
                </c:pt>
                <c:pt idx="1718">
                  <c:v>53.007545</c:v>
                </c:pt>
                <c:pt idx="1719">
                  <c:v>52.740009999999998</c:v>
                </c:pt>
                <c:pt idx="1720">
                  <c:v>52.377994999999999</c:v>
                </c:pt>
                <c:pt idx="1721">
                  <c:v>52.320126000000002</c:v>
                </c:pt>
                <c:pt idx="1722">
                  <c:v>52.325375000000001</c:v>
                </c:pt>
                <c:pt idx="1723">
                  <c:v>52.237717000000004</c:v>
                </c:pt>
                <c:pt idx="1724">
                  <c:v>52.312614000000004</c:v>
                </c:pt>
                <c:pt idx="1725">
                  <c:v>52.163849999999996</c:v>
                </c:pt>
                <c:pt idx="1726">
                  <c:v>51.964350000000003</c:v>
                </c:pt>
                <c:pt idx="1727">
                  <c:v>51.828159999999997</c:v>
                </c:pt>
                <c:pt idx="1728">
                  <c:v>52.062930000000001</c:v>
                </c:pt>
                <c:pt idx="1729">
                  <c:v>52.282769999999999</c:v>
                </c:pt>
                <c:pt idx="1730">
                  <c:v>52.369030000000002</c:v>
                </c:pt>
                <c:pt idx="1731">
                  <c:v>52.246209999999998</c:v>
                </c:pt>
                <c:pt idx="1732">
                  <c:v>52.106544</c:v>
                </c:pt>
                <c:pt idx="1733">
                  <c:v>51.830463000000002</c:v>
                </c:pt>
                <c:pt idx="1734">
                  <c:v>51.341568000000002</c:v>
                </c:pt>
                <c:pt idx="1735">
                  <c:v>51.189723999999998</c:v>
                </c:pt>
                <c:pt idx="1736">
                  <c:v>51.006644999999999</c:v>
                </c:pt>
                <c:pt idx="1737">
                  <c:v>50.532269999999997</c:v>
                </c:pt>
                <c:pt idx="1738">
                  <c:v>50.502983</c:v>
                </c:pt>
                <c:pt idx="1739">
                  <c:v>50.562793999999997</c:v>
                </c:pt>
                <c:pt idx="1740">
                  <c:v>50.488439999999997</c:v>
                </c:pt>
                <c:pt idx="1741">
                  <c:v>50.268695999999998</c:v>
                </c:pt>
                <c:pt idx="1742">
                  <c:v>50.359929999999999</c:v>
                </c:pt>
                <c:pt idx="1743">
                  <c:v>50.429347999999997</c:v>
                </c:pt>
                <c:pt idx="1744">
                  <c:v>50.11215</c:v>
                </c:pt>
                <c:pt idx="1745">
                  <c:v>48.943474000000002</c:v>
                </c:pt>
                <c:pt idx="1746">
                  <c:v>48.001033999999997</c:v>
                </c:pt>
                <c:pt idx="1747">
                  <c:v>47.512813999999999</c:v>
                </c:pt>
                <c:pt idx="1748">
                  <c:v>46.950249999999997</c:v>
                </c:pt>
                <c:pt idx="1749">
                  <c:v>46.047275999999997</c:v>
                </c:pt>
                <c:pt idx="1750">
                  <c:v>45.267353</c:v>
                </c:pt>
                <c:pt idx="1751">
                  <c:v>44.714280000000002</c:v>
                </c:pt>
                <c:pt idx="1752">
                  <c:v>44.123035000000002</c:v>
                </c:pt>
                <c:pt idx="1753">
                  <c:v>43.416939999999997</c:v>
                </c:pt>
                <c:pt idx="1754">
                  <c:v>42.907420000000002</c:v>
                </c:pt>
                <c:pt idx="1755">
                  <c:v>42.117634000000002</c:v>
                </c:pt>
                <c:pt idx="1756">
                  <c:v>41.162804000000001</c:v>
                </c:pt>
                <c:pt idx="1757">
                  <c:v>40.467914999999998</c:v>
                </c:pt>
                <c:pt idx="1758">
                  <c:v>40.402560000000001</c:v>
                </c:pt>
                <c:pt idx="1759">
                  <c:v>41.056899999999999</c:v>
                </c:pt>
                <c:pt idx="1760">
                  <c:v>42.59637</c:v>
                </c:pt>
                <c:pt idx="1761">
                  <c:v>44.863460000000003</c:v>
                </c:pt>
                <c:pt idx="1762">
                  <c:v>47.493332000000002</c:v>
                </c:pt>
                <c:pt idx="1763">
                  <c:v>50.018925000000003</c:v>
                </c:pt>
                <c:pt idx="1764">
                  <c:v>51.748359999999998</c:v>
                </c:pt>
                <c:pt idx="1765">
                  <c:v>53.607548000000001</c:v>
                </c:pt>
                <c:pt idx="1766">
                  <c:v>55.187325000000001</c:v>
                </c:pt>
                <c:pt idx="1767">
                  <c:v>55.406883000000001</c:v>
                </c:pt>
                <c:pt idx="1768">
                  <c:v>55.260509999999996</c:v>
                </c:pt>
                <c:pt idx="1769">
                  <c:v>54.679349999999999</c:v>
                </c:pt>
                <c:pt idx="1770">
                  <c:v>54.017901999999999</c:v>
                </c:pt>
                <c:pt idx="1771">
                  <c:v>53.545000000000002</c:v>
                </c:pt>
                <c:pt idx="1772">
                  <c:v>53.776367</c:v>
                </c:pt>
                <c:pt idx="1773">
                  <c:v>53.485287</c:v>
                </c:pt>
                <c:pt idx="1774">
                  <c:v>54.048650000000002</c:v>
                </c:pt>
                <c:pt idx="1775">
                  <c:v>53.882840000000002</c:v>
                </c:pt>
                <c:pt idx="1776">
                  <c:v>51.825319999999998</c:v>
                </c:pt>
                <c:pt idx="1777">
                  <c:v>48.754100000000001</c:v>
                </c:pt>
                <c:pt idx="1778">
                  <c:v>43.740513</c:v>
                </c:pt>
                <c:pt idx="1779">
                  <c:v>37.280940000000001</c:v>
                </c:pt>
                <c:pt idx="1780">
                  <c:v>35.232370000000003</c:v>
                </c:pt>
                <c:pt idx="1781">
                  <c:v>33.802140000000001</c:v>
                </c:pt>
                <c:pt idx="1782">
                  <c:v>32.771168000000003</c:v>
                </c:pt>
                <c:pt idx="1783">
                  <c:v>30.969283999999998</c:v>
                </c:pt>
                <c:pt idx="1784">
                  <c:v>30.178360000000001</c:v>
                </c:pt>
                <c:pt idx="1785">
                  <c:v>28.941531999999999</c:v>
                </c:pt>
                <c:pt idx="1786">
                  <c:v>27.739263999999999</c:v>
                </c:pt>
                <c:pt idx="1787">
                  <c:v>26.716380000000001</c:v>
                </c:pt>
                <c:pt idx="1788">
                  <c:v>25.528645000000001</c:v>
                </c:pt>
                <c:pt idx="1789">
                  <c:v>25.202407999999998</c:v>
                </c:pt>
                <c:pt idx="1790">
                  <c:v>24.780778999999999</c:v>
                </c:pt>
                <c:pt idx="1791">
                  <c:v>24.715986000000001</c:v>
                </c:pt>
                <c:pt idx="1792">
                  <c:v>24.486408000000001</c:v>
                </c:pt>
                <c:pt idx="1793">
                  <c:v>24.672322999999999</c:v>
                </c:pt>
                <c:pt idx="1794">
                  <c:v>24.641332999999999</c:v>
                </c:pt>
                <c:pt idx="1795">
                  <c:v>23.973420000000001</c:v>
                </c:pt>
                <c:pt idx="1796">
                  <c:v>23.736027</c:v>
                </c:pt>
                <c:pt idx="1797">
                  <c:v>23.336469999999998</c:v>
                </c:pt>
                <c:pt idx="1798">
                  <c:v>23.436733</c:v>
                </c:pt>
                <c:pt idx="1799">
                  <c:v>23.575444999999998</c:v>
                </c:pt>
                <c:pt idx="1800">
                  <c:v>23.544487</c:v>
                </c:pt>
                <c:pt idx="1801">
                  <c:v>24.480672999999999</c:v>
                </c:pt>
                <c:pt idx="1802">
                  <c:v>24.019888000000002</c:v>
                </c:pt>
                <c:pt idx="1803">
                  <c:v>23.913298000000001</c:v>
                </c:pt>
                <c:pt idx="1804">
                  <c:v>24.317867</c:v>
                </c:pt>
                <c:pt idx="1805">
                  <c:v>24.204891</c:v>
                </c:pt>
                <c:pt idx="1806">
                  <c:v>23.683375999999999</c:v>
                </c:pt>
                <c:pt idx="1807">
                  <c:v>23.737245999999999</c:v>
                </c:pt>
                <c:pt idx="1808">
                  <c:v>23.100014000000002</c:v>
                </c:pt>
                <c:pt idx="1809">
                  <c:v>26.647639999999999</c:v>
                </c:pt>
                <c:pt idx="1810">
                  <c:v>24.853994</c:v>
                </c:pt>
                <c:pt idx="1811">
                  <c:v>24.649125999999999</c:v>
                </c:pt>
                <c:pt idx="1812">
                  <c:v>24.490873000000001</c:v>
                </c:pt>
                <c:pt idx="1813">
                  <c:v>25.575240000000001</c:v>
                </c:pt>
                <c:pt idx="1814">
                  <c:v>25.670244</c:v>
                </c:pt>
                <c:pt idx="1815">
                  <c:v>25.441662000000001</c:v>
                </c:pt>
                <c:pt idx="1816">
                  <c:v>25.44472</c:v>
                </c:pt>
                <c:pt idx="1817">
                  <c:v>26.50517</c:v>
                </c:pt>
                <c:pt idx="1818">
                  <c:v>25.326612000000001</c:v>
                </c:pt>
                <c:pt idx="1819">
                  <c:v>25.321259999999999</c:v>
                </c:pt>
                <c:pt idx="1820">
                  <c:v>25.129887</c:v>
                </c:pt>
                <c:pt idx="1821">
                  <c:v>25.763442999999999</c:v>
                </c:pt>
                <c:pt idx="1822">
                  <c:v>25.473500000000001</c:v>
                </c:pt>
                <c:pt idx="1823">
                  <c:v>24.940529000000002</c:v>
                </c:pt>
                <c:pt idx="1824">
                  <c:v>25.733098999999999</c:v>
                </c:pt>
                <c:pt idx="1825">
                  <c:v>27.345627</c:v>
                </c:pt>
                <c:pt idx="1826">
                  <c:v>26.012370000000001</c:v>
                </c:pt>
                <c:pt idx="1827">
                  <c:v>28.238928000000001</c:v>
                </c:pt>
                <c:pt idx="1828">
                  <c:v>30.090990000000001</c:v>
                </c:pt>
                <c:pt idx="1829">
                  <c:v>29.602646</c:v>
                </c:pt>
                <c:pt idx="1830">
                  <c:v>29.468869999999999</c:v>
                </c:pt>
                <c:pt idx="1831">
                  <c:v>28.709918999999999</c:v>
                </c:pt>
                <c:pt idx="1832">
                  <c:v>31.843824000000001</c:v>
                </c:pt>
                <c:pt idx="1833">
                  <c:v>33.712685</c:v>
                </c:pt>
                <c:pt idx="1834">
                  <c:v>32.69162</c:v>
                </c:pt>
                <c:pt idx="1835">
                  <c:v>33.081726000000003</c:v>
                </c:pt>
                <c:pt idx="1836">
                  <c:v>32.548743999999999</c:v>
                </c:pt>
                <c:pt idx="1837">
                  <c:v>31.574907</c:v>
                </c:pt>
                <c:pt idx="1838">
                  <c:v>34.112533999999997</c:v>
                </c:pt>
                <c:pt idx="1839">
                  <c:v>39.551735000000001</c:v>
                </c:pt>
                <c:pt idx="1840">
                  <c:v>41.743780000000001</c:v>
                </c:pt>
                <c:pt idx="1841">
                  <c:v>40.909010000000002</c:v>
                </c:pt>
                <c:pt idx="1842">
                  <c:v>40.367469999999997</c:v>
                </c:pt>
                <c:pt idx="1843">
                  <c:v>41.657550000000001</c:v>
                </c:pt>
                <c:pt idx="1844">
                  <c:v>41.983246000000001</c:v>
                </c:pt>
                <c:pt idx="1845">
                  <c:v>41.888897</c:v>
                </c:pt>
                <c:pt idx="1846">
                  <c:v>42.164253000000002</c:v>
                </c:pt>
                <c:pt idx="1847">
                  <c:v>40.385123999999998</c:v>
                </c:pt>
                <c:pt idx="1848">
                  <c:v>38.860390000000002</c:v>
                </c:pt>
                <c:pt idx="1849">
                  <c:v>38.064934000000001</c:v>
                </c:pt>
                <c:pt idx="1850">
                  <c:v>39.940254000000003</c:v>
                </c:pt>
                <c:pt idx="1851">
                  <c:v>38.131070000000001</c:v>
                </c:pt>
                <c:pt idx="1852">
                  <c:v>37.377353999999997</c:v>
                </c:pt>
                <c:pt idx="1853">
                  <c:v>36.743859999999998</c:v>
                </c:pt>
                <c:pt idx="1854">
                  <c:v>36.748302000000002</c:v>
                </c:pt>
                <c:pt idx="1855">
                  <c:v>35.51258</c:v>
                </c:pt>
                <c:pt idx="1856">
                  <c:v>35.278613999999997</c:v>
                </c:pt>
                <c:pt idx="1857">
                  <c:v>34.150359999999999</c:v>
                </c:pt>
                <c:pt idx="1858">
                  <c:v>36.227809999999998</c:v>
                </c:pt>
                <c:pt idx="1859">
                  <c:v>34.450687000000002</c:v>
                </c:pt>
                <c:pt idx="1860">
                  <c:v>33.372340000000001</c:v>
                </c:pt>
                <c:pt idx="1861">
                  <c:v>32.459811999999999</c:v>
                </c:pt>
                <c:pt idx="1862">
                  <c:v>32.245193</c:v>
                </c:pt>
                <c:pt idx="1863">
                  <c:v>31.651999</c:v>
                </c:pt>
                <c:pt idx="1864">
                  <c:v>33.596412999999998</c:v>
                </c:pt>
                <c:pt idx="1865">
                  <c:v>32.576121999999998</c:v>
                </c:pt>
                <c:pt idx="1866">
                  <c:v>31.505064000000001</c:v>
                </c:pt>
                <c:pt idx="1867">
                  <c:v>34.115139999999997</c:v>
                </c:pt>
                <c:pt idx="1868">
                  <c:v>32.713012999999997</c:v>
                </c:pt>
                <c:pt idx="1869">
                  <c:v>31.379850000000001</c:v>
                </c:pt>
                <c:pt idx="1870">
                  <c:v>30.443567000000002</c:v>
                </c:pt>
                <c:pt idx="1871">
                  <c:v>30.096105999999999</c:v>
                </c:pt>
                <c:pt idx="1872">
                  <c:v>29.730485999999999</c:v>
                </c:pt>
                <c:pt idx="1873">
                  <c:v>32.224606000000001</c:v>
                </c:pt>
                <c:pt idx="1874">
                  <c:v>30.155419999999999</c:v>
                </c:pt>
                <c:pt idx="1875">
                  <c:v>31.567748999999999</c:v>
                </c:pt>
                <c:pt idx="1876">
                  <c:v>30.095424999999999</c:v>
                </c:pt>
                <c:pt idx="1877">
                  <c:v>29.037421999999999</c:v>
                </c:pt>
                <c:pt idx="1878">
                  <c:v>28.267918000000002</c:v>
                </c:pt>
                <c:pt idx="1879">
                  <c:v>27.497924999999999</c:v>
                </c:pt>
                <c:pt idx="1880">
                  <c:v>29.641307999999999</c:v>
                </c:pt>
                <c:pt idx="1881">
                  <c:v>27.765067999999999</c:v>
                </c:pt>
                <c:pt idx="1882">
                  <c:v>28.43805</c:v>
                </c:pt>
                <c:pt idx="1883">
                  <c:v>28.511880000000001</c:v>
                </c:pt>
                <c:pt idx="1884">
                  <c:v>27.394210000000001</c:v>
                </c:pt>
                <c:pt idx="1885">
                  <c:v>28.027508000000001</c:v>
                </c:pt>
                <c:pt idx="1886">
                  <c:v>28.518699999999999</c:v>
                </c:pt>
                <c:pt idx="1887">
                  <c:v>27.492428</c:v>
                </c:pt>
                <c:pt idx="1888">
                  <c:v>27.199911</c:v>
                </c:pt>
                <c:pt idx="1889">
                  <c:v>26.536422999999999</c:v>
                </c:pt>
                <c:pt idx="1890">
                  <c:v>26.027594000000001</c:v>
                </c:pt>
                <c:pt idx="1891">
                  <c:v>25.739193</c:v>
                </c:pt>
                <c:pt idx="1892">
                  <c:v>26.236881</c:v>
                </c:pt>
                <c:pt idx="1893">
                  <c:v>25.529382999999999</c:v>
                </c:pt>
                <c:pt idx="1894">
                  <c:v>25.296617999999999</c:v>
                </c:pt>
                <c:pt idx="1895">
                  <c:v>26.450434000000001</c:v>
                </c:pt>
                <c:pt idx="1896">
                  <c:v>25.986239999999999</c:v>
                </c:pt>
                <c:pt idx="1897">
                  <c:v>25.442135</c:v>
                </c:pt>
                <c:pt idx="1898">
                  <c:v>26.728280999999999</c:v>
                </c:pt>
                <c:pt idx="1899">
                  <c:v>26.049160000000001</c:v>
                </c:pt>
                <c:pt idx="1900">
                  <c:v>25.702486</c:v>
                </c:pt>
                <c:pt idx="1901">
                  <c:v>25.717106000000001</c:v>
                </c:pt>
                <c:pt idx="1902">
                  <c:v>25.564173</c:v>
                </c:pt>
                <c:pt idx="1903">
                  <c:v>26.770737</c:v>
                </c:pt>
                <c:pt idx="1904">
                  <c:v>25.835567000000001</c:v>
                </c:pt>
                <c:pt idx="1905">
                  <c:v>25.646677</c:v>
                </c:pt>
                <c:pt idx="1906">
                  <c:v>25.258032</c:v>
                </c:pt>
                <c:pt idx="1907">
                  <c:v>25.051092000000001</c:v>
                </c:pt>
                <c:pt idx="1908">
                  <c:v>24.83839</c:v>
                </c:pt>
                <c:pt idx="1909">
                  <c:v>24.960331</c:v>
                </c:pt>
                <c:pt idx="1910">
                  <c:v>25.120522000000001</c:v>
                </c:pt>
                <c:pt idx="1911">
                  <c:v>25.342524000000001</c:v>
                </c:pt>
                <c:pt idx="1912">
                  <c:v>25.102736</c:v>
                </c:pt>
                <c:pt idx="1913">
                  <c:v>25.049029999999998</c:v>
                </c:pt>
                <c:pt idx="1914">
                  <c:v>24.820907999999999</c:v>
                </c:pt>
                <c:pt idx="1915">
                  <c:v>24.644940999999999</c:v>
                </c:pt>
                <c:pt idx="1916">
                  <c:v>24.808730000000001</c:v>
                </c:pt>
                <c:pt idx="1917">
                  <c:v>24.801425999999999</c:v>
                </c:pt>
                <c:pt idx="1918">
                  <c:v>24.774761000000002</c:v>
                </c:pt>
                <c:pt idx="1919">
                  <c:v>25.166198999999999</c:v>
                </c:pt>
                <c:pt idx="1920">
                  <c:v>24.751099</c:v>
                </c:pt>
                <c:pt idx="1921">
                  <c:v>24.901678</c:v>
                </c:pt>
                <c:pt idx="1922">
                  <c:v>24.735973000000001</c:v>
                </c:pt>
                <c:pt idx="1923">
                  <c:v>25.189402000000001</c:v>
                </c:pt>
                <c:pt idx="1924">
                  <c:v>24.776064000000002</c:v>
                </c:pt>
                <c:pt idx="1925">
                  <c:v>25.122720000000001</c:v>
                </c:pt>
                <c:pt idx="1926">
                  <c:v>25.062052000000001</c:v>
                </c:pt>
                <c:pt idx="1927">
                  <c:v>25.092300000000002</c:v>
                </c:pt>
                <c:pt idx="1928">
                  <c:v>25.068766</c:v>
                </c:pt>
                <c:pt idx="1929">
                  <c:v>25.141300000000001</c:v>
                </c:pt>
                <c:pt idx="1930">
                  <c:v>25.313783999999998</c:v>
                </c:pt>
                <c:pt idx="1931">
                  <c:v>25.598185999999998</c:v>
                </c:pt>
                <c:pt idx="1932">
                  <c:v>25.942518</c:v>
                </c:pt>
                <c:pt idx="1933">
                  <c:v>25.920746000000001</c:v>
                </c:pt>
                <c:pt idx="1934">
                  <c:v>26.301722000000002</c:v>
                </c:pt>
                <c:pt idx="1935">
                  <c:v>25.800191999999999</c:v>
                </c:pt>
                <c:pt idx="1936">
                  <c:v>25.835229999999999</c:v>
                </c:pt>
                <c:pt idx="1937">
                  <c:v>26.13617</c:v>
                </c:pt>
                <c:pt idx="1938">
                  <c:v>26.010057</c:v>
                </c:pt>
                <c:pt idx="1939">
                  <c:v>26.060199999999998</c:v>
                </c:pt>
                <c:pt idx="1940">
                  <c:v>25.908709999999999</c:v>
                </c:pt>
                <c:pt idx="1941">
                  <c:v>25.993880999999998</c:v>
                </c:pt>
                <c:pt idx="1942">
                  <c:v>26.027550000000002</c:v>
                </c:pt>
                <c:pt idx="1943">
                  <c:v>26.150585</c:v>
                </c:pt>
                <c:pt idx="1944">
                  <c:v>26.400696</c:v>
                </c:pt>
                <c:pt idx="1945">
                  <c:v>26.885773</c:v>
                </c:pt>
                <c:pt idx="1946">
                  <c:v>27.344168</c:v>
                </c:pt>
                <c:pt idx="1947">
                  <c:v>27.869575999999999</c:v>
                </c:pt>
                <c:pt idx="1948">
                  <c:v>28.310648</c:v>
                </c:pt>
                <c:pt idx="1949">
                  <c:v>30.371582</c:v>
                </c:pt>
                <c:pt idx="1950">
                  <c:v>28.789738</c:v>
                </c:pt>
                <c:pt idx="1951">
                  <c:v>28.838771999999999</c:v>
                </c:pt>
                <c:pt idx="1952">
                  <c:v>28.951550999999998</c:v>
                </c:pt>
                <c:pt idx="1953">
                  <c:v>28.925291000000001</c:v>
                </c:pt>
                <c:pt idx="1954">
                  <c:v>29.189261999999999</c:v>
                </c:pt>
                <c:pt idx="1955">
                  <c:v>28.855937999999998</c:v>
                </c:pt>
                <c:pt idx="1956">
                  <c:v>28.823381000000001</c:v>
                </c:pt>
                <c:pt idx="1957">
                  <c:v>28.532219000000001</c:v>
                </c:pt>
                <c:pt idx="1958">
                  <c:v>28.490406</c:v>
                </c:pt>
                <c:pt idx="1959">
                  <c:v>28.716664999999999</c:v>
                </c:pt>
                <c:pt idx="1960">
                  <c:v>28.886710999999998</c:v>
                </c:pt>
                <c:pt idx="1961">
                  <c:v>28.629961000000002</c:v>
                </c:pt>
                <c:pt idx="1962">
                  <c:v>28.7044</c:v>
                </c:pt>
                <c:pt idx="1963">
                  <c:v>29.143383</c:v>
                </c:pt>
                <c:pt idx="1964">
                  <c:v>28.94895</c:v>
                </c:pt>
                <c:pt idx="1965">
                  <c:v>29.113903000000001</c:v>
                </c:pt>
                <c:pt idx="1966">
                  <c:v>29.519521999999998</c:v>
                </c:pt>
                <c:pt idx="1967">
                  <c:v>29.073447999999999</c:v>
                </c:pt>
                <c:pt idx="1968">
                  <c:v>28.881793999999999</c:v>
                </c:pt>
                <c:pt idx="1969">
                  <c:v>28.625761000000001</c:v>
                </c:pt>
                <c:pt idx="1970">
                  <c:v>28.57311</c:v>
                </c:pt>
                <c:pt idx="1971">
                  <c:v>28.105468999999999</c:v>
                </c:pt>
                <c:pt idx="1972">
                  <c:v>28.019780000000001</c:v>
                </c:pt>
                <c:pt idx="1973">
                  <c:v>28.136058999999999</c:v>
                </c:pt>
                <c:pt idx="1974">
                  <c:v>28.340202000000001</c:v>
                </c:pt>
                <c:pt idx="1975">
                  <c:v>28.516262000000001</c:v>
                </c:pt>
                <c:pt idx="1976">
                  <c:v>28.819776999999998</c:v>
                </c:pt>
                <c:pt idx="1977">
                  <c:v>29.290125</c:v>
                </c:pt>
                <c:pt idx="1978">
                  <c:v>29.519434</c:v>
                </c:pt>
                <c:pt idx="1979">
                  <c:v>29.233805</c:v>
                </c:pt>
                <c:pt idx="1980">
                  <c:v>29.500685000000001</c:v>
                </c:pt>
                <c:pt idx="1981">
                  <c:v>30.213204999999999</c:v>
                </c:pt>
                <c:pt idx="1982">
                  <c:v>31.08427</c:v>
                </c:pt>
                <c:pt idx="1983">
                  <c:v>31.734665</c:v>
                </c:pt>
                <c:pt idx="1984">
                  <c:v>32.591830000000002</c:v>
                </c:pt>
                <c:pt idx="1985">
                  <c:v>33.503010000000003</c:v>
                </c:pt>
                <c:pt idx="1986">
                  <c:v>34.000056999999998</c:v>
                </c:pt>
                <c:pt idx="1987">
                  <c:v>34.774880000000003</c:v>
                </c:pt>
                <c:pt idx="1988">
                  <c:v>35.863810000000001</c:v>
                </c:pt>
                <c:pt idx="1989">
                  <c:v>37.184882999999999</c:v>
                </c:pt>
                <c:pt idx="1990">
                  <c:v>38.502163000000003</c:v>
                </c:pt>
                <c:pt idx="1991">
                  <c:v>40.386166000000003</c:v>
                </c:pt>
                <c:pt idx="1992">
                  <c:v>42.974181999999999</c:v>
                </c:pt>
                <c:pt idx="1993">
                  <c:v>45.167369999999998</c:v>
                </c:pt>
                <c:pt idx="1994">
                  <c:v>46.568035000000002</c:v>
                </c:pt>
                <c:pt idx="1995">
                  <c:v>47.904465000000002</c:v>
                </c:pt>
                <c:pt idx="1996">
                  <c:v>48.942191999999999</c:v>
                </c:pt>
                <c:pt idx="1997">
                  <c:v>49.503044000000003</c:v>
                </c:pt>
                <c:pt idx="1998">
                  <c:v>47.198436999999998</c:v>
                </c:pt>
                <c:pt idx="1999">
                  <c:v>46.928111999999999</c:v>
                </c:pt>
                <c:pt idx="2000">
                  <c:v>46.054290000000002</c:v>
                </c:pt>
                <c:pt idx="2001">
                  <c:v>46.025970000000001</c:v>
                </c:pt>
                <c:pt idx="2002">
                  <c:v>46.299717000000001</c:v>
                </c:pt>
                <c:pt idx="2003">
                  <c:v>45.456158000000002</c:v>
                </c:pt>
                <c:pt idx="2004">
                  <c:v>44.158768000000002</c:v>
                </c:pt>
                <c:pt idx="2005">
                  <c:v>43.949939999999998</c:v>
                </c:pt>
                <c:pt idx="2006">
                  <c:v>44.296199999999999</c:v>
                </c:pt>
                <c:pt idx="2007">
                  <c:v>43.470190000000002</c:v>
                </c:pt>
                <c:pt idx="2008">
                  <c:v>40.509234999999997</c:v>
                </c:pt>
                <c:pt idx="2009">
                  <c:v>38.606920000000002</c:v>
                </c:pt>
                <c:pt idx="2010">
                  <c:v>36.714750000000002</c:v>
                </c:pt>
                <c:pt idx="2011">
                  <c:v>37.205303000000001</c:v>
                </c:pt>
                <c:pt idx="2012">
                  <c:v>36.538662000000002</c:v>
                </c:pt>
                <c:pt idx="2013">
                  <c:v>37.181716999999999</c:v>
                </c:pt>
                <c:pt idx="2014">
                  <c:v>37.949722000000001</c:v>
                </c:pt>
                <c:pt idx="2015">
                  <c:v>37.380856000000001</c:v>
                </c:pt>
                <c:pt idx="2016">
                  <c:v>36.679786999999997</c:v>
                </c:pt>
                <c:pt idx="2017">
                  <c:v>37.117085000000003</c:v>
                </c:pt>
                <c:pt idx="2018">
                  <c:v>37.168976000000001</c:v>
                </c:pt>
                <c:pt idx="2019">
                  <c:v>36.751044999999998</c:v>
                </c:pt>
                <c:pt idx="2020">
                  <c:v>36.555573000000003</c:v>
                </c:pt>
                <c:pt idx="2021">
                  <c:v>36.702770000000001</c:v>
                </c:pt>
                <c:pt idx="2022">
                  <c:v>36.521576000000003</c:v>
                </c:pt>
                <c:pt idx="2023">
                  <c:v>36.534570000000002</c:v>
                </c:pt>
                <c:pt idx="2024">
                  <c:v>36.523479999999999</c:v>
                </c:pt>
                <c:pt idx="2025">
                  <c:v>37.187100000000001</c:v>
                </c:pt>
                <c:pt idx="2026">
                  <c:v>38.10698</c:v>
                </c:pt>
                <c:pt idx="2027">
                  <c:v>38.366880000000002</c:v>
                </c:pt>
                <c:pt idx="2028">
                  <c:v>36.798575999999997</c:v>
                </c:pt>
                <c:pt idx="2029">
                  <c:v>36.949910000000003</c:v>
                </c:pt>
                <c:pt idx="2030">
                  <c:v>36.772007000000002</c:v>
                </c:pt>
                <c:pt idx="2031">
                  <c:v>37.303367999999999</c:v>
                </c:pt>
                <c:pt idx="2032">
                  <c:v>37.045250000000003</c:v>
                </c:pt>
                <c:pt idx="2033">
                  <c:v>34.962063000000001</c:v>
                </c:pt>
                <c:pt idx="2034">
                  <c:v>32.432639999999999</c:v>
                </c:pt>
                <c:pt idx="2035">
                  <c:v>31.143695999999998</c:v>
                </c:pt>
                <c:pt idx="2036">
                  <c:v>30.775175000000001</c:v>
                </c:pt>
                <c:pt idx="2037">
                  <c:v>30.234009</c:v>
                </c:pt>
                <c:pt idx="2038">
                  <c:v>30.002405</c:v>
                </c:pt>
                <c:pt idx="2039">
                  <c:v>30.021542</c:v>
                </c:pt>
                <c:pt idx="2040">
                  <c:v>30.222947999999999</c:v>
                </c:pt>
                <c:pt idx="2041">
                  <c:v>30.053626999999999</c:v>
                </c:pt>
                <c:pt idx="2042">
                  <c:v>30.178702999999999</c:v>
                </c:pt>
                <c:pt idx="2043">
                  <c:v>30.296679000000001</c:v>
                </c:pt>
                <c:pt idx="2044">
                  <c:v>30.87724</c:v>
                </c:pt>
                <c:pt idx="2045">
                  <c:v>31.64143</c:v>
                </c:pt>
                <c:pt idx="2046">
                  <c:v>32.625120000000003</c:v>
                </c:pt>
                <c:pt idx="2047">
                  <c:v>33.951970000000003</c:v>
                </c:pt>
                <c:pt idx="2048">
                  <c:v>34.831566000000002</c:v>
                </c:pt>
                <c:pt idx="2049">
                  <c:v>35.241523999999998</c:v>
                </c:pt>
                <c:pt idx="2050">
                  <c:v>36.035583000000003</c:v>
                </c:pt>
                <c:pt idx="2051">
                  <c:v>35.972346999999999</c:v>
                </c:pt>
                <c:pt idx="2052">
                  <c:v>36.017620000000001</c:v>
                </c:pt>
                <c:pt idx="2053">
                  <c:v>36.346589999999999</c:v>
                </c:pt>
                <c:pt idx="2054">
                  <c:v>36.526969999999999</c:v>
                </c:pt>
                <c:pt idx="2055">
                  <c:v>37.570652000000003</c:v>
                </c:pt>
                <c:pt idx="2056">
                  <c:v>38.234493000000001</c:v>
                </c:pt>
                <c:pt idx="2057">
                  <c:v>38.900517000000001</c:v>
                </c:pt>
                <c:pt idx="2058">
                  <c:v>39.421123999999999</c:v>
                </c:pt>
                <c:pt idx="2059">
                  <c:v>39.366886000000001</c:v>
                </c:pt>
                <c:pt idx="2060">
                  <c:v>38.883850000000002</c:v>
                </c:pt>
                <c:pt idx="2061">
                  <c:v>39.583796999999997</c:v>
                </c:pt>
                <c:pt idx="2062">
                  <c:v>40.414924999999997</c:v>
                </c:pt>
                <c:pt idx="2063">
                  <c:v>41.289659999999998</c:v>
                </c:pt>
                <c:pt idx="2064">
                  <c:v>40.954104999999998</c:v>
                </c:pt>
                <c:pt idx="2065">
                  <c:v>41.860886000000001</c:v>
                </c:pt>
                <c:pt idx="2066">
                  <c:v>42.818522999999999</c:v>
                </c:pt>
                <c:pt idx="2067">
                  <c:v>43.341650000000001</c:v>
                </c:pt>
                <c:pt idx="2068">
                  <c:v>43.653422999999997</c:v>
                </c:pt>
                <c:pt idx="2069">
                  <c:v>44.146366</c:v>
                </c:pt>
                <c:pt idx="2070">
                  <c:v>42.803800000000003</c:v>
                </c:pt>
                <c:pt idx="2071">
                  <c:v>41.795403</c:v>
                </c:pt>
                <c:pt idx="2072">
                  <c:v>40.0931</c:v>
                </c:pt>
                <c:pt idx="2073">
                  <c:v>40.073425</c:v>
                </c:pt>
                <c:pt idx="2074">
                  <c:v>40.243267000000003</c:v>
                </c:pt>
                <c:pt idx="2075">
                  <c:v>40.483623999999999</c:v>
                </c:pt>
                <c:pt idx="2076">
                  <c:v>41.085819999999998</c:v>
                </c:pt>
                <c:pt idx="2077">
                  <c:v>41.603447000000003</c:v>
                </c:pt>
                <c:pt idx="2078">
                  <c:v>41.512030000000003</c:v>
                </c:pt>
                <c:pt idx="2079">
                  <c:v>41.965780000000002</c:v>
                </c:pt>
                <c:pt idx="2080">
                  <c:v>42.324894</c:v>
                </c:pt>
                <c:pt idx="2081">
                  <c:v>43.008246999999997</c:v>
                </c:pt>
                <c:pt idx="2082">
                  <c:v>44.252160000000003</c:v>
                </c:pt>
                <c:pt idx="2083">
                  <c:v>44.960484000000001</c:v>
                </c:pt>
                <c:pt idx="2084">
                  <c:v>44.434944000000002</c:v>
                </c:pt>
                <c:pt idx="2085">
                  <c:v>45.172490000000003</c:v>
                </c:pt>
                <c:pt idx="2086">
                  <c:v>46.34684</c:v>
                </c:pt>
                <c:pt idx="2087">
                  <c:v>46.929096000000001</c:v>
                </c:pt>
                <c:pt idx="2088">
                  <c:v>46.873936</c:v>
                </c:pt>
                <c:pt idx="2089">
                  <c:v>40.102220000000003</c:v>
                </c:pt>
                <c:pt idx="2090">
                  <c:v>36.831510000000002</c:v>
                </c:pt>
                <c:pt idx="2091">
                  <c:v>35.381526999999998</c:v>
                </c:pt>
                <c:pt idx="2092">
                  <c:v>35.654617000000002</c:v>
                </c:pt>
                <c:pt idx="2093">
                  <c:v>35.956093000000003</c:v>
                </c:pt>
                <c:pt idx="2094">
                  <c:v>36.809047999999997</c:v>
                </c:pt>
                <c:pt idx="2095">
                  <c:v>37.470768</c:v>
                </c:pt>
                <c:pt idx="2096">
                  <c:v>38.412883999999998</c:v>
                </c:pt>
                <c:pt idx="2097">
                  <c:v>39.493369999999999</c:v>
                </c:pt>
                <c:pt idx="2098">
                  <c:v>40.938339999999997</c:v>
                </c:pt>
                <c:pt idx="2099">
                  <c:v>41.5749</c:v>
                </c:pt>
                <c:pt idx="2100">
                  <c:v>42.196640000000002</c:v>
                </c:pt>
                <c:pt idx="2101">
                  <c:v>42.892029999999998</c:v>
                </c:pt>
                <c:pt idx="2102">
                  <c:v>43.702719999999999</c:v>
                </c:pt>
                <c:pt idx="2103">
                  <c:v>44.816628000000001</c:v>
                </c:pt>
                <c:pt idx="2104">
                  <c:v>45.016055999999999</c:v>
                </c:pt>
                <c:pt idx="2105">
                  <c:v>45.285507000000003</c:v>
                </c:pt>
                <c:pt idx="2106">
                  <c:v>45.192641999999999</c:v>
                </c:pt>
                <c:pt idx="2107">
                  <c:v>43.947387999999997</c:v>
                </c:pt>
                <c:pt idx="2108">
                  <c:v>42.329613000000002</c:v>
                </c:pt>
                <c:pt idx="2109">
                  <c:v>42.152889999999999</c:v>
                </c:pt>
              </c:numCache>
            </c:numRef>
          </c:val>
          <c:smooth val="0"/>
          <c:extLst>
            <c:ext xmlns:c16="http://schemas.microsoft.com/office/drawing/2014/chart" uri="{C3380CC4-5D6E-409C-BE32-E72D297353CC}">
              <c16:uniqueId val="{00000001-2056-994A-AFD2-B78CCEC2330F}"/>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00"/>
          <c:min val="2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25"/>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03164845710939E-2"/>
          <c:y val="4.4978949683174771E-2"/>
          <c:w val="0.92659683515428903"/>
          <c:h val="0.80444506052374321"/>
        </c:manualLayout>
      </c:layout>
      <c:lineChart>
        <c:grouping val="standard"/>
        <c:varyColors val="0"/>
        <c:ser>
          <c:idx val="0"/>
          <c:order val="0"/>
          <c:tx>
            <c:strRef>
              <c:f>Sheet1!$B$1</c:f>
              <c:strCache>
                <c:ptCount val="1"/>
                <c:pt idx="0">
                  <c:v>Actual</c:v>
                </c:pt>
              </c:strCache>
            </c:strRef>
          </c:tx>
          <c:spPr>
            <a:ln w="12700" cap="rnd">
              <a:solidFill>
                <a:schemeClr val="accent4"/>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B$2:$B$2111</c:f>
              <c:numCache>
                <c:formatCode>General</c:formatCode>
                <c:ptCount val="2110"/>
                <c:pt idx="0">
                  <c:v>28.114939</c:v>
                </c:pt>
                <c:pt idx="1">
                  <c:v>28.557569999999998</c:v>
                </c:pt>
                <c:pt idx="2">
                  <c:v>28.748362</c:v>
                </c:pt>
                <c:pt idx="3">
                  <c:v>28.794156999999998</c:v>
                </c:pt>
                <c:pt idx="4">
                  <c:v>28.778890000000001</c:v>
                </c:pt>
                <c:pt idx="5">
                  <c:v>29.397048999999999</c:v>
                </c:pt>
                <c:pt idx="6">
                  <c:v>28.786529999999999</c:v>
                </c:pt>
                <c:pt idx="7">
                  <c:v>29.084154000000002</c:v>
                </c:pt>
                <c:pt idx="8">
                  <c:v>29.343627999999999</c:v>
                </c:pt>
                <c:pt idx="9">
                  <c:v>29.549686000000001</c:v>
                </c:pt>
                <c:pt idx="10">
                  <c:v>29.534421999999999</c:v>
                </c:pt>
                <c:pt idx="11">
                  <c:v>29.626000000000001</c:v>
                </c:pt>
                <c:pt idx="12">
                  <c:v>29.519157</c:v>
                </c:pt>
                <c:pt idx="13">
                  <c:v>29.778624000000001</c:v>
                </c:pt>
                <c:pt idx="14">
                  <c:v>29.854949999999999</c:v>
                </c:pt>
                <c:pt idx="15">
                  <c:v>29.931265</c:v>
                </c:pt>
                <c:pt idx="16">
                  <c:v>29.999956000000001</c:v>
                </c:pt>
                <c:pt idx="17">
                  <c:v>29.732851</c:v>
                </c:pt>
                <c:pt idx="18">
                  <c:v>29.663656</c:v>
                </c:pt>
                <c:pt idx="19">
                  <c:v>29.994202000000001</c:v>
                </c:pt>
                <c:pt idx="20">
                  <c:v>29.848144999999999</c:v>
                </c:pt>
                <c:pt idx="21">
                  <c:v>29.794338</c:v>
                </c:pt>
                <c:pt idx="22">
                  <c:v>30.232489000000001</c:v>
                </c:pt>
                <c:pt idx="23">
                  <c:v>30.647580999999999</c:v>
                </c:pt>
                <c:pt idx="24">
                  <c:v>30.801327000000001</c:v>
                </c:pt>
                <c:pt idx="25">
                  <c:v>30.77826</c:v>
                </c:pt>
                <c:pt idx="26">
                  <c:v>30.839746000000002</c:v>
                </c:pt>
                <c:pt idx="27">
                  <c:v>31.277912000000001</c:v>
                </c:pt>
                <c:pt idx="28">
                  <c:v>30.916633999999998</c:v>
                </c:pt>
                <c:pt idx="29">
                  <c:v>31.085740000000001</c:v>
                </c:pt>
                <c:pt idx="30">
                  <c:v>31.093423999999999</c:v>
                </c:pt>
                <c:pt idx="31">
                  <c:v>31.300964</c:v>
                </c:pt>
                <c:pt idx="32">
                  <c:v>30.878187</c:v>
                </c:pt>
                <c:pt idx="33">
                  <c:v>31.162604999999999</c:v>
                </c:pt>
                <c:pt idx="34">
                  <c:v>30.809017000000001</c:v>
                </c:pt>
                <c:pt idx="35">
                  <c:v>31.408587000000001</c:v>
                </c:pt>
                <c:pt idx="36">
                  <c:v>31.293275999999999</c:v>
                </c:pt>
                <c:pt idx="37">
                  <c:v>31.569997999999998</c:v>
                </c:pt>
                <c:pt idx="38">
                  <c:v>31.654554000000001</c:v>
                </c:pt>
                <c:pt idx="39">
                  <c:v>31.5777</c:v>
                </c:pt>
                <c:pt idx="40">
                  <c:v>30.816687000000002</c:v>
                </c:pt>
                <c:pt idx="41">
                  <c:v>32.569305</c:v>
                </c:pt>
                <c:pt idx="42">
                  <c:v>32.70767</c:v>
                </c:pt>
                <c:pt idx="43">
                  <c:v>32.361755000000002</c:v>
                </c:pt>
                <c:pt idx="44">
                  <c:v>32.792225000000002</c:v>
                </c:pt>
                <c:pt idx="45">
                  <c:v>32.838352</c:v>
                </c:pt>
                <c:pt idx="46">
                  <c:v>32.822963999999999</c:v>
                </c:pt>
                <c:pt idx="47">
                  <c:v>32.400190000000002</c:v>
                </c:pt>
                <c:pt idx="48">
                  <c:v>32.553930000000001</c:v>
                </c:pt>
                <c:pt idx="49">
                  <c:v>32.361755000000002</c:v>
                </c:pt>
                <c:pt idx="50">
                  <c:v>32.469369999999998</c:v>
                </c:pt>
                <c:pt idx="51">
                  <c:v>32.538559999999997</c:v>
                </c:pt>
                <c:pt idx="52">
                  <c:v>32.44632</c:v>
                </c:pt>
                <c:pt idx="53">
                  <c:v>32.25414</c:v>
                </c:pt>
                <c:pt idx="54">
                  <c:v>32.469369999999998</c:v>
                </c:pt>
                <c:pt idx="55">
                  <c:v>32.346386000000003</c:v>
                </c:pt>
                <c:pt idx="56">
                  <c:v>32.822963999999999</c:v>
                </c:pt>
                <c:pt idx="57">
                  <c:v>32.638489999999997</c:v>
                </c:pt>
                <c:pt idx="58">
                  <c:v>32.377136</c:v>
                </c:pt>
                <c:pt idx="59">
                  <c:v>32.400190000000002</c:v>
                </c:pt>
                <c:pt idx="60">
                  <c:v>32.43094</c:v>
                </c:pt>
                <c:pt idx="61">
                  <c:v>32.684604999999998</c:v>
                </c:pt>
                <c:pt idx="62">
                  <c:v>32.992077000000002</c:v>
                </c:pt>
                <c:pt idx="63">
                  <c:v>33.122750000000003</c:v>
                </c:pt>
                <c:pt idx="64">
                  <c:v>33.030518000000001</c:v>
                </c:pt>
                <c:pt idx="65">
                  <c:v>32.576990000000002</c:v>
                </c:pt>
                <c:pt idx="66">
                  <c:v>32.546233999999998</c:v>
                </c:pt>
                <c:pt idx="67">
                  <c:v>32.477061999999997</c:v>
                </c:pt>
                <c:pt idx="68">
                  <c:v>32.231082999999998</c:v>
                </c:pt>
                <c:pt idx="69">
                  <c:v>32.469369999999998</c:v>
                </c:pt>
                <c:pt idx="70">
                  <c:v>32.70767</c:v>
                </c:pt>
                <c:pt idx="71">
                  <c:v>31.823678999999998</c:v>
                </c:pt>
                <c:pt idx="72">
                  <c:v>31.339404999999999</c:v>
                </c:pt>
                <c:pt idx="73">
                  <c:v>30.739826000000001</c:v>
                </c:pt>
                <c:pt idx="74">
                  <c:v>31.370155</c:v>
                </c:pt>
                <c:pt idx="75">
                  <c:v>31.839046</c:v>
                </c:pt>
                <c:pt idx="76">
                  <c:v>31.247167999999999</c:v>
                </c:pt>
                <c:pt idx="77">
                  <c:v>31.354787999999999</c:v>
                </c:pt>
                <c:pt idx="78">
                  <c:v>31.831356</c:v>
                </c:pt>
                <c:pt idx="79">
                  <c:v>31.654554000000001</c:v>
                </c:pt>
                <c:pt idx="80">
                  <c:v>31.354787999999999</c:v>
                </c:pt>
                <c:pt idx="81">
                  <c:v>31.261901999999999</c:v>
                </c:pt>
                <c:pt idx="82">
                  <c:v>31.277376</c:v>
                </c:pt>
                <c:pt idx="83">
                  <c:v>31.223188</c:v>
                </c:pt>
                <c:pt idx="84">
                  <c:v>31.486346999999999</c:v>
                </c:pt>
                <c:pt idx="85">
                  <c:v>31.679849999999998</c:v>
                </c:pt>
                <c:pt idx="86">
                  <c:v>31.277376</c:v>
                </c:pt>
                <c:pt idx="87">
                  <c:v>30.286650000000002</c:v>
                </c:pt>
                <c:pt idx="88">
                  <c:v>30.774274999999999</c:v>
                </c:pt>
                <c:pt idx="89">
                  <c:v>30.596250000000001</c:v>
                </c:pt>
                <c:pt idx="90">
                  <c:v>30.743313000000001</c:v>
                </c:pt>
                <c:pt idx="91">
                  <c:v>31.215450000000001</c:v>
                </c:pt>
                <c:pt idx="92">
                  <c:v>31.161259999999999</c:v>
                </c:pt>
                <c:pt idx="93">
                  <c:v>31.045183000000002</c:v>
                </c:pt>
                <c:pt idx="94">
                  <c:v>31.316068999999999</c:v>
                </c:pt>
                <c:pt idx="95">
                  <c:v>31.246417999999998</c:v>
                </c:pt>
                <c:pt idx="96">
                  <c:v>31.339303999999998</c:v>
                </c:pt>
                <c:pt idx="97">
                  <c:v>31.362515999999999</c:v>
                </c:pt>
                <c:pt idx="98">
                  <c:v>31.377996</c:v>
                </c:pt>
                <c:pt idx="99">
                  <c:v>31.602453000000001</c:v>
                </c:pt>
                <c:pt idx="100">
                  <c:v>31.486346999999999</c:v>
                </c:pt>
                <c:pt idx="101">
                  <c:v>31.757256000000002</c:v>
                </c:pt>
                <c:pt idx="102">
                  <c:v>31.757256000000002</c:v>
                </c:pt>
                <c:pt idx="103">
                  <c:v>31.741762000000001</c:v>
                </c:pt>
                <c:pt idx="104">
                  <c:v>31.138051999999998</c:v>
                </c:pt>
                <c:pt idx="105">
                  <c:v>31.610195000000001</c:v>
                </c:pt>
                <c:pt idx="106">
                  <c:v>31.586980000000001</c:v>
                </c:pt>
                <c:pt idx="107">
                  <c:v>31.803698000000001</c:v>
                </c:pt>
                <c:pt idx="108">
                  <c:v>31.610195000000001</c:v>
                </c:pt>
                <c:pt idx="109">
                  <c:v>31.703064000000001</c:v>
                </c:pt>
                <c:pt idx="110">
                  <c:v>31.625679000000002</c:v>
                </c:pt>
                <c:pt idx="111">
                  <c:v>31.610195000000001</c:v>
                </c:pt>
                <c:pt idx="112">
                  <c:v>31.455389</c:v>
                </c:pt>
                <c:pt idx="113">
                  <c:v>31.176758</c:v>
                </c:pt>
                <c:pt idx="114">
                  <c:v>31.207716000000001</c:v>
                </c:pt>
                <c:pt idx="115">
                  <c:v>31.021961000000001</c:v>
                </c:pt>
                <c:pt idx="116">
                  <c:v>31.401215000000001</c:v>
                </c:pt>
                <c:pt idx="117">
                  <c:v>31.130323000000001</c:v>
                </c:pt>
                <c:pt idx="118">
                  <c:v>31.18449</c:v>
                </c:pt>
                <c:pt idx="119">
                  <c:v>31.246417999999998</c:v>
                </c:pt>
                <c:pt idx="120">
                  <c:v>31.076146999999999</c:v>
                </c:pt>
                <c:pt idx="121">
                  <c:v>31.114830000000001</c:v>
                </c:pt>
                <c:pt idx="122">
                  <c:v>31.083872</c:v>
                </c:pt>
                <c:pt idx="123">
                  <c:v>30.828457</c:v>
                </c:pt>
                <c:pt idx="124">
                  <c:v>30.689136999999999</c:v>
                </c:pt>
                <c:pt idx="125">
                  <c:v>30.596250000000001</c:v>
                </c:pt>
                <c:pt idx="126">
                  <c:v>30.255700999999998</c:v>
                </c:pt>
                <c:pt idx="127">
                  <c:v>30.224740000000001</c:v>
                </c:pt>
                <c:pt idx="128">
                  <c:v>30.015749</c:v>
                </c:pt>
                <c:pt idx="129">
                  <c:v>29.915129</c:v>
                </c:pt>
                <c:pt idx="130">
                  <c:v>29.62876</c:v>
                </c:pt>
                <c:pt idx="131">
                  <c:v>29.651969999999999</c:v>
                </c:pt>
                <c:pt idx="132">
                  <c:v>29.814506999999999</c:v>
                </c:pt>
                <c:pt idx="133">
                  <c:v>29.504921</c:v>
                </c:pt>
                <c:pt idx="134">
                  <c:v>29.52814</c:v>
                </c:pt>
                <c:pt idx="135">
                  <c:v>29.682932000000001</c:v>
                </c:pt>
                <c:pt idx="136">
                  <c:v>29.489435</c:v>
                </c:pt>
                <c:pt idx="137">
                  <c:v>29.551355000000001</c:v>
                </c:pt>
                <c:pt idx="138">
                  <c:v>29.334641999999999</c:v>
                </c:pt>
                <c:pt idx="139">
                  <c:v>29.829992000000001</c:v>
                </c:pt>
                <c:pt idx="140">
                  <c:v>29.597799999999999</c:v>
                </c:pt>
                <c:pt idx="141">
                  <c:v>29.682932000000001</c:v>
                </c:pt>
                <c:pt idx="142">
                  <c:v>29.814506999999999</c:v>
                </c:pt>
                <c:pt idx="143">
                  <c:v>29.899650000000001</c:v>
                </c:pt>
                <c:pt idx="144">
                  <c:v>30.015749</c:v>
                </c:pt>
                <c:pt idx="145">
                  <c:v>29.968976999999999</c:v>
                </c:pt>
                <c:pt idx="146">
                  <c:v>30.163885000000001</c:v>
                </c:pt>
                <c:pt idx="147">
                  <c:v>30.296423000000001</c:v>
                </c:pt>
                <c:pt idx="148">
                  <c:v>30.241841999999998</c:v>
                </c:pt>
                <c:pt idx="149">
                  <c:v>30.865546999999999</c:v>
                </c:pt>
                <c:pt idx="150">
                  <c:v>30.647258999999998</c:v>
                </c:pt>
                <c:pt idx="151">
                  <c:v>30.717426</c:v>
                </c:pt>
                <c:pt idx="152">
                  <c:v>30.117104999999999</c:v>
                </c:pt>
                <c:pt idx="153">
                  <c:v>30.039137</c:v>
                </c:pt>
                <c:pt idx="154">
                  <c:v>29.883216999999998</c:v>
                </c:pt>
                <c:pt idx="155">
                  <c:v>30.202860000000001</c:v>
                </c:pt>
                <c:pt idx="156">
                  <c:v>29.937794</c:v>
                </c:pt>
                <c:pt idx="157">
                  <c:v>29.532385000000001</c:v>
                </c:pt>
                <c:pt idx="158">
                  <c:v>29.586953999999999</c:v>
                </c:pt>
                <c:pt idx="159">
                  <c:v>29.181545</c:v>
                </c:pt>
                <c:pt idx="160">
                  <c:v>28.971052</c:v>
                </c:pt>
                <c:pt idx="161">
                  <c:v>29.002237000000001</c:v>
                </c:pt>
                <c:pt idx="162">
                  <c:v>28.885290000000001</c:v>
                </c:pt>
                <c:pt idx="163">
                  <c:v>29.064603999999999</c:v>
                </c:pt>
                <c:pt idx="164">
                  <c:v>28.908684000000001</c:v>
                </c:pt>
                <c:pt idx="165">
                  <c:v>29.454414</c:v>
                </c:pt>
                <c:pt idx="166">
                  <c:v>29.446629999999999</c:v>
                </c:pt>
                <c:pt idx="167">
                  <c:v>29.555779999999999</c:v>
                </c:pt>
                <c:pt idx="168">
                  <c:v>29.360872000000001</c:v>
                </c:pt>
                <c:pt idx="169">
                  <c:v>29.62594</c:v>
                </c:pt>
                <c:pt idx="170">
                  <c:v>30.054735000000001</c:v>
                </c:pt>
                <c:pt idx="171">
                  <c:v>30.234048999999999</c:v>
                </c:pt>
                <c:pt idx="172">
                  <c:v>30.265228</c:v>
                </c:pt>
                <c:pt idx="173">
                  <c:v>30.475739999999998</c:v>
                </c:pt>
                <c:pt idx="174">
                  <c:v>30.475739999999998</c:v>
                </c:pt>
                <c:pt idx="175">
                  <c:v>30.249638000000001</c:v>
                </c:pt>
                <c:pt idx="176">
                  <c:v>30.428958999999999</c:v>
                </c:pt>
                <c:pt idx="177">
                  <c:v>30.881150000000002</c:v>
                </c:pt>
                <c:pt idx="178">
                  <c:v>31.02927</c:v>
                </c:pt>
                <c:pt idx="179">
                  <c:v>30.888940000000002</c:v>
                </c:pt>
                <c:pt idx="180">
                  <c:v>30.849959999999999</c:v>
                </c:pt>
                <c:pt idx="181">
                  <c:v>30.881150000000002</c:v>
                </c:pt>
                <c:pt idx="182">
                  <c:v>30.803179</c:v>
                </c:pt>
                <c:pt idx="183">
                  <c:v>30.795377999999999</c:v>
                </c:pt>
                <c:pt idx="184">
                  <c:v>31.224170000000001</c:v>
                </c:pt>
                <c:pt idx="185">
                  <c:v>31.052668000000001</c:v>
                </c:pt>
                <c:pt idx="186">
                  <c:v>31.224170000000001</c:v>
                </c:pt>
                <c:pt idx="187">
                  <c:v>31.083843000000002</c:v>
                </c:pt>
                <c:pt idx="188">
                  <c:v>31.091642</c:v>
                </c:pt>
                <c:pt idx="189">
                  <c:v>31.278748</c:v>
                </c:pt>
                <c:pt idx="190">
                  <c:v>31.348922999999999</c:v>
                </c:pt>
                <c:pt idx="191">
                  <c:v>31.356719999999999</c:v>
                </c:pt>
                <c:pt idx="192">
                  <c:v>31.317734000000002</c:v>
                </c:pt>
                <c:pt idx="193">
                  <c:v>31.294338</c:v>
                </c:pt>
                <c:pt idx="194">
                  <c:v>31.231983</c:v>
                </c:pt>
                <c:pt idx="195">
                  <c:v>31.520441000000002</c:v>
                </c:pt>
                <c:pt idx="196">
                  <c:v>31.520441000000002</c:v>
                </c:pt>
                <c:pt idx="197">
                  <c:v>31.473661</c:v>
                </c:pt>
                <c:pt idx="198">
                  <c:v>31.380106000000001</c:v>
                </c:pt>
                <c:pt idx="199">
                  <c:v>31.552828000000002</c:v>
                </c:pt>
                <c:pt idx="200">
                  <c:v>31.552828000000002</c:v>
                </c:pt>
                <c:pt idx="201">
                  <c:v>31.466467000000002</c:v>
                </c:pt>
                <c:pt idx="202">
                  <c:v>31.678432000000001</c:v>
                </c:pt>
                <c:pt idx="203">
                  <c:v>31.694140999999998</c:v>
                </c:pt>
                <c:pt idx="204">
                  <c:v>31.270197</c:v>
                </c:pt>
                <c:pt idx="205">
                  <c:v>31.764787999999999</c:v>
                </c:pt>
                <c:pt idx="206">
                  <c:v>31.717701000000002</c:v>
                </c:pt>
                <c:pt idx="207">
                  <c:v>31.285898</c:v>
                </c:pt>
                <c:pt idx="208">
                  <c:v>31.505718000000002</c:v>
                </c:pt>
                <c:pt idx="209">
                  <c:v>30.783432000000001</c:v>
                </c:pt>
                <c:pt idx="210">
                  <c:v>30.799139</c:v>
                </c:pt>
                <c:pt idx="211">
                  <c:v>30.830542000000001</c:v>
                </c:pt>
                <c:pt idx="212">
                  <c:v>30.697077</c:v>
                </c:pt>
                <c:pt idx="213">
                  <c:v>31.419363000000001</c:v>
                </c:pt>
                <c:pt idx="214">
                  <c:v>31.293748999999998</c:v>
                </c:pt>
                <c:pt idx="215">
                  <c:v>31.43506</c:v>
                </c:pt>
                <c:pt idx="216">
                  <c:v>31.52927</c:v>
                </c:pt>
                <c:pt idx="217">
                  <c:v>31.552828000000002</c:v>
                </c:pt>
                <c:pt idx="218">
                  <c:v>31.788357000000001</c:v>
                </c:pt>
                <c:pt idx="219">
                  <c:v>31.921824999999998</c:v>
                </c:pt>
                <c:pt idx="220">
                  <c:v>32.259407000000003</c:v>
                </c:pt>
                <c:pt idx="221">
                  <c:v>32.432133</c:v>
                </c:pt>
                <c:pt idx="222">
                  <c:v>31.921824999999998</c:v>
                </c:pt>
                <c:pt idx="223">
                  <c:v>31.764787999999999</c:v>
                </c:pt>
                <c:pt idx="224">
                  <c:v>31.615639000000002</c:v>
                </c:pt>
                <c:pt idx="225">
                  <c:v>31.709854</c:v>
                </c:pt>
                <c:pt idx="226">
                  <c:v>31.356558</c:v>
                </c:pt>
                <c:pt idx="227">
                  <c:v>31.191683000000001</c:v>
                </c:pt>
                <c:pt idx="228">
                  <c:v>31.505718000000002</c:v>
                </c:pt>
                <c:pt idx="229">
                  <c:v>31.034659999999999</c:v>
                </c:pt>
                <c:pt idx="230">
                  <c:v>31.160276</c:v>
                </c:pt>
                <c:pt idx="231">
                  <c:v>31.215239</c:v>
                </c:pt>
                <c:pt idx="232">
                  <c:v>31.175978000000001</c:v>
                </c:pt>
                <c:pt idx="233">
                  <c:v>30.838391999999999</c:v>
                </c:pt>
                <c:pt idx="234">
                  <c:v>31.340845000000002</c:v>
                </c:pt>
                <c:pt idx="235">
                  <c:v>31.325147999999999</c:v>
                </c:pt>
                <c:pt idx="236">
                  <c:v>30.806985999999998</c:v>
                </c:pt>
                <c:pt idx="237">
                  <c:v>30.492944999999999</c:v>
                </c:pt>
                <c:pt idx="238">
                  <c:v>30.406583999999999</c:v>
                </c:pt>
                <c:pt idx="239">
                  <c:v>30.516500000000001</c:v>
                </c:pt>
                <c:pt idx="240">
                  <c:v>29.754978000000001</c:v>
                </c:pt>
                <c:pt idx="241">
                  <c:v>29.966947999999999</c:v>
                </c:pt>
                <c:pt idx="242">
                  <c:v>29.692162</c:v>
                </c:pt>
                <c:pt idx="243">
                  <c:v>29.205406</c:v>
                </c:pt>
                <c:pt idx="244">
                  <c:v>29.425234</c:v>
                </c:pt>
                <c:pt idx="245">
                  <c:v>29.527290000000001</c:v>
                </c:pt>
                <c:pt idx="246">
                  <c:v>29.857019999999999</c:v>
                </c:pt>
                <c:pt idx="247">
                  <c:v>29.794218000000001</c:v>
                </c:pt>
                <c:pt idx="248">
                  <c:v>30.28098</c:v>
                </c:pt>
                <c:pt idx="249">
                  <c:v>30.335934000000002</c:v>
                </c:pt>
                <c:pt idx="250">
                  <c:v>30.233875000000001</c:v>
                </c:pt>
                <c:pt idx="251">
                  <c:v>30.343776999999999</c:v>
                </c:pt>
                <c:pt idx="252">
                  <c:v>30.563611999999999</c:v>
                </c:pt>
                <c:pt idx="253">
                  <c:v>29.417380000000001</c:v>
                </c:pt>
                <c:pt idx="254">
                  <c:v>29.126888000000001</c:v>
                </c:pt>
                <c:pt idx="255">
                  <c:v>29.283909999999999</c:v>
                </c:pt>
                <c:pt idx="256">
                  <c:v>29.189700999999999</c:v>
                </c:pt>
                <c:pt idx="257">
                  <c:v>29.440928</c:v>
                </c:pt>
                <c:pt idx="258">
                  <c:v>29.652908</c:v>
                </c:pt>
                <c:pt idx="259">
                  <c:v>29.731418999999999</c:v>
                </c:pt>
                <c:pt idx="260">
                  <c:v>29.888432999999999</c:v>
                </c:pt>
                <c:pt idx="261">
                  <c:v>29.990492</c:v>
                </c:pt>
                <c:pt idx="262">
                  <c:v>29.927692</c:v>
                </c:pt>
                <c:pt idx="263">
                  <c:v>30.076853</c:v>
                </c:pt>
                <c:pt idx="264">
                  <c:v>30.108255</c:v>
                </c:pt>
                <c:pt idx="265">
                  <c:v>30.202477999999999</c:v>
                </c:pt>
                <c:pt idx="266">
                  <c:v>30.265274000000002</c:v>
                </c:pt>
                <c:pt idx="267">
                  <c:v>30.343776999999999</c:v>
                </c:pt>
                <c:pt idx="268">
                  <c:v>30.461542000000001</c:v>
                </c:pt>
                <c:pt idx="269">
                  <c:v>30.441776000000001</c:v>
                </c:pt>
                <c:pt idx="270">
                  <c:v>30.046099000000002</c:v>
                </c:pt>
                <c:pt idx="271">
                  <c:v>30.204376</c:v>
                </c:pt>
                <c:pt idx="272">
                  <c:v>30.283512000000002</c:v>
                </c:pt>
                <c:pt idx="273">
                  <c:v>30.386374</c:v>
                </c:pt>
                <c:pt idx="274">
                  <c:v>30.180634000000001</c:v>
                </c:pt>
                <c:pt idx="275">
                  <c:v>30.425944999999999</c:v>
                </c:pt>
                <c:pt idx="276">
                  <c:v>30.418026000000001</c:v>
                </c:pt>
                <c:pt idx="277">
                  <c:v>30.386374</c:v>
                </c:pt>
                <c:pt idx="278">
                  <c:v>30.560459999999999</c:v>
                </c:pt>
                <c:pt idx="279">
                  <c:v>30.552553</c:v>
                </c:pt>
                <c:pt idx="280">
                  <c:v>30.718723000000001</c:v>
                </c:pt>
                <c:pt idx="281">
                  <c:v>30.821591999999999</c:v>
                </c:pt>
                <c:pt idx="282">
                  <c:v>30.592115</c:v>
                </c:pt>
                <c:pt idx="283">
                  <c:v>30.394286999999998</c:v>
                </c:pt>
                <c:pt idx="284">
                  <c:v>30.330984000000001</c:v>
                </c:pt>
                <c:pt idx="285">
                  <c:v>30.125242</c:v>
                </c:pt>
                <c:pt idx="286">
                  <c:v>30.243942000000001</c:v>
                </c:pt>
                <c:pt idx="287">
                  <c:v>30.560459999999999</c:v>
                </c:pt>
                <c:pt idx="288">
                  <c:v>30.782025999999998</c:v>
                </c:pt>
                <c:pt idx="289">
                  <c:v>30.853249999999999</c:v>
                </c:pt>
                <c:pt idx="290">
                  <c:v>30.774117</c:v>
                </c:pt>
                <c:pt idx="291">
                  <c:v>30.568377000000002</c:v>
                </c:pt>
                <c:pt idx="292">
                  <c:v>30.647504999999999</c:v>
                </c:pt>
                <c:pt idx="293">
                  <c:v>31.794910000000002</c:v>
                </c:pt>
                <c:pt idx="294">
                  <c:v>32.119346999999998</c:v>
                </c:pt>
                <c:pt idx="295">
                  <c:v>32.22222</c:v>
                </c:pt>
                <c:pt idx="296">
                  <c:v>32.245959999999997</c:v>
                </c:pt>
                <c:pt idx="297">
                  <c:v>32.214302000000004</c:v>
                </c:pt>
                <c:pt idx="298">
                  <c:v>32.230133000000002</c:v>
                </c:pt>
                <c:pt idx="299">
                  <c:v>32.206400000000002</c:v>
                </c:pt>
                <c:pt idx="300">
                  <c:v>32.451694000000003</c:v>
                </c:pt>
                <c:pt idx="301">
                  <c:v>32.46752</c:v>
                </c:pt>
                <c:pt idx="302">
                  <c:v>32.103515999999999</c:v>
                </c:pt>
                <c:pt idx="303">
                  <c:v>32.277619999999999</c:v>
                </c:pt>
                <c:pt idx="304">
                  <c:v>32.2697</c:v>
                </c:pt>
                <c:pt idx="305">
                  <c:v>32.404229999999998</c:v>
                </c:pt>
                <c:pt idx="306">
                  <c:v>32.253875999999998</c:v>
                </c:pt>
                <c:pt idx="307">
                  <c:v>32.040215000000003</c:v>
                </c:pt>
                <c:pt idx="308">
                  <c:v>32.372574</c:v>
                </c:pt>
                <c:pt idx="309">
                  <c:v>32.230133000000002</c:v>
                </c:pt>
                <c:pt idx="310">
                  <c:v>32.340916</c:v>
                </c:pt>
                <c:pt idx="311">
                  <c:v>32.301346000000002</c:v>
                </c:pt>
                <c:pt idx="312">
                  <c:v>32.530827000000002</c:v>
                </c:pt>
                <c:pt idx="313">
                  <c:v>32.356729999999999</c:v>
                </c:pt>
                <c:pt idx="314">
                  <c:v>32.063949999999998</c:v>
                </c:pt>
                <c:pt idx="315">
                  <c:v>32.356729999999999</c:v>
                </c:pt>
                <c:pt idx="316">
                  <c:v>32.214302000000004</c:v>
                </c:pt>
                <c:pt idx="317">
                  <c:v>32.111429999999999</c:v>
                </c:pt>
                <c:pt idx="318">
                  <c:v>32.340916</c:v>
                </c:pt>
                <c:pt idx="319">
                  <c:v>32.111429999999999</c:v>
                </c:pt>
                <c:pt idx="320">
                  <c:v>32.111429999999999</c:v>
                </c:pt>
                <c:pt idx="321">
                  <c:v>32.261789999999998</c:v>
                </c:pt>
                <c:pt idx="322">
                  <c:v>32.111429999999999</c:v>
                </c:pt>
                <c:pt idx="323">
                  <c:v>32.174747000000004</c:v>
                </c:pt>
                <c:pt idx="324">
                  <c:v>32.372574</c:v>
                </c:pt>
                <c:pt idx="325">
                  <c:v>32.333004000000003</c:v>
                </c:pt>
                <c:pt idx="326">
                  <c:v>32.348827</c:v>
                </c:pt>
                <c:pt idx="327">
                  <c:v>32.277619999999999</c:v>
                </c:pt>
                <c:pt idx="328">
                  <c:v>32.356729999999999</c:v>
                </c:pt>
                <c:pt idx="329">
                  <c:v>32.435875000000003</c:v>
                </c:pt>
                <c:pt idx="330">
                  <c:v>32.372574</c:v>
                </c:pt>
                <c:pt idx="331">
                  <c:v>32.499172000000002</c:v>
                </c:pt>
                <c:pt idx="332">
                  <c:v>32.333004000000003</c:v>
                </c:pt>
                <c:pt idx="333">
                  <c:v>32.225364999999996</c:v>
                </c:pt>
                <c:pt idx="334">
                  <c:v>32.185510000000001</c:v>
                </c:pt>
                <c:pt idx="335">
                  <c:v>32.416725</c:v>
                </c:pt>
                <c:pt idx="336">
                  <c:v>32.624003999999999</c:v>
                </c:pt>
                <c:pt idx="337">
                  <c:v>33.134253999999999</c:v>
                </c:pt>
                <c:pt idx="338">
                  <c:v>33.317622999999998</c:v>
                </c:pt>
                <c:pt idx="339">
                  <c:v>33.237904</c:v>
                </c:pt>
                <c:pt idx="340">
                  <c:v>33.269779999999997</c:v>
                </c:pt>
                <c:pt idx="341">
                  <c:v>33.365462999999998</c:v>
                </c:pt>
                <c:pt idx="342">
                  <c:v>33.453150000000001</c:v>
                </c:pt>
                <c:pt idx="343">
                  <c:v>33.508969999999998</c:v>
                </c:pt>
                <c:pt idx="344">
                  <c:v>33.636519999999997</c:v>
                </c:pt>
                <c:pt idx="345">
                  <c:v>33.772060000000003</c:v>
                </c:pt>
                <c:pt idx="346">
                  <c:v>33.716254999999997</c:v>
                </c:pt>
                <c:pt idx="347">
                  <c:v>33.716254999999997</c:v>
                </c:pt>
                <c:pt idx="348">
                  <c:v>33.668419999999998</c:v>
                </c:pt>
                <c:pt idx="349">
                  <c:v>33.59666</c:v>
                </c:pt>
                <c:pt idx="350">
                  <c:v>33.43721</c:v>
                </c:pt>
                <c:pt idx="351">
                  <c:v>33.445180000000001</c:v>
                </c:pt>
                <c:pt idx="352">
                  <c:v>33.692329999999998</c:v>
                </c:pt>
                <c:pt idx="353">
                  <c:v>33.461120000000001</c:v>
                </c:pt>
                <c:pt idx="354">
                  <c:v>33.788012999999999</c:v>
                </c:pt>
                <c:pt idx="355">
                  <c:v>33.564774</c:v>
                </c:pt>
                <c:pt idx="356">
                  <c:v>33.580719999999999</c:v>
                </c:pt>
                <c:pt idx="357">
                  <c:v>33.500988</c:v>
                </c:pt>
                <c:pt idx="358">
                  <c:v>33.827857999999999</c:v>
                </c:pt>
                <c:pt idx="359">
                  <c:v>33.803955000000002</c:v>
                </c:pt>
                <c:pt idx="360">
                  <c:v>32.839267999999997</c:v>
                </c:pt>
                <c:pt idx="361">
                  <c:v>32.53631</c:v>
                </c:pt>
                <c:pt idx="362">
                  <c:v>32.663863999999997</c:v>
                </c:pt>
                <c:pt idx="363">
                  <c:v>32.687775000000002</c:v>
                </c:pt>
                <c:pt idx="364">
                  <c:v>32.432659999999998</c:v>
                </c:pt>
                <c:pt idx="365">
                  <c:v>32.169556</c:v>
                </c:pt>
                <c:pt idx="366">
                  <c:v>31.587562999999999</c:v>
                </c:pt>
                <c:pt idx="367">
                  <c:v>31.324460999999999</c:v>
                </c:pt>
                <c:pt idx="368">
                  <c:v>31.324460999999999</c:v>
                </c:pt>
                <c:pt idx="369">
                  <c:v>31.412172000000002</c:v>
                </c:pt>
                <c:pt idx="370">
                  <c:v>31.236772999999999</c:v>
                </c:pt>
                <c:pt idx="371">
                  <c:v>31.826736</c:v>
                </c:pt>
                <c:pt idx="372">
                  <c:v>31.372292999999999</c:v>
                </c:pt>
                <c:pt idx="373">
                  <c:v>31.452023000000001</c:v>
                </c:pt>
                <c:pt idx="374">
                  <c:v>31.547691</c:v>
                </c:pt>
                <c:pt idx="375">
                  <c:v>31.635397000000001</c:v>
                </c:pt>
                <c:pt idx="376">
                  <c:v>31.842690999999999</c:v>
                </c:pt>
                <c:pt idx="377">
                  <c:v>32.034030000000001</c:v>
                </c:pt>
                <c:pt idx="378">
                  <c:v>32.592112999999998</c:v>
                </c:pt>
                <c:pt idx="379">
                  <c:v>32.966839999999998</c:v>
                </c:pt>
                <c:pt idx="380">
                  <c:v>32.895077000000001</c:v>
                </c:pt>
                <c:pt idx="381">
                  <c:v>32.887107999999998</c:v>
                </c:pt>
                <c:pt idx="382">
                  <c:v>33.014664000000003</c:v>
                </c:pt>
                <c:pt idx="383">
                  <c:v>32.783462999999998</c:v>
                </c:pt>
                <c:pt idx="384">
                  <c:v>33.014664000000003</c:v>
                </c:pt>
                <c:pt idx="385">
                  <c:v>33.166137999999997</c:v>
                </c:pt>
                <c:pt idx="386">
                  <c:v>33.166137999999997</c:v>
                </c:pt>
                <c:pt idx="387">
                  <c:v>33.190049999999999</c:v>
                </c:pt>
                <c:pt idx="388">
                  <c:v>33.261817999999998</c:v>
                </c:pt>
                <c:pt idx="389">
                  <c:v>33.198030000000003</c:v>
                </c:pt>
                <c:pt idx="390">
                  <c:v>33.309657999999999</c:v>
                </c:pt>
                <c:pt idx="391">
                  <c:v>33.381410000000002</c:v>
                </c:pt>
                <c:pt idx="392">
                  <c:v>33.357475000000001</c:v>
                </c:pt>
                <c:pt idx="393">
                  <c:v>33.309657999999999</c:v>
                </c:pt>
                <c:pt idx="394">
                  <c:v>33.43721</c:v>
                </c:pt>
                <c:pt idx="395">
                  <c:v>33.620583000000003</c:v>
                </c:pt>
                <c:pt idx="396">
                  <c:v>33.688842999999999</c:v>
                </c:pt>
                <c:pt idx="397">
                  <c:v>33.295338000000001</c:v>
                </c:pt>
                <c:pt idx="398">
                  <c:v>33.327464999999997</c:v>
                </c:pt>
                <c:pt idx="399">
                  <c:v>33.439889999999998</c:v>
                </c:pt>
                <c:pt idx="400">
                  <c:v>33.415793999999998</c:v>
                </c:pt>
                <c:pt idx="401">
                  <c:v>33.560355999999999</c:v>
                </c:pt>
                <c:pt idx="402">
                  <c:v>33.769145999999999</c:v>
                </c:pt>
                <c:pt idx="403">
                  <c:v>33.905665999999997</c:v>
                </c:pt>
                <c:pt idx="404">
                  <c:v>33.640659999999997</c:v>
                </c:pt>
                <c:pt idx="405">
                  <c:v>33.945824000000002</c:v>
                </c:pt>
                <c:pt idx="406">
                  <c:v>33.552321999999997</c:v>
                </c:pt>
                <c:pt idx="407">
                  <c:v>33.889614000000002</c:v>
                </c:pt>
                <c:pt idx="408">
                  <c:v>33.929769999999998</c:v>
                </c:pt>
                <c:pt idx="409">
                  <c:v>34.25902</c:v>
                </c:pt>
                <c:pt idx="410">
                  <c:v>34.323276999999997</c:v>
                </c:pt>
                <c:pt idx="411">
                  <c:v>34.25902</c:v>
                </c:pt>
                <c:pt idx="412">
                  <c:v>34.532069999999997</c:v>
                </c:pt>
                <c:pt idx="413">
                  <c:v>35.013910000000003</c:v>
                </c:pt>
                <c:pt idx="414">
                  <c:v>35.270885</c:v>
                </c:pt>
                <c:pt idx="415">
                  <c:v>35.776829999999997</c:v>
                </c:pt>
                <c:pt idx="416">
                  <c:v>35.230736</c:v>
                </c:pt>
                <c:pt idx="417">
                  <c:v>35.712578000000001</c:v>
                </c:pt>
                <c:pt idx="418">
                  <c:v>35.391345999999999</c:v>
                </c:pt>
                <c:pt idx="419">
                  <c:v>35.046031999999997</c:v>
                </c:pt>
                <c:pt idx="420">
                  <c:v>34.716766</c:v>
                </c:pt>
                <c:pt idx="421">
                  <c:v>34.178714999999997</c:v>
                </c:pt>
                <c:pt idx="422">
                  <c:v>34.435702999999997</c:v>
                </c:pt>
                <c:pt idx="423">
                  <c:v>34.764960000000002</c:v>
                </c:pt>
                <c:pt idx="424">
                  <c:v>32.668937999999997</c:v>
                </c:pt>
                <c:pt idx="425">
                  <c:v>32.620759999999997</c:v>
                </c:pt>
                <c:pt idx="426">
                  <c:v>32.813496000000001</c:v>
                </c:pt>
                <c:pt idx="427">
                  <c:v>32.950015999999998</c:v>
                </c:pt>
                <c:pt idx="428">
                  <c:v>32.733192000000003</c:v>
                </c:pt>
                <c:pt idx="429">
                  <c:v>32.572569999999999</c:v>
                </c:pt>
                <c:pt idx="430">
                  <c:v>32.893790000000003</c:v>
                </c:pt>
                <c:pt idx="431">
                  <c:v>33.247154000000002</c:v>
                </c:pt>
                <c:pt idx="432">
                  <c:v>33.632620000000003</c:v>
                </c:pt>
                <c:pt idx="433">
                  <c:v>33.576411999999998</c:v>
                </c:pt>
                <c:pt idx="434">
                  <c:v>33.584442000000003</c:v>
                </c:pt>
                <c:pt idx="435">
                  <c:v>33.977960000000003</c:v>
                </c:pt>
                <c:pt idx="436">
                  <c:v>33.961886999999997</c:v>
                </c:pt>
                <c:pt idx="437">
                  <c:v>33.985976999999998</c:v>
                </c:pt>
                <c:pt idx="438">
                  <c:v>34.042202000000003</c:v>
                </c:pt>
                <c:pt idx="439">
                  <c:v>34.138559999999998</c:v>
                </c:pt>
                <c:pt idx="440">
                  <c:v>34.299182999999999</c:v>
                </c:pt>
                <c:pt idx="441">
                  <c:v>34.363415000000003</c:v>
                </c:pt>
                <c:pt idx="442">
                  <c:v>34.31523</c:v>
                </c:pt>
                <c:pt idx="443">
                  <c:v>34.467815000000002</c:v>
                </c:pt>
                <c:pt idx="444">
                  <c:v>34.957689999999999</c:v>
                </c:pt>
                <c:pt idx="445">
                  <c:v>35.51182</c:v>
                </c:pt>
                <c:pt idx="446">
                  <c:v>35.535899999999998</c:v>
                </c:pt>
                <c:pt idx="447">
                  <c:v>35.736669999999997</c:v>
                </c:pt>
                <c:pt idx="448">
                  <c:v>35.551969999999997</c:v>
                </c:pt>
                <c:pt idx="449">
                  <c:v>35.680466000000003</c:v>
                </c:pt>
                <c:pt idx="450">
                  <c:v>35.813879999999997</c:v>
                </c:pt>
                <c:pt idx="451">
                  <c:v>36.250546</c:v>
                </c:pt>
                <c:pt idx="452">
                  <c:v>36.024116999999997</c:v>
                </c:pt>
                <c:pt idx="453">
                  <c:v>36.016033</c:v>
                </c:pt>
                <c:pt idx="454">
                  <c:v>35.417664000000002</c:v>
                </c:pt>
                <c:pt idx="455">
                  <c:v>35.175063999999999</c:v>
                </c:pt>
                <c:pt idx="456">
                  <c:v>35.199325999999999</c:v>
                </c:pt>
                <c:pt idx="457">
                  <c:v>34.883969999999998</c:v>
                </c:pt>
                <c:pt idx="458">
                  <c:v>33.994480000000003</c:v>
                </c:pt>
                <c:pt idx="459">
                  <c:v>33.638680000000001</c:v>
                </c:pt>
                <c:pt idx="460">
                  <c:v>33.582084999999999</c:v>
                </c:pt>
                <c:pt idx="461">
                  <c:v>33.080737999999997</c:v>
                </c:pt>
                <c:pt idx="462">
                  <c:v>32.805804999999999</c:v>
                </c:pt>
                <c:pt idx="463">
                  <c:v>32.660254999999999</c:v>
                </c:pt>
                <c:pt idx="464">
                  <c:v>33.598255000000002</c:v>
                </c:pt>
                <c:pt idx="465">
                  <c:v>34.277500000000003</c:v>
                </c:pt>
                <c:pt idx="466">
                  <c:v>33.921706999999998</c:v>
                </c:pt>
                <c:pt idx="467">
                  <c:v>34.245150000000002</c:v>
                </c:pt>
                <c:pt idx="468">
                  <c:v>34.746502</c:v>
                </c:pt>
                <c:pt idx="469">
                  <c:v>34.722244000000003</c:v>
                </c:pt>
                <c:pt idx="470">
                  <c:v>34.738410000000002</c:v>
                </c:pt>
                <c:pt idx="471">
                  <c:v>34.657542999999997</c:v>
                </c:pt>
                <c:pt idx="472">
                  <c:v>34.576687</c:v>
                </c:pt>
                <c:pt idx="473">
                  <c:v>34.140030000000003</c:v>
                </c:pt>
                <c:pt idx="474">
                  <c:v>34.075344000000001</c:v>
                </c:pt>
                <c:pt idx="475">
                  <c:v>34.075344000000001</c:v>
                </c:pt>
                <c:pt idx="476">
                  <c:v>34.334114</c:v>
                </c:pt>
                <c:pt idx="477">
                  <c:v>34.762672000000002</c:v>
                </c:pt>
                <c:pt idx="478">
                  <c:v>35.183154999999999</c:v>
                </c:pt>
                <c:pt idx="479">
                  <c:v>34.795017000000001</c:v>
                </c:pt>
                <c:pt idx="480">
                  <c:v>34.479660000000003</c:v>
                </c:pt>
                <c:pt idx="481">
                  <c:v>34.471572999999999</c:v>
                </c:pt>
                <c:pt idx="482">
                  <c:v>34.414966999999997</c:v>
                </c:pt>
                <c:pt idx="483">
                  <c:v>34.269413</c:v>
                </c:pt>
                <c:pt idx="484">
                  <c:v>34.390709999999999</c:v>
                </c:pt>
                <c:pt idx="485">
                  <c:v>34.900134999999999</c:v>
                </c:pt>
                <c:pt idx="486">
                  <c:v>35.061869999999999</c:v>
                </c:pt>
                <c:pt idx="487">
                  <c:v>35.401474</c:v>
                </c:pt>
                <c:pt idx="488">
                  <c:v>35.021427000000003</c:v>
                </c:pt>
                <c:pt idx="489">
                  <c:v>34.770760000000003</c:v>
                </c:pt>
                <c:pt idx="490">
                  <c:v>34.277500000000003</c:v>
                </c:pt>
                <c:pt idx="491">
                  <c:v>33.897449999999999</c:v>
                </c:pt>
                <c:pt idx="492">
                  <c:v>34.043007000000003</c:v>
                </c:pt>
                <c:pt idx="493">
                  <c:v>33.290984999999999</c:v>
                </c:pt>
                <c:pt idx="494">
                  <c:v>33.630592</c:v>
                </c:pt>
                <c:pt idx="495">
                  <c:v>33.662950000000002</c:v>
                </c:pt>
                <c:pt idx="496">
                  <c:v>33.703384</c:v>
                </c:pt>
                <c:pt idx="497">
                  <c:v>33.792324000000001</c:v>
                </c:pt>
                <c:pt idx="498">
                  <c:v>33.517389999999999</c:v>
                </c:pt>
                <c:pt idx="499">
                  <c:v>33.339500000000001</c:v>
                </c:pt>
                <c:pt idx="500">
                  <c:v>34.285580000000003</c:v>
                </c:pt>
                <c:pt idx="501">
                  <c:v>34.261330000000001</c:v>
                </c:pt>
                <c:pt idx="502">
                  <c:v>34.099598</c:v>
                </c:pt>
                <c:pt idx="503">
                  <c:v>33.954051999999997</c:v>
                </c:pt>
                <c:pt idx="504">
                  <c:v>33.808501999999997</c:v>
                </c:pt>
                <c:pt idx="505">
                  <c:v>33.743805000000002</c:v>
                </c:pt>
                <c:pt idx="506">
                  <c:v>34.051082999999998</c:v>
                </c:pt>
                <c:pt idx="507">
                  <c:v>33.937877999999998</c:v>
                </c:pt>
                <c:pt idx="508">
                  <c:v>33.840846999999997</c:v>
                </c:pt>
                <c:pt idx="509">
                  <c:v>34.067253000000001</c:v>
                </c:pt>
                <c:pt idx="510">
                  <c:v>34.002575</c:v>
                </c:pt>
                <c:pt idx="511">
                  <c:v>34.334114</c:v>
                </c:pt>
                <c:pt idx="512">
                  <c:v>35.013350000000003</c:v>
                </c:pt>
                <c:pt idx="513">
                  <c:v>34.932479999999998</c:v>
                </c:pt>
                <c:pt idx="514">
                  <c:v>34.730328</c:v>
                </c:pt>
                <c:pt idx="515">
                  <c:v>34.36645</c:v>
                </c:pt>
                <c:pt idx="516">
                  <c:v>34.285580000000003</c:v>
                </c:pt>
                <c:pt idx="517">
                  <c:v>33.573999999999998</c:v>
                </c:pt>
                <c:pt idx="518">
                  <c:v>33.468871999999998</c:v>
                </c:pt>
                <c:pt idx="519">
                  <c:v>32.902847000000001</c:v>
                </c:pt>
                <c:pt idx="520">
                  <c:v>32.425755000000002</c:v>
                </c:pt>
                <c:pt idx="521">
                  <c:v>33.078020000000002</c:v>
                </c:pt>
                <c:pt idx="522">
                  <c:v>32.539898000000001</c:v>
                </c:pt>
                <c:pt idx="523">
                  <c:v>32.849730000000001</c:v>
                </c:pt>
                <c:pt idx="524">
                  <c:v>33.029102000000002</c:v>
                </c:pt>
                <c:pt idx="525">
                  <c:v>33.10248</c:v>
                </c:pt>
                <c:pt idx="526">
                  <c:v>32.629579999999997</c:v>
                </c:pt>
                <c:pt idx="527">
                  <c:v>33.143245999999998</c:v>
                </c:pt>
                <c:pt idx="528">
                  <c:v>33.118786</c:v>
                </c:pt>
                <c:pt idx="529">
                  <c:v>32.996482999999998</c:v>
                </c:pt>
                <c:pt idx="530">
                  <c:v>32.980179999999997</c:v>
                </c:pt>
                <c:pt idx="531">
                  <c:v>32.898643</c:v>
                </c:pt>
                <c:pt idx="532">
                  <c:v>32.678513000000002</c:v>
                </c:pt>
                <c:pt idx="533">
                  <c:v>33.029102000000002</c:v>
                </c:pt>
                <c:pt idx="534">
                  <c:v>33.061720000000001</c:v>
                </c:pt>
                <c:pt idx="535">
                  <c:v>33.16771</c:v>
                </c:pt>
                <c:pt idx="536">
                  <c:v>33.16771</c:v>
                </c:pt>
                <c:pt idx="537">
                  <c:v>33.567214999999997</c:v>
                </c:pt>
                <c:pt idx="538">
                  <c:v>33.43676</c:v>
                </c:pt>
                <c:pt idx="539">
                  <c:v>33.338929999999998</c:v>
                </c:pt>
                <c:pt idx="540">
                  <c:v>33.469380000000001</c:v>
                </c:pt>
                <c:pt idx="541">
                  <c:v>33.330776</c:v>
                </c:pt>
                <c:pt idx="542">
                  <c:v>33.184010000000001</c:v>
                </c:pt>
                <c:pt idx="543">
                  <c:v>33.029102000000002</c:v>
                </c:pt>
                <c:pt idx="544">
                  <c:v>32.939419999999998</c:v>
                </c:pt>
                <c:pt idx="545">
                  <c:v>33.10248</c:v>
                </c:pt>
                <c:pt idx="546">
                  <c:v>32.857880000000002</c:v>
                </c:pt>
                <c:pt idx="547">
                  <c:v>33.151389999999999</c:v>
                </c:pt>
                <c:pt idx="548">
                  <c:v>33.24924</c:v>
                </c:pt>
                <c:pt idx="549">
                  <c:v>33.681365999999997</c:v>
                </c:pt>
                <c:pt idx="550">
                  <c:v>33.387844000000001</c:v>
                </c:pt>
                <c:pt idx="551">
                  <c:v>33.338929999999998</c:v>
                </c:pt>
                <c:pt idx="552">
                  <c:v>33.290010000000002</c:v>
                </c:pt>
                <c:pt idx="553">
                  <c:v>33.241079999999997</c:v>
                </c:pt>
                <c:pt idx="554">
                  <c:v>33.012794</c:v>
                </c:pt>
                <c:pt idx="555">
                  <c:v>33.069873999999999</c:v>
                </c:pt>
                <c:pt idx="556">
                  <c:v>33.355229999999999</c:v>
                </c:pt>
                <c:pt idx="557">
                  <c:v>33.396000000000001</c:v>
                </c:pt>
                <c:pt idx="558">
                  <c:v>33.224789999999999</c:v>
                </c:pt>
                <c:pt idx="559">
                  <c:v>33.151389999999999</c:v>
                </c:pt>
                <c:pt idx="560">
                  <c:v>33.184010000000001</c:v>
                </c:pt>
                <c:pt idx="561">
                  <c:v>33.412308000000003</c:v>
                </c:pt>
                <c:pt idx="562">
                  <c:v>33.379696000000003</c:v>
                </c:pt>
                <c:pt idx="563">
                  <c:v>33.175857999999998</c:v>
                </c:pt>
                <c:pt idx="564">
                  <c:v>33.469380000000001</c:v>
                </c:pt>
                <c:pt idx="565">
                  <c:v>33.836277000000003</c:v>
                </c:pt>
                <c:pt idx="566">
                  <c:v>33.852584999999998</c:v>
                </c:pt>
                <c:pt idx="567">
                  <c:v>33.689520000000002</c:v>
                </c:pt>
                <c:pt idx="568">
                  <c:v>33.681365999999997</c:v>
                </c:pt>
                <c:pt idx="569">
                  <c:v>33.713979999999999</c:v>
                </c:pt>
                <c:pt idx="570">
                  <c:v>33.616135</c:v>
                </c:pt>
                <c:pt idx="571">
                  <c:v>33.59984</c:v>
                </c:pt>
                <c:pt idx="572">
                  <c:v>33.420464000000003</c:v>
                </c:pt>
                <c:pt idx="573">
                  <c:v>33.526446999999997</c:v>
                </c:pt>
                <c:pt idx="574">
                  <c:v>33.542755</c:v>
                </c:pt>
                <c:pt idx="575">
                  <c:v>33.396000000000001</c:v>
                </c:pt>
                <c:pt idx="576">
                  <c:v>33.379696000000003</c:v>
                </c:pt>
                <c:pt idx="577">
                  <c:v>33.420464000000003</c:v>
                </c:pt>
                <c:pt idx="578">
                  <c:v>33.322617000000001</c:v>
                </c:pt>
                <c:pt idx="579">
                  <c:v>33.094326000000002</c:v>
                </c:pt>
                <c:pt idx="580">
                  <c:v>32.694809999999997</c:v>
                </c:pt>
                <c:pt idx="581">
                  <c:v>32.743729999999999</c:v>
                </c:pt>
                <c:pt idx="582">
                  <c:v>32.776344000000002</c:v>
                </c:pt>
                <c:pt idx="583">
                  <c:v>32.882336000000002</c:v>
                </c:pt>
                <c:pt idx="584">
                  <c:v>32.964554</c:v>
                </c:pt>
                <c:pt idx="585">
                  <c:v>32.849463999999998</c:v>
                </c:pt>
                <c:pt idx="586">
                  <c:v>32.545302999999997</c:v>
                </c:pt>
                <c:pt idx="587">
                  <c:v>32.948112000000002</c:v>
                </c:pt>
                <c:pt idx="588">
                  <c:v>33.104289999999999</c:v>
                </c:pt>
                <c:pt idx="589">
                  <c:v>33.416676000000002</c:v>
                </c:pt>
                <c:pt idx="590">
                  <c:v>33.211165999999999</c:v>
                </c:pt>
                <c:pt idx="591">
                  <c:v>33.276927999999998</c:v>
                </c:pt>
                <c:pt idx="592">
                  <c:v>33.194724999999998</c:v>
                </c:pt>
                <c:pt idx="593">
                  <c:v>33.038530000000002</c:v>
                </c:pt>
                <c:pt idx="594">
                  <c:v>32.898784999999997</c:v>
                </c:pt>
                <c:pt idx="595">
                  <c:v>32.882336000000002</c:v>
                </c:pt>
                <c:pt idx="596">
                  <c:v>32.389099999999999</c:v>
                </c:pt>
                <c:pt idx="597">
                  <c:v>32.249360000000003</c:v>
                </c:pt>
                <c:pt idx="598">
                  <c:v>32.471305999999998</c:v>
                </c:pt>
                <c:pt idx="599">
                  <c:v>32.463093000000001</c:v>
                </c:pt>
                <c:pt idx="600">
                  <c:v>32.405543999999999</c:v>
                </c:pt>
                <c:pt idx="601">
                  <c:v>33.087856000000002</c:v>
                </c:pt>
                <c:pt idx="602">
                  <c:v>32.767249999999997</c:v>
                </c:pt>
                <c:pt idx="603">
                  <c:v>32.816574000000003</c:v>
                </c:pt>
                <c:pt idx="604">
                  <c:v>33.202945999999997</c:v>
                </c:pt>
                <c:pt idx="605">
                  <c:v>33.424900000000001</c:v>
                </c:pt>
                <c:pt idx="606">
                  <c:v>33.844147</c:v>
                </c:pt>
                <c:pt idx="607">
                  <c:v>33.811264000000001</c:v>
                </c:pt>
                <c:pt idx="608">
                  <c:v>34.098990000000001</c:v>
                </c:pt>
                <c:pt idx="609">
                  <c:v>33.909903999999997</c:v>
                </c:pt>
                <c:pt idx="610">
                  <c:v>34.016776999999998</c:v>
                </c:pt>
                <c:pt idx="611">
                  <c:v>33.860588</c:v>
                </c:pt>
                <c:pt idx="612">
                  <c:v>33.622196000000002</c:v>
                </c:pt>
                <c:pt idx="613">
                  <c:v>33.572865</c:v>
                </c:pt>
                <c:pt idx="614">
                  <c:v>33.244038000000003</c:v>
                </c:pt>
                <c:pt idx="615">
                  <c:v>33.326251999999997</c:v>
                </c:pt>
                <c:pt idx="616">
                  <c:v>33.334473000000003</c:v>
                </c:pt>
                <c:pt idx="617">
                  <c:v>33.367367000000002</c:v>
                </c:pt>
                <c:pt idx="618">
                  <c:v>33.342697000000001</c:v>
                </c:pt>
                <c:pt idx="619">
                  <c:v>33.770159999999997</c:v>
                </c:pt>
                <c:pt idx="620">
                  <c:v>34.148314999999997</c:v>
                </c:pt>
                <c:pt idx="621">
                  <c:v>34.40316</c:v>
                </c:pt>
                <c:pt idx="622">
                  <c:v>34.625100000000003</c:v>
                </c:pt>
                <c:pt idx="623">
                  <c:v>34.460692999999999</c:v>
                </c:pt>
                <c:pt idx="624">
                  <c:v>34.337389999999999</c:v>
                </c:pt>
                <c:pt idx="625">
                  <c:v>34.263396999999998</c:v>
                </c:pt>
                <c:pt idx="626">
                  <c:v>34.098990000000001</c:v>
                </c:pt>
                <c:pt idx="627">
                  <c:v>33.918132999999997</c:v>
                </c:pt>
                <c:pt idx="628">
                  <c:v>33.786602000000002</c:v>
                </c:pt>
                <c:pt idx="629">
                  <c:v>33.909903999999997</c:v>
                </c:pt>
                <c:pt idx="630">
                  <c:v>33.992109999999997</c:v>
                </c:pt>
                <c:pt idx="631">
                  <c:v>33.951009999999997</c:v>
                </c:pt>
                <c:pt idx="632">
                  <c:v>33.523539999999997</c:v>
                </c:pt>
                <c:pt idx="633">
                  <c:v>33.334473000000003</c:v>
                </c:pt>
                <c:pt idx="634">
                  <c:v>32.495980000000003</c:v>
                </c:pt>
                <c:pt idx="635">
                  <c:v>31.550604</c:v>
                </c:pt>
                <c:pt idx="636">
                  <c:v>31.230001000000001</c:v>
                </c:pt>
                <c:pt idx="637">
                  <c:v>31.838322000000002</c:v>
                </c:pt>
                <c:pt idx="638">
                  <c:v>32.282234000000003</c:v>
                </c:pt>
                <c:pt idx="639">
                  <c:v>32.430202000000001</c:v>
                </c:pt>
                <c:pt idx="640">
                  <c:v>32.323338</c:v>
                </c:pt>
                <c:pt idx="641">
                  <c:v>31.854759999999999</c:v>
                </c:pt>
                <c:pt idx="642">
                  <c:v>31.978072999999998</c:v>
                </c:pt>
                <c:pt idx="643">
                  <c:v>32.191806999999997</c:v>
                </c:pt>
                <c:pt idx="644">
                  <c:v>31.665690000000001</c:v>
                </c:pt>
                <c:pt idx="645">
                  <c:v>31.978072999999998</c:v>
                </c:pt>
                <c:pt idx="646">
                  <c:v>31.484843999999999</c:v>
                </c:pt>
                <c:pt idx="647">
                  <c:v>31.583485</c:v>
                </c:pt>
                <c:pt idx="648">
                  <c:v>31.616661000000001</c:v>
                </c:pt>
                <c:pt idx="649">
                  <c:v>31.591774000000001</c:v>
                </c:pt>
                <c:pt idx="650">
                  <c:v>31.923449999999999</c:v>
                </c:pt>
                <c:pt idx="651">
                  <c:v>32.462418</c:v>
                </c:pt>
                <c:pt idx="652">
                  <c:v>32.653132999999997</c:v>
                </c:pt>
                <c:pt idx="653">
                  <c:v>32.321460000000002</c:v>
                </c:pt>
                <c:pt idx="654">
                  <c:v>32.495586000000003</c:v>
                </c:pt>
                <c:pt idx="655">
                  <c:v>32.163918000000002</c:v>
                </c:pt>
                <c:pt idx="656">
                  <c:v>32.139034000000002</c:v>
                </c:pt>
                <c:pt idx="657">
                  <c:v>32.462418</c:v>
                </c:pt>
                <c:pt idx="658">
                  <c:v>32.852122999999999</c:v>
                </c:pt>
                <c:pt idx="659">
                  <c:v>32.777515000000001</c:v>
                </c:pt>
                <c:pt idx="660">
                  <c:v>32.885300000000001</c:v>
                </c:pt>
                <c:pt idx="661">
                  <c:v>33.266724000000004</c:v>
                </c:pt>
                <c:pt idx="662">
                  <c:v>33.001390000000001</c:v>
                </c:pt>
                <c:pt idx="663">
                  <c:v>33.490597000000001</c:v>
                </c:pt>
                <c:pt idx="664">
                  <c:v>34.004691999999999</c:v>
                </c:pt>
                <c:pt idx="665">
                  <c:v>33.963230000000003</c:v>
                </c:pt>
                <c:pt idx="666">
                  <c:v>34.427579999999999</c:v>
                </c:pt>
                <c:pt idx="667">
                  <c:v>34.809002</c:v>
                </c:pt>
                <c:pt idx="668">
                  <c:v>34.842167000000003</c:v>
                </c:pt>
                <c:pt idx="669">
                  <c:v>34.825589999999998</c:v>
                </c:pt>
                <c:pt idx="670">
                  <c:v>34.535366000000003</c:v>
                </c:pt>
                <c:pt idx="671">
                  <c:v>34.560245999999999</c:v>
                </c:pt>
                <c:pt idx="672">
                  <c:v>34.759253999999999</c:v>
                </c:pt>
                <c:pt idx="673">
                  <c:v>34.842167000000003</c:v>
                </c:pt>
                <c:pt idx="674">
                  <c:v>34.81729</c:v>
                </c:pt>
                <c:pt idx="675">
                  <c:v>35.066048000000002</c:v>
                </c:pt>
                <c:pt idx="676">
                  <c:v>34.983123999999997</c:v>
                </c:pt>
                <c:pt idx="677">
                  <c:v>35.853769999999997</c:v>
                </c:pt>
                <c:pt idx="678">
                  <c:v>35.480640000000001</c:v>
                </c:pt>
                <c:pt idx="679">
                  <c:v>35.314804000000002</c:v>
                </c:pt>
                <c:pt idx="680">
                  <c:v>35.331375000000001</c:v>
                </c:pt>
                <c:pt idx="681">
                  <c:v>35.430889999999998</c:v>
                </c:pt>
                <c:pt idx="682">
                  <c:v>35.480640000000001</c:v>
                </c:pt>
                <c:pt idx="683">
                  <c:v>35.115794999999999</c:v>
                </c:pt>
                <c:pt idx="684">
                  <c:v>35.024585999999999</c:v>
                </c:pt>
                <c:pt idx="685">
                  <c:v>34.958244000000001</c:v>
                </c:pt>
                <c:pt idx="686">
                  <c:v>34.800713000000002</c:v>
                </c:pt>
                <c:pt idx="687">
                  <c:v>35.099204999999998</c:v>
                </c:pt>
                <c:pt idx="688">
                  <c:v>34.792416000000003</c:v>
                </c:pt>
                <c:pt idx="689">
                  <c:v>34.444164000000001</c:v>
                </c:pt>
                <c:pt idx="690">
                  <c:v>34.634875999999998</c:v>
                </c:pt>
                <c:pt idx="691">
                  <c:v>34.858753</c:v>
                </c:pt>
                <c:pt idx="692">
                  <c:v>34.477333000000002</c:v>
                </c:pt>
                <c:pt idx="693">
                  <c:v>34.311489999999999</c:v>
                </c:pt>
                <c:pt idx="694">
                  <c:v>34.792416000000003</c:v>
                </c:pt>
                <c:pt idx="695">
                  <c:v>34.551949999999998</c:v>
                </c:pt>
                <c:pt idx="696">
                  <c:v>35.057749999999999</c:v>
                </c:pt>
                <c:pt idx="697">
                  <c:v>35.74597</c:v>
                </c:pt>
                <c:pt idx="698">
                  <c:v>35.182124999999999</c:v>
                </c:pt>
                <c:pt idx="699">
                  <c:v>35.621589999999998</c:v>
                </c:pt>
                <c:pt idx="700">
                  <c:v>35.953262000000002</c:v>
                </c:pt>
                <c:pt idx="701">
                  <c:v>35.953262000000002</c:v>
                </c:pt>
                <c:pt idx="702">
                  <c:v>36.053542999999998</c:v>
                </c:pt>
                <c:pt idx="703">
                  <c:v>35.610695</c:v>
                </c:pt>
                <c:pt idx="704">
                  <c:v>35.836289999999998</c:v>
                </c:pt>
                <c:pt idx="705">
                  <c:v>35.736027</c:v>
                </c:pt>
                <c:pt idx="706">
                  <c:v>35.477012999999999</c:v>
                </c:pt>
                <c:pt idx="707">
                  <c:v>36.170498000000002</c:v>
                </c:pt>
                <c:pt idx="708">
                  <c:v>36.095309999999998</c:v>
                </c:pt>
                <c:pt idx="709">
                  <c:v>35.936557999999998</c:v>
                </c:pt>
                <c:pt idx="710">
                  <c:v>35.644109999999998</c:v>
                </c:pt>
                <c:pt idx="711">
                  <c:v>35.727673000000003</c:v>
                </c:pt>
                <c:pt idx="712">
                  <c:v>35.318255999999998</c:v>
                </c:pt>
                <c:pt idx="713">
                  <c:v>35.468649999999997</c:v>
                </c:pt>
                <c:pt idx="714">
                  <c:v>35.986694</c:v>
                </c:pt>
                <c:pt idx="715">
                  <c:v>36.630054000000001</c:v>
                </c:pt>
                <c:pt idx="716">
                  <c:v>36.337615999999997</c:v>
                </c:pt>
                <c:pt idx="717">
                  <c:v>35.510429999999999</c:v>
                </c:pt>
                <c:pt idx="718">
                  <c:v>35.744385000000001</c:v>
                </c:pt>
                <c:pt idx="719">
                  <c:v>36.170498000000002</c:v>
                </c:pt>
                <c:pt idx="720">
                  <c:v>36.488010000000003</c:v>
                </c:pt>
                <c:pt idx="721">
                  <c:v>36.379390000000001</c:v>
                </c:pt>
                <c:pt idx="722">
                  <c:v>36.337615999999997</c:v>
                </c:pt>
                <c:pt idx="723">
                  <c:v>36.521445999999997</c:v>
                </c:pt>
                <c:pt idx="724">
                  <c:v>36.404465000000002</c:v>
                </c:pt>
                <c:pt idx="725">
                  <c:v>35.894779999999997</c:v>
                </c:pt>
                <c:pt idx="726">
                  <c:v>35.426887999999998</c:v>
                </c:pt>
                <c:pt idx="727">
                  <c:v>35.552208</c:v>
                </c:pt>
                <c:pt idx="728">
                  <c:v>35.360039999999998</c:v>
                </c:pt>
                <c:pt idx="729">
                  <c:v>34.775157999999998</c:v>
                </c:pt>
                <c:pt idx="730">
                  <c:v>34.683250000000001</c:v>
                </c:pt>
                <c:pt idx="731">
                  <c:v>34.74174</c:v>
                </c:pt>
                <c:pt idx="732">
                  <c:v>35.192920000000001</c:v>
                </c:pt>
                <c:pt idx="733">
                  <c:v>34.96734</c:v>
                </c:pt>
                <c:pt idx="734">
                  <c:v>34.99239</c:v>
                </c:pt>
                <c:pt idx="735">
                  <c:v>34.674892</c:v>
                </c:pt>
                <c:pt idx="736">
                  <c:v>35.025818000000001</c:v>
                </c:pt>
                <c:pt idx="737">
                  <c:v>34.574627</c:v>
                </c:pt>
                <c:pt idx="738">
                  <c:v>34.582979999999999</c:v>
                </c:pt>
                <c:pt idx="739">
                  <c:v>35.142789999999998</c:v>
                </c:pt>
                <c:pt idx="740">
                  <c:v>35.226349999999996</c:v>
                </c:pt>
                <c:pt idx="741">
                  <c:v>35.159492</c:v>
                </c:pt>
                <c:pt idx="742">
                  <c:v>35.167859999999997</c:v>
                </c:pt>
                <c:pt idx="743">
                  <c:v>35.568916000000002</c:v>
                </c:pt>
                <c:pt idx="744">
                  <c:v>35.861355000000003</c:v>
                </c:pt>
                <c:pt idx="745">
                  <c:v>35.928199999999997</c:v>
                </c:pt>
                <c:pt idx="746">
                  <c:v>35.460304000000001</c:v>
                </c:pt>
                <c:pt idx="747">
                  <c:v>35.694249999999997</c:v>
                </c:pt>
                <c:pt idx="748">
                  <c:v>35.535490000000003</c:v>
                </c:pt>
                <c:pt idx="749">
                  <c:v>35.460304000000001</c:v>
                </c:pt>
                <c:pt idx="750">
                  <c:v>35.635764999999999</c:v>
                </c:pt>
                <c:pt idx="751">
                  <c:v>36.178866999999997</c:v>
                </c:pt>
                <c:pt idx="752">
                  <c:v>35.552208</c:v>
                </c:pt>
                <c:pt idx="753">
                  <c:v>35.435229999999997</c:v>
                </c:pt>
                <c:pt idx="754">
                  <c:v>36.020114999999997</c:v>
                </c:pt>
                <c:pt idx="755">
                  <c:v>36.228991999999998</c:v>
                </c:pt>
                <c:pt idx="756">
                  <c:v>36.337615999999997</c:v>
                </c:pt>
                <c:pt idx="757">
                  <c:v>36.437885000000001</c:v>
                </c:pt>
                <c:pt idx="758">
                  <c:v>36.571575000000003</c:v>
                </c:pt>
                <c:pt idx="759">
                  <c:v>36.713614999999997</c:v>
                </c:pt>
                <c:pt idx="760">
                  <c:v>36.504719999999999</c:v>
                </c:pt>
                <c:pt idx="761">
                  <c:v>36.688540000000003</c:v>
                </c:pt>
                <c:pt idx="762">
                  <c:v>36.89743</c:v>
                </c:pt>
                <c:pt idx="763">
                  <c:v>36.045174000000003</c:v>
                </c:pt>
                <c:pt idx="764">
                  <c:v>36.036819999999999</c:v>
                </c:pt>
                <c:pt idx="765">
                  <c:v>36.504719999999999</c:v>
                </c:pt>
                <c:pt idx="766">
                  <c:v>36.571575000000003</c:v>
                </c:pt>
                <c:pt idx="767">
                  <c:v>36.730311999999998</c:v>
                </c:pt>
                <c:pt idx="768">
                  <c:v>36.855649999999997</c:v>
                </c:pt>
                <c:pt idx="769">
                  <c:v>36.772095</c:v>
                </c:pt>
                <c:pt idx="770">
                  <c:v>37.031115999999997</c:v>
                </c:pt>
                <c:pt idx="771">
                  <c:v>37.440530000000003</c:v>
                </c:pt>
                <c:pt idx="772">
                  <c:v>37.791454000000002</c:v>
                </c:pt>
                <c:pt idx="773">
                  <c:v>38.060912999999999</c:v>
                </c:pt>
                <c:pt idx="774">
                  <c:v>38.136696000000001</c:v>
                </c:pt>
                <c:pt idx="775">
                  <c:v>38.094593000000003</c:v>
                </c:pt>
                <c:pt idx="776">
                  <c:v>37.934600000000003</c:v>
                </c:pt>
                <c:pt idx="777">
                  <c:v>38.540894000000002</c:v>
                </c:pt>
                <c:pt idx="778">
                  <c:v>38.397736000000002</c:v>
                </c:pt>
                <c:pt idx="779">
                  <c:v>38.456679999999999</c:v>
                </c:pt>
                <c:pt idx="780">
                  <c:v>38.313521999999999</c:v>
                </c:pt>
                <c:pt idx="781">
                  <c:v>38.279845999999999</c:v>
                </c:pt>
                <c:pt idx="782">
                  <c:v>38.380899999999997</c:v>
                </c:pt>
                <c:pt idx="783">
                  <c:v>38.566135000000003</c:v>
                </c:pt>
                <c:pt idx="784">
                  <c:v>39.138739999999999</c:v>
                </c:pt>
                <c:pt idx="785">
                  <c:v>39.22296</c:v>
                </c:pt>
                <c:pt idx="786">
                  <c:v>39.062958000000002</c:v>
                </c:pt>
                <c:pt idx="787">
                  <c:v>39.433459999999997</c:v>
                </c:pt>
                <c:pt idx="788">
                  <c:v>39.483986000000002</c:v>
                </c:pt>
                <c:pt idx="789">
                  <c:v>39.18085</c:v>
                </c:pt>
                <c:pt idx="790">
                  <c:v>39.332413000000003</c:v>
                </c:pt>
                <c:pt idx="791">
                  <c:v>39.037700000000001</c:v>
                </c:pt>
                <c:pt idx="792">
                  <c:v>39.467149999999997</c:v>
                </c:pt>
                <c:pt idx="793">
                  <c:v>39.105063999999999</c:v>
                </c:pt>
                <c:pt idx="794">
                  <c:v>39.281889999999997</c:v>
                </c:pt>
                <c:pt idx="795">
                  <c:v>38.768239999999999</c:v>
                </c:pt>
                <c:pt idx="796">
                  <c:v>38.591403999999997</c:v>
                </c:pt>
                <c:pt idx="797">
                  <c:v>38.818759999999997</c:v>
                </c:pt>
                <c:pt idx="798">
                  <c:v>38.919815</c:v>
                </c:pt>
                <c:pt idx="799">
                  <c:v>39.239780000000003</c:v>
                </c:pt>
                <c:pt idx="800">
                  <c:v>37.362003000000001</c:v>
                </c:pt>
                <c:pt idx="801">
                  <c:v>36.764150000000001</c:v>
                </c:pt>
                <c:pt idx="802">
                  <c:v>37.505164999999998</c:v>
                </c:pt>
                <c:pt idx="803">
                  <c:v>37.648304000000003</c:v>
                </c:pt>
                <c:pt idx="804">
                  <c:v>37.496740000000003</c:v>
                </c:pt>
                <c:pt idx="805">
                  <c:v>37.623049999999999</c:v>
                </c:pt>
                <c:pt idx="806">
                  <c:v>37.580939999999998</c:v>
                </c:pt>
                <c:pt idx="807">
                  <c:v>37.724080000000001</c:v>
                </c:pt>
                <c:pt idx="808">
                  <c:v>37.875655999999999</c:v>
                </c:pt>
                <c:pt idx="809">
                  <c:v>37.757773999999998</c:v>
                </c:pt>
                <c:pt idx="810">
                  <c:v>37.875655999999999</c:v>
                </c:pt>
                <c:pt idx="811">
                  <c:v>37.943027000000001</c:v>
                </c:pt>
                <c:pt idx="812">
                  <c:v>38.161960000000001</c:v>
                </c:pt>
                <c:pt idx="813">
                  <c:v>38.094593000000003</c:v>
                </c:pt>
                <c:pt idx="814">
                  <c:v>38.524039999999999</c:v>
                </c:pt>
                <c:pt idx="815">
                  <c:v>38.279845999999999</c:v>
                </c:pt>
                <c:pt idx="816">
                  <c:v>38.591403999999997</c:v>
                </c:pt>
                <c:pt idx="817">
                  <c:v>38.187218000000001</c:v>
                </c:pt>
                <c:pt idx="818">
                  <c:v>38.414574000000002</c:v>
                </c:pt>
                <c:pt idx="819">
                  <c:v>37.681975999999999</c:v>
                </c:pt>
                <c:pt idx="820">
                  <c:v>37.454628</c:v>
                </c:pt>
                <c:pt idx="821">
                  <c:v>37.319899999999997</c:v>
                </c:pt>
                <c:pt idx="822">
                  <c:v>37.008343000000004</c:v>
                </c:pt>
                <c:pt idx="823">
                  <c:v>37.025185</c:v>
                </c:pt>
                <c:pt idx="824">
                  <c:v>37.362003000000001</c:v>
                </c:pt>
                <c:pt idx="825">
                  <c:v>37.370426000000002</c:v>
                </c:pt>
                <c:pt idx="826">
                  <c:v>37.631461999999999</c:v>
                </c:pt>
                <c:pt idx="827">
                  <c:v>37.707253000000001</c:v>
                </c:pt>
                <c:pt idx="828">
                  <c:v>37.555675999999998</c:v>
                </c:pt>
                <c:pt idx="829">
                  <c:v>37.639893000000001</c:v>
                </c:pt>
                <c:pt idx="830">
                  <c:v>37.656723</c:v>
                </c:pt>
                <c:pt idx="831">
                  <c:v>37.926189999999998</c:v>
                </c:pt>
                <c:pt idx="832">
                  <c:v>38.204062999999998</c:v>
                </c:pt>
                <c:pt idx="833">
                  <c:v>38.161960000000001</c:v>
                </c:pt>
                <c:pt idx="834">
                  <c:v>38.355637000000002</c:v>
                </c:pt>
                <c:pt idx="835">
                  <c:v>38.532463</c:v>
                </c:pt>
                <c:pt idx="836">
                  <c:v>38.726134999999999</c:v>
                </c:pt>
                <c:pt idx="837">
                  <c:v>38.284911999999998</c:v>
                </c:pt>
                <c:pt idx="838">
                  <c:v>38.217033000000001</c:v>
                </c:pt>
                <c:pt idx="839">
                  <c:v>38.191574000000003</c:v>
                </c:pt>
                <c:pt idx="840">
                  <c:v>38.446129999999997</c:v>
                </c:pt>
                <c:pt idx="841">
                  <c:v>38.004899999999999</c:v>
                </c:pt>
                <c:pt idx="842">
                  <c:v>38.166110000000003</c:v>
                </c:pt>
                <c:pt idx="843">
                  <c:v>38.293399999999998</c:v>
                </c:pt>
                <c:pt idx="844">
                  <c:v>38.064292999999999</c:v>
                </c:pt>
                <c:pt idx="845">
                  <c:v>38.250970000000002</c:v>
                </c:pt>
                <c:pt idx="846">
                  <c:v>37.275179999999999</c:v>
                </c:pt>
                <c:pt idx="847">
                  <c:v>37.147902999999999</c:v>
                </c:pt>
                <c:pt idx="848">
                  <c:v>37.487312000000003</c:v>
                </c:pt>
                <c:pt idx="849">
                  <c:v>37.707915999999997</c:v>
                </c:pt>
                <c:pt idx="850">
                  <c:v>38.463096999999998</c:v>
                </c:pt>
                <c:pt idx="851">
                  <c:v>38.284911999999998</c:v>
                </c:pt>
                <c:pt idx="852">
                  <c:v>38.547947000000001</c:v>
                </c:pt>
                <c:pt idx="853">
                  <c:v>38.412179999999999</c:v>
                </c:pt>
                <c:pt idx="854">
                  <c:v>38.259453000000001</c:v>
                </c:pt>
                <c:pt idx="855">
                  <c:v>38.505524000000001</c:v>
                </c:pt>
                <c:pt idx="856">
                  <c:v>38.666739999999997</c:v>
                </c:pt>
                <c:pt idx="857">
                  <c:v>38.675229999999999</c:v>
                </c:pt>
                <c:pt idx="858">
                  <c:v>38.810986</c:v>
                </c:pt>
                <c:pt idx="859">
                  <c:v>38.768560000000001</c:v>
                </c:pt>
                <c:pt idx="860">
                  <c:v>38.717647999999997</c:v>
                </c:pt>
                <c:pt idx="861">
                  <c:v>38.717647999999997</c:v>
                </c:pt>
                <c:pt idx="862">
                  <c:v>38.717647999999997</c:v>
                </c:pt>
                <c:pt idx="863">
                  <c:v>38.615830000000003</c:v>
                </c:pt>
                <c:pt idx="864">
                  <c:v>38.564922000000003</c:v>
                </c:pt>
                <c:pt idx="865">
                  <c:v>38.887352</c:v>
                </c:pt>
                <c:pt idx="866">
                  <c:v>38.666739999999997</c:v>
                </c:pt>
                <c:pt idx="867">
                  <c:v>38.081276000000003</c:v>
                </c:pt>
                <c:pt idx="868">
                  <c:v>36.825465999999999</c:v>
                </c:pt>
                <c:pt idx="869">
                  <c:v>37.037598000000003</c:v>
                </c:pt>
                <c:pt idx="870">
                  <c:v>37.020622000000003</c:v>
                </c:pt>
                <c:pt idx="871">
                  <c:v>36.867890000000003</c:v>
                </c:pt>
                <c:pt idx="872">
                  <c:v>36.935769999999998</c:v>
                </c:pt>
                <c:pt idx="873">
                  <c:v>37.0291</c:v>
                </c:pt>
                <c:pt idx="874">
                  <c:v>36.918804000000002</c:v>
                </c:pt>
                <c:pt idx="875">
                  <c:v>36.893349999999998</c:v>
                </c:pt>
                <c:pt idx="876">
                  <c:v>36.859394000000002</c:v>
                </c:pt>
                <c:pt idx="877">
                  <c:v>36.884856999999997</c:v>
                </c:pt>
                <c:pt idx="878">
                  <c:v>37.003653999999997</c:v>
                </c:pt>
                <c:pt idx="879">
                  <c:v>37.122444000000002</c:v>
                </c:pt>
                <c:pt idx="880">
                  <c:v>37.360030000000002</c:v>
                </c:pt>
                <c:pt idx="881">
                  <c:v>37.538215999999998</c:v>
                </c:pt>
                <c:pt idx="882">
                  <c:v>37.190330000000003</c:v>
                </c:pt>
                <c:pt idx="883">
                  <c:v>37.385489999999997</c:v>
                </c:pt>
                <c:pt idx="884">
                  <c:v>37.419426000000001</c:v>
                </c:pt>
                <c:pt idx="885">
                  <c:v>37.266692999999997</c:v>
                </c:pt>
                <c:pt idx="886">
                  <c:v>37.113953000000002</c:v>
                </c:pt>
                <c:pt idx="887">
                  <c:v>37.20729</c:v>
                </c:pt>
                <c:pt idx="888">
                  <c:v>37.20729</c:v>
                </c:pt>
                <c:pt idx="889">
                  <c:v>37.054560000000002</c:v>
                </c:pt>
                <c:pt idx="890">
                  <c:v>36.75759</c:v>
                </c:pt>
                <c:pt idx="891">
                  <c:v>36.944267000000004</c:v>
                </c:pt>
                <c:pt idx="892">
                  <c:v>36.689704999999996</c:v>
                </c:pt>
                <c:pt idx="893">
                  <c:v>36.850918</c:v>
                </c:pt>
                <c:pt idx="894">
                  <c:v>36.783047000000003</c:v>
                </c:pt>
                <c:pt idx="895">
                  <c:v>37.046080000000003</c:v>
                </c:pt>
                <c:pt idx="896">
                  <c:v>37.156387000000002</c:v>
                </c:pt>
                <c:pt idx="897">
                  <c:v>37.0291</c:v>
                </c:pt>
                <c:pt idx="898">
                  <c:v>37.020622000000003</c:v>
                </c:pt>
                <c:pt idx="899">
                  <c:v>35.86665</c:v>
                </c:pt>
                <c:pt idx="900">
                  <c:v>36.647278</c:v>
                </c:pt>
                <c:pt idx="901">
                  <c:v>36.168219999999998</c:v>
                </c:pt>
                <c:pt idx="902">
                  <c:v>36.022807999999998</c:v>
                </c:pt>
                <c:pt idx="903">
                  <c:v>36.236668000000002</c:v>
                </c:pt>
                <c:pt idx="904">
                  <c:v>36.048459999999999</c:v>
                </c:pt>
                <c:pt idx="905">
                  <c:v>36.014249999999997</c:v>
                </c:pt>
                <c:pt idx="906">
                  <c:v>36.219566</c:v>
                </c:pt>
                <c:pt idx="907">
                  <c:v>36.382088000000003</c:v>
                </c:pt>
                <c:pt idx="908">
                  <c:v>36.749927999999997</c:v>
                </c:pt>
                <c:pt idx="909">
                  <c:v>36.561737000000001</c:v>
                </c:pt>
                <c:pt idx="910">
                  <c:v>35.971474000000001</c:v>
                </c:pt>
                <c:pt idx="911">
                  <c:v>36.433425999999997</c:v>
                </c:pt>
                <c:pt idx="912">
                  <c:v>36.057029999999997</c:v>
                </c:pt>
                <c:pt idx="913">
                  <c:v>35.954360000000001</c:v>
                </c:pt>
                <c:pt idx="914">
                  <c:v>36.202449999999999</c:v>
                </c:pt>
                <c:pt idx="915">
                  <c:v>35.954360000000001</c:v>
                </c:pt>
                <c:pt idx="916">
                  <c:v>35.791836000000004</c:v>
                </c:pt>
                <c:pt idx="917">
                  <c:v>35.766179999999999</c:v>
                </c:pt>
                <c:pt idx="918">
                  <c:v>35.680630000000001</c:v>
                </c:pt>
                <c:pt idx="919">
                  <c:v>35.697740000000003</c:v>
                </c:pt>
                <c:pt idx="920">
                  <c:v>35.697740000000003</c:v>
                </c:pt>
                <c:pt idx="921">
                  <c:v>35.535206000000002</c:v>
                </c:pt>
                <c:pt idx="922">
                  <c:v>35.740499999999997</c:v>
                </c:pt>
                <c:pt idx="923">
                  <c:v>35.723399999999998</c:v>
                </c:pt>
                <c:pt idx="924">
                  <c:v>35.646403999999997</c:v>
                </c:pt>
                <c:pt idx="925">
                  <c:v>35.58652</c:v>
                </c:pt>
                <c:pt idx="926">
                  <c:v>35.903039999999997</c:v>
                </c:pt>
                <c:pt idx="927">
                  <c:v>35.971474000000001</c:v>
                </c:pt>
                <c:pt idx="928">
                  <c:v>35.868823999999996</c:v>
                </c:pt>
                <c:pt idx="929">
                  <c:v>36.039917000000003</c:v>
                </c:pt>
                <c:pt idx="930">
                  <c:v>36.407753</c:v>
                </c:pt>
                <c:pt idx="931">
                  <c:v>36.390647999999999</c:v>
                </c:pt>
                <c:pt idx="932">
                  <c:v>36.305100000000003</c:v>
                </c:pt>
                <c:pt idx="933">
                  <c:v>36.031357</c:v>
                </c:pt>
                <c:pt idx="934">
                  <c:v>36.125453999999998</c:v>
                </c:pt>
                <c:pt idx="935">
                  <c:v>36.270890000000001</c:v>
                </c:pt>
                <c:pt idx="936">
                  <c:v>36.031357</c:v>
                </c:pt>
                <c:pt idx="937">
                  <c:v>35.971474000000001</c:v>
                </c:pt>
                <c:pt idx="938">
                  <c:v>35.954360000000001</c:v>
                </c:pt>
                <c:pt idx="939">
                  <c:v>35.663499999999999</c:v>
                </c:pt>
                <c:pt idx="940">
                  <c:v>36.322209999999998</c:v>
                </c:pt>
                <c:pt idx="941">
                  <c:v>36.681507000000003</c:v>
                </c:pt>
                <c:pt idx="942">
                  <c:v>36.159683000000001</c:v>
                </c:pt>
                <c:pt idx="943">
                  <c:v>35.021934999999999</c:v>
                </c:pt>
                <c:pt idx="944">
                  <c:v>35.098922999999999</c:v>
                </c:pt>
                <c:pt idx="945">
                  <c:v>35.218685000000001</c:v>
                </c:pt>
                <c:pt idx="946">
                  <c:v>35.449654000000002</c:v>
                </c:pt>
                <c:pt idx="947">
                  <c:v>35.295673000000001</c:v>
                </c:pt>
                <c:pt idx="948">
                  <c:v>35.175919999999998</c:v>
                </c:pt>
                <c:pt idx="949">
                  <c:v>34.996265000000001</c:v>
                </c:pt>
                <c:pt idx="950">
                  <c:v>35.381219999999999</c:v>
                </c:pt>
                <c:pt idx="951">
                  <c:v>35.389789999999998</c:v>
                </c:pt>
                <c:pt idx="952">
                  <c:v>35.175919999999998</c:v>
                </c:pt>
                <c:pt idx="953">
                  <c:v>35.526646</c:v>
                </c:pt>
                <c:pt idx="954">
                  <c:v>35.714843999999999</c:v>
                </c:pt>
                <c:pt idx="955">
                  <c:v>35.499172000000002</c:v>
                </c:pt>
                <c:pt idx="956">
                  <c:v>34.80903</c:v>
                </c:pt>
                <c:pt idx="957">
                  <c:v>34.653748</c:v>
                </c:pt>
                <c:pt idx="958">
                  <c:v>34.817653999999997</c:v>
                </c:pt>
                <c:pt idx="959">
                  <c:v>35.041953999999997</c:v>
                </c:pt>
                <c:pt idx="960">
                  <c:v>34.998824999999997</c:v>
                </c:pt>
                <c:pt idx="961">
                  <c:v>35.619945999999999</c:v>
                </c:pt>
                <c:pt idx="962">
                  <c:v>35.352516000000001</c:v>
                </c:pt>
                <c:pt idx="963">
                  <c:v>36.232455999999999</c:v>
                </c:pt>
                <c:pt idx="964">
                  <c:v>36.146183000000001</c:v>
                </c:pt>
                <c:pt idx="965">
                  <c:v>36.025410000000001</c:v>
                </c:pt>
                <c:pt idx="966">
                  <c:v>35.550938000000002</c:v>
                </c:pt>
                <c:pt idx="967">
                  <c:v>35.844239999999999</c:v>
                </c:pt>
                <c:pt idx="968">
                  <c:v>36.008144000000001</c:v>
                </c:pt>
                <c:pt idx="969">
                  <c:v>35.947760000000002</c:v>
                </c:pt>
                <c:pt idx="970">
                  <c:v>35.939137000000002</c:v>
                </c:pt>
                <c:pt idx="971">
                  <c:v>35.861496000000002</c:v>
                </c:pt>
                <c:pt idx="972">
                  <c:v>35.844239999999999</c:v>
                </c:pt>
                <c:pt idx="973">
                  <c:v>35.887374999999999</c:v>
                </c:pt>
                <c:pt idx="974">
                  <c:v>35.896008000000002</c:v>
                </c:pt>
                <c:pt idx="975">
                  <c:v>35.706215</c:v>
                </c:pt>
                <c:pt idx="976">
                  <c:v>35.887374999999999</c:v>
                </c:pt>
                <c:pt idx="977">
                  <c:v>35.76661</c:v>
                </c:pt>
                <c:pt idx="978">
                  <c:v>36.059913999999999</c:v>
                </c:pt>
                <c:pt idx="979">
                  <c:v>35.930508000000003</c:v>
                </c:pt>
                <c:pt idx="980">
                  <c:v>36.016779999999997</c:v>
                </c:pt>
                <c:pt idx="981">
                  <c:v>36.008144000000001</c:v>
                </c:pt>
                <c:pt idx="982">
                  <c:v>35.645829999999997</c:v>
                </c:pt>
                <c:pt idx="983">
                  <c:v>35.404277999999998</c:v>
                </c:pt>
                <c:pt idx="984">
                  <c:v>35.412894999999999</c:v>
                </c:pt>
                <c:pt idx="985">
                  <c:v>35.326633000000001</c:v>
                </c:pt>
                <c:pt idx="986">
                  <c:v>35.266247</c:v>
                </c:pt>
                <c:pt idx="987">
                  <c:v>35.559562999999997</c:v>
                </c:pt>
                <c:pt idx="988">
                  <c:v>35.619945999999999</c:v>
                </c:pt>
                <c:pt idx="989">
                  <c:v>35.490546999999999</c:v>
                </c:pt>
                <c:pt idx="990">
                  <c:v>35.645829999999997</c:v>
                </c:pt>
                <c:pt idx="991">
                  <c:v>35.740726000000002</c:v>
                </c:pt>
                <c:pt idx="992">
                  <c:v>36.146183000000001</c:v>
                </c:pt>
                <c:pt idx="993">
                  <c:v>36.335968000000001</c:v>
                </c:pt>
                <c:pt idx="994">
                  <c:v>36.068545999999998</c:v>
                </c:pt>
                <c:pt idx="995">
                  <c:v>35.757973</c:v>
                </c:pt>
                <c:pt idx="996">
                  <c:v>35.697586000000001</c:v>
                </c:pt>
                <c:pt idx="997">
                  <c:v>35.861496000000002</c:v>
                </c:pt>
                <c:pt idx="998">
                  <c:v>35.594067000000003</c:v>
                </c:pt>
                <c:pt idx="999">
                  <c:v>35.714840000000002</c:v>
                </c:pt>
                <c:pt idx="1000">
                  <c:v>35.835619999999999</c:v>
                </c:pt>
                <c:pt idx="1001">
                  <c:v>35.852870000000003</c:v>
                </c:pt>
                <c:pt idx="1002">
                  <c:v>36.146183000000001</c:v>
                </c:pt>
                <c:pt idx="1003">
                  <c:v>36.249701999999999</c:v>
                </c:pt>
                <c:pt idx="1004">
                  <c:v>35.585439999999998</c:v>
                </c:pt>
                <c:pt idx="1005">
                  <c:v>35.007458</c:v>
                </c:pt>
                <c:pt idx="1006">
                  <c:v>35.041953999999997</c:v>
                </c:pt>
                <c:pt idx="1007">
                  <c:v>34.964314000000002</c:v>
                </c:pt>
                <c:pt idx="1008">
                  <c:v>34.886673000000002</c:v>
                </c:pt>
                <c:pt idx="1009">
                  <c:v>35.542304999999999</c:v>
                </c:pt>
                <c:pt idx="1010">
                  <c:v>35.568184000000002</c:v>
                </c:pt>
                <c:pt idx="1011">
                  <c:v>35.76661</c:v>
                </c:pt>
                <c:pt idx="1012">
                  <c:v>35.887374999999999</c:v>
                </c:pt>
                <c:pt idx="1013">
                  <c:v>35.939137000000002</c:v>
                </c:pt>
                <c:pt idx="1014">
                  <c:v>36.042659999999998</c:v>
                </c:pt>
                <c:pt idx="1015">
                  <c:v>35.947760000000002</c:v>
                </c:pt>
                <c:pt idx="1016">
                  <c:v>36.197940000000003</c:v>
                </c:pt>
                <c:pt idx="1017">
                  <c:v>36.370480000000001</c:v>
                </c:pt>
                <c:pt idx="1018">
                  <c:v>36.637905000000003</c:v>
                </c:pt>
                <c:pt idx="1019">
                  <c:v>36.646534000000003</c:v>
                </c:pt>
                <c:pt idx="1020">
                  <c:v>36.387729999999998</c:v>
                </c:pt>
                <c:pt idx="1021">
                  <c:v>36.223812000000002</c:v>
                </c:pt>
                <c:pt idx="1022">
                  <c:v>36.223812000000002</c:v>
                </c:pt>
                <c:pt idx="1023">
                  <c:v>36.258324000000002</c:v>
                </c:pt>
                <c:pt idx="1024">
                  <c:v>36.48263</c:v>
                </c:pt>
                <c:pt idx="1025">
                  <c:v>36.578353999999997</c:v>
                </c:pt>
                <c:pt idx="1026">
                  <c:v>36.526142</c:v>
                </c:pt>
                <c:pt idx="1027">
                  <c:v>36.656685000000003</c:v>
                </c:pt>
                <c:pt idx="1028">
                  <c:v>36.769820000000003</c:v>
                </c:pt>
                <c:pt idx="1029">
                  <c:v>36.578353999999997</c:v>
                </c:pt>
                <c:pt idx="1030">
                  <c:v>36.7089</c:v>
                </c:pt>
                <c:pt idx="1031">
                  <c:v>36.987392</c:v>
                </c:pt>
                <c:pt idx="1032">
                  <c:v>36.882964999999999</c:v>
                </c:pt>
                <c:pt idx="1033">
                  <c:v>36.700200000000002</c:v>
                </c:pt>
                <c:pt idx="1034">
                  <c:v>36.656685000000003</c:v>
                </c:pt>
                <c:pt idx="1035">
                  <c:v>36.830750000000002</c:v>
                </c:pt>
                <c:pt idx="1036">
                  <c:v>36.926479999999998</c:v>
                </c:pt>
                <c:pt idx="1037">
                  <c:v>36.917769999999997</c:v>
                </c:pt>
                <c:pt idx="1038">
                  <c:v>37.074424999999998</c:v>
                </c:pt>
                <c:pt idx="1039">
                  <c:v>36.935184</c:v>
                </c:pt>
                <c:pt idx="1040">
                  <c:v>36.90907</c:v>
                </c:pt>
                <c:pt idx="1041">
                  <c:v>37.144060000000003</c:v>
                </c:pt>
                <c:pt idx="1042">
                  <c:v>37.048313</c:v>
                </c:pt>
                <c:pt idx="1043">
                  <c:v>37.135337999999997</c:v>
                </c:pt>
                <c:pt idx="1044">
                  <c:v>37.083129999999997</c:v>
                </c:pt>
                <c:pt idx="1045">
                  <c:v>37.152749999999997</c:v>
                </c:pt>
                <c:pt idx="1046">
                  <c:v>37.126632999999998</c:v>
                </c:pt>
                <c:pt idx="1047">
                  <c:v>37.370322999999999</c:v>
                </c:pt>
                <c:pt idx="1048">
                  <c:v>37.239776999999997</c:v>
                </c:pt>
                <c:pt idx="1049">
                  <c:v>37.483463</c:v>
                </c:pt>
                <c:pt idx="1050">
                  <c:v>37.840282000000002</c:v>
                </c:pt>
                <c:pt idx="1051">
                  <c:v>37.622706999999998</c:v>
                </c:pt>
                <c:pt idx="1052">
                  <c:v>37.500869999999999</c:v>
                </c:pt>
                <c:pt idx="1053">
                  <c:v>37.483463</c:v>
                </c:pt>
                <c:pt idx="1054">
                  <c:v>37.666224999999997</c:v>
                </c:pt>
                <c:pt idx="1055">
                  <c:v>37.518276</c:v>
                </c:pt>
                <c:pt idx="1056">
                  <c:v>37.631410000000002</c:v>
                </c:pt>
                <c:pt idx="1057">
                  <c:v>37.431244</c:v>
                </c:pt>
                <c:pt idx="1058">
                  <c:v>37.553085000000003</c:v>
                </c:pt>
                <c:pt idx="1059">
                  <c:v>37.614006000000003</c:v>
                </c:pt>
                <c:pt idx="1060">
                  <c:v>37.761947999999997</c:v>
                </c:pt>
                <c:pt idx="1061">
                  <c:v>37.701039999999999</c:v>
                </c:pt>
                <c:pt idx="1062">
                  <c:v>37.996932999999999</c:v>
                </c:pt>
                <c:pt idx="1063">
                  <c:v>38.023037000000002</c:v>
                </c:pt>
                <c:pt idx="1064">
                  <c:v>38.197094</c:v>
                </c:pt>
                <c:pt idx="1065">
                  <c:v>37.866390000000003</c:v>
                </c:pt>
                <c:pt idx="1066">
                  <c:v>37.918610000000001</c:v>
                </c:pt>
                <c:pt idx="1067">
                  <c:v>38.005626999999997</c:v>
                </c:pt>
                <c:pt idx="1068">
                  <c:v>37.936016000000002</c:v>
                </c:pt>
                <c:pt idx="1069">
                  <c:v>38.057858000000003</c:v>
                </c:pt>
                <c:pt idx="1070">
                  <c:v>38.162280000000003</c:v>
                </c:pt>
                <c:pt idx="1071">
                  <c:v>38.231915000000001</c:v>
                </c:pt>
                <c:pt idx="1072">
                  <c:v>38.118769999999998</c:v>
                </c:pt>
                <c:pt idx="1073">
                  <c:v>38.205807</c:v>
                </c:pt>
                <c:pt idx="1074">
                  <c:v>38.449486</c:v>
                </c:pt>
                <c:pt idx="1075">
                  <c:v>38.632247999999997</c:v>
                </c:pt>
                <c:pt idx="1076">
                  <c:v>39.189230000000002</c:v>
                </c:pt>
                <c:pt idx="1077">
                  <c:v>39.519939999999998</c:v>
                </c:pt>
                <c:pt idx="1078">
                  <c:v>39.502544</c:v>
                </c:pt>
                <c:pt idx="1079">
                  <c:v>39.537354000000001</c:v>
                </c:pt>
                <c:pt idx="1080">
                  <c:v>39.572163000000003</c:v>
                </c:pt>
                <c:pt idx="1081">
                  <c:v>39.850650000000002</c:v>
                </c:pt>
                <c:pt idx="1082">
                  <c:v>39.937690000000003</c:v>
                </c:pt>
                <c:pt idx="1083">
                  <c:v>40.024715</c:v>
                </c:pt>
                <c:pt idx="1084">
                  <c:v>40.016013999999998</c:v>
                </c:pt>
                <c:pt idx="1085">
                  <c:v>39.606969999999997</c:v>
                </c:pt>
                <c:pt idx="1086">
                  <c:v>39.276263999999998</c:v>
                </c:pt>
                <c:pt idx="1087">
                  <c:v>39.441623999999997</c:v>
                </c:pt>
                <c:pt idx="1088">
                  <c:v>39.450316999999998</c:v>
                </c:pt>
                <c:pt idx="1089">
                  <c:v>39.511744999999998</c:v>
                </c:pt>
                <c:pt idx="1090">
                  <c:v>39.748649999999998</c:v>
                </c:pt>
                <c:pt idx="1091">
                  <c:v>39.70478</c:v>
                </c:pt>
                <c:pt idx="1092">
                  <c:v>39.757427</c:v>
                </c:pt>
                <c:pt idx="1093">
                  <c:v>39.818860000000001</c:v>
                </c:pt>
                <c:pt idx="1094">
                  <c:v>40.020663999999996</c:v>
                </c:pt>
                <c:pt idx="1095">
                  <c:v>39.678460000000001</c:v>
                </c:pt>
                <c:pt idx="1096">
                  <c:v>39.546849999999999</c:v>
                </c:pt>
                <c:pt idx="1097">
                  <c:v>39.70478</c:v>
                </c:pt>
                <c:pt idx="1098">
                  <c:v>39.862724</c:v>
                </c:pt>
                <c:pt idx="1099">
                  <c:v>39.529293000000003</c:v>
                </c:pt>
                <c:pt idx="1100">
                  <c:v>39.766216</c:v>
                </c:pt>
                <c:pt idx="1101">
                  <c:v>39.33625</c:v>
                </c:pt>
                <c:pt idx="1102">
                  <c:v>39.353797999999998</c:v>
                </c:pt>
                <c:pt idx="1103">
                  <c:v>39.274825999999997</c:v>
                </c:pt>
                <c:pt idx="1104">
                  <c:v>39.327472999999998</c:v>
                </c:pt>
                <c:pt idx="1105">
                  <c:v>38.958950000000002</c:v>
                </c:pt>
                <c:pt idx="1106">
                  <c:v>38.950172000000002</c:v>
                </c:pt>
                <c:pt idx="1107">
                  <c:v>38.941401999999997</c:v>
                </c:pt>
                <c:pt idx="1108">
                  <c:v>38.897522000000002</c:v>
                </c:pt>
                <c:pt idx="1109">
                  <c:v>39.055466000000003</c:v>
                </c:pt>
                <c:pt idx="1110">
                  <c:v>38.985267999999998</c:v>
                </c:pt>
                <c:pt idx="1111">
                  <c:v>39.204636000000001</c:v>
                </c:pt>
                <c:pt idx="1112">
                  <c:v>39.248505000000002</c:v>
                </c:pt>
                <c:pt idx="1113">
                  <c:v>39.195858000000001</c:v>
                </c:pt>
                <c:pt idx="1114">
                  <c:v>39.33625</c:v>
                </c:pt>
                <c:pt idx="1115">
                  <c:v>39.327472999999998</c:v>
                </c:pt>
                <c:pt idx="1116">
                  <c:v>39.511744999999998</c:v>
                </c:pt>
                <c:pt idx="1117">
                  <c:v>39.345024000000002</c:v>
                </c:pt>
                <c:pt idx="1118">
                  <c:v>39.696010000000001</c:v>
                </c:pt>
                <c:pt idx="1119">
                  <c:v>40.134740000000001</c:v>
                </c:pt>
                <c:pt idx="1120">
                  <c:v>40.468170000000001</c:v>
                </c:pt>
                <c:pt idx="1121">
                  <c:v>40.371642999999999</c:v>
                </c:pt>
                <c:pt idx="1122">
                  <c:v>40.222479999999997</c:v>
                </c:pt>
                <c:pt idx="1123">
                  <c:v>40.099643999999998</c:v>
                </c:pt>
                <c:pt idx="1124">
                  <c:v>40.003120000000003</c:v>
                </c:pt>
                <c:pt idx="1125">
                  <c:v>40.073309999999999</c:v>
                </c:pt>
                <c:pt idx="1126">
                  <c:v>39.924151999999999</c:v>
                </c:pt>
                <c:pt idx="1127">
                  <c:v>40.046990000000001</c:v>
                </c:pt>
                <c:pt idx="1128">
                  <c:v>40.011887000000002</c:v>
                </c:pt>
                <c:pt idx="1129">
                  <c:v>40.003120000000003</c:v>
                </c:pt>
                <c:pt idx="1130">
                  <c:v>40.134740000000001</c:v>
                </c:pt>
                <c:pt idx="1131">
                  <c:v>40.003120000000003</c:v>
                </c:pt>
                <c:pt idx="1132">
                  <c:v>40.187385999999996</c:v>
                </c:pt>
                <c:pt idx="1133">
                  <c:v>40.529586999999999</c:v>
                </c:pt>
                <c:pt idx="1134">
                  <c:v>40.538359999999997</c:v>
                </c:pt>
                <c:pt idx="1135">
                  <c:v>40.240036000000003</c:v>
                </c:pt>
                <c:pt idx="1136">
                  <c:v>40.073309999999999</c:v>
                </c:pt>
                <c:pt idx="1137">
                  <c:v>40.082084999999999</c:v>
                </c:pt>
                <c:pt idx="1138">
                  <c:v>40.011887000000002</c:v>
                </c:pt>
                <c:pt idx="1139">
                  <c:v>39.959240000000001</c:v>
                </c:pt>
                <c:pt idx="1140">
                  <c:v>39.845177</c:v>
                </c:pt>
                <c:pt idx="1141">
                  <c:v>39.985576999999999</c:v>
                </c:pt>
                <c:pt idx="1142">
                  <c:v>39.853946999999998</c:v>
                </c:pt>
                <c:pt idx="1143">
                  <c:v>39.880279999999999</c:v>
                </c:pt>
                <c:pt idx="1144">
                  <c:v>39.827629999999999</c:v>
                </c:pt>
                <c:pt idx="1145">
                  <c:v>39.968024999999997</c:v>
                </c:pt>
                <c:pt idx="1146">
                  <c:v>40.169829999999997</c:v>
                </c:pt>
                <c:pt idx="1147">
                  <c:v>40.292686000000003</c:v>
                </c:pt>
                <c:pt idx="1148">
                  <c:v>40.327770000000001</c:v>
                </c:pt>
                <c:pt idx="1149">
                  <c:v>40.608566000000003</c:v>
                </c:pt>
                <c:pt idx="1150">
                  <c:v>40.626106</c:v>
                </c:pt>
                <c:pt idx="1151">
                  <c:v>40.819144999999999</c:v>
                </c:pt>
                <c:pt idx="1152">
                  <c:v>40.994636999999997</c:v>
                </c:pt>
                <c:pt idx="1153">
                  <c:v>41.126260000000002</c:v>
                </c:pt>
                <c:pt idx="1154">
                  <c:v>40.781329999999997</c:v>
                </c:pt>
                <c:pt idx="1155">
                  <c:v>40.843240000000002</c:v>
                </c:pt>
                <c:pt idx="1156">
                  <c:v>40.781329999999997</c:v>
                </c:pt>
                <c:pt idx="1157">
                  <c:v>40.666355000000003</c:v>
                </c:pt>
                <c:pt idx="1158">
                  <c:v>40.489463999999998</c:v>
                </c:pt>
                <c:pt idx="1159">
                  <c:v>40.153377999999996</c:v>
                </c:pt>
                <c:pt idx="1160">
                  <c:v>40.232985999999997</c:v>
                </c:pt>
                <c:pt idx="1161">
                  <c:v>40.409863000000001</c:v>
                </c:pt>
                <c:pt idx="1162">
                  <c:v>40.303738000000003</c:v>
                </c:pt>
                <c:pt idx="1163">
                  <c:v>39.481212999999997</c:v>
                </c:pt>
                <c:pt idx="1164">
                  <c:v>39.720005</c:v>
                </c:pt>
                <c:pt idx="1165">
                  <c:v>39.808444999999999</c:v>
                </c:pt>
                <c:pt idx="1166">
                  <c:v>39.622714999999999</c:v>
                </c:pt>
                <c:pt idx="1167">
                  <c:v>39.967644</c:v>
                </c:pt>
                <c:pt idx="1168">
                  <c:v>40.241824999999999</c:v>
                </c:pt>
                <c:pt idx="1169">
                  <c:v>40.259514000000003</c:v>
                </c:pt>
                <c:pt idx="1170">
                  <c:v>40.232985999999997</c:v>
                </c:pt>
                <c:pt idx="1171">
                  <c:v>40.162224000000002</c:v>
                </c:pt>
                <c:pt idx="1172">
                  <c:v>40.56906</c:v>
                </c:pt>
                <c:pt idx="1173">
                  <c:v>40.772483999999999</c:v>
                </c:pt>
                <c:pt idx="1174">
                  <c:v>40.781329999999997</c:v>
                </c:pt>
                <c:pt idx="1175">
                  <c:v>40.843240000000002</c:v>
                </c:pt>
                <c:pt idx="1176">
                  <c:v>41.232390000000002</c:v>
                </c:pt>
                <c:pt idx="1177">
                  <c:v>41.143943999999998</c:v>
                </c:pt>
                <c:pt idx="1178">
                  <c:v>41.037815000000002</c:v>
                </c:pt>
                <c:pt idx="1179">
                  <c:v>41.205852999999998</c:v>
                </c:pt>
                <c:pt idx="1180">
                  <c:v>41.020125999999998</c:v>
                </c:pt>
                <c:pt idx="1181">
                  <c:v>40.967059999999996</c:v>
                </c:pt>
                <c:pt idx="1182">
                  <c:v>40.843240000000002</c:v>
                </c:pt>
                <c:pt idx="1183">
                  <c:v>40.728259999999999</c:v>
                </c:pt>
                <c:pt idx="1184">
                  <c:v>40.887455000000003</c:v>
                </c:pt>
                <c:pt idx="1185">
                  <c:v>40.745950000000001</c:v>
                </c:pt>
                <c:pt idx="1186">
                  <c:v>40.560220000000001</c:v>
                </c:pt>
                <c:pt idx="1187">
                  <c:v>40.666355000000003</c:v>
                </c:pt>
                <c:pt idx="1188">
                  <c:v>40.507150000000003</c:v>
                </c:pt>
                <c:pt idx="1189">
                  <c:v>40.577908000000001</c:v>
                </c:pt>
                <c:pt idx="1190">
                  <c:v>40.657513000000002</c:v>
                </c:pt>
                <c:pt idx="1191">
                  <c:v>40.215290000000003</c:v>
                </c:pt>
                <c:pt idx="1192">
                  <c:v>40.630977999999999</c:v>
                </c:pt>
                <c:pt idx="1193">
                  <c:v>40.843240000000002</c:v>
                </c:pt>
                <c:pt idx="1194">
                  <c:v>40.887455000000003</c:v>
                </c:pt>
                <c:pt idx="1195">
                  <c:v>41.161630000000002</c:v>
                </c:pt>
                <c:pt idx="1196">
                  <c:v>41.320843000000004</c:v>
                </c:pt>
                <c:pt idx="1197">
                  <c:v>41.948779999999999</c:v>
                </c:pt>
                <c:pt idx="1198">
                  <c:v>41.400435999999999</c:v>
                </c:pt>
                <c:pt idx="1199">
                  <c:v>41.170482999999997</c:v>
                </c:pt>
                <c:pt idx="1200">
                  <c:v>40.427543999999997</c:v>
                </c:pt>
                <c:pt idx="1201">
                  <c:v>40.206443999999998</c:v>
                </c:pt>
                <c:pt idx="1202">
                  <c:v>40.489463999999998</c:v>
                </c:pt>
                <c:pt idx="1203">
                  <c:v>40.542529999999999</c:v>
                </c:pt>
                <c:pt idx="1204">
                  <c:v>40.577908000000001</c:v>
                </c:pt>
                <c:pt idx="1205">
                  <c:v>40.595596</c:v>
                </c:pt>
                <c:pt idx="1206">
                  <c:v>40.53369</c:v>
                </c:pt>
                <c:pt idx="1207">
                  <c:v>40.241824999999999</c:v>
                </c:pt>
                <c:pt idx="1208">
                  <c:v>40.812503999999997</c:v>
                </c:pt>
                <c:pt idx="1209">
                  <c:v>40.990850000000002</c:v>
                </c:pt>
                <c:pt idx="1210">
                  <c:v>41.222675000000002</c:v>
                </c:pt>
                <c:pt idx="1211">
                  <c:v>41.249423999999998</c:v>
                </c:pt>
                <c:pt idx="1212">
                  <c:v>41.418849999999999</c:v>
                </c:pt>
                <c:pt idx="1213">
                  <c:v>40.821423000000003</c:v>
                </c:pt>
                <c:pt idx="1214">
                  <c:v>40.402324999999998</c:v>
                </c:pt>
                <c:pt idx="1215">
                  <c:v>40.420155000000001</c:v>
                </c:pt>
                <c:pt idx="1216">
                  <c:v>40.384495000000001</c:v>
                </c:pt>
                <c:pt idx="1217">
                  <c:v>40.928424999999997</c:v>
                </c:pt>
                <c:pt idx="1218">
                  <c:v>41.044342</c:v>
                </c:pt>
                <c:pt idx="1219">
                  <c:v>41.187004000000002</c:v>
                </c:pt>
                <c:pt idx="1220">
                  <c:v>40.955176999999999</c:v>
                </c:pt>
                <c:pt idx="1221">
                  <c:v>41.133507000000002</c:v>
                </c:pt>
                <c:pt idx="1222">
                  <c:v>41.088923999999999</c:v>
                </c:pt>
                <c:pt idx="1223">
                  <c:v>40.660904000000002</c:v>
                </c:pt>
                <c:pt idx="1224">
                  <c:v>40.652000000000001</c:v>
                </c:pt>
                <c:pt idx="1225">
                  <c:v>40.848166999999997</c:v>
                </c:pt>
                <c:pt idx="1226">
                  <c:v>40.955176999999999</c:v>
                </c:pt>
                <c:pt idx="1227">
                  <c:v>40.767919999999997</c:v>
                </c:pt>
                <c:pt idx="1228">
                  <c:v>40.910589999999999</c:v>
                </c:pt>
                <c:pt idx="1229">
                  <c:v>40.607413999999999</c:v>
                </c:pt>
                <c:pt idx="1230">
                  <c:v>40.518245999999998</c:v>
                </c:pt>
                <c:pt idx="1231">
                  <c:v>41.088923999999999</c:v>
                </c:pt>
                <c:pt idx="1232">
                  <c:v>41.080005999999997</c:v>
                </c:pt>
                <c:pt idx="1233">
                  <c:v>41.017589999999998</c:v>
                </c:pt>
                <c:pt idx="1234">
                  <c:v>41.222675000000002</c:v>
                </c:pt>
                <c:pt idx="1235">
                  <c:v>41.080005999999997</c:v>
                </c:pt>
                <c:pt idx="1236">
                  <c:v>41.053252999999998</c:v>
                </c:pt>
                <c:pt idx="1237">
                  <c:v>41.151350000000001</c:v>
                </c:pt>
                <c:pt idx="1238">
                  <c:v>41.490184999999997</c:v>
                </c:pt>
                <c:pt idx="1239">
                  <c:v>41.748767999999998</c:v>
                </c:pt>
                <c:pt idx="1240">
                  <c:v>41.802273</c:v>
                </c:pt>
                <c:pt idx="1241">
                  <c:v>42.051952</c:v>
                </c:pt>
                <c:pt idx="1242">
                  <c:v>42.248108000000002</c:v>
                </c:pt>
                <c:pt idx="1243">
                  <c:v>42.310540000000003</c:v>
                </c:pt>
                <c:pt idx="1244">
                  <c:v>42.649375999999997</c:v>
                </c:pt>
                <c:pt idx="1245">
                  <c:v>42.658287000000001</c:v>
                </c:pt>
                <c:pt idx="1246">
                  <c:v>43.273560000000003</c:v>
                </c:pt>
                <c:pt idx="1247">
                  <c:v>42.533462999999998</c:v>
                </c:pt>
                <c:pt idx="1248">
                  <c:v>42.274864000000001</c:v>
                </c:pt>
                <c:pt idx="1249">
                  <c:v>42.435367999999997</c:v>
                </c:pt>
                <c:pt idx="1250">
                  <c:v>42.310540000000003</c:v>
                </c:pt>
                <c:pt idx="1251">
                  <c:v>41.668520000000001</c:v>
                </c:pt>
                <c:pt idx="1252">
                  <c:v>40.027819999999998</c:v>
                </c:pt>
                <c:pt idx="1253">
                  <c:v>39.831650000000003</c:v>
                </c:pt>
                <c:pt idx="1254">
                  <c:v>39.733566000000003</c:v>
                </c:pt>
                <c:pt idx="1255">
                  <c:v>38.431699999999999</c:v>
                </c:pt>
                <c:pt idx="1256">
                  <c:v>38.458449999999999</c:v>
                </c:pt>
                <c:pt idx="1257">
                  <c:v>39.207462</c:v>
                </c:pt>
                <c:pt idx="1258">
                  <c:v>39.403637000000003</c:v>
                </c:pt>
                <c:pt idx="1259">
                  <c:v>39.32338</c:v>
                </c:pt>
                <c:pt idx="1260">
                  <c:v>39.929737000000003</c:v>
                </c:pt>
                <c:pt idx="1261">
                  <c:v>40.108069999999998</c:v>
                </c:pt>
                <c:pt idx="1262">
                  <c:v>39.225299999999997</c:v>
                </c:pt>
                <c:pt idx="1263">
                  <c:v>38.645695000000003</c:v>
                </c:pt>
                <c:pt idx="1264">
                  <c:v>38.80621</c:v>
                </c:pt>
                <c:pt idx="1265">
                  <c:v>39.269882000000003</c:v>
                </c:pt>
                <c:pt idx="1266">
                  <c:v>39.260967000000001</c:v>
                </c:pt>
                <c:pt idx="1267">
                  <c:v>38.89537</c:v>
                </c:pt>
                <c:pt idx="1268">
                  <c:v>38.538699999999999</c:v>
                </c:pt>
                <c:pt idx="1269">
                  <c:v>38.725955999999996</c:v>
                </c:pt>
                <c:pt idx="1270">
                  <c:v>38.984546999999999</c:v>
                </c:pt>
                <c:pt idx="1271">
                  <c:v>39.136127000000002</c:v>
                </c:pt>
                <c:pt idx="1272">
                  <c:v>39.171795000000003</c:v>
                </c:pt>
                <c:pt idx="1273">
                  <c:v>39.073703999999999</c:v>
                </c:pt>
                <c:pt idx="1274">
                  <c:v>39.635475</c:v>
                </c:pt>
                <c:pt idx="1275">
                  <c:v>39.965400000000002</c:v>
                </c:pt>
                <c:pt idx="1276">
                  <c:v>39.706817999999998</c:v>
                </c:pt>
                <c:pt idx="1277">
                  <c:v>39.74248</c:v>
                </c:pt>
                <c:pt idx="1278">
                  <c:v>39.382649999999998</c:v>
                </c:pt>
                <c:pt idx="1279">
                  <c:v>39.283700000000003</c:v>
                </c:pt>
                <c:pt idx="1280">
                  <c:v>39.094790000000003</c:v>
                </c:pt>
                <c:pt idx="1281">
                  <c:v>38.914879999999997</c:v>
                </c:pt>
                <c:pt idx="1282">
                  <c:v>38.824930000000002</c:v>
                </c:pt>
                <c:pt idx="1283">
                  <c:v>38.680992000000003</c:v>
                </c:pt>
                <c:pt idx="1284">
                  <c:v>38.465107000000003</c:v>
                </c:pt>
                <c:pt idx="1285">
                  <c:v>38.078293000000002</c:v>
                </c:pt>
                <c:pt idx="1286">
                  <c:v>38.40213</c:v>
                </c:pt>
                <c:pt idx="1287">
                  <c:v>38.582034999999998</c:v>
                </c:pt>
                <c:pt idx="1288">
                  <c:v>38.968859999999999</c:v>
                </c:pt>
                <c:pt idx="1289">
                  <c:v>39.067802</c:v>
                </c:pt>
                <c:pt idx="1290">
                  <c:v>38.384135999999998</c:v>
                </c:pt>
                <c:pt idx="1291">
                  <c:v>39.022835000000001</c:v>
                </c:pt>
                <c:pt idx="1292">
                  <c:v>39.796447999999998</c:v>
                </c:pt>
                <c:pt idx="1293">
                  <c:v>39.940379999999998</c:v>
                </c:pt>
                <c:pt idx="1294">
                  <c:v>39.508583000000002</c:v>
                </c:pt>
                <c:pt idx="1295">
                  <c:v>39.427627999999999</c:v>
                </c:pt>
                <c:pt idx="1296">
                  <c:v>39.571564000000002</c:v>
                </c:pt>
                <c:pt idx="1297">
                  <c:v>39.571564000000002</c:v>
                </c:pt>
                <c:pt idx="1298">
                  <c:v>39.60754</c:v>
                </c:pt>
                <c:pt idx="1299">
                  <c:v>40.03933</c:v>
                </c:pt>
                <c:pt idx="1300">
                  <c:v>40.192256999999998</c:v>
                </c:pt>
                <c:pt idx="1301">
                  <c:v>40.372169999999997</c:v>
                </c:pt>
                <c:pt idx="1302">
                  <c:v>40.03933</c:v>
                </c:pt>
                <c:pt idx="1303">
                  <c:v>39.859417000000001</c:v>
                </c:pt>
                <c:pt idx="1304">
                  <c:v>39.346676000000002</c:v>
                </c:pt>
                <c:pt idx="1305">
                  <c:v>39.562570000000001</c:v>
                </c:pt>
                <c:pt idx="1306">
                  <c:v>38.743960000000001</c:v>
                </c:pt>
                <c:pt idx="1307">
                  <c:v>38.16825</c:v>
                </c:pt>
                <c:pt idx="1308">
                  <c:v>38.456110000000002</c:v>
                </c:pt>
                <c:pt idx="1309">
                  <c:v>38.959870000000002</c:v>
                </c:pt>
                <c:pt idx="1310">
                  <c:v>38.869906999999998</c:v>
                </c:pt>
                <c:pt idx="1311">
                  <c:v>38.312182999999997</c:v>
                </c:pt>
                <c:pt idx="1312">
                  <c:v>37.835410000000003</c:v>
                </c:pt>
                <c:pt idx="1313">
                  <c:v>37.682487000000002</c:v>
                </c:pt>
                <c:pt idx="1314">
                  <c:v>38.105277999999998</c:v>
                </c:pt>
                <c:pt idx="1315">
                  <c:v>37.90737</c:v>
                </c:pt>
                <c:pt idx="1316">
                  <c:v>37.610526999999998</c:v>
                </c:pt>
                <c:pt idx="1317">
                  <c:v>37.583537999999997</c:v>
                </c:pt>
                <c:pt idx="1318">
                  <c:v>37.943367000000002</c:v>
                </c:pt>
                <c:pt idx="1319">
                  <c:v>37.90737</c:v>
                </c:pt>
                <c:pt idx="1320">
                  <c:v>37.817416999999999</c:v>
                </c:pt>
                <c:pt idx="1321">
                  <c:v>37.529559999999996</c:v>
                </c:pt>
                <c:pt idx="1322">
                  <c:v>37.376632999999998</c:v>
                </c:pt>
                <c:pt idx="1323">
                  <c:v>38.051310000000001</c:v>
                </c:pt>
                <c:pt idx="1324">
                  <c:v>37.943367000000002</c:v>
                </c:pt>
                <c:pt idx="1325">
                  <c:v>38.150252999999999</c:v>
                </c:pt>
                <c:pt idx="1326">
                  <c:v>38.006329999999998</c:v>
                </c:pt>
                <c:pt idx="1327">
                  <c:v>38.141269999999999</c:v>
                </c:pt>
                <c:pt idx="1328">
                  <c:v>38.069299999999998</c:v>
                </c:pt>
                <c:pt idx="1329">
                  <c:v>38.141269999999999</c:v>
                </c:pt>
                <c:pt idx="1330">
                  <c:v>38.393143000000002</c:v>
                </c:pt>
                <c:pt idx="1331">
                  <c:v>38.797942999999997</c:v>
                </c:pt>
                <c:pt idx="1332">
                  <c:v>38.680992000000003</c:v>
                </c:pt>
                <c:pt idx="1333">
                  <c:v>38.788947999999998</c:v>
                </c:pt>
                <c:pt idx="1334">
                  <c:v>39.121777000000002</c:v>
                </c:pt>
                <c:pt idx="1335">
                  <c:v>38.779949999999999</c:v>
                </c:pt>
                <c:pt idx="1336">
                  <c:v>39.094790000000003</c:v>
                </c:pt>
                <c:pt idx="1337">
                  <c:v>39.076799999999999</c:v>
                </c:pt>
                <c:pt idx="1338">
                  <c:v>39.535580000000003</c:v>
                </c:pt>
                <c:pt idx="1339">
                  <c:v>39.697495000000004</c:v>
                </c:pt>
                <c:pt idx="1340">
                  <c:v>39.949370000000002</c:v>
                </c:pt>
                <c:pt idx="1341">
                  <c:v>39.74248</c:v>
                </c:pt>
                <c:pt idx="1342">
                  <c:v>39.551887999999998</c:v>
                </c:pt>
                <c:pt idx="1343">
                  <c:v>40.041977000000003</c:v>
                </c:pt>
                <c:pt idx="1344">
                  <c:v>39.524659999999997</c:v>
                </c:pt>
                <c:pt idx="1345">
                  <c:v>39.570034</c:v>
                </c:pt>
                <c:pt idx="1346">
                  <c:v>39.261462999999999</c:v>
                </c:pt>
                <c:pt idx="1347">
                  <c:v>39.107177999999998</c:v>
                </c:pt>
                <c:pt idx="1348">
                  <c:v>39.252380000000002</c:v>
                </c:pt>
                <c:pt idx="1349">
                  <c:v>39.551887999999998</c:v>
                </c:pt>
                <c:pt idx="1350">
                  <c:v>39.324992999999999</c:v>
                </c:pt>
                <c:pt idx="1351">
                  <c:v>39.089019999999998</c:v>
                </c:pt>
                <c:pt idx="1352">
                  <c:v>39.45205</c:v>
                </c:pt>
                <c:pt idx="1353">
                  <c:v>39.806004000000001</c:v>
                </c:pt>
                <c:pt idx="1354">
                  <c:v>39.70617</c:v>
                </c:pt>
                <c:pt idx="1355">
                  <c:v>39.923991999999998</c:v>
                </c:pt>
                <c:pt idx="1356">
                  <c:v>40.532063000000001</c:v>
                </c:pt>
                <c:pt idx="1357">
                  <c:v>40.513911999999998</c:v>
                </c:pt>
                <c:pt idx="1358">
                  <c:v>40.296092999999999</c:v>
                </c:pt>
                <c:pt idx="1359">
                  <c:v>40.813409999999998</c:v>
                </c:pt>
                <c:pt idx="1360">
                  <c:v>40.65005</c:v>
                </c:pt>
                <c:pt idx="1361">
                  <c:v>40.541134</c:v>
                </c:pt>
                <c:pt idx="1362">
                  <c:v>40.604664</c:v>
                </c:pt>
                <c:pt idx="1363">
                  <c:v>40.595585</c:v>
                </c:pt>
                <c:pt idx="1364">
                  <c:v>41.067528000000003</c:v>
                </c:pt>
                <c:pt idx="1365">
                  <c:v>40.949539999999999</c:v>
                </c:pt>
                <c:pt idx="1366">
                  <c:v>40.940463999999999</c:v>
                </c:pt>
                <c:pt idx="1367">
                  <c:v>41.094749999999998</c:v>
                </c:pt>
                <c:pt idx="1368">
                  <c:v>40.795257999999997</c:v>
                </c:pt>
                <c:pt idx="1369">
                  <c:v>41.076602999999999</c:v>
                </c:pt>
                <c:pt idx="1370">
                  <c:v>41.829884</c:v>
                </c:pt>
                <c:pt idx="1371">
                  <c:v>41.966014999999999</c:v>
                </c:pt>
                <c:pt idx="1372">
                  <c:v>41.938789999999997</c:v>
                </c:pt>
                <c:pt idx="1373">
                  <c:v>41.956947</c:v>
                </c:pt>
                <c:pt idx="1374">
                  <c:v>42.319972999999997</c:v>
                </c:pt>
                <c:pt idx="1375">
                  <c:v>42.102153999999999</c:v>
                </c:pt>
                <c:pt idx="1376">
                  <c:v>41.911568000000003</c:v>
                </c:pt>
                <c:pt idx="1377">
                  <c:v>42.310893999999998</c:v>
                </c:pt>
                <c:pt idx="1378">
                  <c:v>42.338127</c:v>
                </c:pt>
                <c:pt idx="1379">
                  <c:v>42.201990000000002</c:v>
                </c:pt>
                <c:pt idx="1380">
                  <c:v>41.884340000000002</c:v>
                </c:pt>
                <c:pt idx="1381">
                  <c:v>42.065852999999997</c:v>
                </c:pt>
                <c:pt idx="1382">
                  <c:v>41.820805</c:v>
                </c:pt>
                <c:pt idx="1383">
                  <c:v>41.593913999999998</c:v>
                </c:pt>
                <c:pt idx="1384">
                  <c:v>41.648375999999999</c:v>
                </c:pt>
                <c:pt idx="1385">
                  <c:v>41.820805</c:v>
                </c:pt>
                <c:pt idx="1386">
                  <c:v>41.947876000000001</c:v>
                </c:pt>
                <c:pt idx="1387">
                  <c:v>42.292740000000002</c:v>
                </c:pt>
                <c:pt idx="1388">
                  <c:v>42.410732000000003</c:v>
                </c:pt>
                <c:pt idx="1389">
                  <c:v>41.947876000000001</c:v>
                </c:pt>
                <c:pt idx="1390">
                  <c:v>41.684672999999997</c:v>
                </c:pt>
                <c:pt idx="1391">
                  <c:v>41.475929999999998</c:v>
                </c:pt>
                <c:pt idx="1392">
                  <c:v>41.412402999999998</c:v>
                </c:pt>
                <c:pt idx="1393">
                  <c:v>41.466853999999998</c:v>
                </c:pt>
                <c:pt idx="1394">
                  <c:v>41.176434</c:v>
                </c:pt>
                <c:pt idx="1395">
                  <c:v>41.140132999999999</c:v>
                </c:pt>
                <c:pt idx="1396">
                  <c:v>40.795257999999997</c:v>
                </c:pt>
                <c:pt idx="1397">
                  <c:v>40.450381999999998</c:v>
                </c:pt>
                <c:pt idx="1398">
                  <c:v>40.622818000000002</c:v>
                </c:pt>
                <c:pt idx="1399">
                  <c:v>41.185513</c:v>
                </c:pt>
                <c:pt idx="1400">
                  <c:v>41.539462999999998</c:v>
                </c:pt>
                <c:pt idx="1401">
                  <c:v>41.494083000000003</c:v>
                </c:pt>
                <c:pt idx="1402">
                  <c:v>41.802653999999997</c:v>
                </c:pt>
                <c:pt idx="1403">
                  <c:v>41.766356999999999</c:v>
                </c:pt>
                <c:pt idx="1404">
                  <c:v>41.966014999999999</c:v>
                </c:pt>
                <c:pt idx="1405">
                  <c:v>41.947712000000003</c:v>
                </c:pt>
                <c:pt idx="1406">
                  <c:v>42.094161999999997</c:v>
                </c:pt>
                <c:pt idx="1407">
                  <c:v>42.396210000000004</c:v>
                </c:pt>
                <c:pt idx="1408">
                  <c:v>42.039239999999999</c:v>
                </c:pt>
                <c:pt idx="1409">
                  <c:v>42.066699999999997</c:v>
                </c:pt>
                <c:pt idx="1410">
                  <c:v>42.689100000000003</c:v>
                </c:pt>
                <c:pt idx="1411">
                  <c:v>42.634186</c:v>
                </c:pt>
                <c:pt idx="1412">
                  <c:v>42.167380000000001</c:v>
                </c:pt>
                <c:pt idx="1413">
                  <c:v>41.810417000000001</c:v>
                </c:pt>
                <c:pt idx="1414">
                  <c:v>41.966014999999999</c:v>
                </c:pt>
                <c:pt idx="1415">
                  <c:v>42.112459999999999</c:v>
                </c:pt>
                <c:pt idx="1416">
                  <c:v>42.277214000000001</c:v>
                </c:pt>
                <c:pt idx="1417">
                  <c:v>42.313828000000001</c:v>
                </c:pt>
                <c:pt idx="1418">
                  <c:v>42.570103000000003</c:v>
                </c:pt>
                <c:pt idx="1419">
                  <c:v>41.984319999999997</c:v>
                </c:pt>
                <c:pt idx="1420">
                  <c:v>41.966014999999999</c:v>
                </c:pt>
                <c:pt idx="1421">
                  <c:v>41.993479999999998</c:v>
                </c:pt>
                <c:pt idx="1422">
                  <c:v>42.542651999999997</c:v>
                </c:pt>
                <c:pt idx="1423">
                  <c:v>42.460279999999997</c:v>
                </c:pt>
                <c:pt idx="1424">
                  <c:v>41.810417000000001</c:v>
                </c:pt>
                <c:pt idx="1425">
                  <c:v>40.858524000000003</c:v>
                </c:pt>
                <c:pt idx="1426">
                  <c:v>40.895133999999999</c:v>
                </c:pt>
                <c:pt idx="1427">
                  <c:v>41.105648000000002</c:v>
                </c:pt>
                <c:pt idx="1428">
                  <c:v>41.636519999999997</c:v>
                </c:pt>
                <c:pt idx="1429">
                  <c:v>41.975174000000003</c:v>
                </c:pt>
                <c:pt idx="1430">
                  <c:v>41.746346000000003</c:v>
                </c:pt>
                <c:pt idx="1431">
                  <c:v>42.405360000000002</c:v>
                </c:pt>
                <c:pt idx="1432">
                  <c:v>42.075862999999998</c:v>
                </c:pt>
                <c:pt idx="1433">
                  <c:v>42.432816000000003</c:v>
                </c:pt>
                <c:pt idx="1434">
                  <c:v>42.771473</c:v>
                </c:pt>
                <c:pt idx="1435">
                  <c:v>42.570103000000003</c:v>
                </c:pt>
                <c:pt idx="1436">
                  <c:v>42.030093999999998</c:v>
                </c:pt>
                <c:pt idx="1437">
                  <c:v>42.524344999999997</c:v>
                </c:pt>
                <c:pt idx="1438">
                  <c:v>43.595233999999998</c:v>
                </c:pt>
                <c:pt idx="1439">
                  <c:v>43.824055000000001</c:v>
                </c:pt>
                <c:pt idx="1440">
                  <c:v>43.695920000000001</c:v>
                </c:pt>
                <c:pt idx="1441">
                  <c:v>43.933889999999998</c:v>
                </c:pt>
                <c:pt idx="1442">
                  <c:v>44.565449999999998</c:v>
                </c:pt>
                <c:pt idx="1443">
                  <c:v>44.949866999999998</c:v>
                </c:pt>
                <c:pt idx="1444">
                  <c:v>45.187835999999997</c:v>
                </c:pt>
                <c:pt idx="1445">
                  <c:v>45.151229999999998</c:v>
                </c:pt>
                <c:pt idx="1446">
                  <c:v>45.471577000000003</c:v>
                </c:pt>
                <c:pt idx="1447">
                  <c:v>45.645479999999999</c:v>
                </c:pt>
                <c:pt idx="1448">
                  <c:v>45.636330000000001</c:v>
                </c:pt>
                <c:pt idx="1449">
                  <c:v>45.544795999999998</c:v>
                </c:pt>
                <c:pt idx="1450">
                  <c:v>45.526499999999999</c:v>
                </c:pt>
                <c:pt idx="1451">
                  <c:v>45.920074</c:v>
                </c:pt>
                <c:pt idx="1452">
                  <c:v>46.231262000000001</c:v>
                </c:pt>
                <c:pt idx="1453">
                  <c:v>45.196995000000001</c:v>
                </c:pt>
                <c:pt idx="1454">
                  <c:v>44.602049999999998</c:v>
                </c:pt>
                <c:pt idx="1455">
                  <c:v>44.867485000000002</c:v>
                </c:pt>
                <c:pt idx="1456">
                  <c:v>44.73019</c:v>
                </c:pt>
                <c:pt idx="1457">
                  <c:v>45.187835999999997</c:v>
                </c:pt>
                <c:pt idx="1458">
                  <c:v>45.499034999999999</c:v>
                </c:pt>
                <c:pt idx="1459">
                  <c:v>45.185380000000002</c:v>
                </c:pt>
                <c:pt idx="1460">
                  <c:v>46.495370000000001</c:v>
                </c:pt>
                <c:pt idx="1461">
                  <c:v>45.840373999999997</c:v>
                </c:pt>
                <c:pt idx="1462">
                  <c:v>45.738894999999999</c:v>
                </c:pt>
                <c:pt idx="1463">
                  <c:v>45.554386000000001</c:v>
                </c:pt>
                <c:pt idx="1464">
                  <c:v>45.286859999999997</c:v>
                </c:pt>
                <c:pt idx="1465">
                  <c:v>45.425235999999998</c:v>
                </c:pt>
                <c:pt idx="1466">
                  <c:v>45.701999999999998</c:v>
                </c:pt>
                <c:pt idx="1467">
                  <c:v>45.406784000000002</c:v>
                </c:pt>
                <c:pt idx="1468">
                  <c:v>45.637416999999999</c:v>
                </c:pt>
                <c:pt idx="1469">
                  <c:v>45.517487000000003</c:v>
                </c:pt>
                <c:pt idx="1470">
                  <c:v>44.585740000000001</c:v>
                </c:pt>
                <c:pt idx="1471">
                  <c:v>44.576509999999999</c:v>
                </c:pt>
                <c:pt idx="1472">
                  <c:v>44.189050000000002</c:v>
                </c:pt>
                <c:pt idx="1473">
                  <c:v>43.856937000000002</c:v>
                </c:pt>
                <c:pt idx="1474">
                  <c:v>43.884616999999999</c:v>
                </c:pt>
                <c:pt idx="1475">
                  <c:v>42.399340000000002</c:v>
                </c:pt>
                <c:pt idx="1476">
                  <c:v>43.303424999999997</c:v>
                </c:pt>
                <c:pt idx="1477">
                  <c:v>43.847717000000003</c:v>
                </c:pt>
                <c:pt idx="1478">
                  <c:v>43.543278000000001</c:v>
                </c:pt>
                <c:pt idx="1479">
                  <c:v>43.681666999999997</c:v>
                </c:pt>
                <c:pt idx="1480">
                  <c:v>43.294196999999997</c:v>
                </c:pt>
                <c:pt idx="1481">
                  <c:v>43.02666</c:v>
                </c:pt>
                <c:pt idx="1482">
                  <c:v>43.884616999999999</c:v>
                </c:pt>
                <c:pt idx="1483">
                  <c:v>43.312645000000003</c:v>
                </c:pt>
                <c:pt idx="1484">
                  <c:v>43.801586</c:v>
                </c:pt>
                <c:pt idx="1485">
                  <c:v>42.962090000000003</c:v>
                </c:pt>
                <c:pt idx="1486">
                  <c:v>43.423349999999999</c:v>
                </c:pt>
                <c:pt idx="1487">
                  <c:v>43.672435999999998</c:v>
                </c:pt>
                <c:pt idx="1488">
                  <c:v>43.497160000000001</c:v>
                </c:pt>
                <c:pt idx="1489">
                  <c:v>43.884616999999999</c:v>
                </c:pt>
                <c:pt idx="1490">
                  <c:v>43.284979999999997</c:v>
                </c:pt>
                <c:pt idx="1491">
                  <c:v>43.414127000000001</c:v>
                </c:pt>
                <c:pt idx="1492">
                  <c:v>43.921520000000001</c:v>
                </c:pt>
                <c:pt idx="1493">
                  <c:v>44.022995000000002</c:v>
                </c:pt>
                <c:pt idx="1494">
                  <c:v>44.530388000000002</c:v>
                </c:pt>
                <c:pt idx="1495">
                  <c:v>43.995322999999999</c:v>
                </c:pt>
                <c:pt idx="1496">
                  <c:v>43.700110000000002</c:v>
                </c:pt>
                <c:pt idx="1497">
                  <c:v>43.515605999999998</c:v>
                </c:pt>
                <c:pt idx="1498">
                  <c:v>43.727783000000002</c:v>
                </c:pt>
                <c:pt idx="1499">
                  <c:v>44.152144999999997</c:v>
                </c:pt>
                <c:pt idx="1500">
                  <c:v>44.401229999999998</c:v>
                </c:pt>
                <c:pt idx="1501">
                  <c:v>44.927073999999998</c:v>
                </c:pt>
                <c:pt idx="1502">
                  <c:v>45.434463999999998</c:v>
                </c:pt>
                <c:pt idx="1503">
                  <c:v>45.443683999999998</c:v>
                </c:pt>
                <c:pt idx="1504">
                  <c:v>45.443683999999998</c:v>
                </c:pt>
                <c:pt idx="1505">
                  <c:v>45.591290000000001</c:v>
                </c:pt>
                <c:pt idx="1506">
                  <c:v>45.665092000000001</c:v>
                </c:pt>
                <c:pt idx="1507">
                  <c:v>45.766570000000002</c:v>
                </c:pt>
                <c:pt idx="1508">
                  <c:v>45.8127</c:v>
                </c:pt>
                <c:pt idx="1509">
                  <c:v>45.932630000000003</c:v>
                </c:pt>
                <c:pt idx="1510">
                  <c:v>42.058017999999997</c:v>
                </c:pt>
                <c:pt idx="1511">
                  <c:v>41.735126000000001</c:v>
                </c:pt>
                <c:pt idx="1512">
                  <c:v>41.356887999999998</c:v>
                </c:pt>
                <c:pt idx="1513">
                  <c:v>41.605972000000001</c:v>
                </c:pt>
                <c:pt idx="1514">
                  <c:v>42.307099999999998</c:v>
                </c:pt>
                <c:pt idx="1515">
                  <c:v>41.772030000000001</c:v>
                </c:pt>
                <c:pt idx="1516">
                  <c:v>41.458362999999999</c:v>
                </c:pt>
                <c:pt idx="1517">
                  <c:v>41.227736999999998</c:v>
                </c:pt>
                <c:pt idx="1518">
                  <c:v>41.458362999999999</c:v>
                </c:pt>
                <c:pt idx="1519">
                  <c:v>41.827385</c:v>
                </c:pt>
                <c:pt idx="1520">
                  <c:v>41.864280000000001</c:v>
                </c:pt>
                <c:pt idx="1521">
                  <c:v>42.113357999999998</c:v>
                </c:pt>
                <c:pt idx="1522">
                  <c:v>42.067225999999998</c:v>
                </c:pt>
                <c:pt idx="1523">
                  <c:v>41.92886</c:v>
                </c:pt>
                <c:pt idx="1524">
                  <c:v>41.772030000000001</c:v>
                </c:pt>
                <c:pt idx="1525">
                  <c:v>41.366115999999998</c:v>
                </c:pt>
                <c:pt idx="1526">
                  <c:v>42.602310000000003</c:v>
                </c:pt>
                <c:pt idx="1527">
                  <c:v>42.482365000000001</c:v>
                </c:pt>
                <c:pt idx="1528">
                  <c:v>42.639209999999999</c:v>
                </c:pt>
                <c:pt idx="1529">
                  <c:v>42.527534000000003</c:v>
                </c:pt>
                <c:pt idx="1530">
                  <c:v>42.155296</c:v>
                </c:pt>
                <c:pt idx="1531">
                  <c:v>42.257655999999997</c:v>
                </c:pt>
                <c:pt idx="1532">
                  <c:v>42.397255000000001</c:v>
                </c:pt>
                <c:pt idx="1533">
                  <c:v>42.369335</c:v>
                </c:pt>
                <c:pt idx="1534">
                  <c:v>42.350723000000002</c:v>
                </c:pt>
                <c:pt idx="1535">
                  <c:v>42.74156</c:v>
                </c:pt>
                <c:pt idx="1536">
                  <c:v>42.834625000000003</c:v>
                </c:pt>
                <c:pt idx="1537">
                  <c:v>43.402275000000003</c:v>
                </c:pt>
                <c:pt idx="1538">
                  <c:v>43.374363000000002</c:v>
                </c:pt>
                <c:pt idx="1539">
                  <c:v>43.346446999999998</c:v>
                </c:pt>
                <c:pt idx="1540">
                  <c:v>43.607010000000002</c:v>
                </c:pt>
                <c:pt idx="1541">
                  <c:v>43.476730000000003</c:v>
                </c:pt>
                <c:pt idx="1542">
                  <c:v>43.337139999999998</c:v>
                </c:pt>
                <c:pt idx="1543">
                  <c:v>42.974215999999998</c:v>
                </c:pt>
                <c:pt idx="1544">
                  <c:v>43.253383999999997</c:v>
                </c:pt>
                <c:pt idx="1545">
                  <c:v>43.244087</c:v>
                </c:pt>
                <c:pt idx="1546">
                  <c:v>43.318522999999999</c:v>
                </c:pt>
                <c:pt idx="1547">
                  <c:v>43.430194999999998</c:v>
                </c:pt>
                <c:pt idx="1548">
                  <c:v>43.402275000000003</c:v>
                </c:pt>
                <c:pt idx="1549">
                  <c:v>43.467419999999997</c:v>
                </c:pt>
                <c:pt idx="1550">
                  <c:v>43.495342000000001</c:v>
                </c:pt>
                <c:pt idx="1551">
                  <c:v>43.737290000000002</c:v>
                </c:pt>
                <c:pt idx="1552">
                  <c:v>43.690759999999997</c:v>
                </c:pt>
                <c:pt idx="1553">
                  <c:v>43.99785</c:v>
                </c:pt>
                <c:pt idx="1554">
                  <c:v>44.183964000000003</c:v>
                </c:pt>
                <c:pt idx="1555">
                  <c:v>44.109515999999999</c:v>
                </c:pt>
                <c:pt idx="1556">
                  <c:v>44.863284999999998</c:v>
                </c:pt>
                <c:pt idx="1557">
                  <c:v>44.649253999999999</c:v>
                </c:pt>
                <c:pt idx="1558">
                  <c:v>44.518974</c:v>
                </c:pt>
                <c:pt idx="1559">
                  <c:v>44.909824</c:v>
                </c:pt>
                <c:pt idx="1560">
                  <c:v>45.058703999999999</c:v>
                </c:pt>
                <c:pt idx="1561">
                  <c:v>45.654290000000003</c:v>
                </c:pt>
                <c:pt idx="1562">
                  <c:v>45.216909999999999</c:v>
                </c:pt>
                <c:pt idx="1563">
                  <c:v>45.030791999999998</c:v>
                </c:pt>
                <c:pt idx="1564">
                  <c:v>45.337887000000002</c:v>
                </c:pt>
                <c:pt idx="1565">
                  <c:v>45.105243999999999</c:v>
                </c:pt>
                <c:pt idx="1566">
                  <c:v>44.667865999999997</c:v>
                </c:pt>
                <c:pt idx="1567">
                  <c:v>44.528280000000002</c:v>
                </c:pt>
                <c:pt idx="1568">
                  <c:v>44.109515999999999</c:v>
                </c:pt>
                <c:pt idx="1569">
                  <c:v>44.844676999999997</c:v>
                </c:pt>
                <c:pt idx="1570">
                  <c:v>44.714396999999998</c:v>
                </c:pt>
                <c:pt idx="1571">
                  <c:v>45.30997</c:v>
                </c:pt>
                <c:pt idx="1572">
                  <c:v>45.765949999999997</c:v>
                </c:pt>
                <c:pt idx="1573">
                  <c:v>46.138187000000002</c:v>
                </c:pt>
                <c:pt idx="1574">
                  <c:v>45.784557</c:v>
                </c:pt>
                <c:pt idx="1575">
                  <c:v>45.458855</c:v>
                </c:pt>
                <c:pt idx="1576">
                  <c:v>45.226210000000002</c:v>
                </c:pt>
                <c:pt idx="1577">
                  <c:v>46.203322999999997</c:v>
                </c:pt>
                <c:pt idx="1578">
                  <c:v>46.389434999999999</c:v>
                </c:pt>
                <c:pt idx="1579">
                  <c:v>46.166103</c:v>
                </c:pt>
                <c:pt idx="1580">
                  <c:v>45.691504999999999</c:v>
                </c:pt>
                <c:pt idx="1581">
                  <c:v>45.235523000000001</c:v>
                </c:pt>
                <c:pt idx="1582">
                  <c:v>45.831097</c:v>
                </c:pt>
                <c:pt idx="1583">
                  <c:v>45.719430000000003</c:v>
                </c:pt>
                <c:pt idx="1584">
                  <c:v>46.510418000000001</c:v>
                </c:pt>
                <c:pt idx="1585">
                  <c:v>46.529026000000002</c:v>
                </c:pt>
                <c:pt idx="1586">
                  <c:v>47.254874999999998</c:v>
                </c:pt>
                <c:pt idx="1587">
                  <c:v>47.831843999999997</c:v>
                </c:pt>
                <c:pt idx="1588">
                  <c:v>47.915591999999997</c:v>
                </c:pt>
                <c:pt idx="1589">
                  <c:v>47.813236000000003</c:v>
                </c:pt>
                <c:pt idx="1590">
                  <c:v>47.766705000000002</c:v>
                </c:pt>
                <c:pt idx="1591">
                  <c:v>48.05518</c:v>
                </c:pt>
                <c:pt idx="1592">
                  <c:v>47.952015000000003</c:v>
                </c:pt>
                <c:pt idx="1593">
                  <c:v>48.120834000000002</c:v>
                </c:pt>
                <c:pt idx="1594">
                  <c:v>47.708179999999999</c:v>
                </c:pt>
                <c:pt idx="1595">
                  <c:v>47.492474000000001</c:v>
                </c:pt>
                <c:pt idx="1596">
                  <c:v>47.942641999999999</c:v>
                </c:pt>
                <c:pt idx="1597">
                  <c:v>48.449078</c:v>
                </c:pt>
                <c:pt idx="1598">
                  <c:v>48.345913000000003</c:v>
                </c:pt>
                <c:pt idx="1599">
                  <c:v>48.692909999999998</c:v>
                </c:pt>
                <c:pt idx="1600">
                  <c:v>48.542853999999998</c:v>
                </c:pt>
                <c:pt idx="1601">
                  <c:v>47.942641999999999</c:v>
                </c:pt>
                <c:pt idx="1602">
                  <c:v>47.90513</c:v>
                </c:pt>
                <c:pt idx="1603">
                  <c:v>47.755074</c:v>
                </c:pt>
                <c:pt idx="1604">
                  <c:v>48.392803000000001</c:v>
                </c:pt>
                <c:pt idx="1605">
                  <c:v>48.749186999999999</c:v>
                </c:pt>
                <c:pt idx="1606">
                  <c:v>48.861732000000003</c:v>
                </c:pt>
                <c:pt idx="1607">
                  <c:v>48.871105</c:v>
                </c:pt>
                <c:pt idx="1608">
                  <c:v>48.767944</c:v>
                </c:pt>
                <c:pt idx="1609">
                  <c:v>48.383423000000001</c:v>
                </c:pt>
                <c:pt idx="1610">
                  <c:v>48.599133000000002</c:v>
                </c:pt>
                <c:pt idx="1611">
                  <c:v>48.805458000000002</c:v>
                </c:pt>
                <c:pt idx="1612">
                  <c:v>48.880479999999999</c:v>
                </c:pt>
                <c:pt idx="1613">
                  <c:v>48.889865999999998</c:v>
                </c:pt>
                <c:pt idx="1614">
                  <c:v>48.899239999999999</c:v>
                </c:pt>
                <c:pt idx="1615">
                  <c:v>48.936751999999998</c:v>
                </c:pt>
                <c:pt idx="1616">
                  <c:v>48.796073999999997</c:v>
                </c:pt>
                <c:pt idx="1617">
                  <c:v>48.195860000000003</c:v>
                </c:pt>
                <c:pt idx="1618">
                  <c:v>48.036427000000003</c:v>
                </c:pt>
                <c:pt idx="1619">
                  <c:v>50.953125</c:v>
                </c:pt>
                <c:pt idx="1620">
                  <c:v>50.437297999999998</c:v>
                </c:pt>
                <c:pt idx="1621">
                  <c:v>49.771442</c:v>
                </c:pt>
                <c:pt idx="1622">
                  <c:v>50.803060000000002</c:v>
                </c:pt>
                <c:pt idx="1623">
                  <c:v>50.634259999999998</c:v>
                </c:pt>
                <c:pt idx="1624">
                  <c:v>50.381042000000001</c:v>
                </c:pt>
                <c:pt idx="1625">
                  <c:v>49.358789999999999</c:v>
                </c:pt>
                <c:pt idx="1626">
                  <c:v>48.796073999999997</c:v>
                </c:pt>
                <c:pt idx="1627">
                  <c:v>49.077435000000001</c:v>
                </c:pt>
                <c:pt idx="1628">
                  <c:v>48.439697000000002</c:v>
                </c:pt>
                <c:pt idx="1629">
                  <c:v>49.021163999999999</c:v>
                </c:pt>
                <c:pt idx="1630">
                  <c:v>49.874606999999997</c:v>
                </c:pt>
                <c:pt idx="1631">
                  <c:v>50.352898000000003</c:v>
                </c:pt>
                <c:pt idx="1632">
                  <c:v>50.099679999999999</c:v>
                </c:pt>
                <c:pt idx="1633">
                  <c:v>49.893355999999997</c:v>
                </c:pt>
                <c:pt idx="1634">
                  <c:v>50.174709999999997</c:v>
                </c:pt>
                <c:pt idx="1635">
                  <c:v>49.696415000000002</c:v>
                </c:pt>
                <c:pt idx="1636">
                  <c:v>50.521717000000002</c:v>
                </c:pt>
                <c:pt idx="1637">
                  <c:v>51.028151999999999</c:v>
                </c:pt>
                <c:pt idx="1638">
                  <c:v>51.290745000000001</c:v>
                </c:pt>
                <c:pt idx="1639">
                  <c:v>50.531089999999999</c:v>
                </c:pt>
                <c:pt idx="1640">
                  <c:v>50.73742</c:v>
                </c:pt>
                <c:pt idx="1641">
                  <c:v>51.103180000000002</c:v>
                </c:pt>
                <c:pt idx="1642">
                  <c:v>50.399788000000001</c:v>
                </c:pt>
                <c:pt idx="1643">
                  <c:v>51.150069999999999</c:v>
                </c:pt>
                <c:pt idx="1644">
                  <c:v>51.318882000000002</c:v>
                </c:pt>
                <c:pt idx="1645">
                  <c:v>51.684643000000001</c:v>
                </c:pt>
                <c:pt idx="1646">
                  <c:v>51.628376000000003</c:v>
                </c:pt>
                <c:pt idx="1647">
                  <c:v>51.618996000000003</c:v>
                </c:pt>
                <c:pt idx="1648">
                  <c:v>51.862830000000002</c:v>
                </c:pt>
                <c:pt idx="1649">
                  <c:v>52.303620000000002</c:v>
                </c:pt>
                <c:pt idx="1650">
                  <c:v>51.694023000000001</c:v>
                </c:pt>
                <c:pt idx="1651">
                  <c:v>51.797184000000001</c:v>
                </c:pt>
                <c:pt idx="1652">
                  <c:v>51.131317000000003</c:v>
                </c:pt>
                <c:pt idx="1653">
                  <c:v>51.018771999999998</c:v>
                </c:pt>
                <c:pt idx="1654">
                  <c:v>51.365772</c:v>
                </c:pt>
                <c:pt idx="1655">
                  <c:v>51.684643000000001</c:v>
                </c:pt>
                <c:pt idx="1656">
                  <c:v>51.259524999999996</c:v>
                </c:pt>
                <c:pt idx="1657">
                  <c:v>50.976115999999998</c:v>
                </c:pt>
                <c:pt idx="1658">
                  <c:v>51.240634999999997</c:v>
                </c:pt>
                <c:pt idx="1659">
                  <c:v>51.231186000000001</c:v>
                </c:pt>
                <c:pt idx="1660">
                  <c:v>51.505153999999997</c:v>
                </c:pt>
                <c:pt idx="1661">
                  <c:v>50.928882999999999</c:v>
                </c:pt>
                <c:pt idx="1662">
                  <c:v>51.146155999999998</c:v>
                </c:pt>
                <c:pt idx="1663">
                  <c:v>51.297314</c:v>
                </c:pt>
                <c:pt idx="1664">
                  <c:v>51.174495999999998</c:v>
                </c:pt>
                <c:pt idx="1665">
                  <c:v>51.382339999999999</c:v>
                </c:pt>
                <c:pt idx="1666">
                  <c:v>51.306762999999997</c:v>
                </c:pt>
                <c:pt idx="1667">
                  <c:v>51.429572999999998</c:v>
                </c:pt>
                <c:pt idx="1668">
                  <c:v>51.627963999999999</c:v>
                </c:pt>
                <c:pt idx="1669">
                  <c:v>50.144779999999997</c:v>
                </c:pt>
                <c:pt idx="1670">
                  <c:v>50.862749999999998</c:v>
                </c:pt>
                <c:pt idx="1671">
                  <c:v>51.524048000000001</c:v>
                </c:pt>
                <c:pt idx="1672">
                  <c:v>50.891094000000002</c:v>
                </c:pt>
                <c:pt idx="1673">
                  <c:v>50.617130000000003</c:v>
                </c:pt>
                <c:pt idx="1674">
                  <c:v>50.853306000000003</c:v>
                </c:pt>
                <c:pt idx="1675">
                  <c:v>50.692715</c:v>
                </c:pt>
                <c:pt idx="1676">
                  <c:v>50.352609999999999</c:v>
                </c:pt>
                <c:pt idx="1677">
                  <c:v>50.352609999999999</c:v>
                </c:pt>
                <c:pt idx="1678">
                  <c:v>50.551006000000001</c:v>
                </c:pt>
                <c:pt idx="1679">
                  <c:v>50.532110000000003</c:v>
                </c:pt>
                <c:pt idx="1680">
                  <c:v>50.815514</c:v>
                </c:pt>
                <c:pt idx="1681">
                  <c:v>51.750767000000003</c:v>
                </c:pt>
                <c:pt idx="1682">
                  <c:v>51.231186000000001</c:v>
                </c:pt>
                <c:pt idx="1683">
                  <c:v>50.872196000000002</c:v>
                </c:pt>
                <c:pt idx="1684">
                  <c:v>51.618510000000001</c:v>
                </c:pt>
                <c:pt idx="1685">
                  <c:v>51.590167999999998</c:v>
                </c:pt>
                <c:pt idx="1686">
                  <c:v>50.777724999999997</c:v>
                </c:pt>
                <c:pt idx="1687">
                  <c:v>50.607684999999996</c:v>
                </c:pt>
                <c:pt idx="1688">
                  <c:v>50.456527999999999</c:v>
                </c:pt>
                <c:pt idx="1689">
                  <c:v>50.95722</c:v>
                </c:pt>
                <c:pt idx="1690">
                  <c:v>51.420127999999998</c:v>
                </c:pt>
                <c:pt idx="1691">
                  <c:v>50.919437000000002</c:v>
                </c:pt>
                <c:pt idx="1692">
                  <c:v>50.201466000000003</c:v>
                </c:pt>
                <c:pt idx="1693">
                  <c:v>49.521270000000001</c:v>
                </c:pt>
                <c:pt idx="1694">
                  <c:v>49.88026</c:v>
                </c:pt>
                <c:pt idx="1695">
                  <c:v>49.398468000000001</c:v>
                </c:pt>
                <c:pt idx="1696">
                  <c:v>49.322890000000001</c:v>
                </c:pt>
                <c:pt idx="1697">
                  <c:v>48.973346999999997</c:v>
                </c:pt>
                <c:pt idx="1698">
                  <c:v>48.850540000000002</c:v>
                </c:pt>
                <c:pt idx="1699">
                  <c:v>49.511825999999999</c:v>
                </c:pt>
                <c:pt idx="1700">
                  <c:v>49.719665999999997</c:v>
                </c:pt>
                <c:pt idx="1701">
                  <c:v>49.757446000000002</c:v>
                </c:pt>
                <c:pt idx="1702">
                  <c:v>50.097546000000001</c:v>
                </c:pt>
                <c:pt idx="1703">
                  <c:v>50.144779999999997</c:v>
                </c:pt>
                <c:pt idx="1704">
                  <c:v>50.277034999999998</c:v>
                </c:pt>
                <c:pt idx="1705">
                  <c:v>50.031413999999998</c:v>
                </c:pt>
                <c:pt idx="1706">
                  <c:v>50.097546000000001</c:v>
                </c:pt>
                <c:pt idx="1707">
                  <c:v>50.277034999999998</c:v>
                </c:pt>
                <c:pt idx="1708">
                  <c:v>50.919437000000002</c:v>
                </c:pt>
                <c:pt idx="1709">
                  <c:v>50.966667000000001</c:v>
                </c:pt>
                <c:pt idx="1710">
                  <c:v>50.823906000000001</c:v>
                </c:pt>
                <c:pt idx="1711">
                  <c:v>51.157020000000003</c:v>
                </c:pt>
                <c:pt idx="1712">
                  <c:v>51.204610000000002</c:v>
                </c:pt>
                <c:pt idx="1713">
                  <c:v>51.67098</c:v>
                </c:pt>
                <c:pt idx="1714">
                  <c:v>51.575794000000002</c:v>
                </c:pt>
                <c:pt idx="1715">
                  <c:v>51.794696999999999</c:v>
                </c:pt>
                <c:pt idx="1716">
                  <c:v>51.461585999999997</c:v>
                </c:pt>
                <c:pt idx="1717">
                  <c:v>51.176056000000003</c:v>
                </c:pt>
                <c:pt idx="1718">
                  <c:v>51.347369999999998</c:v>
                </c:pt>
                <c:pt idx="1719">
                  <c:v>51.528205999999997</c:v>
                </c:pt>
                <c:pt idx="1720">
                  <c:v>51.794696999999999</c:v>
                </c:pt>
                <c:pt idx="1721">
                  <c:v>51.794696999999999</c:v>
                </c:pt>
                <c:pt idx="1722">
                  <c:v>51.794696999999999</c:v>
                </c:pt>
                <c:pt idx="1723">
                  <c:v>51.309306999999997</c:v>
                </c:pt>
                <c:pt idx="1724">
                  <c:v>51.699523999999997</c:v>
                </c:pt>
                <c:pt idx="1725">
                  <c:v>52.318170000000002</c:v>
                </c:pt>
                <c:pt idx="1726">
                  <c:v>52.261063</c:v>
                </c:pt>
                <c:pt idx="1727">
                  <c:v>52.070709999999998</c:v>
                </c:pt>
                <c:pt idx="1728">
                  <c:v>52.365752999999998</c:v>
                </c:pt>
                <c:pt idx="1729">
                  <c:v>52.679831999999998</c:v>
                </c:pt>
                <c:pt idx="1730">
                  <c:v>52.603695000000002</c:v>
                </c:pt>
                <c:pt idx="1731">
                  <c:v>52.679831999999998</c:v>
                </c:pt>
                <c:pt idx="1732">
                  <c:v>52.337207999999997</c:v>
                </c:pt>
                <c:pt idx="1733">
                  <c:v>52.051673999999998</c:v>
                </c:pt>
                <c:pt idx="1734">
                  <c:v>52.032640000000001</c:v>
                </c:pt>
                <c:pt idx="1735">
                  <c:v>51.632899999999999</c:v>
                </c:pt>
                <c:pt idx="1736">
                  <c:v>51.728073000000002</c:v>
                </c:pt>
                <c:pt idx="1737">
                  <c:v>52.670321999999999</c:v>
                </c:pt>
                <c:pt idx="1738">
                  <c:v>52.851146999999997</c:v>
                </c:pt>
                <c:pt idx="1739">
                  <c:v>53.422203000000003</c:v>
                </c:pt>
                <c:pt idx="1740">
                  <c:v>53.298476999999998</c:v>
                </c:pt>
                <c:pt idx="1741">
                  <c:v>53.964714000000001</c:v>
                </c:pt>
                <c:pt idx="1742">
                  <c:v>54.078915000000002</c:v>
                </c:pt>
                <c:pt idx="1743">
                  <c:v>54.193126999999997</c:v>
                </c:pt>
                <c:pt idx="1744">
                  <c:v>54.412033000000001</c:v>
                </c:pt>
                <c:pt idx="1745">
                  <c:v>54.83081</c:v>
                </c:pt>
                <c:pt idx="1746">
                  <c:v>55.040194999999997</c:v>
                </c:pt>
                <c:pt idx="1747">
                  <c:v>54.897433999999997</c:v>
                </c:pt>
                <c:pt idx="1748">
                  <c:v>54.707079999999998</c:v>
                </c:pt>
                <c:pt idx="1749">
                  <c:v>54.259754000000001</c:v>
                </c:pt>
                <c:pt idx="1750">
                  <c:v>54.259754000000001</c:v>
                </c:pt>
                <c:pt idx="1751">
                  <c:v>56.020510000000002</c:v>
                </c:pt>
                <c:pt idx="1752">
                  <c:v>55.582700000000003</c:v>
                </c:pt>
                <c:pt idx="1753">
                  <c:v>55.754016999999997</c:v>
                </c:pt>
                <c:pt idx="1754">
                  <c:v>56.001475999999997</c:v>
                </c:pt>
                <c:pt idx="1755">
                  <c:v>56.01099</c:v>
                </c:pt>
                <c:pt idx="1756">
                  <c:v>56.144240000000003</c:v>
                </c:pt>
                <c:pt idx="1757">
                  <c:v>56.334586999999999</c:v>
                </c:pt>
                <c:pt idx="1758">
                  <c:v>56.867573</c:v>
                </c:pt>
                <c:pt idx="1759">
                  <c:v>56.715294</c:v>
                </c:pt>
                <c:pt idx="1760">
                  <c:v>56.543971999999997</c:v>
                </c:pt>
                <c:pt idx="1761">
                  <c:v>56.734324999999998</c:v>
                </c:pt>
                <c:pt idx="1762">
                  <c:v>57.057921999999998</c:v>
                </c:pt>
                <c:pt idx="1763">
                  <c:v>56.658183999999999</c:v>
                </c:pt>
                <c:pt idx="1764">
                  <c:v>56.886603999999998</c:v>
                </c:pt>
                <c:pt idx="1765">
                  <c:v>56.839019999999998</c:v>
                </c:pt>
                <c:pt idx="1766">
                  <c:v>57.229239999999997</c:v>
                </c:pt>
                <c:pt idx="1767">
                  <c:v>55.820639999999997</c:v>
                </c:pt>
                <c:pt idx="1768">
                  <c:v>55.030673999999998</c:v>
                </c:pt>
                <c:pt idx="1769">
                  <c:v>54.821289999999998</c:v>
                </c:pt>
                <c:pt idx="1770">
                  <c:v>52.280093999999998</c:v>
                </c:pt>
                <c:pt idx="1771">
                  <c:v>50.909570000000002</c:v>
                </c:pt>
                <c:pt idx="1772">
                  <c:v>53.222335999999999</c:v>
                </c:pt>
                <c:pt idx="1773">
                  <c:v>53.355587</c:v>
                </c:pt>
                <c:pt idx="1774">
                  <c:v>56.07761</c:v>
                </c:pt>
                <c:pt idx="1775">
                  <c:v>54.002780000000001</c:v>
                </c:pt>
                <c:pt idx="1776">
                  <c:v>52.594177000000002</c:v>
                </c:pt>
                <c:pt idx="1777">
                  <c:v>49.358199999999997</c:v>
                </c:pt>
                <c:pt idx="1778">
                  <c:v>51.071365</c:v>
                </c:pt>
                <c:pt idx="1779">
                  <c:v>49.691319999999997</c:v>
                </c:pt>
                <c:pt idx="1780">
                  <c:v>44.884932999999997</c:v>
                </c:pt>
                <c:pt idx="1781">
                  <c:v>46.536315999999999</c:v>
                </c:pt>
                <c:pt idx="1782">
                  <c:v>43.454369999999997</c:v>
                </c:pt>
                <c:pt idx="1783">
                  <c:v>45.297775000000001</c:v>
                </c:pt>
                <c:pt idx="1784">
                  <c:v>43.060733999999997</c:v>
                </c:pt>
                <c:pt idx="1785">
                  <c:v>40.161212999999996</c:v>
                </c:pt>
                <c:pt idx="1786">
                  <c:v>36.772039999999997</c:v>
                </c:pt>
                <c:pt idx="1787">
                  <c:v>36.061565000000002</c:v>
                </c:pt>
                <c:pt idx="1788">
                  <c:v>37.876162999999998</c:v>
                </c:pt>
                <c:pt idx="1789">
                  <c:v>39.949992999999999</c:v>
                </c:pt>
                <c:pt idx="1790">
                  <c:v>42.523069999999997</c:v>
                </c:pt>
                <c:pt idx="1791">
                  <c:v>41.102119999999999</c:v>
                </c:pt>
                <c:pt idx="1792">
                  <c:v>43.204749999999997</c:v>
                </c:pt>
                <c:pt idx="1793">
                  <c:v>42.484670000000001</c:v>
                </c:pt>
                <c:pt idx="1794">
                  <c:v>40.439644000000001</c:v>
                </c:pt>
                <c:pt idx="1795">
                  <c:v>42.196640000000002</c:v>
                </c:pt>
                <c:pt idx="1796">
                  <c:v>42.081425000000003</c:v>
                </c:pt>
                <c:pt idx="1797">
                  <c:v>44.808120000000002</c:v>
                </c:pt>
                <c:pt idx="1798">
                  <c:v>44.654507000000002</c:v>
                </c:pt>
                <c:pt idx="1799">
                  <c:v>45.912242999999997</c:v>
                </c:pt>
                <c:pt idx="1800">
                  <c:v>47.045174000000003</c:v>
                </c:pt>
                <c:pt idx="1801">
                  <c:v>45.057749999999999</c:v>
                </c:pt>
                <c:pt idx="1802">
                  <c:v>46.968359999999997</c:v>
                </c:pt>
                <c:pt idx="1803">
                  <c:v>45.710631999999997</c:v>
                </c:pt>
                <c:pt idx="1804">
                  <c:v>45.220965999999997</c:v>
                </c:pt>
                <c:pt idx="1805">
                  <c:v>46.142673000000002</c:v>
                </c:pt>
                <c:pt idx="1806">
                  <c:v>44.673713999999997</c:v>
                </c:pt>
                <c:pt idx="1807">
                  <c:v>43.569595</c:v>
                </c:pt>
                <c:pt idx="1808">
                  <c:v>43.857619999999997</c:v>
                </c:pt>
                <c:pt idx="1809">
                  <c:v>43.271957</c:v>
                </c:pt>
                <c:pt idx="1810">
                  <c:v>43.61759</c:v>
                </c:pt>
                <c:pt idx="1811">
                  <c:v>44.913733999999998</c:v>
                </c:pt>
                <c:pt idx="1812">
                  <c:v>44.875329999999998</c:v>
                </c:pt>
                <c:pt idx="1813">
                  <c:v>45.240169999999999</c:v>
                </c:pt>
                <c:pt idx="1814">
                  <c:v>44.059241999999998</c:v>
                </c:pt>
                <c:pt idx="1815">
                  <c:v>43.780810000000002</c:v>
                </c:pt>
                <c:pt idx="1816">
                  <c:v>43.339170000000003</c:v>
                </c:pt>
                <c:pt idx="1817">
                  <c:v>43.588790000000003</c:v>
                </c:pt>
                <c:pt idx="1818">
                  <c:v>42.96472</c:v>
                </c:pt>
                <c:pt idx="1819">
                  <c:v>42.820700000000002</c:v>
                </c:pt>
                <c:pt idx="1820">
                  <c:v>44.270465999999999</c:v>
                </c:pt>
                <c:pt idx="1821">
                  <c:v>43.723205999999998</c:v>
                </c:pt>
                <c:pt idx="1822">
                  <c:v>43.031930000000003</c:v>
                </c:pt>
                <c:pt idx="1823">
                  <c:v>42.187035000000002</c:v>
                </c:pt>
                <c:pt idx="1824">
                  <c:v>41.956614999999999</c:v>
                </c:pt>
                <c:pt idx="1825">
                  <c:v>41.534163999999997</c:v>
                </c:pt>
                <c:pt idx="1826">
                  <c:v>43.175944999999999</c:v>
                </c:pt>
                <c:pt idx="1827">
                  <c:v>42.763103000000001</c:v>
                </c:pt>
                <c:pt idx="1828">
                  <c:v>44.059241999999998</c:v>
                </c:pt>
                <c:pt idx="1829">
                  <c:v>43.367959999999997</c:v>
                </c:pt>
                <c:pt idx="1830">
                  <c:v>43.233555000000003</c:v>
                </c:pt>
                <c:pt idx="1831">
                  <c:v>44.251266000000001</c:v>
                </c:pt>
                <c:pt idx="1832">
                  <c:v>44.865729999999999</c:v>
                </c:pt>
                <c:pt idx="1833">
                  <c:v>45.211371999999997</c:v>
                </c:pt>
                <c:pt idx="1834">
                  <c:v>44.817726</c:v>
                </c:pt>
                <c:pt idx="1835">
                  <c:v>45.115360000000003</c:v>
                </c:pt>
                <c:pt idx="1836">
                  <c:v>45.028950000000002</c:v>
                </c:pt>
                <c:pt idx="1837">
                  <c:v>45.989055999999998</c:v>
                </c:pt>
                <c:pt idx="1838">
                  <c:v>46.008254999999998</c:v>
                </c:pt>
                <c:pt idx="1839">
                  <c:v>47.131583999999997</c:v>
                </c:pt>
                <c:pt idx="1840">
                  <c:v>47.861255999999997</c:v>
                </c:pt>
                <c:pt idx="1841">
                  <c:v>47.045174000000003</c:v>
                </c:pt>
                <c:pt idx="1842">
                  <c:v>46.680325000000003</c:v>
                </c:pt>
                <c:pt idx="1843">
                  <c:v>43.723205999999998</c:v>
                </c:pt>
                <c:pt idx="1844">
                  <c:v>44.178555000000003</c:v>
                </c:pt>
                <c:pt idx="1845">
                  <c:v>44.856729999999999</c:v>
                </c:pt>
                <c:pt idx="1846">
                  <c:v>45.312083999999999</c:v>
                </c:pt>
                <c:pt idx="1847">
                  <c:v>45.128014</c:v>
                </c:pt>
                <c:pt idx="1848">
                  <c:v>45.525227000000001</c:v>
                </c:pt>
                <c:pt idx="1849">
                  <c:v>44.585459999999998</c:v>
                </c:pt>
                <c:pt idx="1850">
                  <c:v>44.314190000000004</c:v>
                </c:pt>
                <c:pt idx="1851">
                  <c:v>44.217308000000003</c:v>
                </c:pt>
                <c:pt idx="1852">
                  <c:v>43.25817</c:v>
                </c:pt>
                <c:pt idx="1853">
                  <c:v>43.529440000000001</c:v>
                </c:pt>
                <c:pt idx="1854">
                  <c:v>42.211838</c:v>
                </c:pt>
                <c:pt idx="1855">
                  <c:v>42.977209999999999</c:v>
                </c:pt>
                <c:pt idx="1856">
                  <c:v>43.287235000000003</c:v>
                </c:pt>
                <c:pt idx="1857">
                  <c:v>43.422870000000003</c:v>
                </c:pt>
                <c:pt idx="1858">
                  <c:v>43.481000000000002</c:v>
                </c:pt>
                <c:pt idx="1859">
                  <c:v>43.820087000000001</c:v>
                </c:pt>
                <c:pt idx="1860">
                  <c:v>43.800710000000002</c:v>
                </c:pt>
                <c:pt idx="1861">
                  <c:v>43.665076999999997</c:v>
                </c:pt>
                <c:pt idx="1862">
                  <c:v>42.541237000000002</c:v>
                </c:pt>
                <c:pt idx="1863">
                  <c:v>43.742584000000001</c:v>
                </c:pt>
                <c:pt idx="1864">
                  <c:v>43.839469999999999</c:v>
                </c:pt>
                <c:pt idx="1865">
                  <c:v>44.44014</c:v>
                </c:pt>
                <c:pt idx="1866">
                  <c:v>44.953620000000001</c:v>
                </c:pt>
                <c:pt idx="1867">
                  <c:v>44.711410000000001</c:v>
                </c:pt>
                <c:pt idx="1868">
                  <c:v>45.360523000000001</c:v>
                </c:pt>
                <c:pt idx="1869">
                  <c:v>44.682346000000003</c:v>
                </c:pt>
                <c:pt idx="1870">
                  <c:v>45.728682999999997</c:v>
                </c:pt>
                <c:pt idx="1871">
                  <c:v>46.968780000000002</c:v>
                </c:pt>
                <c:pt idx="1872">
                  <c:v>46.775013000000001</c:v>
                </c:pt>
                <c:pt idx="1873">
                  <c:v>46.978465999999997</c:v>
                </c:pt>
                <c:pt idx="1874">
                  <c:v>46.968780000000002</c:v>
                </c:pt>
                <c:pt idx="1875">
                  <c:v>46.678130000000003</c:v>
                </c:pt>
                <c:pt idx="1876">
                  <c:v>46.523116999999999</c:v>
                </c:pt>
                <c:pt idx="1877">
                  <c:v>46.203403000000002</c:v>
                </c:pt>
                <c:pt idx="1878">
                  <c:v>45.767440000000001</c:v>
                </c:pt>
                <c:pt idx="1879">
                  <c:v>44.856729999999999</c:v>
                </c:pt>
                <c:pt idx="1880">
                  <c:v>45.234572999999997</c:v>
                </c:pt>
                <c:pt idx="1881">
                  <c:v>45.748060000000002</c:v>
                </c:pt>
                <c:pt idx="1882">
                  <c:v>45.999949999999998</c:v>
                </c:pt>
                <c:pt idx="1883">
                  <c:v>46.309980000000003</c:v>
                </c:pt>
                <c:pt idx="1884">
                  <c:v>46.232475000000001</c:v>
                </c:pt>
                <c:pt idx="1885">
                  <c:v>46.435924999999997</c:v>
                </c:pt>
                <c:pt idx="1886">
                  <c:v>46.920338000000001</c:v>
                </c:pt>
                <c:pt idx="1887">
                  <c:v>46.871901999999999</c:v>
                </c:pt>
                <c:pt idx="1888">
                  <c:v>46.939715999999997</c:v>
                </c:pt>
                <c:pt idx="1889">
                  <c:v>46.707194999999999</c:v>
                </c:pt>
                <c:pt idx="1890">
                  <c:v>46.910649999999997</c:v>
                </c:pt>
                <c:pt idx="1891">
                  <c:v>45.893383</c:v>
                </c:pt>
                <c:pt idx="1892">
                  <c:v>45.874003999999999</c:v>
                </c:pt>
                <c:pt idx="1893">
                  <c:v>45.806187000000001</c:v>
                </c:pt>
                <c:pt idx="1894">
                  <c:v>46.474679999999999</c:v>
                </c:pt>
                <c:pt idx="1895">
                  <c:v>46.416545999999997</c:v>
                </c:pt>
                <c:pt idx="1896">
                  <c:v>46.658755999999997</c:v>
                </c:pt>
                <c:pt idx="1897">
                  <c:v>46.726570000000002</c:v>
                </c:pt>
                <c:pt idx="1898">
                  <c:v>48.276699999999998</c:v>
                </c:pt>
                <c:pt idx="1899">
                  <c:v>47.986049999999999</c:v>
                </c:pt>
                <c:pt idx="1900">
                  <c:v>47.588830000000002</c:v>
                </c:pt>
                <c:pt idx="1901">
                  <c:v>49.594302999999996</c:v>
                </c:pt>
                <c:pt idx="1902">
                  <c:v>48.906433</c:v>
                </c:pt>
                <c:pt idx="1903">
                  <c:v>49.448982000000001</c:v>
                </c:pt>
                <c:pt idx="1904">
                  <c:v>48.25732</c:v>
                </c:pt>
                <c:pt idx="1905">
                  <c:v>48.625476999999997</c:v>
                </c:pt>
                <c:pt idx="1906">
                  <c:v>48.441400000000002</c:v>
                </c:pt>
                <c:pt idx="1907">
                  <c:v>49.468359999999997</c:v>
                </c:pt>
                <c:pt idx="1908">
                  <c:v>49.526960000000003</c:v>
                </c:pt>
                <c:pt idx="1909">
                  <c:v>49.859023999999998</c:v>
                </c:pt>
                <c:pt idx="1910">
                  <c:v>49.605086999999997</c:v>
                </c:pt>
                <c:pt idx="1911">
                  <c:v>49.370690000000003</c:v>
                </c:pt>
                <c:pt idx="1912">
                  <c:v>49.273020000000002</c:v>
                </c:pt>
                <c:pt idx="1913">
                  <c:v>47.944749999999999</c:v>
                </c:pt>
                <c:pt idx="1914">
                  <c:v>48.501452999999998</c:v>
                </c:pt>
                <c:pt idx="1915">
                  <c:v>47.085278000000002</c:v>
                </c:pt>
                <c:pt idx="1916">
                  <c:v>47.563850000000002</c:v>
                </c:pt>
                <c:pt idx="1917">
                  <c:v>47.583385</c:v>
                </c:pt>
                <c:pt idx="1918">
                  <c:v>48.130318000000003</c:v>
                </c:pt>
                <c:pt idx="1919">
                  <c:v>47.778717</c:v>
                </c:pt>
                <c:pt idx="1920">
                  <c:v>48.218215999999998</c:v>
                </c:pt>
                <c:pt idx="1921">
                  <c:v>48.032649999999997</c:v>
                </c:pt>
                <c:pt idx="1922">
                  <c:v>48.208454000000003</c:v>
                </c:pt>
                <c:pt idx="1923">
                  <c:v>48.227984999999997</c:v>
                </c:pt>
                <c:pt idx="1924">
                  <c:v>47.798250000000003</c:v>
                </c:pt>
                <c:pt idx="1925">
                  <c:v>48.403785999999997</c:v>
                </c:pt>
                <c:pt idx="1926">
                  <c:v>49.282789999999999</c:v>
                </c:pt>
                <c:pt idx="1927">
                  <c:v>49.624625999999999</c:v>
                </c:pt>
                <c:pt idx="1928">
                  <c:v>49.898086999999997</c:v>
                </c:pt>
                <c:pt idx="1929">
                  <c:v>49.048389999999998</c:v>
                </c:pt>
                <c:pt idx="1930">
                  <c:v>48.950718000000002</c:v>
                </c:pt>
                <c:pt idx="1931">
                  <c:v>48.823757000000001</c:v>
                </c:pt>
                <c:pt idx="1932">
                  <c:v>48.862816000000002</c:v>
                </c:pt>
                <c:pt idx="1933">
                  <c:v>48.462387</c:v>
                </c:pt>
                <c:pt idx="1934">
                  <c:v>49.077686</c:v>
                </c:pt>
                <c:pt idx="1935">
                  <c:v>48.823757000000001</c:v>
                </c:pt>
                <c:pt idx="1936">
                  <c:v>49.497653999999997</c:v>
                </c:pt>
                <c:pt idx="1937">
                  <c:v>49.341392999999997</c:v>
                </c:pt>
                <c:pt idx="1938">
                  <c:v>48.638187000000002</c:v>
                </c:pt>
                <c:pt idx="1939">
                  <c:v>48.735849999999999</c:v>
                </c:pt>
                <c:pt idx="1940">
                  <c:v>46.84111</c:v>
                </c:pt>
                <c:pt idx="1941">
                  <c:v>46.899709999999999</c:v>
                </c:pt>
                <c:pt idx="1942">
                  <c:v>46.938780000000001</c:v>
                </c:pt>
                <c:pt idx="1943">
                  <c:v>47.485714000000002</c:v>
                </c:pt>
                <c:pt idx="1944">
                  <c:v>48.198680000000003</c:v>
                </c:pt>
                <c:pt idx="1945">
                  <c:v>48.022880000000001</c:v>
                </c:pt>
                <c:pt idx="1946">
                  <c:v>48.286586999999997</c:v>
                </c:pt>
                <c:pt idx="1947">
                  <c:v>48.296351999999999</c:v>
                </c:pt>
                <c:pt idx="1948">
                  <c:v>51.343563000000003</c:v>
                </c:pt>
                <c:pt idx="1949">
                  <c:v>52.720664999999997</c:v>
                </c:pt>
                <c:pt idx="1950">
                  <c:v>52.33</c:v>
                </c:pt>
                <c:pt idx="1951">
                  <c:v>51.773296000000002</c:v>
                </c:pt>
                <c:pt idx="1952">
                  <c:v>52.203032999999998</c:v>
                </c:pt>
                <c:pt idx="1953">
                  <c:v>52.593699999999998</c:v>
                </c:pt>
                <c:pt idx="1954">
                  <c:v>52.427672999999999</c:v>
                </c:pt>
                <c:pt idx="1955">
                  <c:v>51.382629999999999</c:v>
                </c:pt>
                <c:pt idx="1956">
                  <c:v>51.890500000000003</c:v>
                </c:pt>
                <c:pt idx="1957">
                  <c:v>51.441226999999998</c:v>
                </c:pt>
                <c:pt idx="1958">
                  <c:v>51.450996000000004</c:v>
                </c:pt>
                <c:pt idx="1959">
                  <c:v>51.978397000000001</c:v>
                </c:pt>
                <c:pt idx="1960">
                  <c:v>51.695168000000002</c:v>
                </c:pt>
                <c:pt idx="1961">
                  <c:v>51.470528000000002</c:v>
                </c:pt>
                <c:pt idx="1962">
                  <c:v>50.791344000000002</c:v>
                </c:pt>
                <c:pt idx="1963">
                  <c:v>51.224452999999997</c:v>
                </c:pt>
                <c:pt idx="1964">
                  <c:v>51.293349999999997</c:v>
                </c:pt>
                <c:pt idx="1965">
                  <c:v>51.952849999999998</c:v>
                </c:pt>
                <c:pt idx="1966">
                  <c:v>53.006079999999997</c:v>
                </c:pt>
                <c:pt idx="1967">
                  <c:v>52.159559999999999</c:v>
                </c:pt>
                <c:pt idx="1968">
                  <c:v>52.346584</c:v>
                </c:pt>
                <c:pt idx="1969">
                  <c:v>52.494231999999997</c:v>
                </c:pt>
                <c:pt idx="1970">
                  <c:v>52.218620000000001</c:v>
                </c:pt>
                <c:pt idx="1971">
                  <c:v>52.513924000000003</c:v>
                </c:pt>
                <c:pt idx="1972">
                  <c:v>52.435172999999999</c:v>
                </c:pt>
                <c:pt idx="1973">
                  <c:v>52.996243</c:v>
                </c:pt>
                <c:pt idx="1974">
                  <c:v>52.228462</c:v>
                </c:pt>
                <c:pt idx="1975">
                  <c:v>52.435172999999999</c:v>
                </c:pt>
                <c:pt idx="1976">
                  <c:v>52.897807999999998</c:v>
                </c:pt>
                <c:pt idx="1977">
                  <c:v>51.982379999999999</c:v>
                </c:pt>
                <c:pt idx="1978">
                  <c:v>51.933163</c:v>
                </c:pt>
                <c:pt idx="1979">
                  <c:v>52.248150000000003</c:v>
                </c:pt>
                <c:pt idx="1980">
                  <c:v>52.602510000000002</c:v>
                </c:pt>
                <c:pt idx="1981">
                  <c:v>53.311225999999998</c:v>
                </c:pt>
                <c:pt idx="1982">
                  <c:v>53.281695999999997</c:v>
                </c:pt>
                <c:pt idx="1983">
                  <c:v>53.586834000000003</c:v>
                </c:pt>
                <c:pt idx="1984">
                  <c:v>53.98057</c:v>
                </c:pt>
                <c:pt idx="1985">
                  <c:v>51.933163</c:v>
                </c:pt>
                <c:pt idx="1986">
                  <c:v>51.362254999999998</c:v>
                </c:pt>
                <c:pt idx="1987">
                  <c:v>49.728270000000002</c:v>
                </c:pt>
                <c:pt idx="1988">
                  <c:v>49.177044000000002</c:v>
                </c:pt>
                <c:pt idx="1989">
                  <c:v>50.279494999999997</c:v>
                </c:pt>
                <c:pt idx="1990">
                  <c:v>49.413283999999997</c:v>
                </c:pt>
                <c:pt idx="1991">
                  <c:v>49.324696000000003</c:v>
                </c:pt>
                <c:pt idx="1992">
                  <c:v>49.373913000000002</c:v>
                </c:pt>
                <c:pt idx="1993">
                  <c:v>48.458485000000003</c:v>
                </c:pt>
                <c:pt idx="1994">
                  <c:v>47.936793999999999</c:v>
                </c:pt>
                <c:pt idx="1995">
                  <c:v>47.749766999999999</c:v>
                </c:pt>
                <c:pt idx="1996">
                  <c:v>47.917102999999997</c:v>
                </c:pt>
                <c:pt idx="1997">
                  <c:v>48.182873000000001</c:v>
                </c:pt>
                <c:pt idx="1998">
                  <c:v>47.730083</c:v>
                </c:pt>
                <c:pt idx="1999">
                  <c:v>48.015537000000002</c:v>
                </c:pt>
                <c:pt idx="2000">
                  <c:v>48.517544000000001</c:v>
                </c:pt>
                <c:pt idx="2001">
                  <c:v>47.769455000000001</c:v>
                </c:pt>
                <c:pt idx="2002">
                  <c:v>48.379739999999998</c:v>
                </c:pt>
                <c:pt idx="2003">
                  <c:v>47.395412</c:v>
                </c:pt>
                <c:pt idx="2004">
                  <c:v>47.720238000000002</c:v>
                </c:pt>
                <c:pt idx="2005">
                  <c:v>48.192715</c:v>
                </c:pt>
                <c:pt idx="2006">
                  <c:v>48.005695000000003</c:v>
                </c:pt>
                <c:pt idx="2007">
                  <c:v>48.241931999999998</c:v>
                </c:pt>
                <c:pt idx="2008">
                  <c:v>48.871901999999999</c:v>
                </c:pt>
                <c:pt idx="2009">
                  <c:v>49.13767</c:v>
                </c:pt>
                <c:pt idx="2010">
                  <c:v>48.921120000000002</c:v>
                </c:pt>
                <c:pt idx="2011">
                  <c:v>48.822685</c:v>
                </c:pt>
                <c:pt idx="2012">
                  <c:v>49.511719999999997</c:v>
                </c:pt>
                <c:pt idx="2013">
                  <c:v>49.895603000000001</c:v>
                </c:pt>
                <c:pt idx="2014">
                  <c:v>49.482190000000003</c:v>
                </c:pt>
                <c:pt idx="2015">
                  <c:v>49.344383000000001</c:v>
                </c:pt>
                <c:pt idx="2016">
                  <c:v>49.974353999999998</c:v>
                </c:pt>
                <c:pt idx="2017">
                  <c:v>49.324696000000003</c:v>
                </c:pt>
                <c:pt idx="2018">
                  <c:v>49.836548000000001</c:v>
                </c:pt>
                <c:pt idx="2019">
                  <c:v>49.747954999999997</c:v>
                </c:pt>
                <c:pt idx="2020">
                  <c:v>49.915289999999999</c:v>
                </c:pt>
                <c:pt idx="2021">
                  <c:v>49.383749999999999</c:v>
                </c:pt>
                <c:pt idx="2022">
                  <c:v>48.222248</c:v>
                </c:pt>
                <c:pt idx="2023">
                  <c:v>49.117984999999997</c:v>
                </c:pt>
                <c:pt idx="2024">
                  <c:v>49.314853999999997</c:v>
                </c:pt>
                <c:pt idx="2025">
                  <c:v>49.196730000000002</c:v>
                </c:pt>
                <c:pt idx="2026">
                  <c:v>49.157359999999997</c:v>
                </c:pt>
                <c:pt idx="2027">
                  <c:v>49.994038000000003</c:v>
                </c:pt>
                <c:pt idx="2028">
                  <c:v>50.830714999999998</c:v>
                </c:pt>
                <c:pt idx="2029">
                  <c:v>50.062945999999997</c:v>
                </c:pt>
                <c:pt idx="2030">
                  <c:v>50.633850000000002</c:v>
                </c:pt>
                <c:pt idx="2031">
                  <c:v>50.082630000000002</c:v>
                </c:pt>
                <c:pt idx="2032">
                  <c:v>49.983376</c:v>
                </c:pt>
                <c:pt idx="2033">
                  <c:v>50.648359999999997</c:v>
                </c:pt>
                <c:pt idx="2034">
                  <c:v>50.836945</c:v>
                </c:pt>
                <c:pt idx="2035">
                  <c:v>50.856796000000003</c:v>
                </c:pt>
                <c:pt idx="2036">
                  <c:v>50.191803</c:v>
                </c:pt>
                <c:pt idx="2037">
                  <c:v>50.430010000000003</c:v>
                </c:pt>
                <c:pt idx="2038">
                  <c:v>50.618586999999998</c:v>
                </c:pt>
                <c:pt idx="2039">
                  <c:v>51.005671999999997</c:v>
                </c:pt>
                <c:pt idx="2040">
                  <c:v>51.134700000000002</c:v>
                </c:pt>
                <c:pt idx="2041">
                  <c:v>51.630961999999997</c:v>
                </c:pt>
                <c:pt idx="2042">
                  <c:v>52.643332999999998</c:v>
                </c:pt>
                <c:pt idx="2043">
                  <c:v>53.447277</c:v>
                </c:pt>
                <c:pt idx="2044">
                  <c:v>52.752510000000001</c:v>
                </c:pt>
                <c:pt idx="2045">
                  <c:v>52.315800000000003</c:v>
                </c:pt>
                <c:pt idx="2046">
                  <c:v>52.117294000000001</c:v>
                </c:pt>
                <c:pt idx="2047">
                  <c:v>52.415053999999998</c:v>
                </c:pt>
                <c:pt idx="2048">
                  <c:v>52.792209999999997</c:v>
                </c:pt>
                <c:pt idx="2049">
                  <c:v>52.881535</c:v>
                </c:pt>
                <c:pt idx="2050">
                  <c:v>52.722732999999998</c:v>
                </c:pt>
                <c:pt idx="2051">
                  <c:v>52.782283999999997</c:v>
                </c:pt>
                <c:pt idx="2052">
                  <c:v>52.951009999999997</c:v>
                </c:pt>
                <c:pt idx="2053">
                  <c:v>52.692959999999999</c:v>
                </c:pt>
                <c:pt idx="2054">
                  <c:v>52.683036999999999</c:v>
                </c:pt>
                <c:pt idx="2055">
                  <c:v>52.931164000000003</c:v>
                </c:pt>
                <c:pt idx="2056">
                  <c:v>53.278545000000001</c:v>
                </c:pt>
                <c:pt idx="2057">
                  <c:v>53.596153000000001</c:v>
                </c:pt>
                <c:pt idx="2058">
                  <c:v>53.764879999999998</c:v>
                </c:pt>
                <c:pt idx="2059">
                  <c:v>54.201590000000003</c:v>
                </c:pt>
                <c:pt idx="2060">
                  <c:v>54.032859999999999</c:v>
                </c:pt>
                <c:pt idx="2061">
                  <c:v>54.062637000000002</c:v>
                </c:pt>
                <c:pt idx="2062">
                  <c:v>53.258693999999998</c:v>
                </c:pt>
                <c:pt idx="2063">
                  <c:v>53.179295000000003</c:v>
                </c:pt>
                <c:pt idx="2064">
                  <c:v>53.189219999999999</c:v>
                </c:pt>
                <c:pt idx="2065">
                  <c:v>53.854205999999998</c:v>
                </c:pt>
                <c:pt idx="2066">
                  <c:v>53.576300000000003</c:v>
                </c:pt>
                <c:pt idx="2067">
                  <c:v>54.072563000000002</c:v>
                </c:pt>
                <c:pt idx="2068">
                  <c:v>53.735104</c:v>
                </c:pt>
                <c:pt idx="2069">
                  <c:v>53.596153000000001</c:v>
                </c:pt>
                <c:pt idx="2070">
                  <c:v>54.132114000000001</c:v>
                </c:pt>
                <c:pt idx="2071">
                  <c:v>54.102336999999999</c:v>
                </c:pt>
                <c:pt idx="2072">
                  <c:v>54.499347999999998</c:v>
                </c:pt>
                <c:pt idx="2073">
                  <c:v>53.913756999999997</c:v>
                </c:pt>
                <c:pt idx="2074">
                  <c:v>53.635852999999997</c:v>
                </c:pt>
                <c:pt idx="2075">
                  <c:v>54.102336999999999</c:v>
                </c:pt>
                <c:pt idx="2076">
                  <c:v>54.320694000000003</c:v>
                </c:pt>
                <c:pt idx="2077">
                  <c:v>54.231364999999997</c:v>
                </c:pt>
                <c:pt idx="2078">
                  <c:v>53.933610000000002</c:v>
                </c:pt>
                <c:pt idx="2079">
                  <c:v>53.764879999999998</c:v>
                </c:pt>
                <c:pt idx="2080">
                  <c:v>54.241295000000001</c:v>
                </c:pt>
                <c:pt idx="2081">
                  <c:v>54.211514000000001</c:v>
                </c:pt>
                <c:pt idx="2082">
                  <c:v>54.390166999999998</c:v>
                </c:pt>
                <c:pt idx="2083">
                  <c:v>54.380245000000002</c:v>
                </c:pt>
                <c:pt idx="2084">
                  <c:v>54.618450000000003</c:v>
                </c:pt>
                <c:pt idx="2085">
                  <c:v>55.075012000000001</c:v>
                </c:pt>
                <c:pt idx="2086">
                  <c:v>54.876506999999997</c:v>
                </c:pt>
                <c:pt idx="2087">
                  <c:v>54.866576999999999</c:v>
                </c:pt>
                <c:pt idx="2088">
                  <c:v>55.084933999999997</c:v>
                </c:pt>
                <c:pt idx="2089">
                  <c:v>55.223889999999997</c:v>
                </c:pt>
                <c:pt idx="2090">
                  <c:v>55.819400000000002</c:v>
                </c:pt>
                <c:pt idx="2091">
                  <c:v>55.620894999999997</c:v>
                </c:pt>
                <c:pt idx="2092">
                  <c:v>55.233814000000002</c:v>
                </c:pt>
                <c:pt idx="2093">
                  <c:v>55.065083000000001</c:v>
                </c:pt>
                <c:pt idx="2094">
                  <c:v>55.491866999999999</c:v>
                </c:pt>
                <c:pt idx="2095">
                  <c:v>55.739998</c:v>
                </c:pt>
                <c:pt idx="2096">
                  <c:v>55.55</c:v>
                </c:pt>
                <c:pt idx="2097">
                  <c:v>55.410004000000001</c:v>
                </c:pt>
                <c:pt idx="2098">
                  <c:v>54.670001999999997</c:v>
                </c:pt>
                <c:pt idx="2099">
                  <c:v>54.95</c:v>
                </c:pt>
                <c:pt idx="2100">
                  <c:v>53.77</c:v>
                </c:pt>
                <c:pt idx="2101">
                  <c:v>54.36</c:v>
                </c:pt>
                <c:pt idx="2102">
                  <c:v>54.56</c:v>
                </c:pt>
                <c:pt idx="2103">
                  <c:v>54.12</c:v>
                </c:pt>
                <c:pt idx="2104">
                  <c:v>54.39</c:v>
                </c:pt>
                <c:pt idx="2105">
                  <c:v>54.32</c:v>
                </c:pt>
                <c:pt idx="2106">
                  <c:v>54.260002</c:v>
                </c:pt>
                <c:pt idx="2107">
                  <c:v>53.86</c:v>
                </c:pt>
                <c:pt idx="2108">
                  <c:v>54.11</c:v>
                </c:pt>
                <c:pt idx="2109">
                  <c:v>53.96</c:v>
                </c:pt>
              </c:numCache>
            </c:numRef>
          </c:val>
          <c:smooth val="0"/>
          <c:extLst>
            <c:ext xmlns:c16="http://schemas.microsoft.com/office/drawing/2014/chart" uri="{C3380CC4-5D6E-409C-BE32-E72D297353CC}">
              <c16:uniqueId val="{00000000-C8D2-184B-888A-AA77F19D4BA5}"/>
            </c:ext>
          </c:extLst>
        </c:ser>
        <c:ser>
          <c:idx val="1"/>
          <c:order val="1"/>
          <c:tx>
            <c:strRef>
              <c:f>Sheet1!$C$1</c:f>
              <c:strCache>
                <c:ptCount val="1"/>
                <c:pt idx="0">
                  <c:v>Predicted</c:v>
                </c:pt>
              </c:strCache>
            </c:strRef>
          </c:tx>
          <c:spPr>
            <a:ln w="12700" cap="rnd">
              <a:solidFill>
                <a:schemeClr val="accent2"/>
              </a:solidFill>
              <a:round/>
            </a:ln>
            <a:effectLst/>
          </c:spPr>
          <c:marker>
            <c:symbol val="none"/>
          </c:marker>
          <c:cat>
            <c:numRef>
              <c:f>Sheet1!$A$2:$A$2111</c:f>
              <c:numCache>
                <c:formatCode>m/d/yy</c:formatCode>
                <c:ptCount val="2110"/>
                <c:pt idx="0">
                  <c:v>41318</c:v>
                </c:pt>
                <c:pt idx="1">
                  <c:v>41319</c:v>
                </c:pt>
                <c:pt idx="2">
                  <c:v>41320</c:v>
                </c:pt>
                <c:pt idx="3">
                  <c:v>41324</c:v>
                </c:pt>
                <c:pt idx="4">
                  <c:v>41325</c:v>
                </c:pt>
                <c:pt idx="5">
                  <c:v>41326</c:v>
                </c:pt>
                <c:pt idx="6">
                  <c:v>41327</c:v>
                </c:pt>
                <c:pt idx="7">
                  <c:v>41330</c:v>
                </c:pt>
                <c:pt idx="8">
                  <c:v>41331</c:v>
                </c:pt>
                <c:pt idx="9">
                  <c:v>41332</c:v>
                </c:pt>
                <c:pt idx="10">
                  <c:v>41333</c:v>
                </c:pt>
                <c:pt idx="11">
                  <c:v>41334</c:v>
                </c:pt>
                <c:pt idx="12">
                  <c:v>41337</c:v>
                </c:pt>
                <c:pt idx="13">
                  <c:v>41338</c:v>
                </c:pt>
                <c:pt idx="14">
                  <c:v>41339</c:v>
                </c:pt>
                <c:pt idx="15">
                  <c:v>41340</c:v>
                </c:pt>
                <c:pt idx="16">
                  <c:v>41341</c:v>
                </c:pt>
                <c:pt idx="17">
                  <c:v>41344</c:v>
                </c:pt>
                <c:pt idx="18">
                  <c:v>41345</c:v>
                </c:pt>
                <c:pt idx="19">
                  <c:v>41346</c:v>
                </c:pt>
                <c:pt idx="20">
                  <c:v>41347</c:v>
                </c:pt>
                <c:pt idx="21">
                  <c:v>41348</c:v>
                </c:pt>
                <c:pt idx="22">
                  <c:v>41351</c:v>
                </c:pt>
                <c:pt idx="23">
                  <c:v>41352</c:v>
                </c:pt>
                <c:pt idx="24">
                  <c:v>41353</c:v>
                </c:pt>
                <c:pt idx="25">
                  <c:v>41354</c:v>
                </c:pt>
                <c:pt idx="26">
                  <c:v>41355</c:v>
                </c:pt>
                <c:pt idx="27">
                  <c:v>41358</c:v>
                </c:pt>
                <c:pt idx="28">
                  <c:v>41359</c:v>
                </c:pt>
                <c:pt idx="29">
                  <c:v>41360</c:v>
                </c:pt>
                <c:pt idx="30">
                  <c:v>41361</c:v>
                </c:pt>
                <c:pt idx="31">
                  <c:v>41365</c:v>
                </c:pt>
                <c:pt idx="32">
                  <c:v>41366</c:v>
                </c:pt>
                <c:pt idx="33">
                  <c:v>41367</c:v>
                </c:pt>
                <c:pt idx="34">
                  <c:v>41368</c:v>
                </c:pt>
                <c:pt idx="35">
                  <c:v>41369</c:v>
                </c:pt>
                <c:pt idx="36">
                  <c:v>41372</c:v>
                </c:pt>
                <c:pt idx="37">
                  <c:v>41373</c:v>
                </c:pt>
                <c:pt idx="38">
                  <c:v>41374</c:v>
                </c:pt>
                <c:pt idx="39">
                  <c:v>41375</c:v>
                </c:pt>
                <c:pt idx="40">
                  <c:v>41376</c:v>
                </c:pt>
                <c:pt idx="41">
                  <c:v>41379</c:v>
                </c:pt>
                <c:pt idx="42">
                  <c:v>41380</c:v>
                </c:pt>
                <c:pt idx="43">
                  <c:v>41381</c:v>
                </c:pt>
                <c:pt idx="44">
                  <c:v>41382</c:v>
                </c:pt>
                <c:pt idx="45">
                  <c:v>41383</c:v>
                </c:pt>
                <c:pt idx="46">
                  <c:v>41386</c:v>
                </c:pt>
                <c:pt idx="47">
                  <c:v>41387</c:v>
                </c:pt>
                <c:pt idx="48">
                  <c:v>41388</c:v>
                </c:pt>
                <c:pt idx="49">
                  <c:v>41389</c:v>
                </c:pt>
                <c:pt idx="50">
                  <c:v>41390</c:v>
                </c:pt>
                <c:pt idx="51">
                  <c:v>41393</c:v>
                </c:pt>
                <c:pt idx="52">
                  <c:v>41394</c:v>
                </c:pt>
                <c:pt idx="53">
                  <c:v>41395</c:v>
                </c:pt>
                <c:pt idx="54">
                  <c:v>41396</c:v>
                </c:pt>
                <c:pt idx="55">
                  <c:v>41397</c:v>
                </c:pt>
                <c:pt idx="56">
                  <c:v>41400</c:v>
                </c:pt>
                <c:pt idx="57">
                  <c:v>41401</c:v>
                </c:pt>
                <c:pt idx="58">
                  <c:v>41402</c:v>
                </c:pt>
                <c:pt idx="59">
                  <c:v>41403</c:v>
                </c:pt>
                <c:pt idx="60">
                  <c:v>41404</c:v>
                </c:pt>
                <c:pt idx="61">
                  <c:v>41407</c:v>
                </c:pt>
                <c:pt idx="62">
                  <c:v>41408</c:v>
                </c:pt>
                <c:pt idx="63">
                  <c:v>41409</c:v>
                </c:pt>
                <c:pt idx="64">
                  <c:v>41410</c:v>
                </c:pt>
                <c:pt idx="65">
                  <c:v>41411</c:v>
                </c:pt>
                <c:pt idx="66">
                  <c:v>41414</c:v>
                </c:pt>
                <c:pt idx="67">
                  <c:v>41415</c:v>
                </c:pt>
                <c:pt idx="68">
                  <c:v>41416</c:v>
                </c:pt>
                <c:pt idx="69">
                  <c:v>41417</c:v>
                </c:pt>
                <c:pt idx="70">
                  <c:v>41418</c:v>
                </c:pt>
                <c:pt idx="71">
                  <c:v>41422</c:v>
                </c:pt>
                <c:pt idx="72">
                  <c:v>41423</c:v>
                </c:pt>
                <c:pt idx="73">
                  <c:v>41424</c:v>
                </c:pt>
                <c:pt idx="74">
                  <c:v>41425</c:v>
                </c:pt>
                <c:pt idx="75">
                  <c:v>41428</c:v>
                </c:pt>
                <c:pt idx="76">
                  <c:v>41429</c:v>
                </c:pt>
                <c:pt idx="77">
                  <c:v>41430</c:v>
                </c:pt>
                <c:pt idx="78">
                  <c:v>41431</c:v>
                </c:pt>
                <c:pt idx="79">
                  <c:v>41432</c:v>
                </c:pt>
                <c:pt idx="80">
                  <c:v>41435</c:v>
                </c:pt>
                <c:pt idx="81">
                  <c:v>41436</c:v>
                </c:pt>
                <c:pt idx="82">
                  <c:v>41437</c:v>
                </c:pt>
                <c:pt idx="83">
                  <c:v>41438</c:v>
                </c:pt>
                <c:pt idx="84">
                  <c:v>41439</c:v>
                </c:pt>
                <c:pt idx="85">
                  <c:v>41442</c:v>
                </c:pt>
                <c:pt idx="86">
                  <c:v>41443</c:v>
                </c:pt>
                <c:pt idx="87">
                  <c:v>41444</c:v>
                </c:pt>
                <c:pt idx="88">
                  <c:v>41445</c:v>
                </c:pt>
                <c:pt idx="89">
                  <c:v>41446</c:v>
                </c:pt>
                <c:pt idx="90">
                  <c:v>41449</c:v>
                </c:pt>
                <c:pt idx="91">
                  <c:v>41450</c:v>
                </c:pt>
                <c:pt idx="92">
                  <c:v>41451</c:v>
                </c:pt>
                <c:pt idx="93">
                  <c:v>41452</c:v>
                </c:pt>
                <c:pt idx="94">
                  <c:v>41453</c:v>
                </c:pt>
                <c:pt idx="95">
                  <c:v>41456</c:v>
                </c:pt>
                <c:pt idx="96">
                  <c:v>41457</c:v>
                </c:pt>
                <c:pt idx="97">
                  <c:v>41458</c:v>
                </c:pt>
                <c:pt idx="98">
                  <c:v>41460</c:v>
                </c:pt>
                <c:pt idx="99">
                  <c:v>41463</c:v>
                </c:pt>
                <c:pt idx="100">
                  <c:v>41464</c:v>
                </c:pt>
                <c:pt idx="101">
                  <c:v>41465</c:v>
                </c:pt>
                <c:pt idx="102">
                  <c:v>41466</c:v>
                </c:pt>
                <c:pt idx="103">
                  <c:v>41467</c:v>
                </c:pt>
                <c:pt idx="104">
                  <c:v>41470</c:v>
                </c:pt>
                <c:pt idx="105">
                  <c:v>41471</c:v>
                </c:pt>
                <c:pt idx="106">
                  <c:v>41472</c:v>
                </c:pt>
                <c:pt idx="107">
                  <c:v>41473</c:v>
                </c:pt>
                <c:pt idx="108">
                  <c:v>41474</c:v>
                </c:pt>
                <c:pt idx="109">
                  <c:v>41477</c:v>
                </c:pt>
                <c:pt idx="110">
                  <c:v>41478</c:v>
                </c:pt>
                <c:pt idx="111">
                  <c:v>41479</c:v>
                </c:pt>
                <c:pt idx="112">
                  <c:v>41480</c:v>
                </c:pt>
                <c:pt idx="113">
                  <c:v>41481</c:v>
                </c:pt>
                <c:pt idx="114">
                  <c:v>41484</c:v>
                </c:pt>
                <c:pt idx="115">
                  <c:v>41485</c:v>
                </c:pt>
                <c:pt idx="116">
                  <c:v>41486</c:v>
                </c:pt>
                <c:pt idx="117">
                  <c:v>41487</c:v>
                </c:pt>
                <c:pt idx="118">
                  <c:v>41488</c:v>
                </c:pt>
                <c:pt idx="119">
                  <c:v>41491</c:v>
                </c:pt>
                <c:pt idx="120">
                  <c:v>41492</c:v>
                </c:pt>
                <c:pt idx="121">
                  <c:v>41493</c:v>
                </c:pt>
                <c:pt idx="122">
                  <c:v>41494</c:v>
                </c:pt>
                <c:pt idx="123">
                  <c:v>41495</c:v>
                </c:pt>
                <c:pt idx="124">
                  <c:v>41498</c:v>
                </c:pt>
                <c:pt idx="125">
                  <c:v>41499</c:v>
                </c:pt>
                <c:pt idx="126">
                  <c:v>41500</c:v>
                </c:pt>
                <c:pt idx="127">
                  <c:v>41501</c:v>
                </c:pt>
                <c:pt idx="128">
                  <c:v>41502</c:v>
                </c:pt>
                <c:pt idx="129">
                  <c:v>41505</c:v>
                </c:pt>
                <c:pt idx="130">
                  <c:v>41506</c:v>
                </c:pt>
                <c:pt idx="131">
                  <c:v>41507</c:v>
                </c:pt>
                <c:pt idx="132">
                  <c:v>41508</c:v>
                </c:pt>
                <c:pt idx="133">
                  <c:v>41509</c:v>
                </c:pt>
                <c:pt idx="134">
                  <c:v>41512</c:v>
                </c:pt>
                <c:pt idx="135">
                  <c:v>41513</c:v>
                </c:pt>
                <c:pt idx="136">
                  <c:v>41514</c:v>
                </c:pt>
                <c:pt idx="137">
                  <c:v>41515</c:v>
                </c:pt>
                <c:pt idx="138">
                  <c:v>41516</c:v>
                </c:pt>
                <c:pt idx="139">
                  <c:v>41520</c:v>
                </c:pt>
                <c:pt idx="140">
                  <c:v>41521</c:v>
                </c:pt>
                <c:pt idx="141">
                  <c:v>41522</c:v>
                </c:pt>
                <c:pt idx="142">
                  <c:v>41523</c:v>
                </c:pt>
                <c:pt idx="143">
                  <c:v>41526</c:v>
                </c:pt>
                <c:pt idx="144">
                  <c:v>41527</c:v>
                </c:pt>
                <c:pt idx="145">
                  <c:v>41528</c:v>
                </c:pt>
                <c:pt idx="146">
                  <c:v>41529</c:v>
                </c:pt>
                <c:pt idx="147">
                  <c:v>41530</c:v>
                </c:pt>
                <c:pt idx="148">
                  <c:v>41533</c:v>
                </c:pt>
                <c:pt idx="149">
                  <c:v>41534</c:v>
                </c:pt>
                <c:pt idx="150">
                  <c:v>41535</c:v>
                </c:pt>
                <c:pt idx="151">
                  <c:v>41536</c:v>
                </c:pt>
                <c:pt idx="152">
                  <c:v>41537</c:v>
                </c:pt>
                <c:pt idx="153">
                  <c:v>41540</c:v>
                </c:pt>
                <c:pt idx="154">
                  <c:v>41541</c:v>
                </c:pt>
                <c:pt idx="155">
                  <c:v>41542</c:v>
                </c:pt>
                <c:pt idx="156">
                  <c:v>41543</c:v>
                </c:pt>
                <c:pt idx="157">
                  <c:v>41544</c:v>
                </c:pt>
                <c:pt idx="158">
                  <c:v>41547</c:v>
                </c:pt>
                <c:pt idx="159">
                  <c:v>41548</c:v>
                </c:pt>
                <c:pt idx="160">
                  <c:v>41549</c:v>
                </c:pt>
                <c:pt idx="161">
                  <c:v>41550</c:v>
                </c:pt>
                <c:pt idx="162">
                  <c:v>41551</c:v>
                </c:pt>
                <c:pt idx="163">
                  <c:v>41554</c:v>
                </c:pt>
                <c:pt idx="164">
                  <c:v>41555</c:v>
                </c:pt>
                <c:pt idx="165">
                  <c:v>41556</c:v>
                </c:pt>
                <c:pt idx="166">
                  <c:v>41557</c:v>
                </c:pt>
                <c:pt idx="167">
                  <c:v>41558</c:v>
                </c:pt>
                <c:pt idx="168">
                  <c:v>41561</c:v>
                </c:pt>
                <c:pt idx="169">
                  <c:v>41562</c:v>
                </c:pt>
                <c:pt idx="170">
                  <c:v>41563</c:v>
                </c:pt>
                <c:pt idx="171">
                  <c:v>41564</c:v>
                </c:pt>
                <c:pt idx="172">
                  <c:v>41565</c:v>
                </c:pt>
                <c:pt idx="173">
                  <c:v>41568</c:v>
                </c:pt>
                <c:pt idx="174">
                  <c:v>41569</c:v>
                </c:pt>
                <c:pt idx="175">
                  <c:v>41570</c:v>
                </c:pt>
                <c:pt idx="176">
                  <c:v>41571</c:v>
                </c:pt>
                <c:pt idx="177">
                  <c:v>41572</c:v>
                </c:pt>
                <c:pt idx="178">
                  <c:v>41575</c:v>
                </c:pt>
                <c:pt idx="179">
                  <c:v>41576</c:v>
                </c:pt>
                <c:pt idx="180">
                  <c:v>41577</c:v>
                </c:pt>
                <c:pt idx="181">
                  <c:v>41578</c:v>
                </c:pt>
                <c:pt idx="182">
                  <c:v>41579</c:v>
                </c:pt>
                <c:pt idx="183">
                  <c:v>41582</c:v>
                </c:pt>
                <c:pt idx="184">
                  <c:v>41583</c:v>
                </c:pt>
                <c:pt idx="185">
                  <c:v>41584</c:v>
                </c:pt>
                <c:pt idx="186">
                  <c:v>41585</c:v>
                </c:pt>
                <c:pt idx="187">
                  <c:v>41586</c:v>
                </c:pt>
                <c:pt idx="188">
                  <c:v>41589</c:v>
                </c:pt>
                <c:pt idx="189">
                  <c:v>41590</c:v>
                </c:pt>
                <c:pt idx="190">
                  <c:v>41591</c:v>
                </c:pt>
                <c:pt idx="191">
                  <c:v>41592</c:v>
                </c:pt>
                <c:pt idx="192">
                  <c:v>41593</c:v>
                </c:pt>
                <c:pt idx="193">
                  <c:v>41596</c:v>
                </c:pt>
                <c:pt idx="194">
                  <c:v>41597</c:v>
                </c:pt>
                <c:pt idx="195">
                  <c:v>41598</c:v>
                </c:pt>
                <c:pt idx="196">
                  <c:v>41599</c:v>
                </c:pt>
                <c:pt idx="197">
                  <c:v>41600</c:v>
                </c:pt>
                <c:pt idx="198">
                  <c:v>41603</c:v>
                </c:pt>
                <c:pt idx="199">
                  <c:v>41604</c:v>
                </c:pt>
                <c:pt idx="200">
                  <c:v>41605</c:v>
                </c:pt>
                <c:pt idx="201">
                  <c:v>41607</c:v>
                </c:pt>
                <c:pt idx="202">
                  <c:v>41610</c:v>
                </c:pt>
                <c:pt idx="203">
                  <c:v>41611</c:v>
                </c:pt>
                <c:pt idx="204">
                  <c:v>41612</c:v>
                </c:pt>
                <c:pt idx="205">
                  <c:v>41613</c:v>
                </c:pt>
                <c:pt idx="206">
                  <c:v>41614</c:v>
                </c:pt>
                <c:pt idx="207">
                  <c:v>41617</c:v>
                </c:pt>
                <c:pt idx="208">
                  <c:v>41618</c:v>
                </c:pt>
                <c:pt idx="209">
                  <c:v>41619</c:v>
                </c:pt>
                <c:pt idx="210">
                  <c:v>41620</c:v>
                </c:pt>
                <c:pt idx="211">
                  <c:v>41621</c:v>
                </c:pt>
                <c:pt idx="212">
                  <c:v>41624</c:v>
                </c:pt>
                <c:pt idx="213">
                  <c:v>41625</c:v>
                </c:pt>
                <c:pt idx="214">
                  <c:v>41626</c:v>
                </c:pt>
                <c:pt idx="215">
                  <c:v>41627</c:v>
                </c:pt>
                <c:pt idx="216">
                  <c:v>41628</c:v>
                </c:pt>
                <c:pt idx="217">
                  <c:v>41631</c:v>
                </c:pt>
                <c:pt idx="218">
                  <c:v>41632</c:v>
                </c:pt>
                <c:pt idx="219">
                  <c:v>41634</c:v>
                </c:pt>
                <c:pt idx="220">
                  <c:v>41635</c:v>
                </c:pt>
                <c:pt idx="221">
                  <c:v>41638</c:v>
                </c:pt>
                <c:pt idx="222">
                  <c:v>41639</c:v>
                </c:pt>
                <c:pt idx="223">
                  <c:v>41641</c:v>
                </c:pt>
                <c:pt idx="224">
                  <c:v>41642</c:v>
                </c:pt>
                <c:pt idx="225">
                  <c:v>41645</c:v>
                </c:pt>
                <c:pt idx="226">
                  <c:v>41646</c:v>
                </c:pt>
                <c:pt idx="227">
                  <c:v>41647</c:v>
                </c:pt>
                <c:pt idx="228">
                  <c:v>41648</c:v>
                </c:pt>
                <c:pt idx="229">
                  <c:v>41649</c:v>
                </c:pt>
                <c:pt idx="230">
                  <c:v>41652</c:v>
                </c:pt>
                <c:pt idx="231">
                  <c:v>41653</c:v>
                </c:pt>
                <c:pt idx="232">
                  <c:v>41654</c:v>
                </c:pt>
                <c:pt idx="233">
                  <c:v>41655</c:v>
                </c:pt>
                <c:pt idx="234">
                  <c:v>41656</c:v>
                </c:pt>
                <c:pt idx="235">
                  <c:v>41660</c:v>
                </c:pt>
                <c:pt idx="236">
                  <c:v>41661</c:v>
                </c:pt>
                <c:pt idx="237">
                  <c:v>41662</c:v>
                </c:pt>
                <c:pt idx="238">
                  <c:v>41663</c:v>
                </c:pt>
                <c:pt idx="239">
                  <c:v>41666</c:v>
                </c:pt>
                <c:pt idx="240">
                  <c:v>41667</c:v>
                </c:pt>
                <c:pt idx="241">
                  <c:v>41668</c:v>
                </c:pt>
                <c:pt idx="242">
                  <c:v>41669</c:v>
                </c:pt>
                <c:pt idx="243">
                  <c:v>41670</c:v>
                </c:pt>
                <c:pt idx="244">
                  <c:v>41673</c:v>
                </c:pt>
                <c:pt idx="245">
                  <c:v>41674</c:v>
                </c:pt>
                <c:pt idx="246">
                  <c:v>41675</c:v>
                </c:pt>
                <c:pt idx="247">
                  <c:v>41676</c:v>
                </c:pt>
                <c:pt idx="248">
                  <c:v>41677</c:v>
                </c:pt>
                <c:pt idx="249">
                  <c:v>41680</c:v>
                </c:pt>
                <c:pt idx="250">
                  <c:v>41681</c:v>
                </c:pt>
                <c:pt idx="251">
                  <c:v>41682</c:v>
                </c:pt>
                <c:pt idx="252">
                  <c:v>41683</c:v>
                </c:pt>
                <c:pt idx="253">
                  <c:v>41684</c:v>
                </c:pt>
                <c:pt idx="254">
                  <c:v>41688</c:v>
                </c:pt>
                <c:pt idx="255">
                  <c:v>41689</c:v>
                </c:pt>
                <c:pt idx="256">
                  <c:v>41690</c:v>
                </c:pt>
                <c:pt idx="257">
                  <c:v>41691</c:v>
                </c:pt>
                <c:pt idx="258">
                  <c:v>41694</c:v>
                </c:pt>
                <c:pt idx="259">
                  <c:v>41695</c:v>
                </c:pt>
                <c:pt idx="260">
                  <c:v>41696</c:v>
                </c:pt>
                <c:pt idx="261">
                  <c:v>41697</c:v>
                </c:pt>
                <c:pt idx="262">
                  <c:v>41698</c:v>
                </c:pt>
                <c:pt idx="263">
                  <c:v>41701</c:v>
                </c:pt>
                <c:pt idx="264">
                  <c:v>41702</c:v>
                </c:pt>
                <c:pt idx="265">
                  <c:v>41703</c:v>
                </c:pt>
                <c:pt idx="266">
                  <c:v>41704</c:v>
                </c:pt>
                <c:pt idx="267">
                  <c:v>41705</c:v>
                </c:pt>
                <c:pt idx="268">
                  <c:v>41708</c:v>
                </c:pt>
                <c:pt idx="269">
                  <c:v>41709</c:v>
                </c:pt>
                <c:pt idx="270">
                  <c:v>41710</c:v>
                </c:pt>
                <c:pt idx="271">
                  <c:v>41711</c:v>
                </c:pt>
                <c:pt idx="272">
                  <c:v>41712</c:v>
                </c:pt>
                <c:pt idx="273">
                  <c:v>41715</c:v>
                </c:pt>
                <c:pt idx="274">
                  <c:v>41716</c:v>
                </c:pt>
                <c:pt idx="275">
                  <c:v>41717</c:v>
                </c:pt>
                <c:pt idx="276">
                  <c:v>41718</c:v>
                </c:pt>
                <c:pt idx="277">
                  <c:v>41719</c:v>
                </c:pt>
                <c:pt idx="278">
                  <c:v>41722</c:v>
                </c:pt>
                <c:pt idx="279">
                  <c:v>41723</c:v>
                </c:pt>
                <c:pt idx="280">
                  <c:v>41724</c:v>
                </c:pt>
                <c:pt idx="281">
                  <c:v>41725</c:v>
                </c:pt>
                <c:pt idx="282">
                  <c:v>41726</c:v>
                </c:pt>
                <c:pt idx="283">
                  <c:v>41729</c:v>
                </c:pt>
                <c:pt idx="284">
                  <c:v>41730</c:v>
                </c:pt>
                <c:pt idx="285">
                  <c:v>41731</c:v>
                </c:pt>
                <c:pt idx="286">
                  <c:v>41732</c:v>
                </c:pt>
                <c:pt idx="287">
                  <c:v>41733</c:v>
                </c:pt>
                <c:pt idx="288">
                  <c:v>41736</c:v>
                </c:pt>
                <c:pt idx="289">
                  <c:v>41737</c:v>
                </c:pt>
                <c:pt idx="290">
                  <c:v>41738</c:v>
                </c:pt>
                <c:pt idx="291">
                  <c:v>41739</c:v>
                </c:pt>
                <c:pt idx="292">
                  <c:v>41740</c:v>
                </c:pt>
                <c:pt idx="293">
                  <c:v>41743</c:v>
                </c:pt>
                <c:pt idx="294">
                  <c:v>41744</c:v>
                </c:pt>
                <c:pt idx="295">
                  <c:v>41745</c:v>
                </c:pt>
                <c:pt idx="296">
                  <c:v>41746</c:v>
                </c:pt>
                <c:pt idx="297">
                  <c:v>41750</c:v>
                </c:pt>
                <c:pt idx="298">
                  <c:v>41751</c:v>
                </c:pt>
                <c:pt idx="299">
                  <c:v>41752</c:v>
                </c:pt>
                <c:pt idx="300">
                  <c:v>41753</c:v>
                </c:pt>
                <c:pt idx="301">
                  <c:v>41754</c:v>
                </c:pt>
                <c:pt idx="302">
                  <c:v>41757</c:v>
                </c:pt>
                <c:pt idx="303">
                  <c:v>41758</c:v>
                </c:pt>
                <c:pt idx="304">
                  <c:v>41759</c:v>
                </c:pt>
                <c:pt idx="305">
                  <c:v>41760</c:v>
                </c:pt>
                <c:pt idx="306">
                  <c:v>41761</c:v>
                </c:pt>
                <c:pt idx="307">
                  <c:v>41764</c:v>
                </c:pt>
                <c:pt idx="308">
                  <c:v>41765</c:v>
                </c:pt>
                <c:pt idx="309">
                  <c:v>41766</c:v>
                </c:pt>
                <c:pt idx="310">
                  <c:v>41767</c:v>
                </c:pt>
                <c:pt idx="311">
                  <c:v>41768</c:v>
                </c:pt>
                <c:pt idx="312">
                  <c:v>41771</c:v>
                </c:pt>
                <c:pt idx="313">
                  <c:v>41772</c:v>
                </c:pt>
                <c:pt idx="314">
                  <c:v>41773</c:v>
                </c:pt>
                <c:pt idx="315">
                  <c:v>41774</c:v>
                </c:pt>
                <c:pt idx="316">
                  <c:v>41775</c:v>
                </c:pt>
                <c:pt idx="317">
                  <c:v>41778</c:v>
                </c:pt>
                <c:pt idx="318">
                  <c:v>41779</c:v>
                </c:pt>
                <c:pt idx="319">
                  <c:v>41780</c:v>
                </c:pt>
                <c:pt idx="320">
                  <c:v>41781</c:v>
                </c:pt>
                <c:pt idx="321">
                  <c:v>41782</c:v>
                </c:pt>
                <c:pt idx="322">
                  <c:v>41786</c:v>
                </c:pt>
                <c:pt idx="323">
                  <c:v>41787</c:v>
                </c:pt>
                <c:pt idx="324">
                  <c:v>41788</c:v>
                </c:pt>
                <c:pt idx="325">
                  <c:v>41789</c:v>
                </c:pt>
                <c:pt idx="326">
                  <c:v>41792</c:v>
                </c:pt>
                <c:pt idx="327">
                  <c:v>41793</c:v>
                </c:pt>
                <c:pt idx="328">
                  <c:v>41794</c:v>
                </c:pt>
                <c:pt idx="329">
                  <c:v>41795</c:v>
                </c:pt>
                <c:pt idx="330">
                  <c:v>41796</c:v>
                </c:pt>
                <c:pt idx="331">
                  <c:v>41799</c:v>
                </c:pt>
                <c:pt idx="332">
                  <c:v>41800</c:v>
                </c:pt>
                <c:pt idx="333">
                  <c:v>41801</c:v>
                </c:pt>
                <c:pt idx="334">
                  <c:v>41802</c:v>
                </c:pt>
                <c:pt idx="335">
                  <c:v>41803</c:v>
                </c:pt>
                <c:pt idx="336">
                  <c:v>41806</c:v>
                </c:pt>
                <c:pt idx="337">
                  <c:v>41807</c:v>
                </c:pt>
                <c:pt idx="338">
                  <c:v>41808</c:v>
                </c:pt>
                <c:pt idx="339">
                  <c:v>41809</c:v>
                </c:pt>
                <c:pt idx="340">
                  <c:v>41810</c:v>
                </c:pt>
                <c:pt idx="341">
                  <c:v>41813</c:v>
                </c:pt>
                <c:pt idx="342">
                  <c:v>41814</c:v>
                </c:pt>
                <c:pt idx="343">
                  <c:v>41815</c:v>
                </c:pt>
                <c:pt idx="344">
                  <c:v>41816</c:v>
                </c:pt>
                <c:pt idx="345">
                  <c:v>41817</c:v>
                </c:pt>
                <c:pt idx="346">
                  <c:v>41820</c:v>
                </c:pt>
                <c:pt idx="347">
                  <c:v>41821</c:v>
                </c:pt>
                <c:pt idx="348">
                  <c:v>41822</c:v>
                </c:pt>
                <c:pt idx="349">
                  <c:v>41823</c:v>
                </c:pt>
                <c:pt idx="350">
                  <c:v>41827</c:v>
                </c:pt>
                <c:pt idx="351">
                  <c:v>41828</c:v>
                </c:pt>
                <c:pt idx="352">
                  <c:v>41829</c:v>
                </c:pt>
                <c:pt idx="353">
                  <c:v>41830</c:v>
                </c:pt>
                <c:pt idx="354">
                  <c:v>41831</c:v>
                </c:pt>
                <c:pt idx="355">
                  <c:v>41834</c:v>
                </c:pt>
                <c:pt idx="356">
                  <c:v>41835</c:v>
                </c:pt>
                <c:pt idx="357">
                  <c:v>41836</c:v>
                </c:pt>
                <c:pt idx="358">
                  <c:v>41837</c:v>
                </c:pt>
                <c:pt idx="359">
                  <c:v>41838</c:v>
                </c:pt>
                <c:pt idx="360">
                  <c:v>41841</c:v>
                </c:pt>
                <c:pt idx="361">
                  <c:v>41842</c:v>
                </c:pt>
                <c:pt idx="362">
                  <c:v>41843</c:v>
                </c:pt>
                <c:pt idx="363">
                  <c:v>41844</c:v>
                </c:pt>
                <c:pt idx="364">
                  <c:v>41845</c:v>
                </c:pt>
                <c:pt idx="365">
                  <c:v>41848</c:v>
                </c:pt>
                <c:pt idx="366">
                  <c:v>41849</c:v>
                </c:pt>
                <c:pt idx="367">
                  <c:v>41850</c:v>
                </c:pt>
                <c:pt idx="368">
                  <c:v>41851</c:v>
                </c:pt>
                <c:pt idx="369">
                  <c:v>41852</c:v>
                </c:pt>
                <c:pt idx="370">
                  <c:v>41855</c:v>
                </c:pt>
                <c:pt idx="371">
                  <c:v>41856</c:v>
                </c:pt>
                <c:pt idx="372">
                  <c:v>41857</c:v>
                </c:pt>
                <c:pt idx="373">
                  <c:v>41858</c:v>
                </c:pt>
                <c:pt idx="374">
                  <c:v>41859</c:v>
                </c:pt>
                <c:pt idx="375">
                  <c:v>41862</c:v>
                </c:pt>
                <c:pt idx="376">
                  <c:v>41863</c:v>
                </c:pt>
                <c:pt idx="377">
                  <c:v>41864</c:v>
                </c:pt>
                <c:pt idx="378">
                  <c:v>41865</c:v>
                </c:pt>
                <c:pt idx="379">
                  <c:v>41866</c:v>
                </c:pt>
                <c:pt idx="380">
                  <c:v>41869</c:v>
                </c:pt>
                <c:pt idx="381">
                  <c:v>41870</c:v>
                </c:pt>
                <c:pt idx="382">
                  <c:v>41871</c:v>
                </c:pt>
                <c:pt idx="383">
                  <c:v>41872</c:v>
                </c:pt>
                <c:pt idx="384">
                  <c:v>41873</c:v>
                </c:pt>
                <c:pt idx="385">
                  <c:v>41876</c:v>
                </c:pt>
                <c:pt idx="386">
                  <c:v>41877</c:v>
                </c:pt>
                <c:pt idx="387">
                  <c:v>41878</c:v>
                </c:pt>
                <c:pt idx="388">
                  <c:v>41879</c:v>
                </c:pt>
                <c:pt idx="389">
                  <c:v>41880</c:v>
                </c:pt>
                <c:pt idx="390">
                  <c:v>41884</c:v>
                </c:pt>
                <c:pt idx="391">
                  <c:v>41885</c:v>
                </c:pt>
                <c:pt idx="392">
                  <c:v>41886</c:v>
                </c:pt>
                <c:pt idx="393">
                  <c:v>41887</c:v>
                </c:pt>
                <c:pt idx="394">
                  <c:v>41890</c:v>
                </c:pt>
                <c:pt idx="395">
                  <c:v>41891</c:v>
                </c:pt>
                <c:pt idx="396">
                  <c:v>41892</c:v>
                </c:pt>
                <c:pt idx="397">
                  <c:v>41893</c:v>
                </c:pt>
                <c:pt idx="398">
                  <c:v>41894</c:v>
                </c:pt>
                <c:pt idx="399">
                  <c:v>41897</c:v>
                </c:pt>
                <c:pt idx="400">
                  <c:v>41898</c:v>
                </c:pt>
                <c:pt idx="401">
                  <c:v>41899</c:v>
                </c:pt>
                <c:pt idx="402">
                  <c:v>41900</c:v>
                </c:pt>
                <c:pt idx="403">
                  <c:v>41901</c:v>
                </c:pt>
                <c:pt idx="404">
                  <c:v>41904</c:v>
                </c:pt>
                <c:pt idx="405">
                  <c:v>41905</c:v>
                </c:pt>
                <c:pt idx="406">
                  <c:v>41906</c:v>
                </c:pt>
                <c:pt idx="407">
                  <c:v>41907</c:v>
                </c:pt>
                <c:pt idx="408">
                  <c:v>41908</c:v>
                </c:pt>
                <c:pt idx="409">
                  <c:v>41911</c:v>
                </c:pt>
                <c:pt idx="410">
                  <c:v>41912</c:v>
                </c:pt>
                <c:pt idx="411">
                  <c:v>41913</c:v>
                </c:pt>
                <c:pt idx="412">
                  <c:v>41914</c:v>
                </c:pt>
                <c:pt idx="413">
                  <c:v>41915</c:v>
                </c:pt>
                <c:pt idx="414">
                  <c:v>41918</c:v>
                </c:pt>
                <c:pt idx="415">
                  <c:v>41919</c:v>
                </c:pt>
                <c:pt idx="416">
                  <c:v>41920</c:v>
                </c:pt>
                <c:pt idx="417">
                  <c:v>41921</c:v>
                </c:pt>
                <c:pt idx="418">
                  <c:v>41922</c:v>
                </c:pt>
                <c:pt idx="419">
                  <c:v>41925</c:v>
                </c:pt>
                <c:pt idx="420">
                  <c:v>41926</c:v>
                </c:pt>
                <c:pt idx="421">
                  <c:v>41927</c:v>
                </c:pt>
                <c:pt idx="422">
                  <c:v>41928</c:v>
                </c:pt>
                <c:pt idx="423">
                  <c:v>41929</c:v>
                </c:pt>
                <c:pt idx="424">
                  <c:v>41932</c:v>
                </c:pt>
                <c:pt idx="425">
                  <c:v>41933</c:v>
                </c:pt>
                <c:pt idx="426">
                  <c:v>41934</c:v>
                </c:pt>
                <c:pt idx="427">
                  <c:v>41935</c:v>
                </c:pt>
                <c:pt idx="428">
                  <c:v>41936</c:v>
                </c:pt>
                <c:pt idx="429">
                  <c:v>41939</c:v>
                </c:pt>
                <c:pt idx="430">
                  <c:v>41940</c:v>
                </c:pt>
                <c:pt idx="431">
                  <c:v>41941</c:v>
                </c:pt>
                <c:pt idx="432">
                  <c:v>41942</c:v>
                </c:pt>
                <c:pt idx="433">
                  <c:v>41943</c:v>
                </c:pt>
                <c:pt idx="434">
                  <c:v>41946</c:v>
                </c:pt>
                <c:pt idx="435">
                  <c:v>41947</c:v>
                </c:pt>
                <c:pt idx="436">
                  <c:v>41948</c:v>
                </c:pt>
                <c:pt idx="437">
                  <c:v>41949</c:v>
                </c:pt>
                <c:pt idx="438">
                  <c:v>41950</c:v>
                </c:pt>
                <c:pt idx="439">
                  <c:v>41953</c:v>
                </c:pt>
                <c:pt idx="440">
                  <c:v>41954</c:v>
                </c:pt>
                <c:pt idx="441">
                  <c:v>41955</c:v>
                </c:pt>
                <c:pt idx="442">
                  <c:v>41956</c:v>
                </c:pt>
                <c:pt idx="443">
                  <c:v>41957</c:v>
                </c:pt>
                <c:pt idx="444">
                  <c:v>41960</c:v>
                </c:pt>
                <c:pt idx="445">
                  <c:v>41961</c:v>
                </c:pt>
                <c:pt idx="446">
                  <c:v>41962</c:v>
                </c:pt>
                <c:pt idx="447">
                  <c:v>41963</c:v>
                </c:pt>
                <c:pt idx="448">
                  <c:v>41964</c:v>
                </c:pt>
                <c:pt idx="449">
                  <c:v>41967</c:v>
                </c:pt>
                <c:pt idx="450">
                  <c:v>41968</c:v>
                </c:pt>
                <c:pt idx="451">
                  <c:v>41969</c:v>
                </c:pt>
                <c:pt idx="452">
                  <c:v>41971</c:v>
                </c:pt>
                <c:pt idx="453">
                  <c:v>41974</c:v>
                </c:pt>
                <c:pt idx="454">
                  <c:v>41975</c:v>
                </c:pt>
                <c:pt idx="455">
                  <c:v>41976</c:v>
                </c:pt>
                <c:pt idx="456">
                  <c:v>41977</c:v>
                </c:pt>
                <c:pt idx="457">
                  <c:v>41978</c:v>
                </c:pt>
                <c:pt idx="458">
                  <c:v>41981</c:v>
                </c:pt>
                <c:pt idx="459">
                  <c:v>41982</c:v>
                </c:pt>
                <c:pt idx="460">
                  <c:v>41983</c:v>
                </c:pt>
                <c:pt idx="461">
                  <c:v>41984</c:v>
                </c:pt>
                <c:pt idx="462">
                  <c:v>41985</c:v>
                </c:pt>
                <c:pt idx="463">
                  <c:v>41988</c:v>
                </c:pt>
                <c:pt idx="464">
                  <c:v>41989</c:v>
                </c:pt>
                <c:pt idx="465">
                  <c:v>41990</c:v>
                </c:pt>
                <c:pt idx="466">
                  <c:v>41991</c:v>
                </c:pt>
                <c:pt idx="467">
                  <c:v>41992</c:v>
                </c:pt>
                <c:pt idx="468">
                  <c:v>41995</c:v>
                </c:pt>
                <c:pt idx="469">
                  <c:v>41996</c:v>
                </c:pt>
                <c:pt idx="470">
                  <c:v>41997</c:v>
                </c:pt>
                <c:pt idx="471">
                  <c:v>41999</c:v>
                </c:pt>
                <c:pt idx="472">
                  <c:v>42002</c:v>
                </c:pt>
                <c:pt idx="473">
                  <c:v>42003</c:v>
                </c:pt>
                <c:pt idx="474">
                  <c:v>42004</c:v>
                </c:pt>
                <c:pt idx="475">
                  <c:v>42006</c:v>
                </c:pt>
                <c:pt idx="476">
                  <c:v>42009</c:v>
                </c:pt>
                <c:pt idx="477">
                  <c:v>42010</c:v>
                </c:pt>
                <c:pt idx="478">
                  <c:v>42011</c:v>
                </c:pt>
                <c:pt idx="479">
                  <c:v>42012</c:v>
                </c:pt>
                <c:pt idx="480">
                  <c:v>42013</c:v>
                </c:pt>
                <c:pt idx="481">
                  <c:v>42016</c:v>
                </c:pt>
                <c:pt idx="482">
                  <c:v>42017</c:v>
                </c:pt>
                <c:pt idx="483">
                  <c:v>42018</c:v>
                </c:pt>
                <c:pt idx="484">
                  <c:v>42019</c:v>
                </c:pt>
                <c:pt idx="485">
                  <c:v>42020</c:v>
                </c:pt>
                <c:pt idx="486">
                  <c:v>42024</c:v>
                </c:pt>
                <c:pt idx="487">
                  <c:v>42025</c:v>
                </c:pt>
                <c:pt idx="488">
                  <c:v>42026</c:v>
                </c:pt>
                <c:pt idx="489">
                  <c:v>42027</c:v>
                </c:pt>
                <c:pt idx="490">
                  <c:v>42030</c:v>
                </c:pt>
                <c:pt idx="491">
                  <c:v>42031</c:v>
                </c:pt>
                <c:pt idx="492">
                  <c:v>42032</c:v>
                </c:pt>
                <c:pt idx="493">
                  <c:v>42033</c:v>
                </c:pt>
                <c:pt idx="494">
                  <c:v>42034</c:v>
                </c:pt>
                <c:pt idx="495">
                  <c:v>42037</c:v>
                </c:pt>
                <c:pt idx="496">
                  <c:v>42038</c:v>
                </c:pt>
                <c:pt idx="497">
                  <c:v>42039</c:v>
                </c:pt>
                <c:pt idx="498">
                  <c:v>42040</c:v>
                </c:pt>
                <c:pt idx="499">
                  <c:v>42041</c:v>
                </c:pt>
                <c:pt idx="500">
                  <c:v>42044</c:v>
                </c:pt>
                <c:pt idx="501">
                  <c:v>42045</c:v>
                </c:pt>
                <c:pt idx="502">
                  <c:v>42046</c:v>
                </c:pt>
                <c:pt idx="503">
                  <c:v>42047</c:v>
                </c:pt>
                <c:pt idx="504">
                  <c:v>42048</c:v>
                </c:pt>
                <c:pt idx="505">
                  <c:v>42052</c:v>
                </c:pt>
                <c:pt idx="506">
                  <c:v>42053</c:v>
                </c:pt>
                <c:pt idx="507">
                  <c:v>42054</c:v>
                </c:pt>
                <c:pt idx="508">
                  <c:v>42055</c:v>
                </c:pt>
                <c:pt idx="509">
                  <c:v>42058</c:v>
                </c:pt>
                <c:pt idx="510">
                  <c:v>42059</c:v>
                </c:pt>
                <c:pt idx="511">
                  <c:v>42060</c:v>
                </c:pt>
                <c:pt idx="512">
                  <c:v>42061</c:v>
                </c:pt>
                <c:pt idx="513">
                  <c:v>42062</c:v>
                </c:pt>
                <c:pt idx="514">
                  <c:v>42065</c:v>
                </c:pt>
                <c:pt idx="515">
                  <c:v>42066</c:v>
                </c:pt>
                <c:pt idx="516">
                  <c:v>42067</c:v>
                </c:pt>
                <c:pt idx="517">
                  <c:v>42068</c:v>
                </c:pt>
                <c:pt idx="518">
                  <c:v>42069</c:v>
                </c:pt>
                <c:pt idx="519">
                  <c:v>42072</c:v>
                </c:pt>
                <c:pt idx="520">
                  <c:v>42073</c:v>
                </c:pt>
                <c:pt idx="521">
                  <c:v>42074</c:v>
                </c:pt>
                <c:pt idx="522">
                  <c:v>42075</c:v>
                </c:pt>
                <c:pt idx="523">
                  <c:v>42076</c:v>
                </c:pt>
                <c:pt idx="524">
                  <c:v>42079</c:v>
                </c:pt>
                <c:pt idx="525">
                  <c:v>42080</c:v>
                </c:pt>
                <c:pt idx="526">
                  <c:v>42081</c:v>
                </c:pt>
                <c:pt idx="527">
                  <c:v>42082</c:v>
                </c:pt>
                <c:pt idx="528">
                  <c:v>42083</c:v>
                </c:pt>
                <c:pt idx="529">
                  <c:v>42086</c:v>
                </c:pt>
                <c:pt idx="530">
                  <c:v>42087</c:v>
                </c:pt>
                <c:pt idx="531">
                  <c:v>42088</c:v>
                </c:pt>
                <c:pt idx="532">
                  <c:v>42089</c:v>
                </c:pt>
                <c:pt idx="533">
                  <c:v>42090</c:v>
                </c:pt>
                <c:pt idx="534">
                  <c:v>42093</c:v>
                </c:pt>
                <c:pt idx="535">
                  <c:v>42094</c:v>
                </c:pt>
                <c:pt idx="536">
                  <c:v>42095</c:v>
                </c:pt>
                <c:pt idx="537">
                  <c:v>42096</c:v>
                </c:pt>
                <c:pt idx="538">
                  <c:v>42100</c:v>
                </c:pt>
                <c:pt idx="539">
                  <c:v>42101</c:v>
                </c:pt>
                <c:pt idx="540">
                  <c:v>42102</c:v>
                </c:pt>
                <c:pt idx="541">
                  <c:v>42103</c:v>
                </c:pt>
                <c:pt idx="542">
                  <c:v>42104</c:v>
                </c:pt>
                <c:pt idx="543">
                  <c:v>42107</c:v>
                </c:pt>
                <c:pt idx="544">
                  <c:v>42108</c:v>
                </c:pt>
                <c:pt idx="545">
                  <c:v>42109</c:v>
                </c:pt>
                <c:pt idx="546">
                  <c:v>42110</c:v>
                </c:pt>
                <c:pt idx="547">
                  <c:v>42111</c:v>
                </c:pt>
                <c:pt idx="548">
                  <c:v>42114</c:v>
                </c:pt>
                <c:pt idx="549">
                  <c:v>42115</c:v>
                </c:pt>
                <c:pt idx="550">
                  <c:v>42116</c:v>
                </c:pt>
                <c:pt idx="551">
                  <c:v>42117</c:v>
                </c:pt>
                <c:pt idx="552">
                  <c:v>42118</c:v>
                </c:pt>
                <c:pt idx="553">
                  <c:v>42121</c:v>
                </c:pt>
                <c:pt idx="554">
                  <c:v>42122</c:v>
                </c:pt>
                <c:pt idx="555">
                  <c:v>42123</c:v>
                </c:pt>
                <c:pt idx="556">
                  <c:v>42124</c:v>
                </c:pt>
                <c:pt idx="557">
                  <c:v>42125</c:v>
                </c:pt>
                <c:pt idx="558">
                  <c:v>42128</c:v>
                </c:pt>
                <c:pt idx="559">
                  <c:v>42129</c:v>
                </c:pt>
                <c:pt idx="560">
                  <c:v>42130</c:v>
                </c:pt>
                <c:pt idx="561">
                  <c:v>42131</c:v>
                </c:pt>
                <c:pt idx="562">
                  <c:v>42132</c:v>
                </c:pt>
                <c:pt idx="563">
                  <c:v>42135</c:v>
                </c:pt>
                <c:pt idx="564">
                  <c:v>42136</c:v>
                </c:pt>
                <c:pt idx="565">
                  <c:v>42137</c:v>
                </c:pt>
                <c:pt idx="566">
                  <c:v>42138</c:v>
                </c:pt>
                <c:pt idx="567">
                  <c:v>42139</c:v>
                </c:pt>
                <c:pt idx="568">
                  <c:v>42142</c:v>
                </c:pt>
                <c:pt idx="569">
                  <c:v>42143</c:v>
                </c:pt>
                <c:pt idx="570">
                  <c:v>42144</c:v>
                </c:pt>
                <c:pt idx="571">
                  <c:v>42145</c:v>
                </c:pt>
                <c:pt idx="572">
                  <c:v>42146</c:v>
                </c:pt>
                <c:pt idx="573">
                  <c:v>42150</c:v>
                </c:pt>
                <c:pt idx="574">
                  <c:v>42151</c:v>
                </c:pt>
                <c:pt idx="575">
                  <c:v>42152</c:v>
                </c:pt>
                <c:pt idx="576">
                  <c:v>42153</c:v>
                </c:pt>
                <c:pt idx="577">
                  <c:v>42156</c:v>
                </c:pt>
                <c:pt idx="578">
                  <c:v>42157</c:v>
                </c:pt>
                <c:pt idx="579">
                  <c:v>42158</c:v>
                </c:pt>
                <c:pt idx="580">
                  <c:v>42159</c:v>
                </c:pt>
                <c:pt idx="581">
                  <c:v>42160</c:v>
                </c:pt>
                <c:pt idx="582">
                  <c:v>42163</c:v>
                </c:pt>
                <c:pt idx="583">
                  <c:v>42164</c:v>
                </c:pt>
                <c:pt idx="584">
                  <c:v>42165</c:v>
                </c:pt>
                <c:pt idx="585">
                  <c:v>42166</c:v>
                </c:pt>
                <c:pt idx="586">
                  <c:v>42167</c:v>
                </c:pt>
                <c:pt idx="587">
                  <c:v>42170</c:v>
                </c:pt>
                <c:pt idx="588">
                  <c:v>42171</c:v>
                </c:pt>
                <c:pt idx="589">
                  <c:v>42172</c:v>
                </c:pt>
                <c:pt idx="590">
                  <c:v>42173</c:v>
                </c:pt>
                <c:pt idx="591">
                  <c:v>42174</c:v>
                </c:pt>
                <c:pt idx="592">
                  <c:v>42177</c:v>
                </c:pt>
                <c:pt idx="593">
                  <c:v>42178</c:v>
                </c:pt>
                <c:pt idx="594">
                  <c:v>42179</c:v>
                </c:pt>
                <c:pt idx="595">
                  <c:v>42180</c:v>
                </c:pt>
                <c:pt idx="596">
                  <c:v>42181</c:v>
                </c:pt>
                <c:pt idx="597">
                  <c:v>42184</c:v>
                </c:pt>
                <c:pt idx="598">
                  <c:v>42185</c:v>
                </c:pt>
                <c:pt idx="599">
                  <c:v>42186</c:v>
                </c:pt>
                <c:pt idx="600">
                  <c:v>42187</c:v>
                </c:pt>
                <c:pt idx="601">
                  <c:v>42191</c:v>
                </c:pt>
                <c:pt idx="602">
                  <c:v>42192</c:v>
                </c:pt>
                <c:pt idx="603">
                  <c:v>42193</c:v>
                </c:pt>
                <c:pt idx="604">
                  <c:v>42194</c:v>
                </c:pt>
                <c:pt idx="605">
                  <c:v>42195</c:v>
                </c:pt>
                <c:pt idx="606">
                  <c:v>42198</c:v>
                </c:pt>
                <c:pt idx="607">
                  <c:v>42199</c:v>
                </c:pt>
                <c:pt idx="608">
                  <c:v>42200</c:v>
                </c:pt>
                <c:pt idx="609">
                  <c:v>42201</c:v>
                </c:pt>
                <c:pt idx="610">
                  <c:v>42202</c:v>
                </c:pt>
                <c:pt idx="611">
                  <c:v>42205</c:v>
                </c:pt>
                <c:pt idx="612">
                  <c:v>42206</c:v>
                </c:pt>
                <c:pt idx="613">
                  <c:v>42207</c:v>
                </c:pt>
                <c:pt idx="614">
                  <c:v>42208</c:v>
                </c:pt>
                <c:pt idx="615">
                  <c:v>42209</c:v>
                </c:pt>
                <c:pt idx="616">
                  <c:v>42212</c:v>
                </c:pt>
                <c:pt idx="617">
                  <c:v>42213</c:v>
                </c:pt>
                <c:pt idx="618">
                  <c:v>42214</c:v>
                </c:pt>
                <c:pt idx="619">
                  <c:v>42215</c:v>
                </c:pt>
                <c:pt idx="620">
                  <c:v>42216</c:v>
                </c:pt>
                <c:pt idx="621">
                  <c:v>42219</c:v>
                </c:pt>
                <c:pt idx="622">
                  <c:v>42220</c:v>
                </c:pt>
                <c:pt idx="623">
                  <c:v>42221</c:v>
                </c:pt>
                <c:pt idx="624">
                  <c:v>42222</c:v>
                </c:pt>
                <c:pt idx="625">
                  <c:v>42223</c:v>
                </c:pt>
                <c:pt idx="626">
                  <c:v>42226</c:v>
                </c:pt>
                <c:pt idx="627">
                  <c:v>42227</c:v>
                </c:pt>
                <c:pt idx="628">
                  <c:v>42228</c:v>
                </c:pt>
                <c:pt idx="629">
                  <c:v>42229</c:v>
                </c:pt>
                <c:pt idx="630">
                  <c:v>42230</c:v>
                </c:pt>
                <c:pt idx="631">
                  <c:v>42233</c:v>
                </c:pt>
                <c:pt idx="632">
                  <c:v>42234</c:v>
                </c:pt>
                <c:pt idx="633">
                  <c:v>42235</c:v>
                </c:pt>
                <c:pt idx="634">
                  <c:v>42236</c:v>
                </c:pt>
                <c:pt idx="635">
                  <c:v>42237</c:v>
                </c:pt>
                <c:pt idx="636">
                  <c:v>42240</c:v>
                </c:pt>
                <c:pt idx="637">
                  <c:v>42241</c:v>
                </c:pt>
                <c:pt idx="638">
                  <c:v>42242</c:v>
                </c:pt>
                <c:pt idx="639">
                  <c:v>42243</c:v>
                </c:pt>
                <c:pt idx="640">
                  <c:v>42244</c:v>
                </c:pt>
                <c:pt idx="641">
                  <c:v>42247</c:v>
                </c:pt>
                <c:pt idx="642">
                  <c:v>42248</c:v>
                </c:pt>
                <c:pt idx="643">
                  <c:v>42249</c:v>
                </c:pt>
                <c:pt idx="644">
                  <c:v>42250</c:v>
                </c:pt>
                <c:pt idx="645">
                  <c:v>42251</c:v>
                </c:pt>
                <c:pt idx="646">
                  <c:v>42255</c:v>
                </c:pt>
                <c:pt idx="647">
                  <c:v>42256</c:v>
                </c:pt>
                <c:pt idx="648">
                  <c:v>42257</c:v>
                </c:pt>
                <c:pt idx="649">
                  <c:v>42258</c:v>
                </c:pt>
                <c:pt idx="650">
                  <c:v>42261</c:v>
                </c:pt>
                <c:pt idx="651">
                  <c:v>42262</c:v>
                </c:pt>
                <c:pt idx="652">
                  <c:v>42263</c:v>
                </c:pt>
                <c:pt idx="653">
                  <c:v>42264</c:v>
                </c:pt>
                <c:pt idx="654">
                  <c:v>42265</c:v>
                </c:pt>
                <c:pt idx="655">
                  <c:v>42268</c:v>
                </c:pt>
                <c:pt idx="656">
                  <c:v>42269</c:v>
                </c:pt>
                <c:pt idx="657">
                  <c:v>42270</c:v>
                </c:pt>
                <c:pt idx="658">
                  <c:v>42271</c:v>
                </c:pt>
                <c:pt idx="659">
                  <c:v>42272</c:v>
                </c:pt>
                <c:pt idx="660">
                  <c:v>42275</c:v>
                </c:pt>
                <c:pt idx="661">
                  <c:v>42276</c:v>
                </c:pt>
                <c:pt idx="662">
                  <c:v>42277</c:v>
                </c:pt>
                <c:pt idx="663">
                  <c:v>42278</c:v>
                </c:pt>
                <c:pt idx="664">
                  <c:v>42279</c:v>
                </c:pt>
                <c:pt idx="665">
                  <c:v>42282</c:v>
                </c:pt>
                <c:pt idx="666">
                  <c:v>42283</c:v>
                </c:pt>
                <c:pt idx="667">
                  <c:v>42284</c:v>
                </c:pt>
                <c:pt idx="668">
                  <c:v>42285</c:v>
                </c:pt>
                <c:pt idx="669">
                  <c:v>42286</c:v>
                </c:pt>
                <c:pt idx="670">
                  <c:v>42289</c:v>
                </c:pt>
                <c:pt idx="671">
                  <c:v>42290</c:v>
                </c:pt>
                <c:pt idx="672">
                  <c:v>42291</c:v>
                </c:pt>
                <c:pt idx="673">
                  <c:v>42292</c:v>
                </c:pt>
                <c:pt idx="674">
                  <c:v>42293</c:v>
                </c:pt>
                <c:pt idx="675">
                  <c:v>42296</c:v>
                </c:pt>
                <c:pt idx="676">
                  <c:v>42297</c:v>
                </c:pt>
                <c:pt idx="677">
                  <c:v>42298</c:v>
                </c:pt>
                <c:pt idx="678">
                  <c:v>42299</c:v>
                </c:pt>
                <c:pt idx="679">
                  <c:v>42300</c:v>
                </c:pt>
                <c:pt idx="680">
                  <c:v>42303</c:v>
                </c:pt>
                <c:pt idx="681">
                  <c:v>42304</c:v>
                </c:pt>
                <c:pt idx="682">
                  <c:v>42305</c:v>
                </c:pt>
                <c:pt idx="683">
                  <c:v>42306</c:v>
                </c:pt>
                <c:pt idx="684">
                  <c:v>42307</c:v>
                </c:pt>
                <c:pt idx="685">
                  <c:v>42310</c:v>
                </c:pt>
                <c:pt idx="686">
                  <c:v>42311</c:v>
                </c:pt>
                <c:pt idx="687">
                  <c:v>42312</c:v>
                </c:pt>
                <c:pt idx="688">
                  <c:v>42313</c:v>
                </c:pt>
                <c:pt idx="689">
                  <c:v>42314</c:v>
                </c:pt>
                <c:pt idx="690">
                  <c:v>42317</c:v>
                </c:pt>
                <c:pt idx="691">
                  <c:v>42318</c:v>
                </c:pt>
                <c:pt idx="692">
                  <c:v>42319</c:v>
                </c:pt>
                <c:pt idx="693">
                  <c:v>42320</c:v>
                </c:pt>
                <c:pt idx="694">
                  <c:v>42321</c:v>
                </c:pt>
                <c:pt idx="695">
                  <c:v>42324</c:v>
                </c:pt>
                <c:pt idx="696">
                  <c:v>42325</c:v>
                </c:pt>
                <c:pt idx="697">
                  <c:v>42326</c:v>
                </c:pt>
                <c:pt idx="698">
                  <c:v>42327</c:v>
                </c:pt>
                <c:pt idx="699">
                  <c:v>42328</c:v>
                </c:pt>
                <c:pt idx="700">
                  <c:v>42331</c:v>
                </c:pt>
                <c:pt idx="701">
                  <c:v>42332</c:v>
                </c:pt>
                <c:pt idx="702">
                  <c:v>42333</c:v>
                </c:pt>
                <c:pt idx="703">
                  <c:v>42335</c:v>
                </c:pt>
                <c:pt idx="704">
                  <c:v>42338</c:v>
                </c:pt>
                <c:pt idx="705">
                  <c:v>42339</c:v>
                </c:pt>
                <c:pt idx="706">
                  <c:v>42340</c:v>
                </c:pt>
                <c:pt idx="707">
                  <c:v>42341</c:v>
                </c:pt>
                <c:pt idx="708">
                  <c:v>42342</c:v>
                </c:pt>
                <c:pt idx="709">
                  <c:v>42345</c:v>
                </c:pt>
                <c:pt idx="710">
                  <c:v>42346</c:v>
                </c:pt>
                <c:pt idx="711">
                  <c:v>42347</c:v>
                </c:pt>
                <c:pt idx="712">
                  <c:v>42348</c:v>
                </c:pt>
                <c:pt idx="713">
                  <c:v>42349</c:v>
                </c:pt>
                <c:pt idx="714">
                  <c:v>42352</c:v>
                </c:pt>
                <c:pt idx="715">
                  <c:v>42353</c:v>
                </c:pt>
                <c:pt idx="716">
                  <c:v>42354</c:v>
                </c:pt>
                <c:pt idx="717">
                  <c:v>42355</c:v>
                </c:pt>
                <c:pt idx="718">
                  <c:v>42356</c:v>
                </c:pt>
                <c:pt idx="719">
                  <c:v>42359</c:v>
                </c:pt>
                <c:pt idx="720">
                  <c:v>42360</c:v>
                </c:pt>
                <c:pt idx="721">
                  <c:v>42361</c:v>
                </c:pt>
                <c:pt idx="722">
                  <c:v>42362</c:v>
                </c:pt>
                <c:pt idx="723">
                  <c:v>42366</c:v>
                </c:pt>
                <c:pt idx="724">
                  <c:v>42367</c:v>
                </c:pt>
                <c:pt idx="725">
                  <c:v>42368</c:v>
                </c:pt>
                <c:pt idx="726">
                  <c:v>42369</c:v>
                </c:pt>
                <c:pt idx="727">
                  <c:v>42373</c:v>
                </c:pt>
                <c:pt idx="728">
                  <c:v>42374</c:v>
                </c:pt>
                <c:pt idx="729">
                  <c:v>42375</c:v>
                </c:pt>
                <c:pt idx="730">
                  <c:v>42376</c:v>
                </c:pt>
                <c:pt idx="731">
                  <c:v>42377</c:v>
                </c:pt>
                <c:pt idx="732">
                  <c:v>42380</c:v>
                </c:pt>
                <c:pt idx="733">
                  <c:v>42381</c:v>
                </c:pt>
                <c:pt idx="734">
                  <c:v>42382</c:v>
                </c:pt>
                <c:pt idx="735">
                  <c:v>42383</c:v>
                </c:pt>
                <c:pt idx="736">
                  <c:v>42384</c:v>
                </c:pt>
                <c:pt idx="737">
                  <c:v>42388</c:v>
                </c:pt>
                <c:pt idx="738">
                  <c:v>42389</c:v>
                </c:pt>
                <c:pt idx="739">
                  <c:v>42390</c:v>
                </c:pt>
                <c:pt idx="740">
                  <c:v>42391</c:v>
                </c:pt>
                <c:pt idx="741">
                  <c:v>42394</c:v>
                </c:pt>
                <c:pt idx="742">
                  <c:v>42395</c:v>
                </c:pt>
                <c:pt idx="743">
                  <c:v>42396</c:v>
                </c:pt>
                <c:pt idx="744">
                  <c:v>42397</c:v>
                </c:pt>
                <c:pt idx="745">
                  <c:v>42398</c:v>
                </c:pt>
                <c:pt idx="746">
                  <c:v>42401</c:v>
                </c:pt>
                <c:pt idx="747">
                  <c:v>42402</c:v>
                </c:pt>
                <c:pt idx="748">
                  <c:v>42403</c:v>
                </c:pt>
                <c:pt idx="749">
                  <c:v>42404</c:v>
                </c:pt>
                <c:pt idx="750">
                  <c:v>42405</c:v>
                </c:pt>
                <c:pt idx="751">
                  <c:v>42408</c:v>
                </c:pt>
                <c:pt idx="752">
                  <c:v>42409</c:v>
                </c:pt>
                <c:pt idx="753">
                  <c:v>42410</c:v>
                </c:pt>
                <c:pt idx="754">
                  <c:v>42411</c:v>
                </c:pt>
                <c:pt idx="755">
                  <c:v>42412</c:v>
                </c:pt>
                <c:pt idx="756">
                  <c:v>42416</c:v>
                </c:pt>
                <c:pt idx="757">
                  <c:v>42417</c:v>
                </c:pt>
                <c:pt idx="758">
                  <c:v>42418</c:v>
                </c:pt>
                <c:pt idx="759">
                  <c:v>42419</c:v>
                </c:pt>
                <c:pt idx="760">
                  <c:v>42422</c:v>
                </c:pt>
                <c:pt idx="761">
                  <c:v>42423</c:v>
                </c:pt>
                <c:pt idx="762">
                  <c:v>42424</c:v>
                </c:pt>
                <c:pt idx="763">
                  <c:v>42425</c:v>
                </c:pt>
                <c:pt idx="764">
                  <c:v>42426</c:v>
                </c:pt>
                <c:pt idx="765">
                  <c:v>42429</c:v>
                </c:pt>
                <c:pt idx="766">
                  <c:v>42430</c:v>
                </c:pt>
                <c:pt idx="767">
                  <c:v>42431</c:v>
                </c:pt>
                <c:pt idx="768">
                  <c:v>42432</c:v>
                </c:pt>
                <c:pt idx="769">
                  <c:v>42433</c:v>
                </c:pt>
                <c:pt idx="770">
                  <c:v>42436</c:v>
                </c:pt>
                <c:pt idx="771">
                  <c:v>42437</c:v>
                </c:pt>
                <c:pt idx="772">
                  <c:v>42438</c:v>
                </c:pt>
                <c:pt idx="773">
                  <c:v>42439</c:v>
                </c:pt>
                <c:pt idx="774">
                  <c:v>42440</c:v>
                </c:pt>
                <c:pt idx="775">
                  <c:v>42443</c:v>
                </c:pt>
                <c:pt idx="776">
                  <c:v>42444</c:v>
                </c:pt>
                <c:pt idx="777">
                  <c:v>42445</c:v>
                </c:pt>
                <c:pt idx="778">
                  <c:v>42446</c:v>
                </c:pt>
                <c:pt idx="779">
                  <c:v>42447</c:v>
                </c:pt>
                <c:pt idx="780">
                  <c:v>42450</c:v>
                </c:pt>
                <c:pt idx="781">
                  <c:v>42451</c:v>
                </c:pt>
                <c:pt idx="782">
                  <c:v>42452</c:v>
                </c:pt>
                <c:pt idx="783">
                  <c:v>42453</c:v>
                </c:pt>
                <c:pt idx="784">
                  <c:v>42457</c:v>
                </c:pt>
                <c:pt idx="785">
                  <c:v>42458</c:v>
                </c:pt>
                <c:pt idx="786">
                  <c:v>42459</c:v>
                </c:pt>
                <c:pt idx="787">
                  <c:v>42460</c:v>
                </c:pt>
                <c:pt idx="788">
                  <c:v>42461</c:v>
                </c:pt>
                <c:pt idx="789">
                  <c:v>42464</c:v>
                </c:pt>
                <c:pt idx="790">
                  <c:v>42465</c:v>
                </c:pt>
                <c:pt idx="791">
                  <c:v>42466</c:v>
                </c:pt>
                <c:pt idx="792">
                  <c:v>42467</c:v>
                </c:pt>
                <c:pt idx="793">
                  <c:v>42468</c:v>
                </c:pt>
                <c:pt idx="794">
                  <c:v>42471</c:v>
                </c:pt>
                <c:pt idx="795">
                  <c:v>42472</c:v>
                </c:pt>
                <c:pt idx="796">
                  <c:v>42473</c:v>
                </c:pt>
                <c:pt idx="797">
                  <c:v>42474</c:v>
                </c:pt>
                <c:pt idx="798">
                  <c:v>42475</c:v>
                </c:pt>
                <c:pt idx="799">
                  <c:v>42478</c:v>
                </c:pt>
                <c:pt idx="800">
                  <c:v>42479</c:v>
                </c:pt>
                <c:pt idx="801">
                  <c:v>42480</c:v>
                </c:pt>
                <c:pt idx="802">
                  <c:v>42481</c:v>
                </c:pt>
                <c:pt idx="803">
                  <c:v>42482</c:v>
                </c:pt>
                <c:pt idx="804">
                  <c:v>42485</c:v>
                </c:pt>
                <c:pt idx="805">
                  <c:v>42486</c:v>
                </c:pt>
                <c:pt idx="806">
                  <c:v>42487</c:v>
                </c:pt>
                <c:pt idx="807">
                  <c:v>42488</c:v>
                </c:pt>
                <c:pt idx="808">
                  <c:v>42489</c:v>
                </c:pt>
                <c:pt idx="809">
                  <c:v>42492</c:v>
                </c:pt>
                <c:pt idx="810">
                  <c:v>42493</c:v>
                </c:pt>
                <c:pt idx="811">
                  <c:v>42494</c:v>
                </c:pt>
                <c:pt idx="812">
                  <c:v>42495</c:v>
                </c:pt>
                <c:pt idx="813">
                  <c:v>42496</c:v>
                </c:pt>
                <c:pt idx="814">
                  <c:v>42499</c:v>
                </c:pt>
                <c:pt idx="815">
                  <c:v>42500</c:v>
                </c:pt>
                <c:pt idx="816">
                  <c:v>42501</c:v>
                </c:pt>
                <c:pt idx="817">
                  <c:v>42502</c:v>
                </c:pt>
                <c:pt idx="818">
                  <c:v>42503</c:v>
                </c:pt>
                <c:pt idx="819">
                  <c:v>42506</c:v>
                </c:pt>
                <c:pt idx="820">
                  <c:v>42507</c:v>
                </c:pt>
                <c:pt idx="821">
                  <c:v>42508</c:v>
                </c:pt>
                <c:pt idx="822">
                  <c:v>42509</c:v>
                </c:pt>
                <c:pt idx="823">
                  <c:v>42510</c:v>
                </c:pt>
                <c:pt idx="824">
                  <c:v>42513</c:v>
                </c:pt>
                <c:pt idx="825">
                  <c:v>42514</c:v>
                </c:pt>
                <c:pt idx="826">
                  <c:v>42515</c:v>
                </c:pt>
                <c:pt idx="827">
                  <c:v>42516</c:v>
                </c:pt>
                <c:pt idx="828">
                  <c:v>42517</c:v>
                </c:pt>
                <c:pt idx="829">
                  <c:v>42521</c:v>
                </c:pt>
                <c:pt idx="830">
                  <c:v>42522</c:v>
                </c:pt>
                <c:pt idx="831">
                  <c:v>42523</c:v>
                </c:pt>
                <c:pt idx="832">
                  <c:v>42524</c:v>
                </c:pt>
                <c:pt idx="833">
                  <c:v>42527</c:v>
                </c:pt>
                <c:pt idx="834">
                  <c:v>42528</c:v>
                </c:pt>
                <c:pt idx="835">
                  <c:v>42529</c:v>
                </c:pt>
                <c:pt idx="836">
                  <c:v>42530</c:v>
                </c:pt>
                <c:pt idx="837">
                  <c:v>42531</c:v>
                </c:pt>
                <c:pt idx="838">
                  <c:v>42534</c:v>
                </c:pt>
                <c:pt idx="839">
                  <c:v>42535</c:v>
                </c:pt>
                <c:pt idx="840">
                  <c:v>42536</c:v>
                </c:pt>
                <c:pt idx="841">
                  <c:v>42537</c:v>
                </c:pt>
                <c:pt idx="842">
                  <c:v>42538</c:v>
                </c:pt>
                <c:pt idx="843">
                  <c:v>42541</c:v>
                </c:pt>
                <c:pt idx="844">
                  <c:v>42542</c:v>
                </c:pt>
                <c:pt idx="845">
                  <c:v>42543</c:v>
                </c:pt>
                <c:pt idx="846">
                  <c:v>42544</c:v>
                </c:pt>
                <c:pt idx="847">
                  <c:v>42545</c:v>
                </c:pt>
                <c:pt idx="848">
                  <c:v>42548</c:v>
                </c:pt>
                <c:pt idx="849">
                  <c:v>42549</c:v>
                </c:pt>
                <c:pt idx="850">
                  <c:v>42550</c:v>
                </c:pt>
                <c:pt idx="851">
                  <c:v>42551</c:v>
                </c:pt>
                <c:pt idx="852">
                  <c:v>42552</c:v>
                </c:pt>
                <c:pt idx="853">
                  <c:v>42556</c:v>
                </c:pt>
                <c:pt idx="854">
                  <c:v>42557</c:v>
                </c:pt>
                <c:pt idx="855">
                  <c:v>42558</c:v>
                </c:pt>
                <c:pt idx="856">
                  <c:v>42559</c:v>
                </c:pt>
                <c:pt idx="857">
                  <c:v>42562</c:v>
                </c:pt>
                <c:pt idx="858">
                  <c:v>42563</c:v>
                </c:pt>
                <c:pt idx="859">
                  <c:v>42564</c:v>
                </c:pt>
                <c:pt idx="860">
                  <c:v>42565</c:v>
                </c:pt>
                <c:pt idx="861">
                  <c:v>42566</c:v>
                </c:pt>
                <c:pt idx="862">
                  <c:v>42569</c:v>
                </c:pt>
                <c:pt idx="863">
                  <c:v>42570</c:v>
                </c:pt>
                <c:pt idx="864">
                  <c:v>42571</c:v>
                </c:pt>
                <c:pt idx="865">
                  <c:v>42572</c:v>
                </c:pt>
                <c:pt idx="866">
                  <c:v>42573</c:v>
                </c:pt>
                <c:pt idx="867">
                  <c:v>42576</c:v>
                </c:pt>
                <c:pt idx="868">
                  <c:v>42577</c:v>
                </c:pt>
                <c:pt idx="869">
                  <c:v>42578</c:v>
                </c:pt>
                <c:pt idx="870">
                  <c:v>42579</c:v>
                </c:pt>
                <c:pt idx="871">
                  <c:v>42580</c:v>
                </c:pt>
                <c:pt idx="872">
                  <c:v>42583</c:v>
                </c:pt>
                <c:pt idx="873">
                  <c:v>42584</c:v>
                </c:pt>
                <c:pt idx="874">
                  <c:v>42585</c:v>
                </c:pt>
                <c:pt idx="875">
                  <c:v>42586</c:v>
                </c:pt>
                <c:pt idx="876">
                  <c:v>42587</c:v>
                </c:pt>
                <c:pt idx="877">
                  <c:v>42590</c:v>
                </c:pt>
                <c:pt idx="878">
                  <c:v>42591</c:v>
                </c:pt>
                <c:pt idx="879">
                  <c:v>42592</c:v>
                </c:pt>
                <c:pt idx="880">
                  <c:v>42593</c:v>
                </c:pt>
                <c:pt idx="881">
                  <c:v>42594</c:v>
                </c:pt>
                <c:pt idx="882">
                  <c:v>42597</c:v>
                </c:pt>
                <c:pt idx="883">
                  <c:v>42598</c:v>
                </c:pt>
                <c:pt idx="884">
                  <c:v>42599</c:v>
                </c:pt>
                <c:pt idx="885">
                  <c:v>42600</c:v>
                </c:pt>
                <c:pt idx="886">
                  <c:v>42601</c:v>
                </c:pt>
                <c:pt idx="887">
                  <c:v>42604</c:v>
                </c:pt>
                <c:pt idx="888">
                  <c:v>42605</c:v>
                </c:pt>
                <c:pt idx="889">
                  <c:v>42606</c:v>
                </c:pt>
                <c:pt idx="890">
                  <c:v>42607</c:v>
                </c:pt>
                <c:pt idx="891">
                  <c:v>42608</c:v>
                </c:pt>
                <c:pt idx="892">
                  <c:v>42611</c:v>
                </c:pt>
                <c:pt idx="893">
                  <c:v>42612</c:v>
                </c:pt>
                <c:pt idx="894">
                  <c:v>42613</c:v>
                </c:pt>
                <c:pt idx="895">
                  <c:v>42614</c:v>
                </c:pt>
                <c:pt idx="896">
                  <c:v>42615</c:v>
                </c:pt>
                <c:pt idx="897">
                  <c:v>42619</c:v>
                </c:pt>
                <c:pt idx="898">
                  <c:v>42620</c:v>
                </c:pt>
                <c:pt idx="899">
                  <c:v>42621</c:v>
                </c:pt>
                <c:pt idx="900">
                  <c:v>42622</c:v>
                </c:pt>
                <c:pt idx="901">
                  <c:v>42625</c:v>
                </c:pt>
                <c:pt idx="902">
                  <c:v>42626</c:v>
                </c:pt>
                <c:pt idx="903">
                  <c:v>42627</c:v>
                </c:pt>
                <c:pt idx="904">
                  <c:v>42628</c:v>
                </c:pt>
                <c:pt idx="905">
                  <c:v>42629</c:v>
                </c:pt>
                <c:pt idx="906">
                  <c:v>42632</c:v>
                </c:pt>
                <c:pt idx="907">
                  <c:v>42633</c:v>
                </c:pt>
                <c:pt idx="908">
                  <c:v>42634</c:v>
                </c:pt>
                <c:pt idx="909">
                  <c:v>42635</c:v>
                </c:pt>
                <c:pt idx="910">
                  <c:v>42636</c:v>
                </c:pt>
                <c:pt idx="911">
                  <c:v>42639</c:v>
                </c:pt>
                <c:pt idx="912">
                  <c:v>42640</c:v>
                </c:pt>
                <c:pt idx="913">
                  <c:v>42641</c:v>
                </c:pt>
                <c:pt idx="914">
                  <c:v>42642</c:v>
                </c:pt>
                <c:pt idx="915">
                  <c:v>42643</c:v>
                </c:pt>
                <c:pt idx="916">
                  <c:v>42646</c:v>
                </c:pt>
                <c:pt idx="917">
                  <c:v>42647</c:v>
                </c:pt>
                <c:pt idx="918">
                  <c:v>42648</c:v>
                </c:pt>
                <c:pt idx="919">
                  <c:v>42649</c:v>
                </c:pt>
                <c:pt idx="920">
                  <c:v>42650</c:v>
                </c:pt>
                <c:pt idx="921">
                  <c:v>42653</c:v>
                </c:pt>
                <c:pt idx="922">
                  <c:v>42654</c:v>
                </c:pt>
                <c:pt idx="923">
                  <c:v>42655</c:v>
                </c:pt>
                <c:pt idx="924">
                  <c:v>42656</c:v>
                </c:pt>
                <c:pt idx="925">
                  <c:v>42657</c:v>
                </c:pt>
                <c:pt idx="926">
                  <c:v>42660</c:v>
                </c:pt>
                <c:pt idx="927">
                  <c:v>42661</c:v>
                </c:pt>
                <c:pt idx="928">
                  <c:v>42662</c:v>
                </c:pt>
                <c:pt idx="929">
                  <c:v>42663</c:v>
                </c:pt>
                <c:pt idx="930">
                  <c:v>42664</c:v>
                </c:pt>
                <c:pt idx="931">
                  <c:v>42667</c:v>
                </c:pt>
                <c:pt idx="932">
                  <c:v>42668</c:v>
                </c:pt>
                <c:pt idx="933">
                  <c:v>42669</c:v>
                </c:pt>
                <c:pt idx="934">
                  <c:v>42670</c:v>
                </c:pt>
                <c:pt idx="935">
                  <c:v>42671</c:v>
                </c:pt>
                <c:pt idx="936">
                  <c:v>42674</c:v>
                </c:pt>
                <c:pt idx="937">
                  <c:v>42675</c:v>
                </c:pt>
                <c:pt idx="938">
                  <c:v>42676</c:v>
                </c:pt>
                <c:pt idx="939">
                  <c:v>42677</c:v>
                </c:pt>
                <c:pt idx="940">
                  <c:v>42678</c:v>
                </c:pt>
                <c:pt idx="941">
                  <c:v>42681</c:v>
                </c:pt>
                <c:pt idx="942">
                  <c:v>42682</c:v>
                </c:pt>
                <c:pt idx="943">
                  <c:v>42683</c:v>
                </c:pt>
                <c:pt idx="944">
                  <c:v>42684</c:v>
                </c:pt>
                <c:pt idx="945">
                  <c:v>42685</c:v>
                </c:pt>
                <c:pt idx="946">
                  <c:v>42688</c:v>
                </c:pt>
                <c:pt idx="947">
                  <c:v>42689</c:v>
                </c:pt>
                <c:pt idx="948">
                  <c:v>42690</c:v>
                </c:pt>
                <c:pt idx="949">
                  <c:v>42691</c:v>
                </c:pt>
                <c:pt idx="950">
                  <c:v>42692</c:v>
                </c:pt>
                <c:pt idx="951">
                  <c:v>42695</c:v>
                </c:pt>
                <c:pt idx="952">
                  <c:v>42696</c:v>
                </c:pt>
                <c:pt idx="953">
                  <c:v>42697</c:v>
                </c:pt>
                <c:pt idx="954">
                  <c:v>42699</c:v>
                </c:pt>
                <c:pt idx="955">
                  <c:v>42702</c:v>
                </c:pt>
                <c:pt idx="956">
                  <c:v>42703</c:v>
                </c:pt>
                <c:pt idx="957">
                  <c:v>42704</c:v>
                </c:pt>
                <c:pt idx="958">
                  <c:v>42705</c:v>
                </c:pt>
                <c:pt idx="959">
                  <c:v>42706</c:v>
                </c:pt>
                <c:pt idx="960">
                  <c:v>42709</c:v>
                </c:pt>
                <c:pt idx="961">
                  <c:v>42710</c:v>
                </c:pt>
                <c:pt idx="962">
                  <c:v>42711</c:v>
                </c:pt>
                <c:pt idx="963">
                  <c:v>42712</c:v>
                </c:pt>
                <c:pt idx="964">
                  <c:v>42713</c:v>
                </c:pt>
                <c:pt idx="965">
                  <c:v>42716</c:v>
                </c:pt>
                <c:pt idx="966">
                  <c:v>42717</c:v>
                </c:pt>
                <c:pt idx="967">
                  <c:v>42718</c:v>
                </c:pt>
                <c:pt idx="968">
                  <c:v>42719</c:v>
                </c:pt>
                <c:pt idx="969">
                  <c:v>42720</c:v>
                </c:pt>
                <c:pt idx="970">
                  <c:v>42723</c:v>
                </c:pt>
                <c:pt idx="971">
                  <c:v>42724</c:v>
                </c:pt>
                <c:pt idx="972">
                  <c:v>42725</c:v>
                </c:pt>
                <c:pt idx="973">
                  <c:v>42726</c:v>
                </c:pt>
                <c:pt idx="974">
                  <c:v>42727</c:v>
                </c:pt>
                <c:pt idx="975">
                  <c:v>42731</c:v>
                </c:pt>
                <c:pt idx="976">
                  <c:v>42732</c:v>
                </c:pt>
                <c:pt idx="977">
                  <c:v>42733</c:v>
                </c:pt>
                <c:pt idx="978">
                  <c:v>42734</c:v>
                </c:pt>
                <c:pt idx="979">
                  <c:v>42738</c:v>
                </c:pt>
                <c:pt idx="980">
                  <c:v>42739</c:v>
                </c:pt>
                <c:pt idx="981">
                  <c:v>42740</c:v>
                </c:pt>
                <c:pt idx="982">
                  <c:v>42741</c:v>
                </c:pt>
                <c:pt idx="983">
                  <c:v>42744</c:v>
                </c:pt>
                <c:pt idx="984">
                  <c:v>42745</c:v>
                </c:pt>
                <c:pt idx="985">
                  <c:v>42746</c:v>
                </c:pt>
                <c:pt idx="986">
                  <c:v>42747</c:v>
                </c:pt>
                <c:pt idx="987">
                  <c:v>42748</c:v>
                </c:pt>
                <c:pt idx="988">
                  <c:v>42752</c:v>
                </c:pt>
                <c:pt idx="989">
                  <c:v>42753</c:v>
                </c:pt>
                <c:pt idx="990">
                  <c:v>42754</c:v>
                </c:pt>
                <c:pt idx="991">
                  <c:v>42755</c:v>
                </c:pt>
                <c:pt idx="992">
                  <c:v>42758</c:v>
                </c:pt>
                <c:pt idx="993">
                  <c:v>42759</c:v>
                </c:pt>
                <c:pt idx="994">
                  <c:v>42760</c:v>
                </c:pt>
                <c:pt idx="995">
                  <c:v>42761</c:v>
                </c:pt>
                <c:pt idx="996">
                  <c:v>42762</c:v>
                </c:pt>
                <c:pt idx="997">
                  <c:v>42765</c:v>
                </c:pt>
                <c:pt idx="998">
                  <c:v>42766</c:v>
                </c:pt>
                <c:pt idx="999">
                  <c:v>42767</c:v>
                </c:pt>
                <c:pt idx="1000">
                  <c:v>42768</c:v>
                </c:pt>
                <c:pt idx="1001">
                  <c:v>42769</c:v>
                </c:pt>
                <c:pt idx="1002">
                  <c:v>42772</c:v>
                </c:pt>
                <c:pt idx="1003">
                  <c:v>42773</c:v>
                </c:pt>
                <c:pt idx="1004">
                  <c:v>42774</c:v>
                </c:pt>
                <c:pt idx="1005">
                  <c:v>42775</c:v>
                </c:pt>
                <c:pt idx="1006">
                  <c:v>42776</c:v>
                </c:pt>
                <c:pt idx="1007">
                  <c:v>42779</c:v>
                </c:pt>
                <c:pt idx="1008">
                  <c:v>42780</c:v>
                </c:pt>
                <c:pt idx="1009">
                  <c:v>42781</c:v>
                </c:pt>
                <c:pt idx="1010">
                  <c:v>42782</c:v>
                </c:pt>
                <c:pt idx="1011">
                  <c:v>42783</c:v>
                </c:pt>
                <c:pt idx="1012">
                  <c:v>42787</c:v>
                </c:pt>
                <c:pt idx="1013">
                  <c:v>42788</c:v>
                </c:pt>
                <c:pt idx="1014">
                  <c:v>42789</c:v>
                </c:pt>
                <c:pt idx="1015">
                  <c:v>42790</c:v>
                </c:pt>
                <c:pt idx="1016">
                  <c:v>42793</c:v>
                </c:pt>
                <c:pt idx="1017">
                  <c:v>42794</c:v>
                </c:pt>
                <c:pt idx="1018">
                  <c:v>42795</c:v>
                </c:pt>
                <c:pt idx="1019">
                  <c:v>42796</c:v>
                </c:pt>
                <c:pt idx="1020">
                  <c:v>42797</c:v>
                </c:pt>
                <c:pt idx="1021">
                  <c:v>42800</c:v>
                </c:pt>
                <c:pt idx="1022">
                  <c:v>42801</c:v>
                </c:pt>
                <c:pt idx="1023">
                  <c:v>42802</c:v>
                </c:pt>
                <c:pt idx="1024">
                  <c:v>42803</c:v>
                </c:pt>
                <c:pt idx="1025">
                  <c:v>42804</c:v>
                </c:pt>
                <c:pt idx="1026">
                  <c:v>42807</c:v>
                </c:pt>
                <c:pt idx="1027">
                  <c:v>42808</c:v>
                </c:pt>
                <c:pt idx="1028">
                  <c:v>42809</c:v>
                </c:pt>
                <c:pt idx="1029">
                  <c:v>42810</c:v>
                </c:pt>
                <c:pt idx="1030">
                  <c:v>42811</c:v>
                </c:pt>
                <c:pt idx="1031">
                  <c:v>42814</c:v>
                </c:pt>
                <c:pt idx="1032">
                  <c:v>42815</c:v>
                </c:pt>
                <c:pt idx="1033">
                  <c:v>42816</c:v>
                </c:pt>
                <c:pt idx="1034">
                  <c:v>42817</c:v>
                </c:pt>
                <c:pt idx="1035">
                  <c:v>42818</c:v>
                </c:pt>
                <c:pt idx="1036">
                  <c:v>42821</c:v>
                </c:pt>
                <c:pt idx="1037">
                  <c:v>42822</c:v>
                </c:pt>
                <c:pt idx="1038">
                  <c:v>42823</c:v>
                </c:pt>
                <c:pt idx="1039">
                  <c:v>42824</c:v>
                </c:pt>
                <c:pt idx="1040">
                  <c:v>42825</c:v>
                </c:pt>
                <c:pt idx="1041">
                  <c:v>42828</c:v>
                </c:pt>
                <c:pt idx="1042">
                  <c:v>42829</c:v>
                </c:pt>
                <c:pt idx="1043">
                  <c:v>42830</c:v>
                </c:pt>
                <c:pt idx="1044">
                  <c:v>42831</c:v>
                </c:pt>
                <c:pt idx="1045">
                  <c:v>42832</c:v>
                </c:pt>
                <c:pt idx="1046">
                  <c:v>42835</c:v>
                </c:pt>
                <c:pt idx="1047">
                  <c:v>42836</c:v>
                </c:pt>
                <c:pt idx="1048">
                  <c:v>42837</c:v>
                </c:pt>
                <c:pt idx="1049">
                  <c:v>42838</c:v>
                </c:pt>
                <c:pt idx="1050">
                  <c:v>42842</c:v>
                </c:pt>
                <c:pt idx="1051">
                  <c:v>42843</c:v>
                </c:pt>
                <c:pt idx="1052">
                  <c:v>42844</c:v>
                </c:pt>
                <c:pt idx="1053">
                  <c:v>42845</c:v>
                </c:pt>
                <c:pt idx="1054">
                  <c:v>42846</c:v>
                </c:pt>
                <c:pt idx="1055">
                  <c:v>42849</c:v>
                </c:pt>
                <c:pt idx="1056">
                  <c:v>42850</c:v>
                </c:pt>
                <c:pt idx="1057">
                  <c:v>42851</c:v>
                </c:pt>
                <c:pt idx="1058">
                  <c:v>42852</c:v>
                </c:pt>
                <c:pt idx="1059">
                  <c:v>42853</c:v>
                </c:pt>
                <c:pt idx="1060">
                  <c:v>42856</c:v>
                </c:pt>
                <c:pt idx="1061">
                  <c:v>42857</c:v>
                </c:pt>
                <c:pt idx="1062">
                  <c:v>42858</c:v>
                </c:pt>
                <c:pt idx="1063">
                  <c:v>42859</c:v>
                </c:pt>
                <c:pt idx="1064">
                  <c:v>42860</c:v>
                </c:pt>
                <c:pt idx="1065">
                  <c:v>42863</c:v>
                </c:pt>
                <c:pt idx="1066">
                  <c:v>42864</c:v>
                </c:pt>
                <c:pt idx="1067">
                  <c:v>42865</c:v>
                </c:pt>
                <c:pt idx="1068">
                  <c:v>42866</c:v>
                </c:pt>
                <c:pt idx="1069">
                  <c:v>42867</c:v>
                </c:pt>
                <c:pt idx="1070">
                  <c:v>42870</c:v>
                </c:pt>
                <c:pt idx="1071">
                  <c:v>42871</c:v>
                </c:pt>
                <c:pt idx="1072">
                  <c:v>42872</c:v>
                </c:pt>
                <c:pt idx="1073">
                  <c:v>42873</c:v>
                </c:pt>
                <c:pt idx="1074">
                  <c:v>42874</c:v>
                </c:pt>
                <c:pt idx="1075">
                  <c:v>42877</c:v>
                </c:pt>
                <c:pt idx="1076">
                  <c:v>42878</c:v>
                </c:pt>
                <c:pt idx="1077">
                  <c:v>42879</c:v>
                </c:pt>
                <c:pt idx="1078">
                  <c:v>42880</c:v>
                </c:pt>
                <c:pt idx="1079">
                  <c:v>42881</c:v>
                </c:pt>
                <c:pt idx="1080">
                  <c:v>42885</c:v>
                </c:pt>
                <c:pt idx="1081">
                  <c:v>42886</c:v>
                </c:pt>
                <c:pt idx="1082">
                  <c:v>42887</c:v>
                </c:pt>
                <c:pt idx="1083">
                  <c:v>42888</c:v>
                </c:pt>
                <c:pt idx="1084">
                  <c:v>42891</c:v>
                </c:pt>
                <c:pt idx="1085">
                  <c:v>42892</c:v>
                </c:pt>
                <c:pt idx="1086">
                  <c:v>42893</c:v>
                </c:pt>
                <c:pt idx="1087">
                  <c:v>42894</c:v>
                </c:pt>
                <c:pt idx="1088">
                  <c:v>42895</c:v>
                </c:pt>
                <c:pt idx="1089">
                  <c:v>42898</c:v>
                </c:pt>
                <c:pt idx="1090">
                  <c:v>42899</c:v>
                </c:pt>
                <c:pt idx="1091">
                  <c:v>42900</c:v>
                </c:pt>
                <c:pt idx="1092">
                  <c:v>42901</c:v>
                </c:pt>
                <c:pt idx="1093">
                  <c:v>42902</c:v>
                </c:pt>
                <c:pt idx="1094">
                  <c:v>42905</c:v>
                </c:pt>
                <c:pt idx="1095">
                  <c:v>42906</c:v>
                </c:pt>
                <c:pt idx="1096">
                  <c:v>42907</c:v>
                </c:pt>
                <c:pt idx="1097">
                  <c:v>42908</c:v>
                </c:pt>
                <c:pt idx="1098">
                  <c:v>42909</c:v>
                </c:pt>
                <c:pt idx="1099">
                  <c:v>42912</c:v>
                </c:pt>
                <c:pt idx="1100">
                  <c:v>42913</c:v>
                </c:pt>
                <c:pt idx="1101">
                  <c:v>42914</c:v>
                </c:pt>
                <c:pt idx="1102">
                  <c:v>42915</c:v>
                </c:pt>
                <c:pt idx="1103">
                  <c:v>42916</c:v>
                </c:pt>
                <c:pt idx="1104">
                  <c:v>42919</c:v>
                </c:pt>
                <c:pt idx="1105">
                  <c:v>42921</c:v>
                </c:pt>
                <c:pt idx="1106">
                  <c:v>42922</c:v>
                </c:pt>
                <c:pt idx="1107">
                  <c:v>42923</c:v>
                </c:pt>
                <c:pt idx="1108">
                  <c:v>42926</c:v>
                </c:pt>
                <c:pt idx="1109">
                  <c:v>42927</c:v>
                </c:pt>
                <c:pt idx="1110">
                  <c:v>42928</c:v>
                </c:pt>
                <c:pt idx="1111">
                  <c:v>42929</c:v>
                </c:pt>
                <c:pt idx="1112">
                  <c:v>42930</c:v>
                </c:pt>
                <c:pt idx="1113">
                  <c:v>42933</c:v>
                </c:pt>
                <c:pt idx="1114">
                  <c:v>42934</c:v>
                </c:pt>
                <c:pt idx="1115">
                  <c:v>42935</c:v>
                </c:pt>
                <c:pt idx="1116">
                  <c:v>42936</c:v>
                </c:pt>
                <c:pt idx="1117">
                  <c:v>42937</c:v>
                </c:pt>
                <c:pt idx="1118">
                  <c:v>42940</c:v>
                </c:pt>
                <c:pt idx="1119">
                  <c:v>42941</c:v>
                </c:pt>
                <c:pt idx="1120">
                  <c:v>42942</c:v>
                </c:pt>
                <c:pt idx="1121">
                  <c:v>42943</c:v>
                </c:pt>
                <c:pt idx="1122">
                  <c:v>42944</c:v>
                </c:pt>
                <c:pt idx="1123">
                  <c:v>42947</c:v>
                </c:pt>
                <c:pt idx="1124">
                  <c:v>42948</c:v>
                </c:pt>
                <c:pt idx="1125">
                  <c:v>42949</c:v>
                </c:pt>
                <c:pt idx="1126">
                  <c:v>42950</c:v>
                </c:pt>
                <c:pt idx="1127">
                  <c:v>42951</c:v>
                </c:pt>
                <c:pt idx="1128">
                  <c:v>42954</c:v>
                </c:pt>
                <c:pt idx="1129">
                  <c:v>42955</c:v>
                </c:pt>
                <c:pt idx="1130">
                  <c:v>42956</c:v>
                </c:pt>
                <c:pt idx="1131">
                  <c:v>42957</c:v>
                </c:pt>
                <c:pt idx="1132">
                  <c:v>42958</c:v>
                </c:pt>
                <c:pt idx="1133">
                  <c:v>42961</c:v>
                </c:pt>
                <c:pt idx="1134">
                  <c:v>42962</c:v>
                </c:pt>
                <c:pt idx="1135">
                  <c:v>42963</c:v>
                </c:pt>
                <c:pt idx="1136">
                  <c:v>42964</c:v>
                </c:pt>
                <c:pt idx="1137">
                  <c:v>42965</c:v>
                </c:pt>
                <c:pt idx="1138">
                  <c:v>42968</c:v>
                </c:pt>
                <c:pt idx="1139">
                  <c:v>42969</c:v>
                </c:pt>
                <c:pt idx="1140">
                  <c:v>42970</c:v>
                </c:pt>
                <c:pt idx="1141">
                  <c:v>42971</c:v>
                </c:pt>
                <c:pt idx="1142">
                  <c:v>42972</c:v>
                </c:pt>
                <c:pt idx="1143">
                  <c:v>42975</c:v>
                </c:pt>
                <c:pt idx="1144">
                  <c:v>42976</c:v>
                </c:pt>
                <c:pt idx="1145">
                  <c:v>42977</c:v>
                </c:pt>
                <c:pt idx="1146">
                  <c:v>42978</c:v>
                </c:pt>
                <c:pt idx="1147">
                  <c:v>42979</c:v>
                </c:pt>
                <c:pt idx="1148">
                  <c:v>42983</c:v>
                </c:pt>
                <c:pt idx="1149">
                  <c:v>42984</c:v>
                </c:pt>
                <c:pt idx="1150">
                  <c:v>42985</c:v>
                </c:pt>
                <c:pt idx="1151">
                  <c:v>42986</c:v>
                </c:pt>
                <c:pt idx="1152">
                  <c:v>42989</c:v>
                </c:pt>
                <c:pt idx="1153">
                  <c:v>42990</c:v>
                </c:pt>
                <c:pt idx="1154">
                  <c:v>42991</c:v>
                </c:pt>
                <c:pt idx="1155">
                  <c:v>42992</c:v>
                </c:pt>
                <c:pt idx="1156">
                  <c:v>42993</c:v>
                </c:pt>
                <c:pt idx="1157">
                  <c:v>42996</c:v>
                </c:pt>
                <c:pt idx="1158">
                  <c:v>42997</c:v>
                </c:pt>
                <c:pt idx="1159">
                  <c:v>42998</c:v>
                </c:pt>
                <c:pt idx="1160">
                  <c:v>42999</c:v>
                </c:pt>
                <c:pt idx="1161">
                  <c:v>43000</c:v>
                </c:pt>
                <c:pt idx="1162">
                  <c:v>43003</c:v>
                </c:pt>
                <c:pt idx="1163">
                  <c:v>43004</c:v>
                </c:pt>
                <c:pt idx="1164">
                  <c:v>43005</c:v>
                </c:pt>
                <c:pt idx="1165">
                  <c:v>43006</c:v>
                </c:pt>
                <c:pt idx="1166">
                  <c:v>43007</c:v>
                </c:pt>
                <c:pt idx="1167">
                  <c:v>43010</c:v>
                </c:pt>
                <c:pt idx="1168">
                  <c:v>43011</c:v>
                </c:pt>
                <c:pt idx="1169">
                  <c:v>43012</c:v>
                </c:pt>
                <c:pt idx="1170">
                  <c:v>43013</c:v>
                </c:pt>
                <c:pt idx="1171">
                  <c:v>43014</c:v>
                </c:pt>
                <c:pt idx="1172">
                  <c:v>43017</c:v>
                </c:pt>
                <c:pt idx="1173">
                  <c:v>43018</c:v>
                </c:pt>
                <c:pt idx="1174">
                  <c:v>43019</c:v>
                </c:pt>
                <c:pt idx="1175">
                  <c:v>43020</c:v>
                </c:pt>
                <c:pt idx="1176">
                  <c:v>43021</c:v>
                </c:pt>
                <c:pt idx="1177">
                  <c:v>43024</c:v>
                </c:pt>
                <c:pt idx="1178">
                  <c:v>43025</c:v>
                </c:pt>
                <c:pt idx="1179">
                  <c:v>43026</c:v>
                </c:pt>
                <c:pt idx="1180">
                  <c:v>43027</c:v>
                </c:pt>
                <c:pt idx="1181">
                  <c:v>43028</c:v>
                </c:pt>
                <c:pt idx="1182">
                  <c:v>43031</c:v>
                </c:pt>
                <c:pt idx="1183">
                  <c:v>43032</c:v>
                </c:pt>
                <c:pt idx="1184">
                  <c:v>43033</c:v>
                </c:pt>
                <c:pt idx="1185">
                  <c:v>43034</c:v>
                </c:pt>
                <c:pt idx="1186">
                  <c:v>43035</c:v>
                </c:pt>
                <c:pt idx="1187">
                  <c:v>43038</c:v>
                </c:pt>
                <c:pt idx="1188">
                  <c:v>43039</c:v>
                </c:pt>
                <c:pt idx="1189">
                  <c:v>43040</c:v>
                </c:pt>
                <c:pt idx="1190">
                  <c:v>43041</c:v>
                </c:pt>
                <c:pt idx="1191">
                  <c:v>43042</c:v>
                </c:pt>
                <c:pt idx="1192">
                  <c:v>43045</c:v>
                </c:pt>
                <c:pt idx="1193">
                  <c:v>43046</c:v>
                </c:pt>
                <c:pt idx="1194">
                  <c:v>43047</c:v>
                </c:pt>
                <c:pt idx="1195">
                  <c:v>43048</c:v>
                </c:pt>
                <c:pt idx="1196">
                  <c:v>43049</c:v>
                </c:pt>
                <c:pt idx="1197">
                  <c:v>43052</c:v>
                </c:pt>
                <c:pt idx="1198">
                  <c:v>43053</c:v>
                </c:pt>
                <c:pt idx="1199">
                  <c:v>43054</c:v>
                </c:pt>
                <c:pt idx="1200">
                  <c:v>43055</c:v>
                </c:pt>
                <c:pt idx="1201">
                  <c:v>43056</c:v>
                </c:pt>
                <c:pt idx="1202">
                  <c:v>43059</c:v>
                </c:pt>
                <c:pt idx="1203">
                  <c:v>43060</c:v>
                </c:pt>
                <c:pt idx="1204">
                  <c:v>43061</c:v>
                </c:pt>
                <c:pt idx="1205">
                  <c:v>43063</c:v>
                </c:pt>
                <c:pt idx="1206">
                  <c:v>43066</c:v>
                </c:pt>
                <c:pt idx="1207">
                  <c:v>43067</c:v>
                </c:pt>
                <c:pt idx="1208">
                  <c:v>43068</c:v>
                </c:pt>
                <c:pt idx="1209">
                  <c:v>43069</c:v>
                </c:pt>
                <c:pt idx="1210">
                  <c:v>43070</c:v>
                </c:pt>
                <c:pt idx="1211">
                  <c:v>43073</c:v>
                </c:pt>
                <c:pt idx="1212">
                  <c:v>43074</c:v>
                </c:pt>
                <c:pt idx="1213">
                  <c:v>43075</c:v>
                </c:pt>
                <c:pt idx="1214">
                  <c:v>43076</c:v>
                </c:pt>
                <c:pt idx="1215">
                  <c:v>43077</c:v>
                </c:pt>
                <c:pt idx="1216">
                  <c:v>43080</c:v>
                </c:pt>
                <c:pt idx="1217">
                  <c:v>43081</c:v>
                </c:pt>
                <c:pt idx="1218">
                  <c:v>43082</c:v>
                </c:pt>
                <c:pt idx="1219">
                  <c:v>43083</c:v>
                </c:pt>
                <c:pt idx="1220">
                  <c:v>43084</c:v>
                </c:pt>
                <c:pt idx="1221">
                  <c:v>43087</c:v>
                </c:pt>
                <c:pt idx="1222">
                  <c:v>43088</c:v>
                </c:pt>
                <c:pt idx="1223">
                  <c:v>43089</c:v>
                </c:pt>
                <c:pt idx="1224">
                  <c:v>43090</c:v>
                </c:pt>
                <c:pt idx="1225">
                  <c:v>43091</c:v>
                </c:pt>
                <c:pt idx="1226">
                  <c:v>43095</c:v>
                </c:pt>
                <c:pt idx="1227">
                  <c:v>43096</c:v>
                </c:pt>
                <c:pt idx="1228">
                  <c:v>43097</c:v>
                </c:pt>
                <c:pt idx="1229">
                  <c:v>43098</c:v>
                </c:pt>
                <c:pt idx="1230">
                  <c:v>43102</c:v>
                </c:pt>
                <c:pt idx="1231">
                  <c:v>43103</c:v>
                </c:pt>
                <c:pt idx="1232">
                  <c:v>43104</c:v>
                </c:pt>
                <c:pt idx="1233">
                  <c:v>43105</c:v>
                </c:pt>
                <c:pt idx="1234">
                  <c:v>43108</c:v>
                </c:pt>
                <c:pt idx="1235">
                  <c:v>43109</c:v>
                </c:pt>
                <c:pt idx="1236">
                  <c:v>43110</c:v>
                </c:pt>
                <c:pt idx="1237">
                  <c:v>43111</c:v>
                </c:pt>
                <c:pt idx="1238">
                  <c:v>43112</c:v>
                </c:pt>
                <c:pt idx="1239">
                  <c:v>43116</c:v>
                </c:pt>
                <c:pt idx="1240">
                  <c:v>43117</c:v>
                </c:pt>
                <c:pt idx="1241">
                  <c:v>43118</c:v>
                </c:pt>
                <c:pt idx="1242">
                  <c:v>43119</c:v>
                </c:pt>
                <c:pt idx="1243">
                  <c:v>43122</c:v>
                </c:pt>
                <c:pt idx="1244">
                  <c:v>43123</c:v>
                </c:pt>
                <c:pt idx="1245">
                  <c:v>43124</c:v>
                </c:pt>
                <c:pt idx="1246">
                  <c:v>43125</c:v>
                </c:pt>
                <c:pt idx="1247">
                  <c:v>43126</c:v>
                </c:pt>
                <c:pt idx="1248">
                  <c:v>43129</c:v>
                </c:pt>
                <c:pt idx="1249">
                  <c:v>43130</c:v>
                </c:pt>
                <c:pt idx="1250">
                  <c:v>43131</c:v>
                </c:pt>
                <c:pt idx="1251">
                  <c:v>43132</c:v>
                </c:pt>
                <c:pt idx="1252">
                  <c:v>43133</c:v>
                </c:pt>
                <c:pt idx="1253">
                  <c:v>43136</c:v>
                </c:pt>
                <c:pt idx="1254">
                  <c:v>43137</c:v>
                </c:pt>
                <c:pt idx="1255">
                  <c:v>43138</c:v>
                </c:pt>
                <c:pt idx="1256">
                  <c:v>43139</c:v>
                </c:pt>
                <c:pt idx="1257">
                  <c:v>43140</c:v>
                </c:pt>
                <c:pt idx="1258">
                  <c:v>43143</c:v>
                </c:pt>
                <c:pt idx="1259">
                  <c:v>43144</c:v>
                </c:pt>
                <c:pt idx="1260">
                  <c:v>43145</c:v>
                </c:pt>
                <c:pt idx="1261">
                  <c:v>43146</c:v>
                </c:pt>
                <c:pt idx="1262">
                  <c:v>43147</c:v>
                </c:pt>
                <c:pt idx="1263">
                  <c:v>43151</c:v>
                </c:pt>
                <c:pt idx="1264">
                  <c:v>43152</c:v>
                </c:pt>
                <c:pt idx="1265">
                  <c:v>43153</c:v>
                </c:pt>
                <c:pt idx="1266">
                  <c:v>43154</c:v>
                </c:pt>
                <c:pt idx="1267">
                  <c:v>43157</c:v>
                </c:pt>
                <c:pt idx="1268">
                  <c:v>43158</c:v>
                </c:pt>
                <c:pt idx="1269">
                  <c:v>43159</c:v>
                </c:pt>
                <c:pt idx="1270">
                  <c:v>43160</c:v>
                </c:pt>
                <c:pt idx="1271">
                  <c:v>43161</c:v>
                </c:pt>
                <c:pt idx="1272">
                  <c:v>43164</c:v>
                </c:pt>
                <c:pt idx="1273">
                  <c:v>43165</c:v>
                </c:pt>
                <c:pt idx="1274">
                  <c:v>43166</c:v>
                </c:pt>
                <c:pt idx="1275">
                  <c:v>43167</c:v>
                </c:pt>
                <c:pt idx="1276">
                  <c:v>43168</c:v>
                </c:pt>
                <c:pt idx="1277">
                  <c:v>43171</c:v>
                </c:pt>
                <c:pt idx="1278">
                  <c:v>43172</c:v>
                </c:pt>
                <c:pt idx="1279">
                  <c:v>43173</c:v>
                </c:pt>
                <c:pt idx="1280">
                  <c:v>43174</c:v>
                </c:pt>
                <c:pt idx="1281">
                  <c:v>43175</c:v>
                </c:pt>
                <c:pt idx="1282">
                  <c:v>43178</c:v>
                </c:pt>
                <c:pt idx="1283">
                  <c:v>43179</c:v>
                </c:pt>
                <c:pt idx="1284">
                  <c:v>43180</c:v>
                </c:pt>
                <c:pt idx="1285">
                  <c:v>43181</c:v>
                </c:pt>
                <c:pt idx="1286">
                  <c:v>43182</c:v>
                </c:pt>
                <c:pt idx="1287">
                  <c:v>43185</c:v>
                </c:pt>
                <c:pt idx="1288">
                  <c:v>43186</c:v>
                </c:pt>
                <c:pt idx="1289">
                  <c:v>43187</c:v>
                </c:pt>
                <c:pt idx="1290">
                  <c:v>43188</c:v>
                </c:pt>
                <c:pt idx="1291">
                  <c:v>43192</c:v>
                </c:pt>
                <c:pt idx="1292">
                  <c:v>43193</c:v>
                </c:pt>
                <c:pt idx="1293">
                  <c:v>43194</c:v>
                </c:pt>
                <c:pt idx="1294">
                  <c:v>43195</c:v>
                </c:pt>
                <c:pt idx="1295">
                  <c:v>43196</c:v>
                </c:pt>
                <c:pt idx="1296">
                  <c:v>43199</c:v>
                </c:pt>
                <c:pt idx="1297">
                  <c:v>43200</c:v>
                </c:pt>
                <c:pt idx="1298">
                  <c:v>43201</c:v>
                </c:pt>
                <c:pt idx="1299">
                  <c:v>43202</c:v>
                </c:pt>
                <c:pt idx="1300">
                  <c:v>43203</c:v>
                </c:pt>
                <c:pt idx="1301">
                  <c:v>43206</c:v>
                </c:pt>
                <c:pt idx="1302">
                  <c:v>43207</c:v>
                </c:pt>
                <c:pt idx="1303">
                  <c:v>43208</c:v>
                </c:pt>
                <c:pt idx="1304">
                  <c:v>43209</c:v>
                </c:pt>
                <c:pt idx="1305">
                  <c:v>43210</c:v>
                </c:pt>
                <c:pt idx="1306">
                  <c:v>43213</c:v>
                </c:pt>
                <c:pt idx="1307">
                  <c:v>43214</c:v>
                </c:pt>
                <c:pt idx="1308">
                  <c:v>43215</c:v>
                </c:pt>
                <c:pt idx="1309">
                  <c:v>43216</c:v>
                </c:pt>
                <c:pt idx="1310">
                  <c:v>43217</c:v>
                </c:pt>
                <c:pt idx="1311">
                  <c:v>43220</c:v>
                </c:pt>
                <c:pt idx="1312">
                  <c:v>43221</c:v>
                </c:pt>
                <c:pt idx="1313">
                  <c:v>43222</c:v>
                </c:pt>
                <c:pt idx="1314">
                  <c:v>43223</c:v>
                </c:pt>
                <c:pt idx="1315">
                  <c:v>43224</c:v>
                </c:pt>
                <c:pt idx="1316">
                  <c:v>43227</c:v>
                </c:pt>
                <c:pt idx="1317">
                  <c:v>43228</c:v>
                </c:pt>
                <c:pt idx="1318">
                  <c:v>43229</c:v>
                </c:pt>
                <c:pt idx="1319">
                  <c:v>43230</c:v>
                </c:pt>
                <c:pt idx="1320">
                  <c:v>43231</c:v>
                </c:pt>
                <c:pt idx="1321">
                  <c:v>43234</c:v>
                </c:pt>
                <c:pt idx="1322">
                  <c:v>43235</c:v>
                </c:pt>
                <c:pt idx="1323">
                  <c:v>43236</c:v>
                </c:pt>
                <c:pt idx="1324">
                  <c:v>43237</c:v>
                </c:pt>
                <c:pt idx="1325">
                  <c:v>43238</c:v>
                </c:pt>
                <c:pt idx="1326">
                  <c:v>43241</c:v>
                </c:pt>
                <c:pt idx="1327">
                  <c:v>43242</c:v>
                </c:pt>
                <c:pt idx="1328">
                  <c:v>43243</c:v>
                </c:pt>
                <c:pt idx="1329">
                  <c:v>43244</c:v>
                </c:pt>
                <c:pt idx="1330">
                  <c:v>43245</c:v>
                </c:pt>
                <c:pt idx="1331">
                  <c:v>43249</c:v>
                </c:pt>
                <c:pt idx="1332">
                  <c:v>43250</c:v>
                </c:pt>
                <c:pt idx="1333">
                  <c:v>43251</c:v>
                </c:pt>
                <c:pt idx="1334">
                  <c:v>43252</c:v>
                </c:pt>
                <c:pt idx="1335">
                  <c:v>43255</c:v>
                </c:pt>
                <c:pt idx="1336">
                  <c:v>43256</c:v>
                </c:pt>
                <c:pt idx="1337">
                  <c:v>43257</c:v>
                </c:pt>
                <c:pt idx="1338">
                  <c:v>43258</c:v>
                </c:pt>
                <c:pt idx="1339">
                  <c:v>43259</c:v>
                </c:pt>
                <c:pt idx="1340">
                  <c:v>43262</c:v>
                </c:pt>
                <c:pt idx="1341">
                  <c:v>43263</c:v>
                </c:pt>
                <c:pt idx="1342">
                  <c:v>43264</c:v>
                </c:pt>
                <c:pt idx="1343">
                  <c:v>43265</c:v>
                </c:pt>
                <c:pt idx="1344">
                  <c:v>43266</c:v>
                </c:pt>
                <c:pt idx="1345">
                  <c:v>43269</c:v>
                </c:pt>
                <c:pt idx="1346">
                  <c:v>43270</c:v>
                </c:pt>
                <c:pt idx="1347">
                  <c:v>43271</c:v>
                </c:pt>
                <c:pt idx="1348">
                  <c:v>43272</c:v>
                </c:pt>
                <c:pt idx="1349">
                  <c:v>43273</c:v>
                </c:pt>
                <c:pt idx="1350">
                  <c:v>43276</c:v>
                </c:pt>
                <c:pt idx="1351">
                  <c:v>43277</c:v>
                </c:pt>
                <c:pt idx="1352">
                  <c:v>43278</c:v>
                </c:pt>
                <c:pt idx="1353">
                  <c:v>43279</c:v>
                </c:pt>
                <c:pt idx="1354">
                  <c:v>43280</c:v>
                </c:pt>
                <c:pt idx="1355">
                  <c:v>43283</c:v>
                </c:pt>
                <c:pt idx="1356">
                  <c:v>43284</c:v>
                </c:pt>
                <c:pt idx="1357">
                  <c:v>43286</c:v>
                </c:pt>
                <c:pt idx="1358">
                  <c:v>43287</c:v>
                </c:pt>
                <c:pt idx="1359">
                  <c:v>43290</c:v>
                </c:pt>
                <c:pt idx="1360">
                  <c:v>43291</c:v>
                </c:pt>
                <c:pt idx="1361">
                  <c:v>43292</c:v>
                </c:pt>
                <c:pt idx="1362">
                  <c:v>43293</c:v>
                </c:pt>
                <c:pt idx="1363">
                  <c:v>43294</c:v>
                </c:pt>
                <c:pt idx="1364">
                  <c:v>43297</c:v>
                </c:pt>
                <c:pt idx="1365">
                  <c:v>43298</c:v>
                </c:pt>
                <c:pt idx="1366">
                  <c:v>43299</c:v>
                </c:pt>
                <c:pt idx="1367">
                  <c:v>43300</c:v>
                </c:pt>
                <c:pt idx="1368">
                  <c:v>43301</c:v>
                </c:pt>
                <c:pt idx="1369">
                  <c:v>43304</c:v>
                </c:pt>
                <c:pt idx="1370">
                  <c:v>43305</c:v>
                </c:pt>
                <c:pt idx="1371">
                  <c:v>43306</c:v>
                </c:pt>
                <c:pt idx="1372">
                  <c:v>43307</c:v>
                </c:pt>
                <c:pt idx="1373">
                  <c:v>43308</c:v>
                </c:pt>
                <c:pt idx="1374">
                  <c:v>43311</c:v>
                </c:pt>
                <c:pt idx="1375">
                  <c:v>43312</c:v>
                </c:pt>
                <c:pt idx="1376">
                  <c:v>43313</c:v>
                </c:pt>
                <c:pt idx="1377">
                  <c:v>43314</c:v>
                </c:pt>
                <c:pt idx="1378">
                  <c:v>43315</c:v>
                </c:pt>
                <c:pt idx="1379">
                  <c:v>43318</c:v>
                </c:pt>
                <c:pt idx="1380">
                  <c:v>43319</c:v>
                </c:pt>
                <c:pt idx="1381">
                  <c:v>43320</c:v>
                </c:pt>
                <c:pt idx="1382">
                  <c:v>43321</c:v>
                </c:pt>
                <c:pt idx="1383">
                  <c:v>43322</c:v>
                </c:pt>
                <c:pt idx="1384">
                  <c:v>43325</c:v>
                </c:pt>
                <c:pt idx="1385">
                  <c:v>43326</c:v>
                </c:pt>
                <c:pt idx="1386">
                  <c:v>43327</c:v>
                </c:pt>
                <c:pt idx="1387">
                  <c:v>43328</c:v>
                </c:pt>
                <c:pt idx="1388">
                  <c:v>43329</c:v>
                </c:pt>
                <c:pt idx="1389">
                  <c:v>43332</c:v>
                </c:pt>
                <c:pt idx="1390">
                  <c:v>43333</c:v>
                </c:pt>
                <c:pt idx="1391">
                  <c:v>43334</c:v>
                </c:pt>
                <c:pt idx="1392">
                  <c:v>43335</c:v>
                </c:pt>
                <c:pt idx="1393">
                  <c:v>43336</c:v>
                </c:pt>
                <c:pt idx="1394">
                  <c:v>43339</c:v>
                </c:pt>
                <c:pt idx="1395">
                  <c:v>43340</c:v>
                </c:pt>
                <c:pt idx="1396">
                  <c:v>43341</c:v>
                </c:pt>
                <c:pt idx="1397">
                  <c:v>43342</c:v>
                </c:pt>
                <c:pt idx="1398">
                  <c:v>43343</c:v>
                </c:pt>
                <c:pt idx="1399">
                  <c:v>43347</c:v>
                </c:pt>
                <c:pt idx="1400">
                  <c:v>43348</c:v>
                </c:pt>
                <c:pt idx="1401">
                  <c:v>43349</c:v>
                </c:pt>
                <c:pt idx="1402">
                  <c:v>43350</c:v>
                </c:pt>
                <c:pt idx="1403">
                  <c:v>43353</c:v>
                </c:pt>
                <c:pt idx="1404">
                  <c:v>43354</c:v>
                </c:pt>
                <c:pt idx="1405">
                  <c:v>43355</c:v>
                </c:pt>
                <c:pt idx="1406">
                  <c:v>43356</c:v>
                </c:pt>
                <c:pt idx="1407">
                  <c:v>43357</c:v>
                </c:pt>
                <c:pt idx="1408">
                  <c:v>43360</c:v>
                </c:pt>
                <c:pt idx="1409">
                  <c:v>43361</c:v>
                </c:pt>
                <c:pt idx="1410">
                  <c:v>43362</c:v>
                </c:pt>
                <c:pt idx="1411">
                  <c:v>43363</c:v>
                </c:pt>
                <c:pt idx="1412">
                  <c:v>43364</c:v>
                </c:pt>
                <c:pt idx="1413">
                  <c:v>43367</c:v>
                </c:pt>
                <c:pt idx="1414">
                  <c:v>43368</c:v>
                </c:pt>
                <c:pt idx="1415">
                  <c:v>43369</c:v>
                </c:pt>
                <c:pt idx="1416">
                  <c:v>43370</c:v>
                </c:pt>
                <c:pt idx="1417">
                  <c:v>43371</c:v>
                </c:pt>
                <c:pt idx="1418">
                  <c:v>43374</c:v>
                </c:pt>
                <c:pt idx="1419">
                  <c:v>43375</c:v>
                </c:pt>
                <c:pt idx="1420">
                  <c:v>43376</c:v>
                </c:pt>
                <c:pt idx="1421">
                  <c:v>43377</c:v>
                </c:pt>
                <c:pt idx="1422">
                  <c:v>43378</c:v>
                </c:pt>
                <c:pt idx="1423">
                  <c:v>43381</c:v>
                </c:pt>
                <c:pt idx="1424">
                  <c:v>43382</c:v>
                </c:pt>
                <c:pt idx="1425">
                  <c:v>43383</c:v>
                </c:pt>
                <c:pt idx="1426">
                  <c:v>43384</c:v>
                </c:pt>
                <c:pt idx="1427">
                  <c:v>43385</c:v>
                </c:pt>
                <c:pt idx="1428">
                  <c:v>43388</c:v>
                </c:pt>
                <c:pt idx="1429">
                  <c:v>43389</c:v>
                </c:pt>
                <c:pt idx="1430">
                  <c:v>43390</c:v>
                </c:pt>
                <c:pt idx="1431">
                  <c:v>43391</c:v>
                </c:pt>
                <c:pt idx="1432">
                  <c:v>43392</c:v>
                </c:pt>
                <c:pt idx="1433">
                  <c:v>43395</c:v>
                </c:pt>
                <c:pt idx="1434">
                  <c:v>43396</c:v>
                </c:pt>
                <c:pt idx="1435">
                  <c:v>43397</c:v>
                </c:pt>
                <c:pt idx="1436">
                  <c:v>43398</c:v>
                </c:pt>
                <c:pt idx="1437">
                  <c:v>43399</c:v>
                </c:pt>
                <c:pt idx="1438">
                  <c:v>43402</c:v>
                </c:pt>
                <c:pt idx="1439">
                  <c:v>43403</c:v>
                </c:pt>
                <c:pt idx="1440">
                  <c:v>43404</c:v>
                </c:pt>
                <c:pt idx="1441">
                  <c:v>43405</c:v>
                </c:pt>
                <c:pt idx="1442">
                  <c:v>43406</c:v>
                </c:pt>
                <c:pt idx="1443">
                  <c:v>43409</c:v>
                </c:pt>
                <c:pt idx="1444">
                  <c:v>43410</c:v>
                </c:pt>
                <c:pt idx="1445">
                  <c:v>43411</c:v>
                </c:pt>
                <c:pt idx="1446">
                  <c:v>43412</c:v>
                </c:pt>
                <c:pt idx="1447">
                  <c:v>43413</c:v>
                </c:pt>
                <c:pt idx="1448">
                  <c:v>43416</c:v>
                </c:pt>
                <c:pt idx="1449">
                  <c:v>43417</c:v>
                </c:pt>
                <c:pt idx="1450">
                  <c:v>43418</c:v>
                </c:pt>
                <c:pt idx="1451">
                  <c:v>43419</c:v>
                </c:pt>
                <c:pt idx="1452">
                  <c:v>43420</c:v>
                </c:pt>
                <c:pt idx="1453">
                  <c:v>43423</c:v>
                </c:pt>
                <c:pt idx="1454">
                  <c:v>43424</c:v>
                </c:pt>
                <c:pt idx="1455">
                  <c:v>43425</c:v>
                </c:pt>
                <c:pt idx="1456">
                  <c:v>43427</c:v>
                </c:pt>
                <c:pt idx="1457">
                  <c:v>43430</c:v>
                </c:pt>
                <c:pt idx="1458">
                  <c:v>43431</c:v>
                </c:pt>
                <c:pt idx="1459">
                  <c:v>43432</c:v>
                </c:pt>
                <c:pt idx="1460">
                  <c:v>43433</c:v>
                </c:pt>
                <c:pt idx="1461">
                  <c:v>43434</c:v>
                </c:pt>
                <c:pt idx="1462">
                  <c:v>43437</c:v>
                </c:pt>
                <c:pt idx="1463">
                  <c:v>43438</c:v>
                </c:pt>
                <c:pt idx="1464">
                  <c:v>43440</c:v>
                </c:pt>
                <c:pt idx="1465">
                  <c:v>43441</c:v>
                </c:pt>
                <c:pt idx="1466">
                  <c:v>43444</c:v>
                </c:pt>
                <c:pt idx="1467">
                  <c:v>43445</c:v>
                </c:pt>
                <c:pt idx="1468">
                  <c:v>43446</c:v>
                </c:pt>
                <c:pt idx="1469">
                  <c:v>43447</c:v>
                </c:pt>
                <c:pt idx="1470">
                  <c:v>43448</c:v>
                </c:pt>
                <c:pt idx="1471">
                  <c:v>43451</c:v>
                </c:pt>
                <c:pt idx="1472">
                  <c:v>43452</c:v>
                </c:pt>
                <c:pt idx="1473">
                  <c:v>43453</c:v>
                </c:pt>
                <c:pt idx="1474">
                  <c:v>43454</c:v>
                </c:pt>
                <c:pt idx="1475">
                  <c:v>43455</c:v>
                </c:pt>
                <c:pt idx="1476">
                  <c:v>43458</c:v>
                </c:pt>
                <c:pt idx="1477">
                  <c:v>43460</c:v>
                </c:pt>
                <c:pt idx="1478">
                  <c:v>43461</c:v>
                </c:pt>
                <c:pt idx="1479">
                  <c:v>43462</c:v>
                </c:pt>
                <c:pt idx="1480">
                  <c:v>43465</c:v>
                </c:pt>
                <c:pt idx="1481">
                  <c:v>43467</c:v>
                </c:pt>
                <c:pt idx="1482">
                  <c:v>43468</c:v>
                </c:pt>
                <c:pt idx="1483">
                  <c:v>43469</c:v>
                </c:pt>
                <c:pt idx="1484">
                  <c:v>43472</c:v>
                </c:pt>
                <c:pt idx="1485">
                  <c:v>43473</c:v>
                </c:pt>
                <c:pt idx="1486">
                  <c:v>43474</c:v>
                </c:pt>
                <c:pt idx="1487">
                  <c:v>43475</c:v>
                </c:pt>
                <c:pt idx="1488">
                  <c:v>43476</c:v>
                </c:pt>
                <c:pt idx="1489">
                  <c:v>43479</c:v>
                </c:pt>
                <c:pt idx="1490">
                  <c:v>43480</c:v>
                </c:pt>
                <c:pt idx="1491">
                  <c:v>43481</c:v>
                </c:pt>
                <c:pt idx="1492">
                  <c:v>43482</c:v>
                </c:pt>
                <c:pt idx="1493">
                  <c:v>43483</c:v>
                </c:pt>
                <c:pt idx="1494">
                  <c:v>43487</c:v>
                </c:pt>
                <c:pt idx="1495">
                  <c:v>43488</c:v>
                </c:pt>
                <c:pt idx="1496">
                  <c:v>43489</c:v>
                </c:pt>
                <c:pt idx="1497">
                  <c:v>43490</c:v>
                </c:pt>
                <c:pt idx="1498">
                  <c:v>43493</c:v>
                </c:pt>
                <c:pt idx="1499">
                  <c:v>43494</c:v>
                </c:pt>
                <c:pt idx="1500">
                  <c:v>43495</c:v>
                </c:pt>
                <c:pt idx="1501">
                  <c:v>43496</c:v>
                </c:pt>
                <c:pt idx="1502">
                  <c:v>43497</c:v>
                </c:pt>
                <c:pt idx="1503">
                  <c:v>43500</c:v>
                </c:pt>
                <c:pt idx="1504">
                  <c:v>43501</c:v>
                </c:pt>
                <c:pt idx="1505">
                  <c:v>43502</c:v>
                </c:pt>
                <c:pt idx="1506">
                  <c:v>43503</c:v>
                </c:pt>
                <c:pt idx="1507">
                  <c:v>43504</c:v>
                </c:pt>
                <c:pt idx="1508">
                  <c:v>43507</c:v>
                </c:pt>
                <c:pt idx="1509">
                  <c:v>43508</c:v>
                </c:pt>
                <c:pt idx="1510">
                  <c:v>43509</c:v>
                </c:pt>
                <c:pt idx="1511">
                  <c:v>43510</c:v>
                </c:pt>
                <c:pt idx="1512">
                  <c:v>43511</c:v>
                </c:pt>
                <c:pt idx="1513">
                  <c:v>43515</c:v>
                </c:pt>
                <c:pt idx="1514">
                  <c:v>43516</c:v>
                </c:pt>
                <c:pt idx="1515">
                  <c:v>43517</c:v>
                </c:pt>
                <c:pt idx="1516">
                  <c:v>43518</c:v>
                </c:pt>
                <c:pt idx="1517">
                  <c:v>43521</c:v>
                </c:pt>
                <c:pt idx="1518">
                  <c:v>43522</c:v>
                </c:pt>
                <c:pt idx="1519">
                  <c:v>43523</c:v>
                </c:pt>
                <c:pt idx="1520">
                  <c:v>43524</c:v>
                </c:pt>
                <c:pt idx="1521">
                  <c:v>43525</c:v>
                </c:pt>
                <c:pt idx="1522">
                  <c:v>43528</c:v>
                </c:pt>
                <c:pt idx="1523">
                  <c:v>43529</c:v>
                </c:pt>
                <c:pt idx="1524">
                  <c:v>43530</c:v>
                </c:pt>
                <c:pt idx="1525">
                  <c:v>43531</c:v>
                </c:pt>
                <c:pt idx="1526">
                  <c:v>43532</c:v>
                </c:pt>
                <c:pt idx="1527">
                  <c:v>43535</c:v>
                </c:pt>
                <c:pt idx="1528">
                  <c:v>43536</c:v>
                </c:pt>
                <c:pt idx="1529">
                  <c:v>43537</c:v>
                </c:pt>
                <c:pt idx="1530">
                  <c:v>43538</c:v>
                </c:pt>
                <c:pt idx="1531">
                  <c:v>43539</c:v>
                </c:pt>
                <c:pt idx="1532">
                  <c:v>43542</c:v>
                </c:pt>
                <c:pt idx="1533">
                  <c:v>43543</c:v>
                </c:pt>
                <c:pt idx="1534">
                  <c:v>43544</c:v>
                </c:pt>
                <c:pt idx="1535">
                  <c:v>43545</c:v>
                </c:pt>
                <c:pt idx="1536">
                  <c:v>43546</c:v>
                </c:pt>
                <c:pt idx="1537">
                  <c:v>43549</c:v>
                </c:pt>
                <c:pt idx="1538">
                  <c:v>43550</c:v>
                </c:pt>
                <c:pt idx="1539">
                  <c:v>43551</c:v>
                </c:pt>
                <c:pt idx="1540">
                  <c:v>43552</c:v>
                </c:pt>
                <c:pt idx="1541">
                  <c:v>43553</c:v>
                </c:pt>
                <c:pt idx="1542">
                  <c:v>43556</c:v>
                </c:pt>
                <c:pt idx="1543">
                  <c:v>43557</c:v>
                </c:pt>
                <c:pt idx="1544">
                  <c:v>43558</c:v>
                </c:pt>
                <c:pt idx="1545">
                  <c:v>43559</c:v>
                </c:pt>
                <c:pt idx="1546">
                  <c:v>43560</c:v>
                </c:pt>
                <c:pt idx="1547">
                  <c:v>43563</c:v>
                </c:pt>
                <c:pt idx="1548">
                  <c:v>43564</c:v>
                </c:pt>
                <c:pt idx="1549">
                  <c:v>43565</c:v>
                </c:pt>
                <c:pt idx="1550">
                  <c:v>43566</c:v>
                </c:pt>
                <c:pt idx="1551">
                  <c:v>43567</c:v>
                </c:pt>
                <c:pt idx="1552">
                  <c:v>43570</c:v>
                </c:pt>
                <c:pt idx="1553">
                  <c:v>43571</c:v>
                </c:pt>
                <c:pt idx="1554">
                  <c:v>43572</c:v>
                </c:pt>
                <c:pt idx="1555">
                  <c:v>43573</c:v>
                </c:pt>
                <c:pt idx="1556">
                  <c:v>43577</c:v>
                </c:pt>
                <c:pt idx="1557">
                  <c:v>43578</c:v>
                </c:pt>
                <c:pt idx="1558">
                  <c:v>43579</c:v>
                </c:pt>
                <c:pt idx="1559">
                  <c:v>43580</c:v>
                </c:pt>
                <c:pt idx="1560">
                  <c:v>43581</c:v>
                </c:pt>
                <c:pt idx="1561">
                  <c:v>43584</c:v>
                </c:pt>
                <c:pt idx="1562">
                  <c:v>43585</c:v>
                </c:pt>
                <c:pt idx="1563">
                  <c:v>43586</c:v>
                </c:pt>
                <c:pt idx="1564">
                  <c:v>43587</c:v>
                </c:pt>
                <c:pt idx="1565">
                  <c:v>43588</c:v>
                </c:pt>
                <c:pt idx="1566">
                  <c:v>43591</c:v>
                </c:pt>
                <c:pt idx="1567">
                  <c:v>43592</c:v>
                </c:pt>
                <c:pt idx="1568">
                  <c:v>43593</c:v>
                </c:pt>
                <c:pt idx="1569">
                  <c:v>43594</c:v>
                </c:pt>
                <c:pt idx="1570">
                  <c:v>43595</c:v>
                </c:pt>
                <c:pt idx="1571">
                  <c:v>43598</c:v>
                </c:pt>
                <c:pt idx="1572">
                  <c:v>43599</c:v>
                </c:pt>
                <c:pt idx="1573">
                  <c:v>43600</c:v>
                </c:pt>
                <c:pt idx="1574">
                  <c:v>43601</c:v>
                </c:pt>
                <c:pt idx="1575">
                  <c:v>43602</c:v>
                </c:pt>
                <c:pt idx="1576">
                  <c:v>43605</c:v>
                </c:pt>
                <c:pt idx="1577">
                  <c:v>43606</c:v>
                </c:pt>
                <c:pt idx="1578">
                  <c:v>43607</c:v>
                </c:pt>
                <c:pt idx="1579">
                  <c:v>43608</c:v>
                </c:pt>
                <c:pt idx="1580">
                  <c:v>43609</c:v>
                </c:pt>
                <c:pt idx="1581">
                  <c:v>43613</c:v>
                </c:pt>
                <c:pt idx="1582">
                  <c:v>43614</c:v>
                </c:pt>
                <c:pt idx="1583">
                  <c:v>43615</c:v>
                </c:pt>
                <c:pt idx="1584">
                  <c:v>43616</c:v>
                </c:pt>
                <c:pt idx="1585">
                  <c:v>43619</c:v>
                </c:pt>
                <c:pt idx="1586">
                  <c:v>43620</c:v>
                </c:pt>
                <c:pt idx="1587">
                  <c:v>43621</c:v>
                </c:pt>
                <c:pt idx="1588">
                  <c:v>43622</c:v>
                </c:pt>
                <c:pt idx="1589">
                  <c:v>43623</c:v>
                </c:pt>
                <c:pt idx="1590">
                  <c:v>43626</c:v>
                </c:pt>
                <c:pt idx="1591">
                  <c:v>43627</c:v>
                </c:pt>
                <c:pt idx="1592">
                  <c:v>43628</c:v>
                </c:pt>
                <c:pt idx="1593">
                  <c:v>43629</c:v>
                </c:pt>
                <c:pt idx="1594">
                  <c:v>43630</c:v>
                </c:pt>
                <c:pt idx="1595">
                  <c:v>43633</c:v>
                </c:pt>
                <c:pt idx="1596">
                  <c:v>43634</c:v>
                </c:pt>
                <c:pt idx="1597">
                  <c:v>43635</c:v>
                </c:pt>
                <c:pt idx="1598">
                  <c:v>43636</c:v>
                </c:pt>
                <c:pt idx="1599">
                  <c:v>43637</c:v>
                </c:pt>
                <c:pt idx="1600">
                  <c:v>43640</c:v>
                </c:pt>
                <c:pt idx="1601">
                  <c:v>43641</c:v>
                </c:pt>
                <c:pt idx="1602">
                  <c:v>43642</c:v>
                </c:pt>
                <c:pt idx="1603">
                  <c:v>43643</c:v>
                </c:pt>
                <c:pt idx="1604">
                  <c:v>43644</c:v>
                </c:pt>
                <c:pt idx="1605">
                  <c:v>43647</c:v>
                </c:pt>
                <c:pt idx="1606">
                  <c:v>43648</c:v>
                </c:pt>
                <c:pt idx="1607">
                  <c:v>43649</c:v>
                </c:pt>
                <c:pt idx="1608">
                  <c:v>43651</c:v>
                </c:pt>
                <c:pt idx="1609">
                  <c:v>43654</c:v>
                </c:pt>
                <c:pt idx="1610">
                  <c:v>43655</c:v>
                </c:pt>
                <c:pt idx="1611">
                  <c:v>43656</c:v>
                </c:pt>
                <c:pt idx="1612">
                  <c:v>43657</c:v>
                </c:pt>
                <c:pt idx="1613">
                  <c:v>43658</c:v>
                </c:pt>
                <c:pt idx="1614">
                  <c:v>43661</c:v>
                </c:pt>
                <c:pt idx="1615">
                  <c:v>43662</c:v>
                </c:pt>
                <c:pt idx="1616">
                  <c:v>43663</c:v>
                </c:pt>
                <c:pt idx="1617">
                  <c:v>43664</c:v>
                </c:pt>
                <c:pt idx="1618">
                  <c:v>43665</c:v>
                </c:pt>
                <c:pt idx="1619">
                  <c:v>43668</c:v>
                </c:pt>
                <c:pt idx="1620">
                  <c:v>43669</c:v>
                </c:pt>
                <c:pt idx="1621">
                  <c:v>43670</c:v>
                </c:pt>
                <c:pt idx="1622">
                  <c:v>43671</c:v>
                </c:pt>
                <c:pt idx="1623">
                  <c:v>43672</c:v>
                </c:pt>
                <c:pt idx="1624">
                  <c:v>43675</c:v>
                </c:pt>
                <c:pt idx="1625">
                  <c:v>43676</c:v>
                </c:pt>
                <c:pt idx="1626">
                  <c:v>43677</c:v>
                </c:pt>
                <c:pt idx="1627">
                  <c:v>43678</c:v>
                </c:pt>
                <c:pt idx="1628">
                  <c:v>43679</c:v>
                </c:pt>
                <c:pt idx="1629">
                  <c:v>43682</c:v>
                </c:pt>
                <c:pt idx="1630">
                  <c:v>43683</c:v>
                </c:pt>
                <c:pt idx="1631">
                  <c:v>43684</c:v>
                </c:pt>
                <c:pt idx="1632">
                  <c:v>43685</c:v>
                </c:pt>
                <c:pt idx="1633">
                  <c:v>43686</c:v>
                </c:pt>
                <c:pt idx="1634">
                  <c:v>43689</c:v>
                </c:pt>
                <c:pt idx="1635">
                  <c:v>43690</c:v>
                </c:pt>
                <c:pt idx="1636">
                  <c:v>43691</c:v>
                </c:pt>
                <c:pt idx="1637">
                  <c:v>43692</c:v>
                </c:pt>
                <c:pt idx="1638">
                  <c:v>43693</c:v>
                </c:pt>
                <c:pt idx="1639">
                  <c:v>43696</c:v>
                </c:pt>
                <c:pt idx="1640">
                  <c:v>43697</c:v>
                </c:pt>
                <c:pt idx="1641">
                  <c:v>43698</c:v>
                </c:pt>
                <c:pt idx="1642">
                  <c:v>43699</c:v>
                </c:pt>
                <c:pt idx="1643">
                  <c:v>43700</c:v>
                </c:pt>
                <c:pt idx="1644">
                  <c:v>43703</c:v>
                </c:pt>
                <c:pt idx="1645">
                  <c:v>43704</c:v>
                </c:pt>
                <c:pt idx="1646">
                  <c:v>43705</c:v>
                </c:pt>
                <c:pt idx="1647">
                  <c:v>43706</c:v>
                </c:pt>
                <c:pt idx="1648">
                  <c:v>43707</c:v>
                </c:pt>
                <c:pt idx="1649">
                  <c:v>43711</c:v>
                </c:pt>
                <c:pt idx="1650">
                  <c:v>43712</c:v>
                </c:pt>
                <c:pt idx="1651">
                  <c:v>43713</c:v>
                </c:pt>
                <c:pt idx="1652">
                  <c:v>43714</c:v>
                </c:pt>
                <c:pt idx="1653">
                  <c:v>43717</c:v>
                </c:pt>
                <c:pt idx="1654">
                  <c:v>43718</c:v>
                </c:pt>
                <c:pt idx="1655">
                  <c:v>43719</c:v>
                </c:pt>
                <c:pt idx="1656">
                  <c:v>43720</c:v>
                </c:pt>
                <c:pt idx="1657">
                  <c:v>43721</c:v>
                </c:pt>
                <c:pt idx="1658">
                  <c:v>43724</c:v>
                </c:pt>
                <c:pt idx="1659">
                  <c:v>43725</c:v>
                </c:pt>
                <c:pt idx="1660">
                  <c:v>43726</c:v>
                </c:pt>
                <c:pt idx="1661">
                  <c:v>43727</c:v>
                </c:pt>
                <c:pt idx="1662">
                  <c:v>43728</c:v>
                </c:pt>
                <c:pt idx="1663">
                  <c:v>43731</c:v>
                </c:pt>
                <c:pt idx="1664">
                  <c:v>43732</c:v>
                </c:pt>
                <c:pt idx="1665">
                  <c:v>43733</c:v>
                </c:pt>
                <c:pt idx="1666">
                  <c:v>43734</c:v>
                </c:pt>
                <c:pt idx="1667">
                  <c:v>43735</c:v>
                </c:pt>
                <c:pt idx="1668">
                  <c:v>43738</c:v>
                </c:pt>
                <c:pt idx="1669">
                  <c:v>43739</c:v>
                </c:pt>
                <c:pt idx="1670">
                  <c:v>43740</c:v>
                </c:pt>
                <c:pt idx="1671">
                  <c:v>43741</c:v>
                </c:pt>
                <c:pt idx="1672">
                  <c:v>43742</c:v>
                </c:pt>
                <c:pt idx="1673">
                  <c:v>43745</c:v>
                </c:pt>
                <c:pt idx="1674">
                  <c:v>43746</c:v>
                </c:pt>
                <c:pt idx="1675">
                  <c:v>43747</c:v>
                </c:pt>
                <c:pt idx="1676">
                  <c:v>43748</c:v>
                </c:pt>
                <c:pt idx="1677">
                  <c:v>43749</c:v>
                </c:pt>
                <c:pt idx="1678">
                  <c:v>43752</c:v>
                </c:pt>
                <c:pt idx="1679">
                  <c:v>43753</c:v>
                </c:pt>
                <c:pt idx="1680">
                  <c:v>43754</c:v>
                </c:pt>
                <c:pt idx="1681">
                  <c:v>43755</c:v>
                </c:pt>
                <c:pt idx="1682">
                  <c:v>43756</c:v>
                </c:pt>
                <c:pt idx="1683">
                  <c:v>43759</c:v>
                </c:pt>
                <c:pt idx="1684">
                  <c:v>43760</c:v>
                </c:pt>
                <c:pt idx="1685">
                  <c:v>43761</c:v>
                </c:pt>
                <c:pt idx="1686">
                  <c:v>43762</c:v>
                </c:pt>
                <c:pt idx="1687">
                  <c:v>43763</c:v>
                </c:pt>
                <c:pt idx="1688">
                  <c:v>43766</c:v>
                </c:pt>
                <c:pt idx="1689">
                  <c:v>43767</c:v>
                </c:pt>
                <c:pt idx="1690">
                  <c:v>43768</c:v>
                </c:pt>
                <c:pt idx="1691">
                  <c:v>43769</c:v>
                </c:pt>
                <c:pt idx="1692">
                  <c:v>43770</c:v>
                </c:pt>
                <c:pt idx="1693">
                  <c:v>43773</c:v>
                </c:pt>
                <c:pt idx="1694">
                  <c:v>43774</c:v>
                </c:pt>
                <c:pt idx="1695">
                  <c:v>43775</c:v>
                </c:pt>
                <c:pt idx="1696">
                  <c:v>43776</c:v>
                </c:pt>
                <c:pt idx="1697">
                  <c:v>43777</c:v>
                </c:pt>
                <c:pt idx="1698">
                  <c:v>43780</c:v>
                </c:pt>
                <c:pt idx="1699">
                  <c:v>43781</c:v>
                </c:pt>
                <c:pt idx="1700">
                  <c:v>43782</c:v>
                </c:pt>
                <c:pt idx="1701">
                  <c:v>43783</c:v>
                </c:pt>
                <c:pt idx="1702">
                  <c:v>43784</c:v>
                </c:pt>
                <c:pt idx="1703">
                  <c:v>43787</c:v>
                </c:pt>
                <c:pt idx="1704">
                  <c:v>43788</c:v>
                </c:pt>
                <c:pt idx="1705">
                  <c:v>43789</c:v>
                </c:pt>
                <c:pt idx="1706">
                  <c:v>43790</c:v>
                </c:pt>
                <c:pt idx="1707">
                  <c:v>43791</c:v>
                </c:pt>
                <c:pt idx="1708">
                  <c:v>43794</c:v>
                </c:pt>
                <c:pt idx="1709">
                  <c:v>43795</c:v>
                </c:pt>
                <c:pt idx="1710">
                  <c:v>43796</c:v>
                </c:pt>
                <c:pt idx="1711">
                  <c:v>43798</c:v>
                </c:pt>
                <c:pt idx="1712">
                  <c:v>43801</c:v>
                </c:pt>
                <c:pt idx="1713">
                  <c:v>43802</c:v>
                </c:pt>
                <c:pt idx="1714">
                  <c:v>43803</c:v>
                </c:pt>
                <c:pt idx="1715">
                  <c:v>43804</c:v>
                </c:pt>
                <c:pt idx="1716">
                  <c:v>43805</c:v>
                </c:pt>
                <c:pt idx="1717">
                  <c:v>43808</c:v>
                </c:pt>
                <c:pt idx="1718">
                  <c:v>43809</c:v>
                </c:pt>
                <c:pt idx="1719">
                  <c:v>43810</c:v>
                </c:pt>
                <c:pt idx="1720">
                  <c:v>43811</c:v>
                </c:pt>
                <c:pt idx="1721">
                  <c:v>43812</c:v>
                </c:pt>
                <c:pt idx="1722">
                  <c:v>43815</c:v>
                </c:pt>
                <c:pt idx="1723">
                  <c:v>43816</c:v>
                </c:pt>
                <c:pt idx="1724">
                  <c:v>43817</c:v>
                </c:pt>
                <c:pt idx="1725">
                  <c:v>43818</c:v>
                </c:pt>
                <c:pt idx="1726">
                  <c:v>43819</c:v>
                </c:pt>
                <c:pt idx="1727">
                  <c:v>43822</c:v>
                </c:pt>
                <c:pt idx="1728">
                  <c:v>43823</c:v>
                </c:pt>
                <c:pt idx="1729">
                  <c:v>43825</c:v>
                </c:pt>
                <c:pt idx="1730">
                  <c:v>43826</c:v>
                </c:pt>
                <c:pt idx="1731">
                  <c:v>43829</c:v>
                </c:pt>
                <c:pt idx="1732">
                  <c:v>43830</c:v>
                </c:pt>
                <c:pt idx="1733">
                  <c:v>43832</c:v>
                </c:pt>
                <c:pt idx="1734">
                  <c:v>43833</c:v>
                </c:pt>
                <c:pt idx="1735">
                  <c:v>43836</c:v>
                </c:pt>
                <c:pt idx="1736">
                  <c:v>43837</c:v>
                </c:pt>
                <c:pt idx="1737">
                  <c:v>43838</c:v>
                </c:pt>
                <c:pt idx="1738">
                  <c:v>43839</c:v>
                </c:pt>
                <c:pt idx="1739">
                  <c:v>43840</c:v>
                </c:pt>
                <c:pt idx="1740">
                  <c:v>43843</c:v>
                </c:pt>
                <c:pt idx="1741">
                  <c:v>43844</c:v>
                </c:pt>
                <c:pt idx="1742">
                  <c:v>43845</c:v>
                </c:pt>
                <c:pt idx="1743">
                  <c:v>43846</c:v>
                </c:pt>
                <c:pt idx="1744">
                  <c:v>43847</c:v>
                </c:pt>
                <c:pt idx="1745">
                  <c:v>43851</c:v>
                </c:pt>
                <c:pt idx="1746">
                  <c:v>43852</c:v>
                </c:pt>
                <c:pt idx="1747">
                  <c:v>43853</c:v>
                </c:pt>
                <c:pt idx="1748">
                  <c:v>43854</c:v>
                </c:pt>
                <c:pt idx="1749">
                  <c:v>43857</c:v>
                </c:pt>
                <c:pt idx="1750">
                  <c:v>43858</c:v>
                </c:pt>
                <c:pt idx="1751">
                  <c:v>43859</c:v>
                </c:pt>
                <c:pt idx="1752">
                  <c:v>43860</c:v>
                </c:pt>
                <c:pt idx="1753">
                  <c:v>43861</c:v>
                </c:pt>
                <c:pt idx="1754">
                  <c:v>43864</c:v>
                </c:pt>
                <c:pt idx="1755">
                  <c:v>43865</c:v>
                </c:pt>
                <c:pt idx="1756">
                  <c:v>43866</c:v>
                </c:pt>
                <c:pt idx="1757">
                  <c:v>43867</c:v>
                </c:pt>
                <c:pt idx="1758">
                  <c:v>43868</c:v>
                </c:pt>
                <c:pt idx="1759">
                  <c:v>43871</c:v>
                </c:pt>
                <c:pt idx="1760">
                  <c:v>43872</c:v>
                </c:pt>
                <c:pt idx="1761">
                  <c:v>43873</c:v>
                </c:pt>
                <c:pt idx="1762">
                  <c:v>43874</c:v>
                </c:pt>
                <c:pt idx="1763">
                  <c:v>43875</c:v>
                </c:pt>
                <c:pt idx="1764">
                  <c:v>43879</c:v>
                </c:pt>
                <c:pt idx="1765">
                  <c:v>43880</c:v>
                </c:pt>
                <c:pt idx="1766">
                  <c:v>43881</c:v>
                </c:pt>
                <c:pt idx="1767">
                  <c:v>43882</c:v>
                </c:pt>
                <c:pt idx="1768">
                  <c:v>43885</c:v>
                </c:pt>
                <c:pt idx="1769">
                  <c:v>43886</c:v>
                </c:pt>
                <c:pt idx="1770">
                  <c:v>43887</c:v>
                </c:pt>
                <c:pt idx="1771">
                  <c:v>43888</c:v>
                </c:pt>
                <c:pt idx="1772">
                  <c:v>43889</c:v>
                </c:pt>
                <c:pt idx="1773">
                  <c:v>43892</c:v>
                </c:pt>
                <c:pt idx="1774">
                  <c:v>43893</c:v>
                </c:pt>
                <c:pt idx="1775">
                  <c:v>43894</c:v>
                </c:pt>
                <c:pt idx="1776">
                  <c:v>43895</c:v>
                </c:pt>
                <c:pt idx="1777">
                  <c:v>43896</c:v>
                </c:pt>
                <c:pt idx="1778">
                  <c:v>43899</c:v>
                </c:pt>
                <c:pt idx="1779">
                  <c:v>43900</c:v>
                </c:pt>
                <c:pt idx="1780">
                  <c:v>43901</c:v>
                </c:pt>
                <c:pt idx="1781">
                  <c:v>43902</c:v>
                </c:pt>
                <c:pt idx="1782">
                  <c:v>43903</c:v>
                </c:pt>
                <c:pt idx="1783">
                  <c:v>43906</c:v>
                </c:pt>
                <c:pt idx="1784">
                  <c:v>43907</c:v>
                </c:pt>
                <c:pt idx="1785">
                  <c:v>43908</c:v>
                </c:pt>
                <c:pt idx="1786">
                  <c:v>43909</c:v>
                </c:pt>
                <c:pt idx="1787">
                  <c:v>43910</c:v>
                </c:pt>
                <c:pt idx="1788">
                  <c:v>43913</c:v>
                </c:pt>
                <c:pt idx="1789">
                  <c:v>43914</c:v>
                </c:pt>
                <c:pt idx="1790">
                  <c:v>43915</c:v>
                </c:pt>
                <c:pt idx="1791">
                  <c:v>43916</c:v>
                </c:pt>
                <c:pt idx="1792">
                  <c:v>43917</c:v>
                </c:pt>
                <c:pt idx="1793">
                  <c:v>43920</c:v>
                </c:pt>
                <c:pt idx="1794">
                  <c:v>43921</c:v>
                </c:pt>
                <c:pt idx="1795">
                  <c:v>43922</c:v>
                </c:pt>
                <c:pt idx="1796">
                  <c:v>43923</c:v>
                </c:pt>
                <c:pt idx="1797">
                  <c:v>43924</c:v>
                </c:pt>
                <c:pt idx="1798">
                  <c:v>43927</c:v>
                </c:pt>
                <c:pt idx="1799">
                  <c:v>43928</c:v>
                </c:pt>
                <c:pt idx="1800">
                  <c:v>43929</c:v>
                </c:pt>
                <c:pt idx="1801">
                  <c:v>43930</c:v>
                </c:pt>
                <c:pt idx="1802">
                  <c:v>43934</c:v>
                </c:pt>
                <c:pt idx="1803">
                  <c:v>43935</c:v>
                </c:pt>
                <c:pt idx="1804">
                  <c:v>43936</c:v>
                </c:pt>
                <c:pt idx="1805">
                  <c:v>43937</c:v>
                </c:pt>
                <c:pt idx="1806">
                  <c:v>43938</c:v>
                </c:pt>
                <c:pt idx="1807">
                  <c:v>43941</c:v>
                </c:pt>
                <c:pt idx="1808">
                  <c:v>43942</c:v>
                </c:pt>
                <c:pt idx="1809">
                  <c:v>43943</c:v>
                </c:pt>
                <c:pt idx="1810">
                  <c:v>43944</c:v>
                </c:pt>
                <c:pt idx="1811">
                  <c:v>43945</c:v>
                </c:pt>
                <c:pt idx="1812">
                  <c:v>43948</c:v>
                </c:pt>
                <c:pt idx="1813">
                  <c:v>43949</c:v>
                </c:pt>
                <c:pt idx="1814">
                  <c:v>43950</c:v>
                </c:pt>
                <c:pt idx="1815">
                  <c:v>43951</c:v>
                </c:pt>
                <c:pt idx="1816">
                  <c:v>43952</c:v>
                </c:pt>
                <c:pt idx="1817">
                  <c:v>43955</c:v>
                </c:pt>
                <c:pt idx="1818">
                  <c:v>43956</c:v>
                </c:pt>
                <c:pt idx="1819">
                  <c:v>43957</c:v>
                </c:pt>
                <c:pt idx="1820">
                  <c:v>43958</c:v>
                </c:pt>
                <c:pt idx="1821">
                  <c:v>43959</c:v>
                </c:pt>
                <c:pt idx="1822">
                  <c:v>43962</c:v>
                </c:pt>
                <c:pt idx="1823">
                  <c:v>43963</c:v>
                </c:pt>
                <c:pt idx="1824">
                  <c:v>43964</c:v>
                </c:pt>
                <c:pt idx="1825">
                  <c:v>43965</c:v>
                </c:pt>
                <c:pt idx="1826">
                  <c:v>43966</c:v>
                </c:pt>
                <c:pt idx="1827">
                  <c:v>43969</c:v>
                </c:pt>
                <c:pt idx="1828">
                  <c:v>43970</c:v>
                </c:pt>
                <c:pt idx="1829">
                  <c:v>43971</c:v>
                </c:pt>
                <c:pt idx="1830">
                  <c:v>43972</c:v>
                </c:pt>
                <c:pt idx="1831">
                  <c:v>43973</c:v>
                </c:pt>
                <c:pt idx="1832">
                  <c:v>43977</c:v>
                </c:pt>
                <c:pt idx="1833">
                  <c:v>43978</c:v>
                </c:pt>
                <c:pt idx="1834">
                  <c:v>43979</c:v>
                </c:pt>
                <c:pt idx="1835">
                  <c:v>43980</c:v>
                </c:pt>
                <c:pt idx="1836">
                  <c:v>43983</c:v>
                </c:pt>
                <c:pt idx="1837">
                  <c:v>43984</c:v>
                </c:pt>
                <c:pt idx="1838">
                  <c:v>43985</c:v>
                </c:pt>
                <c:pt idx="1839">
                  <c:v>43986</c:v>
                </c:pt>
                <c:pt idx="1840">
                  <c:v>43987</c:v>
                </c:pt>
                <c:pt idx="1841">
                  <c:v>43990</c:v>
                </c:pt>
                <c:pt idx="1842">
                  <c:v>43991</c:v>
                </c:pt>
                <c:pt idx="1843">
                  <c:v>43992</c:v>
                </c:pt>
                <c:pt idx="1844">
                  <c:v>43993</c:v>
                </c:pt>
                <c:pt idx="1845">
                  <c:v>43994</c:v>
                </c:pt>
                <c:pt idx="1846">
                  <c:v>43997</c:v>
                </c:pt>
                <c:pt idx="1847">
                  <c:v>43998</c:v>
                </c:pt>
                <c:pt idx="1848">
                  <c:v>43999</c:v>
                </c:pt>
                <c:pt idx="1849">
                  <c:v>44000</c:v>
                </c:pt>
                <c:pt idx="1850">
                  <c:v>44001</c:v>
                </c:pt>
                <c:pt idx="1851">
                  <c:v>44004</c:v>
                </c:pt>
                <c:pt idx="1852">
                  <c:v>44005</c:v>
                </c:pt>
                <c:pt idx="1853">
                  <c:v>44006</c:v>
                </c:pt>
                <c:pt idx="1854">
                  <c:v>44007</c:v>
                </c:pt>
                <c:pt idx="1855">
                  <c:v>44008</c:v>
                </c:pt>
                <c:pt idx="1856">
                  <c:v>44011</c:v>
                </c:pt>
                <c:pt idx="1857">
                  <c:v>44012</c:v>
                </c:pt>
                <c:pt idx="1858">
                  <c:v>44013</c:v>
                </c:pt>
                <c:pt idx="1859">
                  <c:v>44014</c:v>
                </c:pt>
                <c:pt idx="1860">
                  <c:v>44018</c:v>
                </c:pt>
                <c:pt idx="1861">
                  <c:v>44019</c:v>
                </c:pt>
                <c:pt idx="1862">
                  <c:v>44020</c:v>
                </c:pt>
                <c:pt idx="1863">
                  <c:v>44021</c:v>
                </c:pt>
                <c:pt idx="1864">
                  <c:v>44022</c:v>
                </c:pt>
                <c:pt idx="1865">
                  <c:v>44025</c:v>
                </c:pt>
                <c:pt idx="1866">
                  <c:v>44026</c:v>
                </c:pt>
                <c:pt idx="1867">
                  <c:v>44027</c:v>
                </c:pt>
                <c:pt idx="1868">
                  <c:v>44028</c:v>
                </c:pt>
                <c:pt idx="1869">
                  <c:v>44029</c:v>
                </c:pt>
                <c:pt idx="1870">
                  <c:v>44032</c:v>
                </c:pt>
                <c:pt idx="1871">
                  <c:v>44033</c:v>
                </c:pt>
                <c:pt idx="1872">
                  <c:v>44034</c:v>
                </c:pt>
                <c:pt idx="1873">
                  <c:v>44035</c:v>
                </c:pt>
                <c:pt idx="1874">
                  <c:v>44036</c:v>
                </c:pt>
                <c:pt idx="1875">
                  <c:v>44039</c:v>
                </c:pt>
                <c:pt idx="1876">
                  <c:v>44040</c:v>
                </c:pt>
                <c:pt idx="1877">
                  <c:v>44041</c:v>
                </c:pt>
                <c:pt idx="1878">
                  <c:v>44042</c:v>
                </c:pt>
                <c:pt idx="1879">
                  <c:v>44043</c:v>
                </c:pt>
                <c:pt idx="1880">
                  <c:v>44046</c:v>
                </c:pt>
                <c:pt idx="1881">
                  <c:v>44047</c:v>
                </c:pt>
                <c:pt idx="1882">
                  <c:v>44048</c:v>
                </c:pt>
                <c:pt idx="1883">
                  <c:v>44049</c:v>
                </c:pt>
                <c:pt idx="1884">
                  <c:v>44050</c:v>
                </c:pt>
                <c:pt idx="1885">
                  <c:v>44053</c:v>
                </c:pt>
                <c:pt idx="1886">
                  <c:v>44054</c:v>
                </c:pt>
                <c:pt idx="1887">
                  <c:v>44055</c:v>
                </c:pt>
                <c:pt idx="1888">
                  <c:v>44056</c:v>
                </c:pt>
                <c:pt idx="1889">
                  <c:v>44057</c:v>
                </c:pt>
                <c:pt idx="1890">
                  <c:v>44060</c:v>
                </c:pt>
                <c:pt idx="1891">
                  <c:v>44061</c:v>
                </c:pt>
                <c:pt idx="1892">
                  <c:v>44062</c:v>
                </c:pt>
                <c:pt idx="1893">
                  <c:v>44063</c:v>
                </c:pt>
                <c:pt idx="1894">
                  <c:v>44064</c:v>
                </c:pt>
                <c:pt idx="1895">
                  <c:v>44067</c:v>
                </c:pt>
                <c:pt idx="1896">
                  <c:v>44068</c:v>
                </c:pt>
                <c:pt idx="1897">
                  <c:v>44069</c:v>
                </c:pt>
                <c:pt idx="1898">
                  <c:v>44070</c:v>
                </c:pt>
                <c:pt idx="1899">
                  <c:v>44071</c:v>
                </c:pt>
                <c:pt idx="1900">
                  <c:v>44074</c:v>
                </c:pt>
                <c:pt idx="1901">
                  <c:v>44075</c:v>
                </c:pt>
                <c:pt idx="1902">
                  <c:v>44076</c:v>
                </c:pt>
                <c:pt idx="1903">
                  <c:v>44077</c:v>
                </c:pt>
                <c:pt idx="1904">
                  <c:v>44078</c:v>
                </c:pt>
                <c:pt idx="1905">
                  <c:v>44082</c:v>
                </c:pt>
                <c:pt idx="1906">
                  <c:v>44083</c:v>
                </c:pt>
                <c:pt idx="1907">
                  <c:v>44084</c:v>
                </c:pt>
                <c:pt idx="1908">
                  <c:v>44085</c:v>
                </c:pt>
                <c:pt idx="1909">
                  <c:v>44088</c:v>
                </c:pt>
                <c:pt idx="1910">
                  <c:v>44089</c:v>
                </c:pt>
                <c:pt idx="1911">
                  <c:v>44090</c:v>
                </c:pt>
                <c:pt idx="1912">
                  <c:v>44091</c:v>
                </c:pt>
                <c:pt idx="1913">
                  <c:v>44092</c:v>
                </c:pt>
                <c:pt idx="1914">
                  <c:v>44095</c:v>
                </c:pt>
                <c:pt idx="1915">
                  <c:v>44096</c:v>
                </c:pt>
                <c:pt idx="1916">
                  <c:v>44097</c:v>
                </c:pt>
                <c:pt idx="1917">
                  <c:v>44098</c:v>
                </c:pt>
                <c:pt idx="1918">
                  <c:v>44099</c:v>
                </c:pt>
                <c:pt idx="1919">
                  <c:v>44102</c:v>
                </c:pt>
                <c:pt idx="1920">
                  <c:v>44103</c:v>
                </c:pt>
                <c:pt idx="1921">
                  <c:v>44104</c:v>
                </c:pt>
                <c:pt idx="1922">
                  <c:v>44105</c:v>
                </c:pt>
                <c:pt idx="1923">
                  <c:v>44106</c:v>
                </c:pt>
                <c:pt idx="1924">
                  <c:v>44109</c:v>
                </c:pt>
                <c:pt idx="1925">
                  <c:v>44110</c:v>
                </c:pt>
                <c:pt idx="1926">
                  <c:v>44111</c:v>
                </c:pt>
                <c:pt idx="1927">
                  <c:v>44112</c:v>
                </c:pt>
                <c:pt idx="1928">
                  <c:v>44113</c:v>
                </c:pt>
                <c:pt idx="1929">
                  <c:v>44116</c:v>
                </c:pt>
                <c:pt idx="1930">
                  <c:v>44117</c:v>
                </c:pt>
                <c:pt idx="1931">
                  <c:v>44118</c:v>
                </c:pt>
                <c:pt idx="1932">
                  <c:v>44119</c:v>
                </c:pt>
                <c:pt idx="1933">
                  <c:v>44120</c:v>
                </c:pt>
                <c:pt idx="1934">
                  <c:v>44123</c:v>
                </c:pt>
                <c:pt idx="1935">
                  <c:v>44124</c:v>
                </c:pt>
                <c:pt idx="1936">
                  <c:v>44125</c:v>
                </c:pt>
                <c:pt idx="1937">
                  <c:v>44126</c:v>
                </c:pt>
                <c:pt idx="1938">
                  <c:v>44127</c:v>
                </c:pt>
                <c:pt idx="1939">
                  <c:v>44130</c:v>
                </c:pt>
                <c:pt idx="1940">
                  <c:v>44131</c:v>
                </c:pt>
                <c:pt idx="1941">
                  <c:v>44132</c:v>
                </c:pt>
                <c:pt idx="1942">
                  <c:v>44133</c:v>
                </c:pt>
                <c:pt idx="1943">
                  <c:v>44134</c:v>
                </c:pt>
                <c:pt idx="1944">
                  <c:v>44137</c:v>
                </c:pt>
                <c:pt idx="1945">
                  <c:v>44138</c:v>
                </c:pt>
                <c:pt idx="1946">
                  <c:v>44139</c:v>
                </c:pt>
                <c:pt idx="1947">
                  <c:v>44140</c:v>
                </c:pt>
                <c:pt idx="1948">
                  <c:v>44141</c:v>
                </c:pt>
                <c:pt idx="1949">
                  <c:v>44144</c:v>
                </c:pt>
                <c:pt idx="1950">
                  <c:v>44145</c:v>
                </c:pt>
                <c:pt idx="1951">
                  <c:v>44146</c:v>
                </c:pt>
                <c:pt idx="1952">
                  <c:v>44147</c:v>
                </c:pt>
                <c:pt idx="1953">
                  <c:v>44148</c:v>
                </c:pt>
                <c:pt idx="1954">
                  <c:v>44151</c:v>
                </c:pt>
                <c:pt idx="1955">
                  <c:v>44152</c:v>
                </c:pt>
                <c:pt idx="1956">
                  <c:v>44153</c:v>
                </c:pt>
                <c:pt idx="1957">
                  <c:v>44154</c:v>
                </c:pt>
                <c:pt idx="1958">
                  <c:v>44155</c:v>
                </c:pt>
                <c:pt idx="1959">
                  <c:v>44158</c:v>
                </c:pt>
                <c:pt idx="1960">
                  <c:v>44159</c:v>
                </c:pt>
                <c:pt idx="1961">
                  <c:v>44160</c:v>
                </c:pt>
                <c:pt idx="1962">
                  <c:v>44162</c:v>
                </c:pt>
                <c:pt idx="1963">
                  <c:v>44165</c:v>
                </c:pt>
                <c:pt idx="1964">
                  <c:v>44166</c:v>
                </c:pt>
                <c:pt idx="1965">
                  <c:v>44167</c:v>
                </c:pt>
                <c:pt idx="1966">
                  <c:v>44168</c:v>
                </c:pt>
                <c:pt idx="1967">
                  <c:v>44169</c:v>
                </c:pt>
                <c:pt idx="1968">
                  <c:v>44172</c:v>
                </c:pt>
                <c:pt idx="1969">
                  <c:v>44173</c:v>
                </c:pt>
                <c:pt idx="1970">
                  <c:v>44174</c:v>
                </c:pt>
                <c:pt idx="1971">
                  <c:v>44175</c:v>
                </c:pt>
                <c:pt idx="1972">
                  <c:v>44176</c:v>
                </c:pt>
                <c:pt idx="1973">
                  <c:v>44179</c:v>
                </c:pt>
                <c:pt idx="1974">
                  <c:v>44180</c:v>
                </c:pt>
                <c:pt idx="1975">
                  <c:v>44181</c:v>
                </c:pt>
                <c:pt idx="1976">
                  <c:v>44182</c:v>
                </c:pt>
                <c:pt idx="1977">
                  <c:v>44183</c:v>
                </c:pt>
                <c:pt idx="1978">
                  <c:v>44186</c:v>
                </c:pt>
                <c:pt idx="1979">
                  <c:v>44187</c:v>
                </c:pt>
                <c:pt idx="1980">
                  <c:v>44188</c:v>
                </c:pt>
                <c:pt idx="1981">
                  <c:v>44189</c:v>
                </c:pt>
                <c:pt idx="1982">
                  <c:v>44193</c:v>
                </c:pt>
                <c:pt idx="1983">
                  <c:v>44194</c:v>
                </c:pt>
                <c:pt idx="1984">
                  <c:v>44195</c:v>
                </c:pt>
                <c:pt idx="1985">
                  <c:v>44196</c:v>
                </c:pt>
                <c:pt idx="1986">
                  <c:v>44200</c:v>
                </c:pt>
                <c:pt idx="1987">
                  <c:v>44201</c:v>
                </c:pt>
                <c:pt idx="1988">
                  <c:v>44202</c:v>
                </c:pt>
                <c:pt idx="1989">
                  <c:v>44203</c:v>
                </c:pt>
                <c:pt idx="1990">
                  <c:v>44204</c:v>
                </c:pt>
                <c:pt idx="1991">
                  <c:v>44207</c:v>
                </c:pt>
                <c:pt idx="1992">
                  <c:v>44208</c:v>
                </c:pt>
                <c:pt idx="1993">
                  <c:v>44209</c:v>
                </c:pt>
                <c:pt idx="1994">
                  <c:v>44210</c:v>
                </c:pt>
                <c:pt idx="1995">
                  <c:v>44211</c:v>
                </c:pt>
                <c:pt idx="1996">
                  <c:v>44215</c:v>
                </c:pt>
                <c:pt idx="1997">
                  <c:v>44216</c:v>
                </c:pt>
                <c:pt idx="1998">
                  <c:v>44217</c:v>
                </c:pt>
                <c:pt idx="1999">
                  <c:v>44218</c:v>
                </c:pt>
                <c:pt idx="2000">
                  <c:v>44221</c:v>
                </c:pt>
                <c:pt idx="2001">
                  <c:v>44222</c:v>
                </c:pt>
                <c:pt idx="2002">
                  <c:v>44223</c:v>
                </c:pt>
                <c:pt idx="2003">
                  <c:v>44224</c:v>
                </c:pt>
                <c:pt idx="2004">
                  <c:v>44225</c:v>
                </c:pt>
                <c:pt idx="2005">
                  <c:v>44228</c:v>
                </c:pt>
                <c:pt idx="2006">
                  <c:v>44229</c:v>
                </c:pt>
                <c:pt idx="2007">
                  <c:v>44230</c:v>
                </c:pt>
                <c:pt idx="2008">
                  <c:v>44231</c:v>
                </c:pt>
                <c:pt idx="2009">
                  <c:v>44232</c:v>
                </c:pt>
                <c:pt idx="2010">
                  <c:v>44235</c:v>
                </c:pt>
                <c:pt idx="2011">
                  <c:v>44236</c:v>
                </c:pt>
                <c:pt idx="2012">
                  <c:v>44237</c:v>
                </c:pt>
                <c:pt idx="2013">
                  <c:v>44238</c:v>
                </c:pt>
                <c:pt idx="2014">
                  <c:v>44239</c:v>
                </c:pt>
                <c:pt idx="2015">
                  <c:v>44243</c:v>
                </c:pt>
                <c:pt idx="2016">
                  <c:v>44244</c:v>
                </c:pt>
                <c:pt idx="2017">
                  <c:v>44245</c:v>
                </c:pt>
                <c:pt idx="2018">
                  <c:v>44246</c:v>
                </c:pt>
                <c:pt idx="2019">
                  <c:v>44249</c:v>
                </c:pt>
                <c:pt idx="2020">
                  <c:v>44250</c:v>
                </c:pt>
                <c:pt idx="2021">
                  <c:v>44251</c:v>
                </c:pt>
                <c:pt idx="2022">
                  <c:v>44252</c:v>
                </c:pt>
                <c:pt idx="2023">
                  <c:v>44253</c:v>
                </c:pt>
                <c:pt idx="2024">
                  <c:v>44256</c:v>
                </c:pt>
                <c:pt idx="2025">
                  <c:v>44257</c:v>
                </c:pt>
                <c:pt idx="2026">
                  <c:v>44258</c:v>
                </c:pt>
                <c:pt idx="2027">
                  <c:v>44259</c:v>
                </c:pt>
                <c:pt idx="2028">
                  <c:v>44260</c:v>
                </c:pt>
                <c:pt idx="2029">
                  <c:v>44263</c:v>
                </c:pt>
                <c:pt idx="2030">
                  <c:v>44264</c:v>
                </c:pt>
                <c:pt idx="2031">
                  <c:v>44265</c:v>
                </c:pt>
                <c:pt idx="2032">
                  <c:v>44266</c:v>
                </c:pt>
                <c:pt idx="2033">
                  <c:v>44267</c:v>
                </c:pt>
                <c:pt idx="2034">
                  <c:v>44270</c:v>
                </c:pt>
                <c:pt idx="2035">
                  <c:v>44271</c:v>
                </c:pt>
                <c:pt idx="2036">
                  <c:v>44272</c:v>
                </c:pt>
                <c:pt idx="2037">
                  <c:v>44273</c:v>
                </c:pt>
                <c:pt idx="2038">
                  <c:v>44274</c:v>
                </c:pt>
                <c:pt idx="2039">
                  <c:v>44277</c:v>
                </c:pt>
                <c:pt idx="2040">
                  <c:v>44278</c:v>
                </c:pt>
                <c:pt idx="2041">
                  <c:v>44279</c:v>
                </c:pt>
                <c:pt idx="2042">
                  <c:v>44280</c:v>
                </c:pt>
                <c:pt idx="2043">
                  <c:v>44281</c:v>
                </c:pt>
                <c:pt idx="2044">
                  <c:v>44284</c:v>
                </c:pt>
                <c:pt idx="2045">
                  <c:v>44285</c:v>
                </c:pt>
                <c:pt idx="2046">
                  <c:v>44286</c:v>
                </c:pt>
                <c:pt idx="2047">
                  <c:v>44287</c:v>
                </c:pt>
                <c:pt idx="2048">
                  <c:v>44291</c:v>
                </c:pt>
                <c:pt idx="2049">
                  <c:v>44292</c:v>
                </c:pt>
                <c:pt idx="2050">
                  <c:v>44293</c:v>
                </c:pt>
                <c:pt idx="2051">
                  <c:v>44294</c:v>
                </c:pt>
                <c:pt idx="2052">
                  <c:v>44295</c:v>
                </c:pt>
                <c:pt idx="2053">
                  <c:v>44298</c:v>
                </c:pt>
                <c:pt idx="2054">
                  <c:v>44299</c:v>
                </c:pt>
                <c:pt idx="2055">
                  <c:v>44300</c:v>
                </c:pt>
                <c:pt idx="2056">
                  <c:v>44301</c:v>
                </c:pt>
                <c:pt idx="2057">
                  <c:v>44302</c:v>
                </c:pt>
                <c:pt idx="2058">
                  <c:v>44305</c:v>
                </c:pt>
                <c:pt idx="2059">
                  <c:v>44306</c:v>
                </c:pt>
                <c:pt idx="2060">
                  <c:v>44307</c:v>
                </c:pt>
                <c:pt idx="2061">
                  <c:v>44308</c:v>
                </c:pt>
                <c:pt idx="2062">
                  <c:v>44309</c:v>
                </c:pt>
                <c:pt idx="2063">
                  <c:v>44312</c:v>
                </c:pt>
                <c:pt idx="2064">
                  <c:v>44313</c:v>
                </c:pt>
                <c:pt idx="2065">
                  <c:v>44314</c:v>
                </c:pt>
                <c:pt idx="2066">
                  <c:v>44315</c:v>
                </c:pt>
                <c:pt idx="2067">
                  <c:v>44316</c:v>
                </c:pt>
                <c:pt idx="2068">
                  <c:v>44319</c:v>
                </c:pt>
                <c:pt idx="2069">
                  <c:v>44320</c:v>
                </c:pt>
                <c:pt idx="2070">
                  <c:v>44321</c:v>
                </c:pt>
                <c:pt idx="2071">
                  <c:v>44322</c:v>
                </c:pt>
                <c:pt idx="2072">
                  <c:v>44323</c:v>
                </c:pt>
                <c:pt idx="2073">
                  <c:v>44326</c:v>
                </c:pt>
                <c:pt idx="2074">
                  <c:v>44327</c:v>
                </c:pt>
                <c:pt idx="2075">
                  <c:v>44328</c:v>
                </c:pt>
                <c:pt idx="2076">
                  <c:v>44329</c:v>
                </c:pt>
                <c:pt idx="2077">
                  <c:v>44330</c:v>
                </c:pt>
                <c:pt idx="2078">
                  <c:v>44333</c:v>
                </c:pt>
                <c:pt idx="2079">
                  <c:v>44334</c:v>
                </c:pt>
                <c:pt idx="2080">
                  <c:v>44335</c:v>
                </c:pt>
                <c:pt idx="2081">
                  <c:v>44336</c:v>
                </c:pt>
                <c:pt idx="2082">
                  <c:v>44337</c:v>
                </c:pt>
                <c:pt idx="2083">
                  <c:v>44340</c:v>
                </c:pt>
                <c:pt idx="2084">
                  <c:v>44341</c:v>
                </c:pt>
                <c:pt idx="2085">
                  <c:v>44342</c:v>
                </c:pt>
                <c:pt idx="2086">
                  <c:v>44343</c:v>
                </c:pt>
                <c:pt idx="2087">
                  <c:v>44344</c:v>
                </c:pt>
                <c:pt idx="2088">
                  <c:v>44348</c:v>
                </c:pt>
                <c:pt idx="2089">
                  <c:v>44349</c:v>
                </c:pt>
                <c:pt idx="2090">
                  <c:v>44350</c:v>
                </c:pt>
                <c:pt idx="2091">
                  <c:v>44351</c:v>
                </c:pt>
                <c:pt idx="2092">
                  <c:v>44354</c:v>
                </c:pt>
                <c:pt idx="2093">
                  <c:v>44355</c:v>
                </c:pt>
                <c:pt idx="2094">
                  <c:v>44356</c:v>
                </c:pt>
                <c:pt idx="2095">
                  <c:v>44357</c:v>
                </c:pt>
                <c:pt idx="2096">
                  <c:v>44358</c:v>
                </c:pt>
                <c:pt idx="2097">
                  <c:v>44361</c:v>
                </c:pt>
                <c:pt idx="2098">
                  <c:v>44362</c:v>
                </c:pt>
                <c:pt idx="2099">
                  <c:v>44363</c:v>
                </c:pt>
                <c:pt idx="2100">
                  <c:v>44364</c:v>
                </c:pt>
                <c:pt idx="2101">
                  <c:v>44365</c:v>
                </c:pt>
                <c:pt idx="2102">
                  <c:v>44368</c:v>
                </c:pt>
                <c:pt idx="2103">
                  <c:v>44369</c:v>
                </c:pt>
                <c:pt idx="2104">
                  <c:v>44370</c:v>
                </c:pt>
                <c:pt idx="2105">
                  <c:v>44371</c:v>
                </c:pt>
                <c:pt idx="2106">
                  <c:v>44372</c:v>
                </c:pt>
                <c:pt idx="2107">
                  <c:v>44375</c:v>
                </c:pt>
                <c:pt idx="2108">
                  <c:v>44376</c:v>
                </c:pt>
                <c:pt idx="2109">
                  <c:v>44377</c:v>
                </c:pt>
              </c:numCache>
            </c:numRef>
          </c:cat>
          <c:val>
            <c:numRef>
              <c:f>Sheet1!$C$2:$C$2111</c:f>
              <c:numCache>
                <c:formatCode>General</c:formatCode>
                <c:ptCount val="2110"/>
                <c:pt idx="0">
                  <c:v>30.087467</c:v>
                </c:pt>
                <c:pt idx="1">
                  <c:v>30.058969999999999</c:v>
                </c:pt>
                <c:pt idx="2">
                  <c:v>29.950554</c:v>
                </c:pt>
                <c:pt idx="3">
                  <c:v>30.214272000000001</c:v>
                </c:pt>
                <c:pt idx="4">
                  <c:v>30.371390000000002</c:v>
                </c:pt>
                <c:pt idx="5">
                  <c:v>30.387495000000001</c:v>
                </c:pt>
                <c:pt idx="6">
                  <c:v>30.260370000000002</c:v>
                </c:pt>
                <c:pt idx="7">
                  <c:v>30.246303999999999</c:v>
                </c:pt>
                <c:pt idx="8">
                  <c:v>30.277550000000002</c:v>
                </c:pt>
                <c:pt idx="9">
                  <c:v>30.373069999999998</c:v>
                </c:pt>
                <c:pt idx="10">
                  <c:v>30.285774</c:v>
                </c:pt>
                <c:pt idx="11">
                  <c:v>30.391957999999999</c:v>
                </c:pt>
                <c:pt idx="12">
                  <c:v>30.580805000000002</c:v>
                </c:pt>
                <c:pt idx="13">
                  <c:v>30.61308</c:v>
                </c:pt>
                <c:pt idx="14">
                  <c:v>30.670432999999999</c:v>
                </c:pt>
                <c:pt idx="15">
                  <c:v>30.618880999999998</c:v>
                </c:pt>
                <c:pt idx="16">
                  <c:v>30.710169</c:v>
                </c:pt>
                <c:pt idx="17">
                  <c:v>30.831230000000001</c:v>
                </c:pt>
                <c:pt idx="18">
                  <c:v>30.821453000000002</c:v>
                </c:pt>
                <c:pt idx="19">
                  <c:v>30.737347</c:v>
                </c:pt>
                <c:pt idx="20">
                  <c:v>30.70862</c:v>
                </c:pt>
                <c:pt idx="21">
                  <c:v>30.522217000000001</c:v>
                </c:pt>
                <c:pt idx="22">
                  <c:v>30.649723000000002</c:v>
                </c:pt>
                <c:pt idx="23">
                  <c:v>30.622237999999999</c:v>
                </c:pt>
                <c:pt idx="24">
                  <c:v>30.505690000000001</c:v>
                </c:pt>
                <c:pt idx="25">
                  <c:v>30.309989999999999</c:v>
                </c:pt>
                <c:pt idx="26">
                  <c:v>30.424123999999999</c:v>
                </c:pt>
                <c:pt idx="27">
                  <c:v>30.49089</c:v>
                </c:pt>
                <c:pt idx="28">
                  <c:v>30.600501999999999</c:v>
                </c:pt>
                <c:pt idx="29">
                  <c:v>30.633742999999999</c:v>
                </c:pt>
                <c:pt idx="30">
                  <c:v>30.672105999999999</c:v>
                </c:pt>
                <c:pt idx="31">
                  <c:v>30.841491999999999</c:v>
                </c:pt>
                <c:pt idx="32">
                  <c:v>30.815414000000001</c:v>
                </c:pt>
                <c:pt idx="33">
                  <c:v>30.742595999999999</c:v>
                </c:pt>
                <c:pt idx="34">
                  <c:v>30.789487999999999</c:v>
                </c:pt>
                <c:pt idx="35">
                  <c:v>30.819279999999999</c:v>
                </c:pt>
                <c:pt idx="36">
                  <c:v>30.534374</c:v>
                </c:pt>
                <c:pt idx="37">
                  <c:v>30.426833999999999</c:v>
                </c:pt>
                <c:pt idx="38">
                  <c:v>30.739277000000001</c:v>
                </c:pt>
                <c:pt idx="39">
                  <c:v>30.882887</c:v>
                </c:pt>
                <c:pt idx="40">
                  <c:v>30.946117000000001</c:v>
                </c:pt>
                <c:pt idx="41">
                  <c:v>30.748169000000001</c:v>
                </c:pt>
                <c:pt idx="42">
                  <c:v>30.273235</c:v>
                </c:pt>
                <c:pt idx="43">
                  <c:v>30.154312000000001</c:v>
                </c:pt>
                <c:pt idx="44">
                  <c:v>30.321444</c:v>
                </c:pt>
                <c:pt idx="45">
                  <c:v>30.494347000000001</c:v>
                </c:pt>
                <c:pt idx="46">
                  <c:v>30.683755999999999</c:v>
                </c:pt>
                <c:pt idx="47">
                  <c:v>30.803415000000001</c:v>
                </c:pt>
                <c:pt idx="48">
                  <c:v>30.856874000000001</c:v>
                </c:pt>
                <c:pt idx="49">
                  <c:v>30.933788</c:v>
                </c:pt>
                <c:pt idx="50">
                  <c:v>30.838018000000002</c:v>
                </c:pt>
                <c:pt idx="51">
                  <c:v>30.911284999999999</c:v>
                </c:pt>
                <c:pt idx="52">
                  <c:v>30.912827</c:v>
                </c:pt>
                <c:pt idx="53">
                  <c:v>30.994738000000002</c:v>
                </c:pt>
                <c:pt idx="54">
                  <c:v>30.822084</c:v>
                </c:pt>
                <c:pt idx="55">
                  <c:v>30.934359000000001</c:v>
                </c:pt>
                <c:pt idx="56">
                  <c:v>31.081593000000002</c:v>
                </c:pt>
                <c:pt idx="57">
                  <c:v>31.057009000000001</c:v>
                </c:pt>
                <c:pt idx="58">
                  <c:v>31.081928000000001</c:v>
                </c:pt>
                <c:pt idx="59">
                  <c:v>31.151657</c:v>
                </c:pt>
                <c:pt idx="60">
                  <c:v>31.211504000000001</c:v>
                </c:pt>
                <c:pt idx="61">
                  <c:v>31.255822999999999</c:v>
                </c:pt>
                <c:pt idx="62">
                  <c:v>31.228155000000001</c:v>
                </c:pt>
                <c:pt idx="63">
                  <c:v>31.245752</c:v>
                </c:pt>
                <c:pt idx="64">
                  <c:v>31.238164999999999</c:v>
                </c:pt>
                <c:pt idx="65">
                  <c:v>31.269110000000001</c:v>
                </c:pt>
                <c:pt idx="66">
                  <c:v>31.345832999999999</c:v>
                </c:pt>
                <c:pt idx="67">
                  <c:v>31.417159999999999</c:v>
                </c:pt>
                <c:pt idx="68">
                  <c:v>31.308627999999999</c:v>
                </c:pt>
                <c:pt idx="69">
                  <c:v>31.299309000000001</c:v>
                </c:pt>
                <c:pt idx="70">
                  <c:v>31.287030000000001</c:v>
                </c:pt>
                <c:pt idx="71">
                  <c:v>31.231736999999999</c:v>
                </c:pt>
                <c:pt idx="72">
                  <c:v>31.105936</c:v>
                </c:pt>
                <c:pt idx="73">
                  <c:v>30.960066000000001</c:v>
                </c:pt>
                <c:pt idx="74">
                  <c:v>30.684649</c:v>
                </c:pt>
                <c:pt idx="75">
                  <c:v>30.798552999999998</c:v>
                </c:pt>
                <c:pt idx="76">
                  <c:v>30.786020000000001</c:v>
                </c:pt>
                <c:pt idx="77">
                  <c:v>30.776104</c:v>
                </c:pt>
                <c:pt idx="78">
                  <c:v>30.949885999999999</c:v>
                </c:pt>
                <c:pt idx="79">
                  <c:v>31.010508000000002</c:v>
                </c:pt>
                <c:pt idx="80">
                  <c:v>31.109228000000002</c:v>
                </c:pt>
                <c:pt idx="81">
                  <c:v>30.998840000000001</c:v>
                </c:pt>
                <c:pt idx="82">
                  <c:v>31.021305000000002</c:v>
                </c:pt>
                <c:pt idx="83">
                  <c:v>30.950212000000001</c:v>
                </c:pt>
                <c:pt idx="84">
                  <c:v>30.977995</c:v>
                </c:pt>
                <c:pt idx="85">
                  <c:v>31.068729999999999</c:v>
                </c:pt>
                <c:pt idx="86">
                  <c:v>31.205061000000001</c:v>
                </c:pt>
                <c:pt idx="87">
                  <c:v>31.045973</c:v>
                </c:pt>
                <c:pt idx="88">
                  <c:v>30.646936</c:v>
                </c:pt>
                <c:pt idx="89">
                  <c:v>30.521908</c:v>
                </c:pt>
                <c:pt idx="90">
                  <c:v>30.564700999999999</c:v>
                </c:pt>
                <c:pt idx="91">
                  <c:v>30.717369999999999</c:v>
                </c:pt>
                <c:pt idx="92">
                  <c:v>30.805197</c:v>
                </c:pt>
                <c:pt idx="93">
                  <c:v>30.931626999999999</c:v>
                </c:pt>
                <c:pt idx="94">
                  <c:v>30.860092000000002</c:v>
                </c:pt>
                <c:pt idx="95">
                  <c:v>30.980018999999999</c:v>
                </c:pt>
                <c:pt idx="96">
                  <c:v>31.014991999999999</c:v>
                </c:pt>
                <c:pt idx="97">
                  <c:v>31.208359000000002</c:v>
                </c:pt>
                <c:pt idx="98">
                  <c:v>31.227938000000002</c:v>
                </c:pt>
                <c:pt idx="99">
                  <c:v>31.255517999999999</c:v>
                </c:pt>
                <c:pt idx="100">
                  <c:v>31.33606</c:v>
                </c:pt>
                <c:pt idx="101">
                  <c:v>31.35943</c:v>
                </c:pt>
                <c:pt idx="102">
                  <c:v>31.329739</c:v>
                </c:pt>
                <c:pt idx="103">
                  <c:v>31.390699999999999</c:v>
                </c:pt>
                <c:pt idx="104">
                  <c:v>31.419853</c:v>
                </c:pt>
                <c:pt idx="105">
                  <c:v>30.894278</c:v>
                </c:pt>
                <c:pt idx="106">
                  <c:v>30.940709999999999</c:v>
                </c:pt>
                <c:pt idx="107">
                  <c:v>31.250948000000001</c:v>
                </c:pt>
                <c:pt idx="108">
                  <c:v>31.367263999999999</c:v>
                </c:pt>
                <c:pt idx="109">
                  <c:v>31.473351999999998</c:v>
                </c:pt>
                <c:pt idx="110">
                  <c:v>31.529005000000002</c:v>
                </c:pt>
                <c:pt idx="111">
                  <c:v>31.514683000000002</c:v>
                </c:pt>
                <c:pt idx="112">
                  <c:v>31.550552</c:v>
                </c:pt>
                <c:pt idx="113">
                  <c:v>31.503834000000001</c:v>
                </c:pt>
                <c:pt idx="114">
                  <c:v>31.507133</c:v>
                </c:pt>
                <c:pt idx="115">
                  <c:v>31.503564999999998</c:v>
                </c:pt>
                <c:pt idx="116">
                  <c:v>31.430330000000001</c:v>
                </c:pt>
                <c:pt idx="117">
                  <c:v>31.480613999999999</c:v>
                </c:pt>
                <c:pt idx="118">
                  <c:v>31.210170000000002</c:v>
                </c:pt>
                <c:pt idx="119">
                  <c:v>31.392365000000002</c:v>
                </c:pt>
                <c:pt idx="120">
                  <c:v>31.535416000000001</c:v>
                </c:pt>
                <c:pt idx="121">
                  <c:v>31.558686999999999</c:v>
                </c:pt>
                <c:pt idx="122">
                  <c:v>31.584676999999999</c:v>
                </c:pt>
                <c:pt idx="123">
                  <c:v>31.594646000000001</c:v>
                </c:pt>
                <c:pt idx="124">
                  <c:v>31.481003000000001</c:v>
                </c:pt>
                <c:pt idx="125">
                  <c:v>31.435005</c:v>
                </c:pt>
                <c:pt idx="126">
                  <c:v>31.388663999999999</c:v>
                </c:pt>
                <c:pt idx="127">
                  <c:v>31.288900000000002</c:v>
                </c:pt>
                <c:pt idx="128">
                  <c:v>31.071394000000002</c:v>
                </c:pt>
                <c:pt idx="129">
                  <c:v>31.131449</c:v>
                </c:pt>
                <c:pt idx="130">
                  <c:v>31.24024</c:v>
                </c:pt>
                <c:pt idx="131">
                  <c:v>31.124711999999999</c:v>
                </c:pt>
                <c:pt idx="132">
                  <c:v>31.227497</c:v>
                </c:pt>
                <c:pt idx="133">
                  <c:v>31.286473999999998</c:v>
                </c:pt>
                <c:pt idx="134">
                  <c:v>31.254942</c:v>
                </c:pt>
                <c:pt idx="135">
                  <c:v>31.077147</c:v>
                </c:pt>
                <c:pt idx="136">
                  <c:v>30.931180000000001</c:v>
                </c:pt>
                <c:pt idx="137">
                  <c:v>30.987380000000002</c:v>
                </c:pt>
                <c:pt idx="138">
                  <c:v>31.010199</c:v>
                </c:pt>
                <c:pt idx="139">
                  <c:v>30.913585999999999</c:v>
                </c:pt>
                <c:pt idx="140">
                  <c:v>30.887794</c:v>
                </c:pt>
                <c:pt idx="141">
                  <c:v>31.002942999999998</c:v>
                </c:pt>
                <c:pt idx="142">
                  <c:v>31.076635</c:v>
                </c:pt>
                <c:pt idx="143">
                  <c:v>31.234722000000001</c:v>
                </c:pt>
                <c:pt idx="144">
                  <c:v>31.324627</c:v>
                </c:pt>
                <c:pt idx="145">
                  <c:v>31.373553999999999</c:v>
                </c:pt>
                <c:pt idx="146">
                  <c:v>31.384739</c:v>
                </c:pt>
                <c:pt idx="147">
                  <c:v>31.415717999999998</c:v>
                </c:pt>
                <c:pt idx="148">
                  <c:v>31.419172</c:v>
                </c:pt>
                <c:pt idx="149">
                  <c:v>31.44642</c:v>
                </c:pt>
                <c:pt idx="150">
                  <c:v>31.40063</c:v>
                </c:pt>
                <c:pt idx="151">
                  <c:v>31.442914999999999</c:v>
                </c:pt>
                <c:pt idx="152">
                  <c:v>31.076392999999999</c:v>
                </c:pt>
                <c:pt idx="153">
                  <c:v>31.084406000000001</c:v>
                </c:pt>
                <c:pt idx="154">
                  <c:v>31.210514</c:v>
                </c:pt>
                <c:pt idx="155">
                  <c:v>31.338512000000001</c:v>
                </c:pt>
                <c:pt idx="156">
                  <c:v>31.435144000000001</c:v>
                </c:pt>
                <c:pt idx="157">
                  <c:v>31.425975999999999</c:v>
                </c:pt>
                <c:pt idx="158">
                  <c:v>31.265675999999999</c:v>
                </c:pt>
                <c:pt idx="159">
                  <c:v>31.324660999999999</c:v>
                </c:pt>
                <c:pt idx="160">
                  <c:v>31.078163</c:v>
                </c:pt>
                <c:pt idx="161">
                  <c:v>31.138802999999999</c:v>
                </c:pt>
                <c:pt idx="162">
                  <c:v>31.171735999999999</c:v>
                </c:pt>
                <c:pt idx="163">
                  <c:v>31.141020000000001</c:v>
                </c:pt>
                <c:pt idx="164">
                  <c:v>30.986772999999999</c:v>
                </c:pt>
                <c:pt idx="165">
                  <c:v>30.937377999999999</c:v>
                </c:pt>
                <c:pt idx="166">
                  <c:v>31.056276</c:v>
                </c:pt>
                <c:pt idx="167">
                  <c:v>31.211409</c:v>
                </c:pt>
                <c:pt idx="168">
                  <c:v>31.314184000000001</c:v>
                </c:pt>
                <c:pt idx="169">
                  <c:v>31.163951999999998</c:v>
                </c:pt>
                <c:pt idx="170">
                  <c:v>31.221283</c:v>
                </c:pt>
                <c:pt idx="171">
                  <c:v>31.344574000000001</c:v>
                </c:pt>
                <c:pt idx="172">
                  <c:v>31.373127</c:v>
                </c:pt>
                <c:pt idx="173">
                  <c:v>31.511482000000001</c:v>
                </c:pt>
                <c:pt idx="174">
                  <c:v>31.538264999999999</c:v>
                </c:pt>
                <c:pt idx="175">
                  <c:v>31.612904</c:v>
                </c:pt>
                <c:pt idx="176">
                  <c:v>31.585135000000001</c:v>
                </c:pt>
                <c:pt idx="177">
                  <c:v>31.635840999999999</c:v>
                </c:pt>
                <c:pt idx="178">
                  <c:v>31.634177999999999</c:v>
                </c:pt>
                <c:pt idx="179">
                  <c:v>31.701923000000001</c:v>
                </c:pt>
                <c:pt idx="180">
                  <c:v>31.763287999999999</c:v>
                </c:pt>
                <c:pt idx="181">
                  <c:v>31.723579999999998</c:v>
                </c:pt>
                <c:pt idx="182">
                  <c:v>31.767099999999999</c:v>
                </c:pt>
                <c:pt idx="183">
                  <c:v>31.860849999999999</c:v>
                </c:pt>
                <c:pt idx="184">
                  <c:v>31.889368000000001</c:v>
                </c:pt>
                <c:pt idx="185">
                  <c:v>31.782017</c:v>
                </c:pt>
                <c:pt idx="186">
                  <c:v>31.664978000000001</c:v>
                </c:pt>
                <c:pt idx="187">
                  <c:v>31.771702000000001</c:v>
                </c:pt>
                <c:pt idx="188">
                  <c:v>31.887122999999999</c:v>
                </c:pt>
                <c:pt idx="189">
                  <c:v>31.909908000000001</c:v>
                </c:pt>
                <c:pt idx="190">
                  <c:v>31.938393000000001</c:v>
                </c:pt>
                <c:pt idx="191">
                  <c:v>31.989045999999998</c:v>
                </c:pt>
                <c:pt idx="192">
                  <c:v>32.01831</c:v>
                </c:pt>
                <c:pt idx="193">
                  <c:v>32.061774999999997</c:v>
                </c:pt>
                <c:pt idx="194">
                  <c:v>32.054496999999998</c:v>
                </c:pt>
                <c:pt idx="195">
                  <c:v>31.95598</c:v>
                </c:pt>
                <c:pt idx="196">
                  <c:v>31.700455000000002</c:v>
                </c:pt>
                <c:pt idx="197">
                  <c:v>31.565000000000001</c:v>
                </c:pt>
                <c:pt idx="198">
                  <c:v>31.749770000000002</c:v>
                </c:pt>
                <c:pt idx="199">
                  <c:v>31.876524</c:v>
                </c:pt>
                <c:pt idx="200">
                  <c:v>32.025382999999998</c:v>
                </c:pt>
                <c:pt idx="201">
                  <c:v>32.134740000000001</c:v>
                </c:pt>
                <c:pt idx="202">
                  <c:v>32.017119999999998</c:v>
                </c:pt>
                <c:pt idx="203">
                  <c:v>31.919615</c:v>
                </c:pt>
                <c:pt idx="204">
                  <c:v>31.944424000000001</c:v>
                </c:pt>
                <c:pt idx="205">
                  <c:v>31.838297000000001</c:v>
                </c:pt>
                <c:pt idx="206">
                  <c:v>31.939647999999998</c:v>
                </c:pt>
                <c:pt idx="207">
                  <c:v>32.025387000000002</c:v>
                </c:pt>
                <c:pt idx="208">
                  <c:v>31.973928000000001</c:v>
                </c:pt>
                <c:pt idx="209">
                  <c:v>31.900355999999999</c:v>
                </c:pt>
                <c:pt idx="210">
                  <c:v>31.751942</c:v>
                </c:pt>
                <c:pt idx="211">
                  <c:v>31.778343</c:v>
                </c:pt>
                <c:pt idx="212">
                  <c:v>31.830297000000002</c:v>
                </c:pt>
                <c:pt idx="213">
                  <c:v>31.766033</c:v>
                </c:pt>
                <c:pt idx="214">
                  <c:v>31.691117999999999</c:v>
                </c:pt>
                <c:pt idx="215">
                  <c:v>31.81917</c:v>
                </c:pt>
                <c:pt idx="216">
                  <c:v>31.799726</c:v>
                </c:pt>
                <c:pt idx="217">
                  <c:v>32.008395999999998</c:v>
                </c:pt>
                <c:pt idx="218">
                  <c:v>32.289499999999997</c:v>
                </c:pt>
                <c:pt idx="219">
                  <c:v>32.382399999999997</c:v>
                </c:pt>
                <c:pt idx="220">
                  <c:v>32.448740000000001</c:v>
                </c:pt>
                <c:pt idx="221">
                  <c:v>32.415042999999997</c:v>
                </c:pt>
                <c:pt idx="222">
                  <c:v>32.39284</c:v>
                </c:pt>
                <c:pt idx="223">
                  <c:v>32.324579999999997</c:v>
                </c:pt>
                <c:pt idx="224">
                  <c:v>32.347709999999999</c:v>
                </c:pt>
                <c:pt idx="225">
                  <c:v>32.348619999999997</c:v>
                </c:pt>
                <c:pt idx="226">
                  <c:v>32.315345999999998</c:v>
                </c:pt>
                <c:pt idx="227">
                  <c:v>32.243526000000003</c:v>
                </c:pt>
                <c:pt idx="228">
                  <c:v>32.229320000000001</c:v>
                </c:pt>
                <c:pt idx="229">
                  <c:v>32.259006999999997</c:v>
                </c:pt>
                <c:pt idx="230">
                  <c:v>32.190685000000002</c:v>
                </c:pt>
                <c:pt idx="231">
                  <c:v>32.246319999999997</c:v>
                </c:pt>
                <c:pt idx="232">
                  <c:v>32.297848000000002</c:v>
                </c:pt>
                <c:pt idx="233">
                  <c:v>32.346798</c:v>
                </c:pt>
                <c:pt idx="234">
                  <c:v>32.308514000000002</c:v>
                </c:pt>
                <c:pt idx="235">
                  <c:v>32.223117999999999</c:v>
                </c:pt>
                <c:pt idx="236">
                  <c:v>32.328902999999997</c:v>
                </c:pt>
                <c:pt idx="237">
                  <c:v>32.277500000000003</c:v>
                </c:pt>
                <c:pt idx="238">
                  <c:v>32.072769999999998</c:v>
                </c:pt>
                <c:pt idx="239">
                  <c:v>31.996528999999999</c:v>
                </c:pt>
                <c:pt idx="240">
                  <c:v>32.082343999999999</c:v>
                </c:pt>
                <c:pt idx="241">
                  <c:v>31.812653000000001</c:v>
                </c:pt>
                <c:pt idx="242">
                  <c:v>31.893166000000001</c:v>
                </c:pt>
                <c:pt idx="243">
                  <c:v>31.879826999999999</c:v>
                </c:pt>
                <c:pt idx="244">
                  <c:v>31.550812000000001</c:v>
                </c:pt>
                <c:pt idx="245">
                  <c:v>31.536380000000001</c:v>
                </c:pt>
                <c:pt idx="246">
                  <c:v>31.612490000000001</c:v>
                </c:pt>
                <c:pt idx="247">
                  <c:v>31.531587999999999</c:v>
                </c:pt>
                <c:pt idx="248">
                  <c:v>31.584978</c:v>
                </c:pt>
                <c:pt idx="249">
                  <c:v>31.632429999999999</c:v>
                </c:pt>
                <c:pt idx="250">
                  <c:v>31.835381999999999</c:v>
                </c:pt>
                <c:pt idx="251">
                  <c:v>32.041440000000001</c:v>
                </c:pt>
                <c:pt idx="252">
                  <c:v>32.183292000000002</c:v>
                </c:pt>
                <c:pt idx="253">
                  <c:v>32.1721</c:v>
                </c:pt>
                <c:pt idx="254">
                  <c:v>31.643370000000001</c:v>
                </c:pt>
                <c:pt idx="255">
                  <c:v>31.613792</c:v>
                </c:pt>
                <c:pt idx="256">
                  <c:v>31.844137</c:v>
                </c:pt>
                <c:pt idx="257">
                  <c:v>31.971062</c:v>
                </c:pt>
                <c:pt idx="258">
                  <c:v>32.008139999999997</c:v>
                </c:pt>
                <c:pt idx="259">
                  <c:v>32.038592999999999</c:v>
                </c:pt>
                <c:pt idx="260">
                  <c:v>32.151449999999997</c:v>
                </c:pt>
                <c:pt idx="261">
                  <c:v>32.256084000000001</c:v>
                </c:pt>
                <c:pt idx="262">
                  <c:v>32.361164000000002</c:v>
                </c:pt>
                <c:pt idx="263">
                  <c:v>32.374256000000003</c:v>
                </c:pt>
                <c:pt idx="264">
                  <c:v>32.41648</c:v>
                </c:pt>
                <c:pt idx="265">
                  <c:v>32.477814000000002</c:v>
                </c:pt>
                <c:pt idx="266">
                  <c:v>32.641390000000001</c:v>
                </c:pt>
                <c:pt idx="267">
                  <c:v>32.649419999999999</c:v>
                </c:pt>
                <c:pt idx="268">
                  <c:v>32.682228000000002</c:v>
                </c:pt>
                <c:pt idx="269">
                  <c:v>32.736702000000001</c:v>
                </c:pt>
                <c:pt idx="270">
                  <c:v>33.173969999999997</c:v>
                </c:pt>
                <c:pt idx="271">
                  <c:v>32.868046</c:v>
                </c:pt>
                <c:pt idx="272">
                  <c:v>33.131863000000003</c:v>
                </c:pt>
                <c:pt idx="273">
                  <c:v>33.373795000000001</c:v>
                </c:pt>
                <c:pt idx="274">
                  <c:v>33.331330000000001</c:v>
                </c:pt>
                <c:pt idx="275">
                  <c:v>33.409970000000001</c:v>
                </c:pt>
                <c:pt idx="276">
                  <c:v>33.939422999999998</c:v>
                </c:pt>
                <c:pt idx="277">
                  <c:v>33.767975</c:v>
                </c:pt>
                <c:pt idx="278">
                  <c:v>33.628044000000003</c:v>
                </c:pt>
                <c:pt idx="279">
                  <c:v>33.517400000000002</c:v>
                </c:pt>
                <c:pt idx="280">
                  <c:v>33.527115000000002</c:v>
                </c:pt>
                <c:pt idx="281">
                  <c:v>33.946350000000002</c:v>
                </c:pt>
                <c:pt idx="282">
                  <c:v>34.601936000000002</c:v>
                </c:pt>
                <c:pt idx="283">
                  <c:v>34.74033</c:v>
                </c:pt>
                <c:pt idx="284">
                  <c:v>34.532420000000002</c:v>
                </c:pt>
                <c:pt idx="285">
                  <c:v>34.509906999999998</c:v>
                </c:pt>
                <c:pt idx="286">
                  <c:v>34.447636000000003</c:v>
                </c:pt>
                <c:pt idx="287">
                  <c:v>34.422229999999999</c:v>
                </c:pt>
                <c:pt idx="288">
                  <c:v>34.137042999999998</c:v>
                </c:pt>
                <c:pt idx="289">
                  <c:v>33.958602999999997</c:v>
                </c:pt>
                <c:pt idx="290">
                  <c:v>34.057760000000002</c:v>
                </c:pt>
                <c:pt idx="291">
                  <c:v>33.762062</c:v>
                </c:pt>
                <c:pt idx="292">
                  <c:v>33.640152</c:v>
                </c:pt>
                <c:pt idx="293">
                  <c:v>33.549509999999998</c:v>
                </c:pt>
                <c:pt idx="294">
                  <c:v>32.947113000000002</c:v>
                </c:pt>
                <c:pt idx="295">
                  <c:v>33.17174</c:v>
                </c:pt>
                <c:pt idx="296">
                  <c:v>33.593299999999999</c:v>
                </c:pt>
                <c:pt idx="297">
                  <c:v>33.750725000000003</c:v>
                </c:pt>
                <c:pt idx="298">
                  <c:v>33.901245000000003</c:v>
                </c:pt>
                <c:pt idx="299">
                  <c:v>34.118274999999997</c:v>
                </c:pt>
                <c:pt idx="300">
                  <c:v>34.273685</c:v>
                </c:pt>
                <c:pt idx="301">
                  <c:v>34.105995</c:v>
                </c:pt>
                <c:pt idx="302">
                  <c:v>34.137210000000003</c:v>
                </c:pt>
                <c:pt idx="303">
                  <c:v>34.056618</c:v>
                </c:pt>
                <c:pt idx="304">
                  <c:v>34.202820000000003</c:v>
                </c:pt>
                <c:pt idx="305">
                  <c:v>34.059139999999999</c:v>
                </c:pt>
                <c:pt idx="306">
                  <c:v>34.214526999999997</c:v>
                </c:pt>
                <c:pt idx="307">
                  <c:v>34.163997999999999</c:v>
                </c:pt>
                <c:pt idx="308">
                  <c:v>34.178635</c:v>
                </c:pt>
                <c:pt idx="309">
                  <c:v>34.103065000000001</c:v>
                </c:pt>
                <c:pt idx="310">
                  <c:v>34.101902000000003</c:v>
                </c:pt>
                <c:pt idx="311">
                  <c:v>34.264187</c:v>
                </c:pt>
                <c:pt idx="312">
                  <c:v>34.599173999999998</c:v>
                </c:pt>
                <c:pt idx="313">
                  <c:v>34.277540000000002</c:v>
                </c:pt>
                <c:pt idx="314">
                  <c:v>34.022350000000003</c:v>
                </c:pt>
                <c:pt idx="315">
                  <c:v>33.866169999999997</c:v>
                </c:pt>
                <c:pt idx="316">
                  <c:v>33.646152000000001</c:v>
                </c:pt>
                <c:pt idx="317">
                  <c:v>33.744522000000003</c:v>
                </c:pt>
                <c:pt idx="318">
                  <c:v>33.678336999999999</c:v>
                </c:pt>
                <c:pt idx="319">
                  <c:v>33.767924999999998</c:v>
                </c:pt>
                <c:pt idx="320">
                  <c:v>34.089267999999997</c:v>
                </c:pt>
                <c:pt idx="321">
                  <c:v>33.968722999999997</c:v>
                </c:pt>
                <c:pt idx="322">
                  <c:v>33.881115000000001</c:v>
                </c:pt>
                <c:pt idx="323">
                  <c:v>33.806182999999997</c:v>
                </c:pt>
                <c:pt idx="324">
                  <c:v>33.716529999999999</c:v>
                </c:pt>
                <c:pt idx="325">
                  <c:v>33.525230000000001</c:v>
                </c:pt>
                <c:pt idx="326">
                  <c:v>33.472023</c:v>
                </c:pt>
                <c:pt idx="327">
                  <c:v>33.52863</c:v>
                </c:pt>
                <c:pt idx="328">
                  <c:v>33.472633000000002</c:v>
                </c:pt>
                <c:pt idx="329">
                  <c:v>33.596249999999998</c:v>
                </c:pt>
                <c:pt idx="330">
                  <c:v>33.832892999999999</c:v>
                </c:pt>
                <c:pt idx="331">
                  <c:v>33.890205000000002</c:v>
                </c:pt>
                <c:pt idx="332">
                  <c:v>33.739117</c:v>
                </c:pt>
                <c:pt idx="333">
                  <c:v>33.573405999999999</c:v>
                </c:pt>
                <c:pt idx="334">
                  <c:v>33.512070000000001</c:v>
                </c:pt>
                <c:pt idx="335">
                  <c:v>33.454872000000002</c:v>
                </c:pt>
                <c:pt idx="336">
                  <c:v>33.365504999999999</c:v>
                </c:pt>
                <c:pt idx="337">
                  <c:v>33.169243000000002</c:v>
                </c:pt>
                <c:pt idx="338">
                  <c:v>33.29439</c:v>
                </c:pt>
                <c:pt idx="339">
                  <c:v>33.505580000000002</c:v>
                </c:pt>
                <c:pt idx="340">
                  <c:v>33.607370000000003</c:v>
                </c:pt>
                <c:pt idx="341">
                  <c:v>33.869244000000002</c:v>
                </c:pt>
                <c:pt idx="342">
                  <c:v>34.105922999999997</c:v>
                </c:pt>
                <c:pt idx="343">
                  <c:v>34.161099999999998</c:v>
                </c:pt>
                <c:pt idx="344">
                  <c:v>34.337803000000001</c:v>
                </c:pt>
                <c:pt idx="345">
                  <c:v>34.438267000000003</c:v>
                </c:pt>
                <c:pt idx="346">
                  <c:v>34.469498000000002</c:v>
                </c:pt>
                <c:pt idx="347">
                  <c:v>34.859305999999997</c:v>
                </c:pt>
                <c:pt idx="348">
                  <c:v>35.145817000000001</c:v>
                </c:pt>
                <c:pt idx="349">
                  <c:v>35.396408000000001</c:v>
                </c:pt>
                <c:pt idx="350">
                  <c:v>35.493450000000003</c:v>
                </c:pt>
                <c:pt idx="351">
                  <c:v>35.610301999999997</c:v>
                </c:pt>
                <c:pt idx="352">
                  <c:v>35.597991999999998</c:v>
                </c:pt>
                <c:pt idx="353">
                  <c:v>35.621284000000003</c:v>
                </c:pt>
                <c:pt idx="354">
                  <c:v>35.658844000000002</c:v>
                </c:pt>
                <c:pt idx="355">
                  <c:v>35.676937000000002</c:v>
                </c:pt>
                <c:pt idx="356">
                  <c:v>35.738723999999998</c:v>
                </c:pt>
                <c:pt idx="357">
                  <c:v>35.781857000000002</c:v>
                </c:pt>
                <c:pt idx="358">
                  <c:v>35.755985000000003</c:v>
                </c:pt>
                <c:pt idx="359">
                  <c:v>35.582839999999997</c:v>
                </c:pt>
                <c:pt idx="360">
                  <c:v>35.499229999999997</c:v>
                </c:pt>
                <c:pt idx="361">
                  <c:v>35.463455000000003</c:v>
                </c:pt>
                <c:pt idx="362">
                  <c:v>35.606994999999998</c:v>
                </c:pt>
                <c:pt idx="363">
                  <c:v>35.867348</c:v>
                </c:pt>
                <c:pt idx="364">
                  <c:v>36.053448000000003</c:v>
                </c:pt>
                <c:pt idx="365">
                  <c:v>36.219616000000002</c:v>
                </c:pt>
                <c:pt idx="366">
                  <c:v>36.28398</c:v>
                </c:pt>
                <c:pt idx="367">
                  <c:v>36.006390000000003</c:v>
                </c:pt>
                <c:pt idx="368">
                  <c:v>35.804893</c:v>
                </c:pt>
                <c:pt idx="369">
                  <c:v>35.861587999999998</c:v>
                </c:pt>
                <c:pt idx="370">
                  <c:v>35.888477000000002</c:v>
                </c:pt>
                <c:pt idx="371">
                  <c:v>35.864280000000001</c:v>
                </c:pt>
                <c:pt idx="372">
                  <c:v>35.678665000000002</c:v>
                </c:pt>
                <c:pt idx="373">
                  <c:v>35.553759999999997</c:v>
                </c:pt>
                <c:pt idx="374">
                  <c:v>35.603920000000002</c:v>
                </c:pt>
                <c:pt idx="375">
                  <c:v>35.560917000000003</c:v>
                </c:pt>
                <c:pt idx="376">
                  <c:v>35.524169999999998</c:v>
                </c:pt>
                <c:pt idx="377">
                  <c:v>35.608690000000003</c:v>
                </c:pt>
                <c:pt idx="378">
                  <c:v>35.779186000000003</c:v>
                </c:pt>
                <c:pt idx="379">
                  <c:v>35.51876</c:v>
                </c:pt>
                <c:pt idx="380">
                  <c:v>35.550277999999999</c:v>
                </c:pt>
                <c:pt idx="381">
                  <c:v>35.832763999999997</c:v>
                </c:pt>
                <c:pt idx="382">
                  <c:v>36.050888</c:v>
                </c:pt>
                <c:pt idx="383">
                  <c:v>36.04269</c:v>
                </c:pt>
                <c:pt idx="384">
                  <c:v>36.036957000000001</c:v>
                </c:pt>
                <c:pt idx="385">
                  <c:v>36.114306999999997</c:v>
                </c:pt>
                <c:pt idx="386">
                  <c:v>36.235171999999999</c:v>
                </c:pt>
                <c:pt idx="387">
                  <c:v>36.354790000000001</c:v>
                </c:pt>
                <c:pt idx="388">
                  <c:v>36.413905999999997</c:v>
                </c:pt>
                <c:pt idx="389">
                  <c:v>36.405650000000001</c:v>
                </c:pt>
                <c:pt idx="390">
                  <c:v>36.351909999999997</c:v>
                </c:pt>
                <c:pt idx="391">
                  <c:v>36.231540000000003</c:v>
                </c:pt>
                <c:pt idx="392">
                  <c:v>35.968136000000001</c:v>
                </c:pt>
                <c:pt idx="393">
                  <c:v>35.930137999999999</c:v>
                </c:pt>
                <c:pt idx="394">
                  <c:v>36.085307999999998</c:v>
                </c:pt>
                <c:pt idx="395">
                  <c:v>36.045284000000002</c:v>
                </c:pt>
                <c:pt idx="396">
                  <c:v>35.929493000000001</c:v>
                </c:pt>
                <c:pt idx="397">
                  <c:v>35.758870000000002</c:v>
                </c:pt>
                <c:pt idx="398">
                  <c:v>35.839302000000004</c:v>
                </c:pt>
                <c:pt idx="399">
                  <c:v>35.957058000000004</c:v>
                </c:pt>
                <c:pt idx="400">
                  <c:v>36.015082999999997</c:v>
                </c:pt>
                <c:pt idx="401">
                  <c:v>36.038240000000002</c:v>
                </c:pt>
                <c:pt idx="402">
                  <c:v>36.16433</c:v>
                </c:pt>
                <c:pt idx="403">
                  <c:v>35.575220000000002</c:v>
                </c:pt>
                <c:pt idx="404">
                  <c:v>35.794403000000003</c:v>
                </c:pt>
                <c:pt idx="405">
                  <c:v>36.300460000000001</c:v>
                </c:pt>
                <c:pt idx="406">
                  <c:v>36.362361999999997</c:v>
                </c:pt>
                <c:pt idx="407">
                  <c:v>36.34601</c:v>
                </c:pt>
                <c:pt idx="408">
                  <c:v>36.508915000000002</c:v>
                </c:pt>
                <c:pt idx="409">
                  <c:v>36.404739999999997</c:v>
                </c:pt>
                <c:pt idx="410">
                  <c:v>36.084850000000003</c:v>
                </c:pt>
                <c:pt idx="411">
                  <c:v>35.651282999999999</c:v>
                </c:pt>
                <c:pt idx="412">
                  <c:v>35.798659999999998</c:v>
                </c:pt>
                <c:pt idx="413">
                  <c:v>36.114258</c:v>
                </c:pt>
                <c:pt idx="414">
                  <c:v>36.066338000000002</c:v>
                </c:pt>
                <c:pt idx="415">
                  <c:v>35.806950000000001</c:v>
                </c:pt>
                <c:pt idx="416">
                  <c:v>35.818800000000003</c:v>
                </c:pt>
                <c:pt idx="417">
                  <c:v>35.737200000000001</c:v>
                </c:pt>
                <c:pt idx="418">
                  <c:v>35.636012999999998</c:v>
                </c:pt>
                <c:pt idx="419">
                  <c:v>35.606850000000001</c:v>
                </c:pt>
                <c:pt idx="420">
                  <c:v>35.635559999999998</c:v>
                </c:pt>
                <c:pt idx="421">
                  <c:v>35.544018000000001</c:v>
                </c:pt>
                <c:pt idx="422">
                  <c:v>35.462474999999998</c:v>
                </c:pt>
                <c:pt idx="423">
                  <c:v>35.509712</c:v>
                </c:pt>
                <c:pt idx="424">
                  <c:v>35.719760000000001</c:v>
                </c:pt>
                <c:pt idx="425">
                  <c:v>35.375328000000003</c:v>
                </c:pt>
                <c:pt idx="426">
                  <c:v>35.334339999999997</c:v>
                </c:pt>
                <c:pt idx="427">
                  <c:v>35.831850000000003</c:v>
                </c:pt>
                <c:pt idx="428">
                  <c:v>36.217823000000003</c:v>
                </c:pt>
                <c:pt idx="429">
                  <c:v>36.400120000000001</c:v>
                </c:pt>
                <c:pt idx="430">
                  <c:v>36.455463000000002</c:v>
                </c:pt>
                <c:pt idx="431">
                  <c:v>36.337788000000003</c:v>
                </c:pt>
                <c:pt idx="432">
                  <c:v>36.441433000000004</c:v>
                </c:pt>
                <c:pt idx="433">
                  <c:v>36.642400000000002</c:v>
                </c:pt>
                <c:pt idx="434">
                  <c:v>36.804867000000002</c:v>
                </c:pt>
                <c:pt idx="435">
                  <c:v>36.980575999999999</c:v>
                </c:pt>
                <c:pt idx="436">
                  <c:v>36.882669999999997</c:v>
                </c:pt>
                <c:pt idx="437">
                  <c:v>36.976531999999999</c:v>
                </c:pt>
                <c:pt idx="438">
                  <c:v>37.172336999999999</c:v>
                </c:pt>
                <c:pt idx="439">
                  <c:v>37.328200000000002</c:v>
                </c:pt>
                <c:pt idx="440">
                  <c:v>37.392741999999998</c:v>
                </c:pt>
                <c:pt idx="441">
                  <c:v>37.251713000000002</c:v>
                </c:pt>
                <c:pt idx="442">
                  <c:v>37.21584</c:v>
                </c:pt>
                <c:pt idx="443">
                  <c:v>37.333317000000001</c:v>
                </c:pt>
                <c:pt idx="444">
                  <c:v>37.381737000000001</c:v>
                </c:pt>
                <c:pt idx="445">
                  <c:v>36.927002000000002</c:v>
                </c:pt>
                <c:pt idx="446">
                  <c:v>36.614100000000001</c:v>
                </c:pt>
                <c:pt idx="447">
                  <c:v>36.910201999999998</c:v>
                </c:pt>
                <c:pt idx="448">
                  <c:v>37.125824000000001</c:v>
                </c:pt>
                <c:pt idx="449">
                  <c:v>37.253117000000003</c:v>
                </c:pt>
                <c:pt idx="450">
                  <c:v>37.386794999999999</c:v>
                </c:pt>
                <c:pt idx="451">
                  <c:v>37.498089999999998</c:v>
                </c:pt>
                <c:pt idx="452">
                  <c:v>37.477460000000001</c:v>
                </c:pt>
                <c:pt idx="453">
                  <c:v>37.391910000000003</c:v>
                </c:pt>
                <c:pt idx="454">
                  <c:v>37.448</c:v>
                </c:pt>
                <c:pt idx="455">
                  <c:v>37.319580000000002</c:v>
                </c:pt>
                <c:pt idx="456">
                  <c:v>37.221905</c:v>
                </c:pt>
                <c:pt idx="457">
                  <c:v>37.264828000000001</c:v>
                </c:pt>
                <c:pt idx="458">
                  <c:v>37.255420000000001</c:v>
                </c:pt>
                <c:pt idx="459">
                  <c:v>36.811059999999998</c:v>
                </c:pt>
                <c:pt idx="460">
                  <c:v>36.645237000000002</c:v>
                </c:pt>
                <c:pt idx="461">
                  <c:v>36.774227000000003</c:v>
                </c:pt>
                <c:pt idx="462">
                  <c:v>36.622062999999997</c:v>
                </c:pt>
                <c:pt idx="463">
                  <c:v>36.347285999999997</c:v>
                </c:pt>
                <c:pt idx="464">
                  <c:v>36.162906999999997</c:v>
                </c:pt>
                <c:pt idx="465">
                  <c:v>36.361243999999999</c:v>
                </c:pt>
                <c:pt idx="466">
                  <c:v>36.697375999999998</c:v>
                </c:pt>
                <c:pt idx="467">
                  <c:v>36.775314000000002</c:v>
                </c:pt>
                <c:pt idx="468">
                  <c:v>37.104861999999997</c:v>
                </c:pt>
                <c:pt idx="469">
                  <c:v>37.366050000000001</c:v>
                </c:pt>
                <c:pt idx="470">
                  <c:v>37.588856</c:v>
                </c:pt>
                <c:pt idx="471">
                  <c:v>37.789444000000003</c:v>
                </c:pt>
                <c:pt idx="472">
                  <c:v>37.791362999999997</c:v>
                </c:pt>
                <c:pt idx="473">
                  <c:v>37.739474999999999</c:v>
                </c:pt>
                <c:pt idx="474">
                  <c:v>37.666176</c:v>
                </c:pt>
                <c:pt idx="475">
                  <c:v>37.559803000000002</c:v>
                </c:pt>
                <c:pt idx="476">
                  <c:v>36.803199999999997</c:v>
                </c:pt>
                <c:pt idx="477">
                  <c:v>36.602276000000003</c:v>
                </c:pt>
                <c:pt idx="478">
                  <c:v>36.844161999999997</c:v>
                </c:pt>
                <c:pt idx="479">
                  <c:v>36.766419999999997</c:v>
                </c:pt>
                <c:pt idx="480">
                  <c:v>36.884193000000003</c:v>
                </c:pt>
                <c:pt idx="481">
                  <c:v>37.040039999999998</c:v>
                </c:pt>
                <c:pt idx="482">
                  <c:v>37.006839999999997</c:v>
                </c:pt>
                <c:pt idx="483">
                  <c:v>36.915573000000002</c:v>
                </c:pt>
                <c:pt idx="484">
                  <c:v>36.886899999999997</c:v>
                </c:pt>
                <c:pt idx="485">
                  <c:v>36.83408</c:v>
                </c:pt>
                <c:pt idx="486">
                  <c:v>36.723509999999997</c:v>
                </c:pt>
                <c:pt idx="487">
                  <c:v>36.93486</c:v>
                </c:pt>
                <c:pt idx="488">
                  <c:v>37.111629999999998</c:v>
                </c:pt>
                <c:pt idx="489">
                  <c:v>37.096912000000003</c:v>
                </c:pt>
                <c:pt idx="490">
                  <c:v>37.214621999999999</c:v>
                </c:pt>
                <c:pt idx="491">
                  <c:v>37.056559999999998</c:v>
                </c:pt>
                <c:pt idx="492">
                  <c:v>36.879913000000002</c:v>
                </c:pt>
                <c:pt idx="493">
                  <c:v>36.880553999999997</c:v>
                </c:pt>
                <c:pt idx="494">
                  <c:v>36.590069999999997</c:v>
                </c:pt>
                <c:pt idx="495">
                  <c:v>36.625267000000001</c:v>
                </c:pt>
                <c:pt idx="496">
                  <c:v>36.8523</c:v>
                </c:pt>
                <c:pt idx="497">
                  <c:v>36.799939999999999</c:v>
                </c:pt>
                <c:pt idx="498">
                  <c:v>36.991016000000002</c:v>
                </c:pt>
                <c:pt idx="499">
                  <c:v>37.062176000000001</c:v>
                </c:pt>
                <c:pt idx="500">
                  <c:v>37.013877999999998</c:v>
                </c:pt>
                <c:pt idx="501">
                  <c:v>36.583644999999997</c:v>
                </c:pt>
                <c:pt idx="502">
                  <c:v>36.601900000000001</c:v>
                </c:pt>
                <c:pt idx="503">
                  <c:v>37.059756999999998</c:v>
                </c:pt>
                <c:pt idx="504">
                  <c:v>37.387104000000001</c:v>
                </c:pt>
                <c:pt idx="505">
                  <c:v>37.526352000000003</c:v>
                </c:pt>
                <c:pt idx="506">
                  <c:v>37.606537000000003</c:v>
                </c:pt>
                <c:pt idx="507">
                  <c:v>37.490966999999998</c:v>
                </c:pt>
                <c:pt idx="508">
                  <c:v>37.442459999999997</c:v>
                </c:pt>
                <c:pt idx="509">
                  <c:v>37.56118</c:v>
                </c:pt>
                <c:pt idx="510">
                  <c:v>37.645580000000002</c:v>
                </c:pt>
                <c:pt idx="511">
                  <c:v>37.731926000000001</c:v>
                </c:pt>
                <c:pt idx="512">
                  <c:v>37.668422999999997</c:v>
                </c:pt>
                <c:pt idx="513">
                  <c:v>37.143270000000001</c:v>
                </c:pt>
                <c:pt idx="514">
                  <c:v>37.3337</c:v>
                </c:pt>
                <c:pt idx="515">
                  <c:v>37.680458000000002</c:v>
                </c:pt>
                <c:pt idx="516">
                  <c:v>37.542698000000001</c:v>
                </c:pt>
                <c:pt idx="517">
                  <c:v>37.672913000000001</c:v>
                </c:pt>
                <c:pt idx="518">
                  <c:v>37.416989999999998</c:v>
                </c:pt>
                <c:pt idx="519">
                  <c:v>37.483289999999997</c:v>
                </c:pt>
                <c:pt idx="520">
                  <c:v>37.363354000000001</c:v>
                </c:pt>
                <c:pt idx="521">
                  <c:v>37.06073</c:v>
                </c:pt>
                <c:pt idx="522">
                  <c:v>37.042200000000001</c:v>
                </c:pt>
                <c:pt idx="523">
                  <c:v>37.026054000000002</c:v>
                </c:pt>
                <c:pt idx="524">
                  <c:v>37.169643000000001</c:v>
                </c:pt>
                <c:pt idx="525">
                  <c:v>37.034163999999997</c:v>
                </c:pt>
                <c:pt idx="526">
                  <c:v>36.896602999999999</c:v>
                </c:pt>
                <c:pt idx="527">
                  <c:v>37.104331999999999</c:v>
                </c:pt>
                <c:pt idx="528">
                  <c:v>36.983856000000003</c:v>
                </c:pt>
                <c:pt idx="529">
                  <c:v>37.158909999999999</c:v>
                </c:pt>
                <c:pt idx="530">
                  <c:v>37.507730000000002</c:v>
                </c:pt>
                <c:pt idx="531">
                  <c:v>37.244278000000001</c:v>
                </c:pt>
                <c:pt idx="532">
                  <c:v>37.171993000000001</c:v>
                </c:pt>
                <c:pt idx="533">
                  <c:v>37.332138</c:v>
                </c:pt>
                <c:pt idx="534">
                  <c:v>37.534680000000002</c:v>
                </c:pt>
                <c:pt idx="535">
                  <c:v>37.450726000000003</c:v>
                </c:pt>
                <c:pt idx="536">
                  <c:v>37.413753999999997</c:v>
                </c:pt>
                <c:pt idx="537">
                  <c:v>37.443812999999999</c:v>
                </c:pt>
                <c:pt idx="538">
                  <c:v>37.329017999999998</c:v>
                </c:pt>
                <c:pt idx="539">
                  <c:v>37.499003999999999</c:v>
                </c:pt>
                <c:pt idx="540">
                  <c:v>37.725250000000003</c:v>
                </c:pt>
                <c:pt idx="541">
                  <c:v>37.702033999999998</c:v>
                </c:pt>
                <c:pt idx="542">
                  <c:v>37.816276999999999</c:v>
                </c:pt>
                <c:pt idx="543">
                  <c:v>37.826583999999997</c:v>
                </c:pt>
                <c:pt idx="544">
                  <c:v>37.760337999999997</c:v>
                </c:pt>
                <c:pt idx="545">
                  <c:v>37.772877000000001</c:v>
                </c:pt>
                <c:pt idx="546">
                  <c:v>37.694206000000001</c:v>
                </c:pt>
                <c:pt idx="547">
                  <c:v>37.503345000000003</c:v>
                </c:pt>
                <c:pt idx="548">
                  <c:v>37.536816000000002</c:v>
                </c:pt>
                <c:pt idx="549">
                  <c:v>37.3581</c:v>
                </c:pt>
                <c:pt idx="550">
                  <c:v>37.007995999999999</c:v>
                </c:pt>
                <c:pt idx="551">
                  <c:v>37.178103999999998</c:v>
                </c:pt>
                <c:pt idx="552">
                  <c:v>37.578598</c:v>
                </c:pt>
                <c:pt idx="553">
                  <c:v>37.779808000000003</c:v>
                </c:pt>
                <c:pt idx="554">
                  <c:v>37.83455</c:v>
                </c:pt>
                <c:pt idx="555">
                  <c:v>37.815421999999998</c:v>
                </c:pt>
                <c:pt idx="556">
                  <c:v>37.683050000000001</c:v>
                </c:pt>
                <c:pt idx="557">
                  <c:v>37.772216999999998</c:v>
                </c:pt>
                <c:pt idx="558">
                  <c:v>37.839934999999997</c:v>
                </c:pt>
                <c:pt idx="559">
                  <c:v>37.733879999999999</c:v>
                </c:pt>
                <c:pt idx="560">
                  <c:v>37.650700000000001</c:v>
                </c:pt>
                <c:pt idx="561">
                  <c:v>37.541485000000002</c:v>
                </c:pt>
                <c:pt idx="562">
                  <c:v>37.668574999999997</c:v>
                </c:pt>
                <c:pt idx="563">
                  <c:v>37.764360000000003</c:v>
                </c:pt>
                <c:pt idx="564">
                  <c:v>37.699199999999998</c:v>
                </c:pt>
                <c:pt idx="565">
                  <c:v>37.603233000000003</c:v>
                </c:pt>
                <c:pt idx="566">
                  <c:v>37.771248</c:v>
                </c:pt>
                <c:pt idx="567">
                  <c:v>37.939776999999999</c:v>
                </c:pt>
                <c:pt idx="568">
                  <c:v>37.891154999999998</c:v>
                </c:pt>
                <c:pt idx="569">
                  <c:v>37.962609999999998</c:v>
                </c:pt>
                <c:pt idx="570">
                  <c:v>37.965504000000003</c:v>
                </c:pt>
                <c:pt idx="571">
                  <c:v>38.018929999999997</c:v>
                </c:pt>
                <c:pt idx="572">
                  <c:v>37.964565</c:v>
                </c:pt>
                <c:pt idx="573">
                  <c:v>37.702390000000001</c:v>
                </c:pt>
                <c:pt idx="574">
                  <c:v>37.876420000000003</c:v>
                </c:pt>
                <c:pt idx="575">
                  <c:v>38.034610000000001</c:v>
                </c:pt>
                <c:pt idx="576">
                  <c:v>37.571674000000002</c:v>
                </c:pt>
                <c:pt idx="577">
                  <c:v>37.605125000000001</c:v>
                </c:pt>
                <c:pt idx="578">
                  <c:v>37.767299999999999</c:v>
                </c:pt>
                <c:pt idx="579">
                  <c:v>37.946274000000003</c:v>
                </c:pt>
                <c:pt idx="580">
                  <c:v>37.888573000000001</c:v>
                </c:pt>
                <c:pt idx="581">
                  <c:v>37.546097000000003</c:v>
                </c:pt>
                <c:pt idx="582">
                  <c:v>37.390694000000003</c:v>
                </c:pt>
                <c:pt idx="583">
                  <c:v>37.517829999999996</c:v>
                </c:pt>
                <c:pt idx="584">
                  <c:v>37.594009999999997</c:v>
                </c:pt>
                <c:pt idx="585">
                  <c:v>37.615867999999999</c:v>
                </c:pt>
                <c:pt idx="586">
                  <c:v>37.432963999999998</c:v>
                </c:pt>
                <c:pt idx="587">
                  <c:v>37.468159999999997</c:v>
                </c:pt>
                <c:pt idx="588">
                  <c:v>37.528694000000002</c:v>
                </c:pt>
                <c:pt idx="589">
                  <c:v>37.474463999999998</c:v>
                </c:pt>
                <c:pt idx="590">
                  <c:v>37.428252999999998</c:v>
                </c:pt>
                <c:pt idx="591">
                  <c:v>37.076149999999998</c:v>
                </c:pt>
                <c:pt idx="592">
                  <c:v>37.496093999999999</c:v>
                </c:pt>
                <c:pt idx="593">
                  <c:v>37.765816000000001</c:v>
                </c:pt>
                <c:pt idx="594">
                  <c:v>37.757987999999997</c:v>
                </c:pt>
                <c:pt idx="595">
                  <c:v>37.763496000000004</c:v>
                </c:pt>
                <c:pt idx="596">
                  <c:v>37.544356999999998</c:v>
                </c:pt>
                <c:pt idx="597">
                  <c:v>37.28884</c:v>
                </c:pt>
                <c:pt idx="598">
                  <c:v>37.251289999999997</c:v>
                </c:pt>
                <c:pt idx="599">
                  <c:v>37.407322000000001</c:v>
                </c:pt>
                <c:pt idx="600">
                  <c:v>37.571452999999998</c:v>
                </c:pt>
                <c:pt idx="601">
                  <c:v>37.574516000000003</c:v>
                </c:pt>
                <c:pt idx="602">
                  <c:v>37.207650000000001</c:v>
                </c:pt>
                <c:pt idx="603">
                  <c:v>37.180157000000001</c:v>
                </c:pt>
                <c:pt idx="604">
                  <c:v>37.233220000000003</c:v>
                </c:pt>
                <c:pt idx="605">
                  <c:v>37.272379999999998</c:v>
                </c:pt>
                <c:pt idx="606">
                  <c:v>37.481907</c:v>
                </c:pt>
                <c:pt idx="607">
                  <c:v>37.291460000000001</c:v>
                </c:pt>
                <c:pt idx="608">
                  <c:v>37.410663999999997</c:v>
                </c:pt>
                <c:pt idx="609">
                  <c:v>37.693686999999997</c:v>
                </c:pt>
                <c:pt idx="610">
                  <c:v>37.826484999999998</c:v>
                </c:pt>
                <c:pt idx="611">
                  <c:v>37.884132000000001</c:v>
                </c:pt>
                <c:pt idx="612">
                  <c:v>37.745829999999998</c:v>
                </c:pt>
                <c:pt idx="613">
                  <c:v>37.586353000000003</c:v>
                </c:pt>
                <c:pt idx="614">
                  <c:v>37.557063999999997</c:v>
                </c:pt>
                <c:pt idx="615">
                  <c:v>37.595264</c:v>
                </c:pt>
                <c:pt idx="616">
                  <c:v>37.564765999999999</c:v>
                </c:pt>
                <c:pt idx="617">
                  <c:v>37.627724000000001</c:v>
                </c:pt>
                <c:pt idx="618">
                  <c:v>37.80621</c:v>
                </c:pt>
                <c:pt idx="619">
                  <c:v>37.882579999999997</c:v>
                </c:pt>
                <c:pt idx="620">
                  <c:v>37.620539999999998</c:v>
                </c:pt>
                <c:pt idx="621">
                  <c:v>37.438225000000003</c:v>
                </c:pt>
                <c:pt idx="622">
                  <c:v>37.283092000000003</c:v>
                </c:pt>
                <c:pt idx="623">
                  <c:v>37.285224999999997</c:v>
                </c:pt>
                <c:pt idx="624">
                  <c:v>37.426696999999997</c:v>
                </c:pt>
                <c:pt idx="625">
                  <c:v>37.510742</c:v>
                </c:pt>
                <c:pt idx="626">
                  <c:v>37.654007</c:v>
                </c:pt>
                <c:pt idx="627">
                  <c:v>37.591704999999997</c:v>
                </c:pt>
                <c:pt idx="628">
                  <c:v>37.60998</c:v>
                </c:pt>
                <c:pt idx="629">
                  <c:v>37.612293000000001</c:v>
                </c:pt>
                <c:pt idx="630">
                  <c:v>37.655025000000002</c:v>
                </c:pt>
                <c:pt idx="631">
                  <c:v>37.801909999999999</c:v>
                </c:pt>
                <c:pt idx="632">
                  <c:v>37.703612999999997</c:v>
                </c:pt>
                <c:pt idx="633">
                  <c:v>37.405192999999997</c:v>
                </c:pt>
                <c:pt idx="634">
                  <c:v>37.166096000000003</c:v>
                </c:pt>
                <c:pt idx="635">
                  <c:v>36.280518000000001</c:v>
                </c:pt>
                <c:pt idx="636">
                  <c:v>34.933163</c:v>
                </c:pt>
                <c:pt idx="637">
                  <c:v>34.73404</c:v>
                </c:pt>
                <c:pt idx="638">
                  <c:v>35.343170000000001</c:v>
                </c:pt>
                <c:pt idx="639">
                  <c:v>35.924895999999997</c:v>
                </c:pt>
                <c:pt idx="640">
                  <c:v>36.338943</c:v>
                </c:pt>
                <c:pt idx="641">
                  <c:v>36.545630000000003</c:v>
                </c:pt>
                <c:pt idx="642">
                  <c:v>36.150787000000001</c:v>
                </c:pt>
                <c:pt idx="643">
                  <c:v>36.242355000000003</c:v>
                </c:pt>
                <c:pt idx="644">
                  <c:v>36.418681999999997</c:v>
                </c:pt>
                <c:pt idx="645">
                  <c:v>36.289169999999999</c:v>
                </c:pt>
                <c:pt idx="646">
                  <c:v>36.388767000000001</c:v>
                </c:pt>
                <c:pt idx="647">
                  <c:v>36.368965000000003</c:v>
                </c:pt>
                <c:pt idx="648">
                  <c:v>36.383929999999999</c:v>
                </c:pt>
                <c:pt idx="649">
                  <c:v>36.488495</c:v>
                </c:pt>
                <c:pt idx="650">
                  <c:v>36.563746999999999</c:v>
                </c:pt>
                <c:pt idx="651">
                  <c:v>36.561703000000001</c:v>
                </c:pt>
                <c:pt idx="652">
                  <c:v>36.322051999999999</c:v>
                </c:pt>
                <c:pt idx="653">
                  <c:v>36.179755999999998</c:v>
                </c:pt>
                <c:pt idx="654">
                  <c:v>35.931220000000003</c:v>
                </c:pt>
                <c:pt idx="655">
                  <c:v>36.147329999999997</c:v>
                </c:pt>
                <c:pt idx="656">
                  <c:v>36.244900000000001</c:v>
                </c:pt>
                <c:pt idx="657">
                  <c:v>36.309562999999997</c:v>
                </c:pt>
                <c:pt idx="658">
                  <c:v>36.116318</c:v>
                </c:pt>
                <c:pt idx="659">
                  <c:v>35.846995999999997</c:v>
                </c:pt>
                <c:pt idx="660">
                  <c:v>35.654181999999999</c:v>
                </c:pt>
                <c:pt idx="661">
                  <c:v>35.763083999999999</c:v>
                </c:pt>
                <c:pt idx="662">
                  <c:v>35.857162000000002</c:v>
                </c:pt>
                <c:pt idx="663">
                  <c:v>35.850662</c:v>
                </c:pt>
                <c:pt idx="664">
                  <c:v>36.161186000000001</c:v>
                </c:pt>
                <c:pt idx="665">
                  <c:v>36.292774000000001</c:v>
                </c:pt>
                <c:pt idx="666">
                  <c:v>36.301389999999998</c:v>
                </c:pt>
                <c:pt idx="667">
                  <c:v>36.350403</c:v>
                </c:pt>
                <c:pt idx="668">
                  <c:v>36.46799</c:v>
                </c:pt>
                <c:pt idx="669">
                  <c:v>36.494660000000003</c:v>
                </c:pt>
                <c:pt idx="670">
                  <c:v>36.553092999999997</c:v>
                </c:pt>
                <c:pt idx="671">
                  <c:v>36.582180000000001</c:v>
                </c:pt>
                <c:pt idx="672">
                  <c:v>36.456380000000003</c:v>
                </c:pt>
                <c:pt idx="673">
                  <c:v>36.587986000000001</c:v>
                </c:pt>
                <c:pt idx="674">
                  <c:v>36.530250000000002</c:v>
                </c:pt>
                <c:pt idx="675">
                  <c:v>36.552700000000002</c:v>
                </c:pt>
                <c:pt idx="676">
                  <c:v>36.621291999999997</c:v>
                </c:pt>
                <c:pt idx="677">
                  <c:v>36.537163</c:v>
                </c:pt>
                <c:pt idx="678">
                  <c:v>36.285310000000003</c:v>
                </c:pt>
                <c:pt idx="679">
                  <c:v>36.553866999999997</c:v>
                </c:pt>
                <c:pt idx="680">
                  <c:v>37.00479</c:v>
                </c:pt>
                <c:pt idx="681">
                  <c:v>36.853293999999998</c:v>
                </c:pt>
                <c:pt idx="682">
                  <c:v>37.079802999999998</c:v>
                </c:pt>
                <c:pt idx="683">
                  <c:v>37.473441999999999</c:v>
                </c:pt>
                <c:pt idx="684">
                  <c:v>37.424263000000003</c:v>
                </c:pt>
                <c:pt idx="685">
                  <c:v>37.441943999999999</c:v>
                </c:pt>
                <c:pt idx="686">
                  <c:v>37.639954000000003</c:v>
                </c:pt>
                <c:pt idx="687">
                  <c:v>37.779513999999999</c:v>
                </c:pt>
                <c:pt idx="688">
                  <c:v>37.795999999999999</c:v>
                </c:pt>
                <c:pt idx="689">
                  <c:v>37.739130000000003</c:v>
                </c:pt>
                <c:pt idx="690">
                  <c:v>37.646279999999997</c:v>
                </c:pt>
                <c:pt idx="691">
                  <c:v>37.732596999999998</c:v>
                </c:pt>
                <c:pt idx="692">
                  <c:v>37.714694999999999</c:v>
                </c:pt>
                <c:pt idx="693">
                  <c:v>37.519558000000004</c:v>
                </c:pt>
                <c:pt idx="694">
                  <c:v>37.310402000000003</c:v>
                </c:pt>
                <c:pt idx="695">
                  <c:v>37.309325999999999</c:v>
                </c:pt>
                <c:pt idx="696">
                  <c:v>37.231395999999997</c:v>
                </c:pt>
                <c:pt idx="697">
                  <c:v>37.270344000000001</c:v>
                </c:pt>
                <c:pt idx="698">
                  <c:v>36.883299999999998</c:v>
                </c:pt>
                <c:pt idx="699">
                  <c:v>36.818863</c:v>
                </c:pt>
                <c:pt idx="700">
                  <c:v>37.115153999999997</c:v>
                </c:pt>
                <c:pt idx="701">
                  <c:v>37.208199999999998</c:v>
                </c:pt>
                <c:pt idx="702">
                  <c:v>37.400880000000001</c:v>
                </c:pt>
                <c:pt idx="703">
                  <c:v>37.700637999999998</c:v>
                </c:pt>
                <c:pt idx="704">
                  <c:v>37.457946999999997</c:v>
                </c:pt>
                <c:pt idx="705">
                  <c:v>37.539009999999998</c:v>
                </c:pt>
                <c:pt idx="706">
                  <c:v>37.542473000000001</c:v>
                </c:pt>
                <c:pt idx="707">
                  <c:v>37.300212999999999</c:v>
                </c:pt>
                <c:pt idx="708">
                  <c:v>37.237254999999998</c:v>
                </c:pt>
                <c:pt idx="709">
                  <c:v>37.318824999999997</c:v>
                </c:pt>
                <c:pt idx="710">
                  <c:v>37.408880000000003</c:v>
                </c:pt>
                <c:pt idx="711">
                  <c:v>37.260930000000002</c:v>
                </c:pt>
                <c:pt idx="712">
                  <c:v>37.108170000000001</c:v>
                </c:pt>
                <c:pt idx="713">
                  <c:v>36.843142999999998</c:v>
                </c:pt>
                <c:pt idx="714">
                  <c:v>36.640853999999997</c:v>
                </c:pt>
                <c:pt idx="715">
                  <c:v>36.676476000000001</c:v>
                </c:pt>
                <c:pt idx="716">
                  <c:v>36.722200000000001</c:v>
                </c:pt>
                <c:pt idx="717">
                  <c:v>36.823444000000002</c:v>
                </c:pt>
                <c:pt idx="718">
                  <c:v>36.547229999999999</c:v>
                </c:pt>
                <c:pt idx="719">
                  <c:v>36.78069</c:v>
                </c:pt>
                <c:pt idx="720">
                  <c:v>37.052660000000003</c:v>
                </c:pt>
                <c:pt idx="721">
                  <c:v>37.266562999999998</c:v>
                </c:pt>
                <c:pt idx="722">
                  <c:v>37.577109999999998</c:v>
                </c:pt>
                <c:pt idx="723">
                  <c:v>37.634740000000001</c:v>
                </c:pt>
                <c:pt idx="724">
                  <c:v>37.640779999999999</c:v>
                </c:pt>
                <c:pt idx="725">
                  <c:v>37.704216000000002</c:v>
                </c:pt>
                <c:pt idx="726">
                  <c:v>37.532257000000001</c:v>
                </c:pt>
                <c:pt idx="727">
                  <c:v>37.065243000000002</c:v>
                </c:pt>
                <c:pt idx="728">
                  <c:v>36.799633</c:v>
                </c:pt>
                <c:pt idx="729">
                  <c:v>36.575049999999997</c:v>
                </c:pt>
                <c:pt idx="730">
                  <c:v>36.140877000000003</c:v>
                </c:pt>
                <c:pt idx="731">
                  <c:v>36.023192999999999</c:v>
                </c:pt>
                <c:pt idx="732">
                  <c:v>35.977221999999998</c:v>
                </c:pt>
                <c:pt idx="733">
                  <c:v>35.782679999999999</c:v>
                </c:pt>
                <c:pt idx="734">
                  <c:v>35.619956999999999</c:v>
                </c:pt>
                <c:pt idx="735">
                  <c:v>35.744537000000001</c:v>
                </c:pt>
                <c:pt idx="736">
                  <c:v>35.483345</c:v>
                </c:pt>
                <c:pt idx="737">
                  <c:v>35.480499999999999</c:v>
                </c:pt>
                <c:pt idx="738">
                  <c:v>35.316395</c:v>
                </c:pt>
                <c:pt idx="739">
                  <c:v>35.337612</c:v>
                </c:pt>
                <c:pt idx="740">
                  <c:v>35.562064999999997</c:v>
                </c:pt>
                <c:pt idx="741">
                  <c:v>35.605150000000002</c:v>
                </c:pt>
                <c:pt idx="742">
                  <c:v>35.702274000000003</c:v>
                </c:pt>
                <c:pt idx="743">
                  <c:v>35.599060000000001</c:v>
                </c:pt>
                <c:pt idx="744">
                  <c:v>35.470432000000002</c:v>
                </c:pt>
                <c:pt idx="745">
                  <c:v>35.47587</c:v>
                </c:pt>
                <c:pt idx="746">
                  <c:v>35.47831</c:v>
                </c:pt>
                <c:pt idx="747">
                  <c:v>35.510005999999997</c:v>
                </c:pt>
                <c:pt idx="748">
                  <c:v>35.398910000000001</c:v>
                </c:pt>
                <c:pt idx="749">
                  <c:v>35.379013</c:v>
                </c:pt>
                <c:pt idx="750">
                  <c:v>35.149140000000003</c:v>
                </c:pt>
                <c:pt idx="751">
                  <c:v>34.878979999999999</c:v>
                </c:pt>
                <c:pt idx="752">
                  <c:v>34.672398000000001</c:v>
                </c:pt>
                <c:pt idx="753">
                  <c:v>34.662888000000002</c:v>
                </c:pt>
                <c:pt idx="754">
                  <c:v>34.605328</c:v>
                </c:pt>
                <c:pt idx="755">
                  <c:v>34.787585999999997</c:v>
                </c:pt>
                <c:pt idx="756">
                  <c:v>35.039990000000003</c:v>
                </c:pt>
                <c:pt idx="757">
                  <c:v>35.182575</c:v>
                </c:pt>
                <c:pt idx="758">
                  <c:v>35.19849</c:v>
                </c:pt>
                <c:pt idx="759">
                  <c:v>35.163780000000003</c:v>
                </c:pt>
                <c:pt idx="760">
                  <c:v>34.994472999999999</c:v>
                </c:pt>
                <c:pt idx="761">
                  <c:v>35.079884</c:v>
                </c:pt>
                <c:pt idx="762">
                  <c:v>35.252070000000003</c:v>
                </c:pt>
                <c:pt idx="763">
                  <c:v>35.19406</c:v>
                </c:pt>
                <c:pt idx="764">
                  <c:v>35.106903000000003</c:v>
                </c:pt>
                <c:pt idx="765">
                  <c:v>35.059722999999998</c:v>
                </c:pt>
                <c:pt idx="766">
                  <c:v>35.187206000000003</c:v>
                </c:pt>
                <c:pt idx="767">
                  <c:v>35.387120000000003</c:v>
                </c:pt>
                <c:pt idx="768">
                  <c:v>35.414031999999999</c:v>
                </c:pt>
                <c:pt idx="769">
                  <c:v>35.53707</c:v>
                </c:pt>
                <c:pt idx="770">
                  <c:v>35.662987000000001</c:v>
                </c:pt>
                <c:pt idx="771">
                  <c:v>35.660625000000003</c:v>
                </c:pt>
                <c:pt idx="772">
                  <c:v>35.700221999999997</c:v>
                </c:pt>
                <c:pt idx="773">
                  <c:v>35.632199999999997</c:v>
                </c:pt>
                <c:pt idx="774">
                  <c:v>35.907387</c:v>
                </c:pt>
                <c:pt idx="775">
                  <c:v>36.156700000000001</c:v>
                </c:pt>
                <c:pt idx="776">
                  <c:v>36.23509</c:v>
                </c:pt>
                <c:pt idx="777">
                  <c:v>36.404823</c:v>
                </c:pt>
                <c:pt idx="778">
                  <c:v>36.367412999999999</c:v>
                </c:pt>
                <c:pt idx="779">
                  <c:v>36.405723999999999</c:v>
                </c:pt>
                <c:pt idx="780">
                  <c:v>36.751133000000003</c:v>
                </c:pt>
                <c:pt idx="781">
                  <c:v>36.957424000000003</c:v>
                </c:pt>
                <c:pt idx="782">
                  <c:v>36.963363999999999</c:v>
                </c:pt>
                <c:pt idx="783">
                  <c:v>37.021163999999999</c:v>
                </c:pt>
                <c:pt idx="784">
                  <c:v>36.961883999999998</c:v>
                </c:pt>
                <c:pt idx="785">
                  <c:v>36.732894999999999</c:v>
                </c:pt>
                <c:pt idx="786">
                  <c:v>36.850856999999998</c:v>
                </c:pt>
                <c:pt idx="787">
                  <c:v>37.008082999999999</c:v>
                </c:pt>
                <c:pt idx="788">
                  <c:v>37.097569999999997</c:v>
                </c:pt>
                <c:pt idx="789">
                  <c:v>37.247352999999997</c:v>
                </c:pt>
                <c:pt idx="790">
                  <c:v>37.24315</c:v>
                </c:pt>
                <c:pt idx="791">
                  <c:v>37.357708000000002</c:v>
                </c:pt>
                <c:pt idx="792">
                  <c:v>37.337063000000001</c:v>
                </c:pt>
                <c:pt idx="793">
                  <c:v>37.263559999999998</c:v>
                </c:pt>
                <c:pt idx="794">
                  <c:v>37.162930000000003</c:v>
                </c:pt>
                <c:pt idx="795">
                  <c:v>37.216976000000003</c:v>
                </c:pt>
                <c:pt idx="796">
                  <c:v>37.252099999999999</c:v>
                </c:pt>
                <c:pt idx="797">
                  <c:v>37.262689999999999</c:v>
                </c:pt>
                <c:pt idx="798">
                  <c:v>37.260800000000003</c:v>
                </c:pt>
                <c:pt idx="799">
                  <c:v>37.376919999999998</c:v>
                </c:pt>
                <c:pt idx="800">
                  <c:v>37.415053999999998</c:v>
                </c:pt>
                <c:pt idx="801">
                  <c:v>36.553989999999999</c:v>
                </c:pt>
                <c:pt idx="802">
                  <c:v>36.144283000000001</c:v>
                </c:pt>
                <c:pt idx="803">
                  <c:v>36.496229999999997</c:v>
                </c:pt>
                <c:pt idx="804">
                  <c:v>37.110590000000002</c:v>
                </c:pt>
                <c:pt idx="805">
                  <c:v>37.416054000000003</c:v>
                </c:pt>
                <c:pt idx="806">
                  <c:v>37.565097999999999</c:v>
                </c:pt>
                <c:pt idx="807">
                  <c:v>37.619819999999997</c:v>
                </c:pt>
                <c:pt idx="808">
                  <c:v>37.550199999999997</c:v>
                </c:pt>
                <c:pt idx="809">
                  <c:v>37.530045000000001</c:v>
                </c:pt>
                <c:pt idx="810">
                  <c:v>37.529409999999999</c:v>
                </c:pt>
                <c:pt idx="811">
                  <c:v>37.529170000000001</c:v>
                </c:pt>
                <c:pt idx="812">
                  <c:v>37.551445000000001</c:v>
                </c:pt>
                <c:pt idx="813">
                  <c:v>37.591594999999998</c:v>
                </c:pt>
                <c:pt idx="814">
                  <c:v>37.624603</c:v>
                </c:pt>
                <c:pt idx="815">
                  <c:v>37.654290000000003</c:v>
                </c:pt>
                <c:pt idx="816">
                  <c:v>37.597320000000003</c:v>
                </c:pt>
                <c:pt idx="817">
                  <c:v>37.499250000000004</c:v>
                </c:pt>
                <c:pt idx="818">
                  <c:v>37.366779999999999</c:v>
                </c:pt>
                <c:pt idx="819">
                  <c:v>37.413980000000002</c:v>
                </c:pt>
                <c:pt idx="820">
                  <c:v>37.045020000000001</c:v>
                </c:pt>
                <c:pt idx="821">
                  <c:v>37.007930000000002</c:v>
                </c:pt>
                <c:pt idx="822">
                  <c:v>37.119183</c:v>
                </c:pt>
                <c:pt idx="823">
                  <c:v>37.078311999999997</c:v>
                </c:pt>
                <c:pt idx="824">
                  <c:v>36.996994000000001</c:v>
                </c:pt>
                <c:pt idx="825">
                  <c:v>37.106197000000002</c:v>
                </c:pt>
                <c:pt idx="826">
                  <c:v>37.336872</c:v>
                </c:pt>
                <c:pt idx="827">
                  <c:v>37.491199999999999</c:v>
                </c:pt>
                <c:pt idx="828">
                  <c:v>37.619101999999998</c:v>
                </c:pt>
                <c:pt idx="829">
                  <c:v>37.298073000000002</c:v>
                </c:pt>
                <c:pt idx="830">
                  <c:v>37.486454000000002</c:v>
                </c:pt>
                <c:pt idx="831">
                  <c:v>37.740639999999999</c:v>
                </c:pt>
                <c:pt idx="832">
                  <c:v>37.504486</c:v>
                </c:pt>
                <c:pt idx="833">
                  <c:v>37.493133999999998</c:v>
                </c:pt>
                <c:pt idx="834">
                  <c:v>37.616675999999998</c:v>
                </c:pt>
                <c:pt idx="835">
                  <c:v>37.742085000000003</c:v>
                </c:pt>
                <c:pt idx="836">
                  <c:v>37.817189999999997</c:v>
                </c:pt>
                <c:pt idx="837">
                  <c:v>37.617286999999997</c:v>
                </c:pt>
                <c:pt idx="838">
                  <c:v>37.513350000000003</c:v>
                </c:pt>
                <c:pt idx="839">
                  <c:v>37.446106</c:v>
                </c:pt>
                <c:pt idx="840">
                  <c:v>37.501133000000003</c:v>
                </c:pt>
                <c:pt idx="841">
                  <c:v>37.447024999999996</c:v>
                </c:pt>
                <c:pt idx="842">
                  <c:v>36.951970000000003</c:v>
                </c:pt>
                <c:pt idx="843">
                  <c:v>37.138460000000002</c:v>
                </c:pt>
                <c:pt idx="844">
                  <c:v>37.476654000000003</c:v>
                </c:pt>
                <c:pt idx="845">
                  <c:v>37.450122999999998</c:v>
                </c:pt>
                <c:pt idx="846">
                  <c:v>37.567239999999998</c:v>
                </c:pt>
                <c:pt idx="847">
                  <c:v>36.717457000000003</c:v>
                </c:pt>
                <c:pt idx="848">
                  <c:v>36.513590000000001</c:v>
                </c:pt>
                <c:pt idx="849">
                  <c:v>36.673780000000001</c:v>
                </c:pt>
                <c:pt idx="850">
                  <c:v>36.909058000000002</c:v>
                </c:pt>
                <c:pt idx="851">
                  <c:v>37.035870000000003</c:v>
                </c:pt>
                <c:pt idx="852">
                  <c:v>37.235176000000003</c:v>
                </c:pt>
                <c:pt idx="853">
                  <c:v>37.323405999999999</c:v>
                </c:pt>
                <c:pt idx="854">
                  <c:v>37.429935</c:v>
                </c:pt>
                <c:pt idx="855">
                  <c:v>37.537030000000001</c:v>
                </c:pt>
                <c:pt idx="856">
                  <c:v>37.666747999999998</c:v>
                </c:pt>
                <c:pt idx="857">
                  <c:v>37.760162000000001</c:v>
                </c:pt>
                <c:pt idx="858">
                  <c:v>37.936115000000001</c:v>
                </c:pt>
                <c:pt idx="859">
                  <c:v>38.069096000000002</c:v>
                </c:pt>
                <c:pt idx="860">
                  <c:v>38.226883000000001</c:v>
                </c:pt>
                <c:pt idx="861">
                  <c:v>38.208874000000002</c:v>
                </c:pt>
                <c:pt idx="862">
                  <c:v>38.302306999999999</c:v>
                </c:pt>
                <c:pt idx="863">
                  <c:v>38.410384999999998</c:v>
                </c:pt>
                <c:pt idx="864">
                  <c:v>38.468226999999999</c:v>
                </c:pt>
                <c:pt idx="865">
                  <c:v>38.528015000000003</c:v>
                </c:pt>
                <c:pt idx="866">
                  <c:v>38.604404000000002</c:v>
                </c:pt>
                <c:pt idx="867">
                  <c:v>38.619166999999997</c:v>
                </c:pt>
                <c:pt idx="868">
                  <c:v>38.338332999999999</c:v>
                </c:pt>
                <c:pt idx="869">
                  <c:v>37.042107000000001</c:v>
                </c:pt>
                <c:pt idx="870">
                  <c:v>37.547657000000001</c:v>
                </c:pt>
                <c:pt idx="871">
                  <c:v>37.895634000000001</c:v>
                </c:pt>
                <c:pt idx="872">
                  <c:v>38.006165000000003</c:v>
                </c:pt>
                <c:pt idx="873">
                  <c:v>38.098686000000001</c:v>
                </c:pt>
                <c:pt idx="874">
                  <c:v>38.174694000000002</c:v>
                </c:pt>
                <c:pt idx="875">
                  <c:v>38.268149999999999</c:v>
                </c:pt>
                <c:pt idx="876">
                  <c:v>38.429831999999998</c:v>
                </c:pt>
                <c:pt idx="877">
                  <c:v>38.569214000000002</c:v>
                </c:pt>
                <c:pt idx="878">
                  <c:v>38.741816999999998</c:v>
                </c:pt>
                <c:pt idx="879">
                  <c:v>38.773677999999997</c:v>
                </c:pt>
                <c:pt idx="880">
                  <c:v>38.693961999999999</c:v>
                </c:pt>
                <c:pt idx="881">
                  <c:v>38.666350000000001</c:v>
                </c:pt>
                <c:pt idx="882">
                  <c:v>38.737884999999999</c:v>
                </c:pt>
                <c:pt idx="883">
                  <c:v>38.788722999999997</c:v>
                </c:pt>
                <c:pt idx="884">
                  <c:v>38.775962999999997</c:v>
                </c:pt>
                <c:pt idx="885">
                  <c:v>38.900837000000003</c:v>
                </c:pt>
                <c:pt idx="886">
                  <c:v>38.990479999999998</c:v>
                </c:pt>
                <c:pt idx="887">
                  <c:v>39.080612000000002</c:v>
                </c:pt>
                <c:pt idx="888">
                  <c:v>39.195853999999997</c:v>
                </c:pt>
                <c:pt idx="889">
                  <c:v>39.083370000000002</c:v>
                </c:pt>
                <c:pt idx="890">
                  <c:v>39.119373000000003</c:v>
                </c:pt>
                <c:pt idx="891">
                  <c:v>39.065260000000002</c:v>
                </c:pt>
                <c:pt idx="892">
                  <c:v>39.176600000000001</c:v>
                </c:pt>
                <c:pt idx="893">
                  <c:v>39.25338</c:v>
                </c:pt>
                <c:pt idx="894">
                  <c:v>39.236465000000003</c:v>
                </c:pt>
                <c:pt idx="895">
                  <c:v>39.333492</c:v>
                </c:pt>
                <c:pt idx="896">
                  <c:v>39.379772000000003</c:v>
                </c:pt>
                <c:pt idx="897">
                  <c:v>39.408344</c:v>
                </c:pt>
                <c:pt idx="898">
                  <c:v>39.46472</c:v>
                </c:pt>
                <c:pt idx="899">
                  <c:v>39.490676999999998</c:v>
                </c:pt>
                <c:pt idx="900">
                  <c:v>38.505600000000001</c:v>
                </c:pt>
                <c:pt idx="901">
                  <c:v>38.457172</c:v>
                </c:pt>
                <c:pt idx="902">
                  <c:v>38.581085000000002</c:v>
                </c:pt>
                <c:pt idx="903">
                  <c:v>38.703957000000003</c:v>
                </c:pt>
                <c:pt idx="904">
                  <c:v>38.774814999999997</c:v>
                </c:pt>
                <c:pt idx="905">
                  <c:v>38.382919999999999</c:v>
                </c:pt>
                <c:pt idx="906">
                  <c:v>38.605980000000002</c:v>
                </c:pt>
                <c:pt idx="907">
                  <c:v>38.736469999999997</c:v>
                </c:pt>
                <c:pt idx="908">
                  <c:v>38.491641999999999</c:v>
                </c:pt>
                <c:pt idx="909">
                  <c:v>38.627136</c:v>
                </c:pt>
                <c:pt idx="910">
                  <c:v>38.738914000000001</c:v>
                </c:pt>
                <c:pt idx="911">
                  <c:v>38.381214</c:v>
                </c:pt>
                <c:pt idx="912">
                  <c:v>38.367455</c:v>
                </c:pt>
                <c:pt idx="913">
                  <c:v>38.260829999999999</c:v>
                </c:pt>
                <c:pt idx="914">
                  <c:v>38.225974999999998</c:v>
                </c:pt>
                <c:pt idx="915">
                  <c:v>38.217655000000001</c:v>
                </c:pt>
                <c:pt idx="916">
                  <c:v>38.306941999999999</c:v>
                </c:pt>
                <c:pt idx="917">
                  <c:v>38.230803999999999</c:v>
                </c:pt>
                <c:pt idx="918">
                  <c:v>38.378464000000001</c:v>
                </c:pt>
                <c:pt idx="919">
                  <c:v>38.497140000000002</c:v>
                </c:pt>
                <c:pt idx="920">
                  <c:v>38.589843999999999</c:v>
                </c:pt>
                <c:pt idx="921">
                  <c:v>38.653663999999999</c:v>
                </c:pt>
                <c:pt idx="922">
                  <c:v>38.436374999999998</c:v>
                </c:pt>
                <c:pt idx="923">
                  <c:v>38.329815000000004</c:v>
                </c:pt>
                <c:pt idx="924">
                  <c:v>37.992355000000003</c:v>
                </c:pt>
                <c:pt idx="925">
                  <c:v>38.166336000000001</c:v>
                </c:pt>
                <c:pt idx="926">
                  <c:v>38.261986</c:v>
                </c:pt>
                <c:pt idx="927">
                  <c:v>38.251019999999997</c:v>
                </c:pt>
                <c:pt idx="928">
                  <c:v>38.024140000000003</c:v>
                </c:pt>
                <c:pt idx="929">
                  <c:v>38.149085999999997</c:v>
                </c:pt>
                <c:pt idx="930">
                  <c:v>38.077835</c:v>
                </c:pt>
                <c:pt idx="931">
                  <c:v>38.038704000000003</c:v>
                </c:pt>
                <c:pt idx="932">
                  <c:v>37.884543999999998</c:v>
                </c:pt>
                <c:pt idx="933">
                  <c:v>37.745327000000003</c:v>
                </c:pt>
                <c:pt idx="934">
                  <c:v>37.777810000000002</c:v>
                </c:pt>
                <c:pt idx="935">
                  <c:v>37.816535999999999</c:v>
                </c:pt>
                <c:pt idx="936">
                  <c:v>37.838313999999997</c:v>
                </c:pt>
                <c:pt idx="937">
                  <c:v>37.848292999999998</c:v>
                </c:pt>
                <c:pt idx="938">
                  <c:v>37.810485999999997</c:v>
                </c:pt>
                <c:pt idx="939">
                  <c:v>37.79278</c:v>
                </c:pt>
                <c:pt idx="940">
                  <c:v>37.645556999999997</c:v>
                </c:pt>
                <c:pt idx="941">
                  <c:v>37.699539999999999</c:v>
                </c:pt>
                <c:pt idx="942">
                  <c:v>37.857334000000002</c:v>
                </c:pt>
                <c:pt idx="943">
                  <c:v>37.637169999999998</c:v>
                </c:pt>
                <c:pt idx="944">
                  <c:v>37.047690000000003</c:v>
                </c:pt>
                <c:pt idx="945">
                  <c:v>37.471035000000001</c:v>
                </c:pt>
                <c:pt idx="946">
                  <c:v>37.678592999999999</c:v>
                </c:pt>
                <c:pt idx="947">
                  <c:v>37.777434999999997</c:v>
                </c:pt>
                <c:pt idx="948">
                  <c:v>38.030113</c:v>
                </c:pt>
                <c:pt idx="949">
                  <c:v>38.209674999999997</c:v>
                </c:pt>
                <c:pt idx="950">
                  <c:v>38.140793000000002</c:v>
                </c:pt>
                <c:pt idx="951">
                  <c:v>38.278156000000003</c:v>
                </c:pt>
                <c:pt idx="952">
                  <c:v>38.40043</c:v>
                </c:pt>
                <c:pt idx="953">
                  <c:v>38.55941</c:v>
                </c:pt>
                <c:pt idx="954">
                  <c:v>38.771861999999999</c:v>
                </c:pt>
                <c:pt idx="955">
                  <c:v>38.398299999999999</c:v>
                </c:pt>
                <c:pt idx="956">
                  <c:v>38.434413999999997</c:v>
                </c:pt>
                <c:pt idx="957">
                  <c:v>38.149642999999998</c:v>
                </c:pt>
                <c:pt idx="958">
                  <c:v>37.909756000000002</c:v>
                </c:pt>
                <c:pt idx="959">
                  <c:v>38.253070000000001</c:v>
                </c:pt>
                <c:pt idx="960">
                  <c:v>38.320729999999998</c:v>
                </c:pt>
                <c:pt idx="961">
                  <c:v>38.470505000000003</c:v>
                </c:pt>
                <c:pt idx="962">
                  <c:v>38.625570000000003</c:v>
                </c:pt>
                <c:pt idx="963">
                  <c:v>38.686874000000003</c:v>
                </c:pt>
                <c:pt idx="964">
                  <c:v>38.199173000000002</c:v>
                </c:pt>
                <c:pt idx="965">
                  <c:v>38.248866999999997</c:v>
                </c:pt>
                <c:pt idx="966">
                  <c:v>38.445843000000004</c:v>
                </c:pt>
                <c:pt idx="967">
                  <c:v>38.434570000000001</c:v>
                </c:pt>
                <c:pt idx="968">
                  <c:v>38.633265999999999</c:v>
                </c:pt>
                <c:pt idx="969">
                  <c:v>38.554122999999997</c:v>
                </c:pt>
                <c:pt idx="970">
                  <c:v>38.855347000000002</c:v>
                </c:pt>
                <c:pt idx="971">
                  <c:v>39.098373000000002</c:v>
                </c:pt>
                <c:pt idx="972">
                  <c:v>39.152138000000001</c:v>
                </c:pt>
                <c:pt idx="973">
                  <c:v>39.124090000000002</c:v>
                </c:pt>
                <c:pt idx="974">
                  <c:v>39.333015000000003</c:v>
                </c:pt>
                <c:pt idx="975">
                  <c:v>39.518635000000003</c:v>
                </c:pt>
                <c:pt idx="976">
                  <c:v>39.468449999999997</c:v>
                </c:pt>
                <c:pt idx="977">
                  <c:v>39.591183000000001</c:v>
                </c:pt>
                <c:pt idx="978">
                  <c:v>39.470120000000001</c:v>
                </c:pt>
                <c:pt idx="979">
                  <c:v>39.280740000000002</c:v>
                </c:pt>
                <c:pt idx="980">
                  <c:v>39.525759999999998</c:v>
                </c:pt>
                <c:pt idx="981">
                  <c:v>39.775149999999996</c:v>
                </c:pt>
                <c:pt idx="982">
                  <c:v>39.872996999999998</c:v>
                </c:pt>
                <c:pt idx="983">
                  <c:v>39.656543999999997</c:v>
                </c:pt>
                <c:pt idx="984">
                  <c:v>39.196114000000001</c:v>
                </c:pt>
                <c:pt idx="985">
                  <c:v>39.636609999999997</c:v>
                </c:pt>
                <c:pt idx="986">
                  <c:v>39.881186999999997</c:v>
                </c:pt>
                <c:pt idx="987">
                  <c:v>40.096829999999997</c:v>
                </c:pt>
                <c:pt idx="988">
                  <c:v>40.028399999999998</c:v>
                </c:pt>
                <c:pt idx="989">
                  <c:v>39.999003999999999</c:v>
                </c:pt>
                <c:pt idx="990">
                  <c:v>40.042400000000001</c:v>
                </c:pt>
                <c:pt idx="991">
                  <c:v>39.749859999999998</c:v>
                </c:pt>
                <c:pt idx="992">
                  <c:v>39.741013000000002</c:v>
                </c:pt>
                <c:pt idx="993">
                  <c:v>39.435000000000002</c:v>
                </c:pt>
                <c:pt idx="994">
                  <c:v>39.703014000000003</c:v>
                </c:pt>
                <c:pt idx="995">
                  <c:v>40.063892000000003</c:v>
                </c:pt>
                <c:pt idx="996">
                  <c:v>40.051049999999996</c:v>
                </c:pt>
                <c:pt idx="997">
                  <c:v>40.084248000000002</c:v>
                </c:pt>
                <c:pt idx="998">
                  <c:v>40.06212</c:v>
                </c:pt>
                <c:pt idx="999">
                  <c:v>40.206752999999999</c:v>
                </c:pt>
                <c:pt idx="1000">
                  <c:v>40.314906999999998</c:v>
                </c:pt>
                <c:pt idx="1001">
                  <c:v>40.28857</c:v>
                </c:pt>
                <c:pt idx="1002">
                  <c:v>40.010596999999997</c:v>
                </c:pt>
                <c:pt idx="1003">
                  <c:v>40.040219999999998</c:v>
                </c:pt>
                <c:pt idx="1004">
                  <c:v>39.970913000000003</c:v>
                </c:pt>
                <c:pt idx="1005">
                  <c:v>39.125799999999998</c:v>
                </c:pt>
                <c:pt idx="1006">
                  <c:v>38.519710000000003</c:v>
                </c:pt>
                <c:pt idx="1007">
                  <c:v>38.531115999999997</c:v>
                </c:pt>
                <c:pt idx="1008">
                  <c:v>38.143999999999998</c:v>
                </c:pt>
                <c:pt idx="1009">
                  <c:v>38.188589999999998</c:v>
                </c:pt>
                <c:pt idx="1010">
                  <c:v>38.505592</c:v>
                </c:pt>
                <c:pt idx="1011">
                  <c:v>38.957175999999997</c:v>
                </c:pt>
                <c:pt idx="1012">
                  <c:v>39.213734000000002</c:v>
                </c:pt>
                <c:pt idx="1013">
                  <c:v>39.466099999999997</c:v>
                </c:pt>
                <c:pt idx="1014">
                  <c:v>39.608578000000001</c:v>
                </c:pt>
                <c:pt idx="1015">
                  <c:v>39.636493999999999</c:v>
                </c:pt>
                <c:pt idx="1016">
                  <c:v>39.709854</c:v>
                </c:pt>
                <c:pt idx="1017">
                  <c:v>39.609180000000002</c:v>
                </c:pt>
                <c:pt idx="1018">
                  <c:v>39.678539999999998</c:v>
                </c:pt>
                <c:pt idx="1019">
                  <c:v>39.666213999999997</c:v>
                </c:pt>
                <c:pt idx="1020">
                  <c:v>39.783085</c:v>
                </c:pt>
                <c:pt idx="1021">
                  <c:v>39.694096000000002</c:v>
                </c:pt>
                <c:pt idx="1022">
                  <c:v>39.759166999999998</c:v>
                </c:pt>
                <c:pt idx="1023">
                  <c:v>39.736865999999999</c:v>
                </c:pt>
                <c:pt idx="1024">
                  <c:v>39.678879999999999</c:v>
                </c:pt>
                <c:pt idx="1025">
                  <c:v>39.625244000000002</c:v>
                </c:pt>
                <c:pt idx="1026">
                  <c:v>39.735244999999999</c:v>
                </c:pt>
                <c:pt idx="1027">
                  <c:v>39.937736999999998</c:v>
                </c:pt>
                <c:pt idx="1028">
                  <c:v>39.548760000000001</c:v>
                </c:pt>
                <c:pt idx="1029">
                  <c:v>39.500813000000001</c:v>
                </c:pt>
                <c:pt idx="1030">
                  <c:v>38.769905000000001</c:v>
                </c:pt>
                <c:pt idx="1031">
                  <c:v>39.169593999999996</c:v>
                </c:pt>
                <c:pt idx="1032">
                  <c:v>39.402889999999999</c:v>
                </c:pt>
                <c:pt idx="1033">
                  <c:v>39.528149999999997</c:v>
                </c:pt>
                <c:pt idx="1034">
                  <c:v>39.724967999999997</c:v>
                </c:pt>
                <c:pt idx="1035">
                  <c:v>39.628909999999998</c:v>
                </c:pt>
                <c:pt idx="1036">
                  <c:v>39.590972999999998</c:v>
                </c:pt>
                <c:pt idx="1037">
                  <c:v>39.613570000000003</c:v>
                </c:pt>
                <c:pt idx="1038">
                  <c:v>39.770569999999999</c:v>
                </c:pt>
                <c:pt idx="1039">
                  <c:v>39.863059999999997</c:v>
                </c:pt>
                <c:pt idx="1040">
                  <c:v>39.883003000000002</c:v>
                </c:pt>
                <c:pt idx="1041">
                  <c:v>39.929412999999997</c:v>
                </c:pt>
                <c:pt idx="1042">
                  <c:v>40.005249999999997</c:v>
                </c:pt>
                <c:pt idx="1043">
                  <c:v>40.056060000000002</c:v>
                </c:pt>
                <c:pt idx="1044">
                  <c:v>39.917859999999997</c:v>
                </c:pt>
                <c:pt idx="1045">
                  <c:v>39.987484000000002</c:v>
                </c:pt>
                <c:pt idx="1046">
                  <c:v>40.166846999999997</c:v>
                </c:pt>
                <c:pt idx="1047">
                  <c:v>40.315815000000001</c:v>
                </c:pt>
                <c:pt idx="1048">
                  <c:v>40.173533999999997</c:v>
                </c:pt>
                <c:pt idx="1049">
                  <c:v>40.258560000000003</c:v>
                </c:pt>
                <c:pt idx="1050">
                  <c:v>40.310496999999998</c:v>
                </c:pt>
                <c:pt idx="1051">
                  <c:v>40.257762999999997</c:v>
                </c:pt>
                <c:pt idx="1052">
                  <c:v>40.119743</c:v>
                </c:pt>
                <c:pt idx="1053">
                  <c:v>40.313175000000001</c:v>
                </c:pt>
                <c:pt idx="1054">
                  <c:v>40.263730000000002</c:v>
                </c:pt>
                <c:pt idx="1055">
                  <c:v>40.164380000000001</c:v>
                </c:pt>
                <c:pt idx="1056">
                  <c:v>39.984780000000001</c:v>
                </c:pt>
                <c:pt idx="1057">
                  <c:v>40.003647000000001</c:v>
                </c:pt>
                <c:pt idx="1058">
                  <c:v>40.421165000000002</c:v>
                </c:pt>
                <c:pt idx="1059">
                  <c:v>40.518740000000001</c:v>
                </c:pt>
                <c:pt idx="1060">
                  <c:v>40.612520000000004</c:v>
                </c:pt>
                <c:pt idx="1061">
                  <c:v>40.583064999999998</c:v>
                </c:pt>
                <c:pt idx="1062">
                  <c:v>40.781483000000001</c:v>
                </c:pt>
                <c:pt idx="1063">
                  <c:v>40.830734</c:v>
                </c:pt>
                <c:pt idx="1064">
                  <c:v>40.985683000000002</c:v>
                </c:pt>
                <c:pt idx="1065">
                  <c:v>40.808211999999997</c:v>
                </c:pt>
                <c:pt idx="1066">
                  <c:v>40.974753999999997</c:v>
                </c:pt>
                <c:pt idx="1067">
                  <c:v>41.292319999999997</c:v>
                </c:pt>
                <c:pt idx="1068">
                  <c:v>41.404926000000003</c:v>
                </c:pt>
                <c:pt idx="1069">
                  <c:v>41.532060000000001</c:v>
                </c:pt>
                <c:pt idx="1070">
                  <c:v>41.600872000000003</c:v>
                </c:pt>
                <c:pt idx="1071">
                  <c:v>41.567790000000002</c:v>
                </c:pt>
                <c:pt idx="1072">
                  <c:v>41.255156999999997</c:v>
                </c:pt>
                <c:pt idx="1073">
                  <c:v>41.136040000000001</c:v>
                </c:pt>
                <c:pt idx="1074">
                  <c:v>41.352454999999999</c:v>
                </c:pt>
                <c:pt idx="1075">
                  <c:v>41.393676999999997</c:v>
                </c:pt>
                <c:pt idx="1076">
                  <c:v>41.423920000000003</c:v>
                </c:pt>
                <c:pt idx="1077">
                  <c:v>41.357939999999999</c:v>
                </c:pt>
                <c:pt idx="1078">
                  <c:v>41.164116</c:v>
                </c:pt>
                <c:pt idx="1079">
                  <c:v>41.254309999999997</c:v>
                </c:pt>
                <c:pt idx="1080">
                  <c:v>41.202311999999999</c:v>
                </c:pt>
                <c:pt idx="1081">
                  <c:v>41.054679999999998</c:v>
                </c:pt>
                <c:pt idx="1082">
                  <c:v>41.219925000000003</c:v>
                </c:pt>
                <c:pt idx="1083">
                  <c:v>41.269084999999997</c:v>
                </c:pt>
                <c:pt idx="1084">
                  <c:v>41.298054</c:v>
                </c:pt>
                <c:pt idx="1085">
                  <c:v>41.400185</c:v>
                </c:pt>
                <c:pt idx="1086">
                  <c:v>41.418694000000002</c:v>
                </c:pt>
                <c:pt idx="1087">
                  <c:v>41.378129999999999</c:v>
                </c:pt>
                <c:pt idx="1088">
                  <c:v>41.515940000000001</c:v>
                </c:pt>
                <c:pt idx="1089">
                  <c:v>41.471885999999998</c:v>
                </c:pt>
                <c:pt idx="1090">
                  <c:v>41.590663999999997</c:v>
                </c:pt>
                <c:pt idx="1091">
                  <c:v>41.612575999999997</c:v>
                </c:pt>
                <c:pt idx="1092">
                  <c:v>41.687449999999998</c:v>
                </c:pt>
                <c:pt idx="1093">
                  <c:v>40.743369999999999</c:v>
                </c:pt>
                <c:pt idx="1094">
                  <c:v>41.277709999999999</c:v>
                </c:pt>
                <c:pt idx="1095">
                  <c:v>41.425370000000001</c:v>
                </c:pt>
                <c:pt idx="1096">
                  <c:v>41.532215000000001</c:v>
                </c:pt>
                <c:pt idx="1097">
                  <c:v>41.812064999999997</c:v>
                </c:pt>
                <c:pt idx="1098">
                  <c:v>41.739989999999999</c:v>
                </c:pt>
                <c:pt idx="1099">
                  <c:v>41.748154</c:v>
                </c:pt>
                <c:pt idx="1100">
                  <c:v>41.489615999999998</c:v>
                </c:pt>
                <c:pt idx="1101">
                  <c:v>41.472515000000001</c:v>
                </c:pt>
                <c:pt idx="1102">
                  <c:v>41.549022999999998</c:v>
                </c:pt>
                <c:pt idx="1103">
                  <c:v>41.597009999999997</c:v>
                </c:pt>
                <c:pt idx="1104">
                  <c:v>41.782684000000003</c:v>
                </c:pt>
                <c:pt idx="1105">
                  <c:v>41.930332</c:v>
                </c:pt>
                <c:pt idx="1106">
                  <c:v>41.585921999999997</c:v>
                </c:pt>
                <c:pt idx="1107">
                  <c:v>41.651702999999998</c:v>
                </c:pt>
                <c:pt idx="1108">
                  <c:v>41.884270000000001</c:v>
                </c:pt>
                <c:pt idx="1109">
                  <c:v>41.860660000000003</c:v>
                </c:pt>
                <c:pt idx="1110">
                  <c:v>42.108063000000001</c:v>
                </c:pt>
                <c:pt idx="1111">
                  <c:v>42.421596999999998</c:v>
                </c:pt>
                <c:pt idx="1112">
                  <c:v>42.468456000000003</c:v>
                </c:pt>
                <c:pt idx="1113">
                  <c:v>42.571060000000003</c:v>
                </c:pt>
                <c:pt idx="1114">
                  <c:v>42.557834999999997</c:v>
                </c:pt>
                <c:pt idx="1115">
                  <c:v>42.662864999999996</c:v>
                </c:pt>
                <c:pt idx="1116">
                  <c:v>42.808529999999998</c:v>
                </c:pt>
                <c:pt idx="1117">
                  <c:v>42.862118000000002</c:v>
                </c:pt>
                <c:pt idx="1118">
                  <c:v>42.819144999999999</c:v>
                </c:pt>
                <c:pt idx="1119">
                  <c:v>42.565150000000003</c:v>
                </c:pt>
                <c:pt idx="1120">
                  <c:v>42.421326000000001</c:v>
                </c:pt>
                <c:pt idx="1121">
                  <c:v>42.289276000000001</c:v>
                </c:pt>
                <c:pt idx="1122">
                  <c:v>42.277157000000003</c:v>
                </c:pt>
                <c:pt idx="1123">
                  <c:v>42.484360000000002</c:v>
                </c:pt>
                <c:pt idx="1124">
                  <c:v>42.553573999999998</c:v>
                </c:pt>
                <c:pt idx="1125">
                  <c:v>42.777332000000001</c:v>
                </c:pt>
                <c:pt idx="1126">
                  <c:v>42.554699999999997</c:v>
                </c:pt>
                <c:pt idx="1127">
                  <c:v>42.662308000000003</c:v>
                </c:pt>
                <c:pt idx="1128">
                  <c:v>42.970469999999999</c:v>
                </c:pt>
                <c:pt idx="1129">
                  <c:v>43.035026999999999</c:v>
                </c:pt>
                <c:pt idx="1130">
                  <c:v>42.912227999999999</c:v>
                </c:pt>
                <c:pt idx="1131">
                  <c:v>42.789454999999997</c:v>
                </c:pt>
                <c:pt idx="1132">
                  <c:v>42.778694000000002</c:v>
                </c:pt>
                <c:pt idx="1133">
                  <c:v>42.793550000000003</c:v>
                </c:pt>
                <c:pt idx="1134">
                  <c:v>42.631839999999997</c:v>
                </c:pt>
                <c:pt idx="1135">
                  <c:v>42.583565</c:v>
                </c:pt>
                <c:pt idx="1136">
                  <c:v>42.629219999999997</c:v>
                </c:pt>
                <c:pt idx="1137">
                  <c:v>42.454880000000003</c:v>
                </c:pt>
                <c:pt idx="1138">
                  <c:v>42.472329999999999</c:v>
                </c:pt>
                <c:pt idx="1139">
                  <c:v>42.515009999999997</c:v>
                </c:pt>
                <c:pt idx="1140">
                  <c:v>42.718870000000003</c:v>
                </c:pt>
                <c:pt idx="1141">
                  <c:v>42.745617000000003</c:v>
                </c:pt>
                <c:pt idx="1142">
                  <c:v>42.700405000000003</c:v>
                </c:pt>
                <c:pt idx="1143">
                  <c:v>42.710514000000003</c:v>
                </c:pt>
                <c:pt idx="1144">
                  <c:v>42.780838000000003</c:v>
                </c:pt>
                <c:pt idx="1145">
                  <c:v>42.807960000000001</c:v>
                </c:pt>
                <c:pt idx="1146">
                  <c:v>42.387560000000001</c:v>
                </c:pt>
                <c:pt idx="1147">
                  <c:v>42.524493999999997</c:v>
                </c:pt>
                <c:pt idx="1148">
                  <c:v>42.419199999999996</c:v>
                </c:pt>
                <c:pt idx="1149">
                  <c:v>42.467632000000002</c:v>
                </c:pt>
                <c:pt idx="1150">
                  <c:v>42.550552000000003</c:v>
                </c:pt>
                <c:pt idx="1151">
                  <c:v>42.597160000000002</c:v>
                </c:pt>
                <c:pt idx="1152">
                  <c:v>42.648453000000003</c:v>
                </c:pt>
                <c:pt idx="1153">
                  <c:v>42.884757999999998</c:v>
                </c:pt>
                <c:pt idx="1154">
                  <c:v>42.886642000000002</c:v>
                </c:pt>
                <c:pt idx="1155">
                  <c:v>42.660820000000001</c:v>
                </c:pt>
                <c:pt idx="1156">
                  <c:v>42.528440000000003</c:v>
                </c:pt>
                <c:pt idx="1157">
                  <c:v>42.901249999999997</c:v>
                </c:pt>
                <c:pt idx="1158">
                  <c:v>43.126370000000001</c:v>
                </c:pt>
                <c:pt idx="1159">
                  <c:v>42.910719999999998</c:v>
                </c:pt>
                <c:pt idx="1160">
                  <c:v>43.059032000000002</c:v>
                </c:pt>
                <c:pt idx="1161">
                  <c:v>43.133797000000001</c:v>
                </c:pt>
                <c:pt idx="1162">
                  <c:v>43.042976000000003</c:v>
                </c:pt>
                <c:pt idx="1163">
                  <c:v>43.164023999999998</c:v>
                </c:pt>
                <c:pt idx="1164">
                  <c:v>42.793579999999999</c:v>
                </c:pt>
                <c:pt idx="1165">
                  <c:v>42.875442999999997</c:v>
                </c:pt>
                <c:pt idx="1166">
                  <c:v>42.916496000000002</c:v>
                </c:pt>
                <c:pt idx="1167">
                  <c:v>42.899566999999998</c:v>
                </c:pt>
                <c:pt idx="1168">
                  <c:v>42.843150000000001</c:v>
                </c:pt>
                <c:pt idx="1169">
                  <c:v>42.737442000000001</c:v>
                </c:pt>
                <c:pt idx="1170">
                  <c:v>42.854300000000002</c:v>
                </c:pt>
                <c:pt idx="1171">
                  <c:v>43.193420000000003</c:v>
                </c:pt>
                <c:pt idx="1172">
                  <c:v>43.379719999999999</c:v>
                </c:pt>
                <c:pt idx="1173">
                  <c:v>43.400379999999998</c:v>
                </c:pt>
                <c:pt idx="1174">
                  <c:v>43.396003999999998</c:v>
                </c:pt>
                <c:pt idx="1175">
                  <c:v>43.271346999999999</c:v>
                </c:pt>
                <c:pt idx="1176">
                  <c:v>43.432181999999997</c:v>
                </c:pt>
                <c:pt idx="1177">
                  <c:v>43.094909999999999</c:v>
                </c:pt>
                <c:pt idx="1178">
                  <c:v>43.224711999999997</c:v>
                </c:pt>
                <c:pt idx="1179">
                  <c:v>43.423073000000002</c:v>
                </c:pt>
                <c:pt idx="1180">
                  <c:v>43.419139999999999</c:v>
                </c:pt>
                <c:pt idx="1181">
                  <c:v>43.369430000000001</c:v>
                </c:pt>
                <c:pt idx="1182">
                  <c:v>43.498165</c:v>
                </c:pt>
                <c:pt idx="1183">
                  <c:v>43.407603999999999</c:v>
                </c:pt>
                <c:pt idx="1184">
                  <c:v>43.176186000000001</c:v>
                </c:pt>
                <c:pt idx="1185">
                  <c:v>43.250340000000001</c:v>
                </c:pt>
                <c:pt idx="1186">
                  <c:v>43.486240000000002</c:v>
                </c:pt>
                <c:pt idx="1187">
                  <c:v>43.655799999999999</c:v>
                </c:pt>
                <c:pt idx="1188">
                  <c:v>43.742767000000001</c:v>
                </c:pt>
                <c:pt idx="1189">
                  <c:v>43.842716000000003</c:v>
                </c:pt>
                <c:pt idx="1190">
                  <c:v>43.752727999999998</c:v>
                </c:pt>
                <c:pt idx="1191">
                  <c:v>43.896473</c:v>
                </c:pt>
                <c:pt idx="1192">
                  <c:v>43.855870000000003</c:v>
                </c:pt>
                <c:pt idx="1193">
                  <c:v>43.508015</c:v>
                </c:pt>
                <c:pt idx="1194">
                  <c:v>43.71575</c:v>
                </c:pt>
                <c:pt idx="1195">
                  <c:v>43.761623</c:v>
                </c:pt>
                <c:pt idx="1196">
                  <c:v>43.702779999999997</c:v>
                </c:pt>
                <c:pt idx="1197">
                  <c:v>43.715687000000003</c:v>
                </c:pt>
                <c:pt idx="1198">
                  <c:v>43.227240000000002</c:v>
                </c:pt>
                <c:pt idx="1199">
                  <c:v>43.274090000000001</c:v>
                </c:pt>
                <c:pt idx="1200">
                  <c:v>43.394500000000001</c:v>
                </c:pt>
                <c:pt idx="1201">
                  <c:v>42.851799999999997</c:v>
                </c:pt>
                <c:pt idx="1202">
                  <c:v>42.52814</c:v>
                </c:pt>
                <c:pt idx="1203">
                  <c:v>42.900196000000001</c:v>
                </c:pt>
                <c:pt idx="1204">
                  <c:v>43.136234000000002</c:v>
                </c:pt>
                <c:pt idx="1205">
                  <c:v>43.491397999999997</c:v>
                </c:pt>
                <c:pt idx="1206">
                  <c:v>43.482010000000002</c:v>
                </c:pt>
                <c:pt idx="1207">
                  <c:v>43.514879999999998</c:v>
                </c:pt>
                <c:pt idx="1208">
                  <c:v>43.007294000000002</c:v>
                </c:pt>
                <c:pt idx="1209">
                  <c:v>42.621414000000001</c:v>
                </c:pt>
                <c:pt idx="1210">
                  <c:v>42.662903</c:v>
                </c:pt>
                <c:pt idx="1211">
                  <c:v>42.434856000000003</c:v>
                </c:pt>
                <c:pt idx="1212">
                  <c:v>42.319699999999997</c:v>
                </c:pt>
                <c:pt idx="1213">
                  <c:v>42.613889999999998</c:v>
                </c:pt>
                <c:pt idx="1214">
                  <c:v>42.802208</c:v>
                </c:pt>
                <c:pt idx="1215">
                  <c:v>42.707904999999997</c:v>
                </c:pt>
                <c:pt idx="1216">
                  <c:v>42.886367999999997</c:v>
                </c:pt>
                <c:pt idx="1217">
                  <c:v>42.775889999999997</c:v>
                </c:pt>
                <c:pt idx="1218">
                  <c:v>42.710793000000002</c:v>
                </c:pt>
                <c:pt idx="1219">
                  <c:v>42.857669999999999</c:v>
                </c:pt>
                <c:pt idx="1220">
                  <c:v>42.397919999999999</c:v>
                </c:pt>
                <c:pt idx="1221">
                  <c:v>42.541527000000002</c:v>
                </c:pt>
                <c:pt idx="1222">
                  <c:v>42.836266000000002</c:v>
                </c:pt>
                <c:pt idx="1223">
                  <c:v>42.998936</c:v>
                </c:pt>
                <c:pt idx="1224">
                  <c:v>42.981994999999998</c:v>
                </c:pt>
                <c:pt idx="1225">
                  <c:v>43.0837</c:v>
                </c:pt>
                <c:pt idx="1226">
                  <c:v>43.140213000000003</c:v>
                </c:pt>
                <c:pt idx="1227">
                  <c:v>43.084311999999997</c:v>
                </c:pt>
                <c:pt idx="1228">
                  <c:v>43.249980000000001</c:v>
                </c:pt>
                <c:pt idx="1229">
                  <c:v>43.163615999999998</c:v>
                </c:pt>
                <c:pt idx="1230">
                  <c:v>43.050556</c:v>
                </c:pt>
                <c:pt idx="1231">
                  <c:v>43.111083999999998</c:v>
                </c:pt>
                <c:pt idx="1232">
                  <c:v>43.282803000000001</c:v>
                </c:pt>
                <c:pt idx="1233">
                  <c:v>43.362679999999997</c:v>
                </c:pt>
                <c:pt idx="1234">
                  <c:v>43.702950000000001</c:v>
                </c:pt>
                <c:pt idx="1235">
                  <c:v>43.592995000000002</c:v>
                </c:pt>
                <c:pt idx="1236">
                  <c:v>43.361687000000003</c:v>
                </c:pt>
                <c:pt idx="1237">
                  <c:v>43.412951999999997</c:v>
                </c:pt>
                <c:pt idx="1238">
                  <c:v>43.376026000000003</c:v>
                </c:pt>
                <c:pt idx="1239">
                  <c:v>43.212229999999998</c:v>
                </c:pt>
                <c:pt idx="1240">
                  <c:v>43.356045000000002</c:v>
                </c:pt>
                <c:pt idx="1241">
                  <c:v>43.554020000000001</c:v>
                </c:pt>
                <c:pt idx="1242">
                  <c:v>43.503549999999997</c:v>
                </c:pt>
                <c:pt idx="1243">
                  <c:v>43.696109999999997</c:v>
                </c:pt>
                <c:pt idx="1244">
                  <c:v>43.823956000000003</c:v>
                </c:pt>
                <c:pt idx="1245">
                  <c:v>43.724240000000002</c:v>
                </c:pt>
                <c:pt idx="1246">
                  <c:v>43.782600000000002</c:v>
                </c:pt>
                <c:pt idx="1247">
                  <c:v>43.862335000000002</c:v>
                </c:pt>
                <c:pt idx="1248">
                  <c:v>43.931235999999998</c:v>
                </c:pt>
                <c:pt idx="1249">
                  <c:v>43.898003000000003</c:v>
                </c:pt>
                <c:pt idx="1250">
                  <c:v>43.930374</c:v>
                </c:pt>
                <c:pt idx="1251">
                  <c:v>43.977066000000001</c:v>
                </c:pt>
                <c:pt idx="1252">
                  <c:v>43.675420000000003</c:v>
                </c:pt>
                <c:pt idx="1253">
                  <c:v>42.68683</c:v>
                </c:pt>
                <c:pt idx="1254">
                  <c:v>42.180439999999997</c:v>
                </c:pt>
                <c:pt idx="1255">
                  <c:v>42.139656000000002</c:v>
                </c:pt>
                <c:pt idx="1256">
                  <c:v>41.705280000000002</c:v>
                </c:pt>
                <c:pt idx="1257">
                  <c:v>41.742663999999998</c:v>
                </c:pt>
                <c:pt idx="1258">
                  <c:v>42.175956999999997</c:v>
                </c:pt>
                <c:pt idx="1259">
                  <c:v>42.571800000000003</c:v>
                </c:pt>
                <c:pt idx="1260">
                  <c:v>42.902169999999998</c:v>
                </c:pt>
                <c:pt idx="1261">
                  <c:v>43.149323000000003</c:v>
                </c:pt>
                <c:pt idx="1262">
                  <c:v>43.230595000000001</c:v>
                </c:pt>
                <c:pt idx="1263">
                  <c:v>43.093837999999998</c:v>
                </c:pt>
                <c:pt idx="1264">
                  <c:v>43.224685999999998</c:v>
                </c:pt>
                <c:pt idx="1265">
                  <c:v>43.27872</c:v>
                </c:pt>
                <c:pt idx="1266">
                  <c:v>43.509659999999997</c:v>
                </c:pt>
                <c:pt idx="1267">
                  <c:v>44.140236000000002</c:v>
                </c:pt>
                <c:pt idx="1268">
                  <c:v>43.980829999999997</c:v>
                </c:pt>
                <c:pt idx="1269">
                  <c:v>43.590553</c:v>
                </c:pt>
                <c:pt idx="1270">
                  <c:v>43.309069999999998</c:v>
                </c:pt>
                <c:pt idx="1271">
                  <c:v>43.218864000000004</c:v>
                </c:pt>
                <c:pt idx="1272">
                  <c:v>43.114490000000004</c:v>
                </c:pt>
                <c:pt idx="1273">
                  <c:v>43.347298000000002</c:v>
                </c:pt>
                <c:pt idx="1274">
                  <c:v>43.486969999999999</c:v>
                </c:pt>
                <c:pt idx="1275">
                  <c:v>43.352760000000004</c:v>
                </c:pt>
                <c:pt idx="1276">
                  <c:v>43.647896000000003</c:v>
                </c:pt>
                <c:pt idx="1277">
                  <c:v>43.544690000000003</c:v>
                </c:pt>
                <c:pt idx="1278">
                  <c:v>43.496389999999998</c:v>
                </c:pt>
                <c:pt idx="1279">
                  <c:v>43.338250000000002</c:v>
                </c:pt>
                <c:pt idx="1280">
                  <c:v>43.344900000000003</c:v>
                </c:pt>
                <c:pt idx="1281">
                  <c:v>43.597343000000002</c:v>
                </c:pt>
                <c:pt idx="1282">
                  <c:v>43.953890000000001</c:v>
                </c:pt>
                <c:pt idx="1283">
                  <c:v>43.697980000000001</c:v>
                </c:pt>
                <c:pt idx="1284">
                  <c:v>43.310226</c:v>
                </c:pt>
                <c:pt idx="1285">
                  <c:v>43.034824</c:v>
                </c:pt>
                <c:pt idx="1286">
                  <c:v>42.416885000000001</c:v>
                </c:pt>
                <c:pt idx="1287">
                  <c:v>42.321373000000001</c:v>
                </c:pt>
                <c:pt idx="1288">
                  <c:v>42.172035000000001</c:v>
                </c:pt>
                <c:pt idx="1289">
                  <c:v>41.985004000000004</c:v>
                </c:pt>
                <c:pt idx="1290">
                  <c:v>42.088610000000003</c:v>
                </c:pt>
                <c:pt idx="1291">
                  <c:v>41.910690000000002</c:v>
                </c:pt>
                <c:pt idx="1292">
                  <c:v>41.768444000000002</c:v>
                </c:pt>
                <c:pt idx="1293">
                  <c:v>41.864952000000002</c:v>
                </c:pt>
                <c:pt idx="1294">
                  <c:v>42.038615999999998</c:v>
                </c:pt>
                <c:pt idx="1295">
                  <c:v>41.897906999999996</c:v>
                </c:pt>
                <c:pt idx="1296">
                  <c:v>41.915076999999997</c:v>
                </c:pt>
                <c:pt idx="1297">
                  <c:v>42.084119999999999</c:v>
                </c:pt>
                <c:pt idx="1298">
                  <c:v>42.168669999999999</c:v>
                </c:pt>
                <c:pt idx="1299">
                  <c:v>42.331000000000003</c:v>
                </c:pt>
                <c:pt idx="1300">
                  <c:v>42.264896</c:v>
                </c:pt>
                <c:pt idx="1301">
                  <c:v>42.353909999999999</c:v>
                </c:pt>
                <c:pt idx="1302">
                  <c:v>42.564514000000003</c:v>
                </c:pt>
                <c:pt idx="1303">
                  <c:v>42.718777000000003</c:v>
                </c:pt>
                <c:pt idx="1304">
                  <c:v>42.676884000000001</c:v>
                </c:pt>
                <c:pt idx="1305">
                  <c:v>42.407657999999998</c:v>
                </c:pt>
                <c:pt idx="1306">
                  <c:v>42.342230000000001</c:v>
                </c:pt>
                <c:pt idx="1307">
                  <c:v>41.983448000000003</c:v>
                </c:pt>
                <c:pt idx="1308">
                  <c:v>41.643894000000003</c:v>
                </c:pt>
                <c:pt idx="1309">
                  <c:v>41.827427</c:v>
                </c:pt>
                <c:pt idx="1310">
                  <c:v>42.11459</c:v>
                </c:pt>
                <c:pt idx="1311">
                  <c:v>41.996986</c:v>
                </c:pt>
                <c:pt idx="1312">
                  <c:v>42.032145999999997</c:v>
                </c:pt>
                <c:pt idx="1313">
                  <c:v>41.985644999999998</c:v>
                </c:pt>
                <c:pt idx="1314">
                  <c:v>41.700848000000001</c:v>
                </c:pt>
                <c:pt idx="1315">
                  <c:v>41.909970000000001</c:v>
                </c:pt>
                <c:pt idx="1316">
                  <c:v>42.194088000000001</c:v>
                </c:pt>
                <c:pt idx="1317">
                  <c:v>42.101787999999999</c:v>
                </c:pt>
                <c:pt idx="1318">
                  <c:v>42.293872999999998</c:v>
                </c:pt>
                <c:pt idx="1319">
                  <c:v>42.633857999999996</c:v>
                </c:pt>
                <c:pt idx="1320">
                  <c:v>42.845942999999998</c:v>
                </c:pt>
                <c:pt idx="1321">
                  <c:v>42.871929999999999</c:v>
                </c:pt>
                <c:pt idx="1322">
                  <c:v>42.592888000000002</c:v>
                </c:pt>
                <c:pt idx="1323">
                  <c:v>42.648037000000002</c:v>
                </c:pt>
                <c:pt idx="1324">
                  <c:v>42.617080000000001</c:v>
                </c:pt>
                <c:pt idx="1325">
                  <c:v>42.621535999999999</c:v>
                </c:pt>
                <c:pt idx="1326">
                  <c:v>42.868946000000001</c:v>
                </c:pt>
                <c:pt idx="1327">
                  <c:v>43.017803000000001</c:v>
                </c:pt>
                <c:pt idx="1328">
                  <c:v>43.08569</c:v>
                </c:pt>
                <c:pt idx="1329">
                  <c:v>43.086030000000001</c:v>
                </c:pt>
                <c:pt idx="1330">
                  <c:v>43.121437</c:v>
                </c:pt>
                <c:pt idx="1331">
                  <c:v>42.791283</c:v>
                </c:pt>
                <c:pt idx="1332">
                  <c:v>42.838459999999998</c:v>
                </c:pt>
                <c:pt idx="1333">
                  <c:v>42.639816000000003</c:v>
                </c:pt>
                <c:pt idx="1334">
                  <c:v>42.742508000000001</c:v>
                </c:pt>
                <c:pt idx="1335">
                  <c:v>42.890265999999997</c:v>
                </c:pt>
                <c:pt idx="1336">
                  <c:v>43.006889999999999</c:v>
                </c:pt>
                <c:pt idx="1337">
                  <c:v>43.187187000000002</c:v>
                </c:pt>
                <c:pt idx="1338">
                  <c:v>43.207700000000003</c:v>
                </c:pt>
                <c:pt idx="1339">
                  <c:v>43.227924000000002</c:v>
                </c:pt>
                <c:pt idx="1340">
                  <c:v>43.400739999999999</c:v>
                </c:pt>
                <c:pt idx="1341">
                  <c:v>43.554900000000004</c:v>
                </c:pt>
                <c:pt idx="1342">
                  <c:v>43.29965</c:v>
                </c:pt>
                <c:pt idx="1343">
                  <c:v>43.256565000000002</c:v>
                </c:pt>
                <c:pt idx="1344">
                  <c:v>43.005318000000003</c:v>
                </c:pt>
                <c:pt idx="1345">
                  <c:v>43.040787000000002</c:v>
                </c:pt>
                <c:pt idx="1346">
                  <c:v>43.134346000000001</c:v>
                </c:pt>
                <c:pt idx="1347">
                  <c:v>43.179653000000002</c:v>
                </c:pt>
                <c:pt idx="1348">
                  <c:v>43.192238000000003</c:v>
                </c:pt>
                <c:pt idx="1349">
                  <c:v>43.080708000000001</c:v>
                </c:pt>
                <c:pt idx="1350">
                  <c:v>42.963790000000003</c:v>
                </c:pt>
                <c:pt idx="1351">
                  <c:v>42.940178000000003</c:v>
                </c:pt>
                <c:pt idx="1352">
                  <c:v>42.68083</c:v>
                </c:pt>
                <c:pt idx="1353">
                  <c:v>42.711739999999999</c:v>
                </c:pt>
                <c:pt idx="1354">
                  <c:v>42.739184999999999</c:v>
                </c:pt>
                <c:pt idx="1355">
                  <c:v>42.844830000000002</c:v>
                </c:pt>
                <c:pt idx="1356">
                  <c:v>42.906829999999999</c:v>
                </c:pt>
                <c:pt idx="1357">
                  <c:v>42.962375999999999</c:v>
                </c:pt>
                <c:pt idx="1358">
                  <c:v>43.126617000000003</c:v>
                </c:pt>
                <c:pt idx="1359">
                  <c:v>43.405791999999998</c:v>
                </c:pt>
                <c:pt idx="1360">
                  <c:v>43.585667000000001</c:v>
                </c:pt>
                <c:pt idx="1361">
                  <c:v>43.551549999999999</c:v>
                </c:pt>
                <c:pt idx="1362">
                  <c:v>43.785606000000001</c:v>
                </c:pt>
                <c:pt idx="1363">
                  <c:v>43.879739999999998</c:v>
                </c:pt>
                <c:pt idx="1364">
                  <c:v>43.971960000000003</c:v>
                </c:pt>
                <c:pt idx="1365">
                  <c:v>43.914029999999997</c:v>
                </c:pt>
                <c:pt idx="1366">
                  <c:v>43.989803000000002</c:v>
                </c:pt>
                <c:pt idx="1367">
                  <c:v>44.009529999999998</c:v>
                </c:pt>
                <c:pt idx="1368">
                  <c:v>43.982550000000003</c:v>
                </c:pt>
                <c:pt idx="1369">
                  <c:v>44.01717</c:v>
                </c:pt>
                <c:pt idx="1370">
                  <c:v>43.978783</c:v>
                </c:pt>
                <c:pt idx="1371">
                  <c:v>44.026721999999999</c:v>
                </c:pt>
                <c:pt idx="1372">
                  <c:v>43.959859999999999</c:v>
                </c:pt>
                <c:pt idx="1373">
                  <c:v>44.120069999999998</c:v>
                </c:pt>
                <c:pt idx="1374">
                  <c:v>43.962119999999999</c:v>
                </c:pt>
                <c:pt idx="1375">
                  <c:v>43.957880000000003</c:v>
                </c:pt>
                <c:pt idx="1376">
                  <c:v>43.942462999999996</c:v>
                </c:pt>
                <c:pt idx="1377">
                  <c:v>44.012076999999998</c:v>
                </c:pt>
                <c:pt idx="1378">
                  <c:v>44.133650000000003</c:v>
                </c:pt>
                <c:pt idx="1379">
                  <c:v>44.219462999999998</c:v>
                </c:pt>
                <c:pt idx="1380">
                  <c:v>44.393467000000001</c:v>
                </c:pt>
                <c:pt idx="1381">
                  <c:v>44.513286999999998</c:v>
                </c:pt>
                <c:pt idx="1382">
                  <c:v>44.516889999999997</c:v>
                </c:pt>
                <c:pt idx="1383">
                  <c:v>44.460470000000001</c:v>
                </c:pt>
                <c:pt idx="1384">
                  <c:v>44.409343999999997</c:v>
                </c:pt>
                <c:pt idx="1385">
                  <c:v>44.489704000000003</c:v>
                </c:pt>
                <c:pt idx="1386">
                  <c:v>44.428913000000001</c:v>
                </c:pt>
                <c:pt idx="1387">
                  <c:v>44.394866999999998</c:v>
                </c:pt>
                <c:pt idx="1388">
                  <c:v>44.482787999999999</c:v>
                </c:pt>
                <c:pt idx="1389">
                  <c:v>44.663902</c:v>
                </c:pt>
                <c:pt idx="1390">
                  <c:v>44.59778</c:v>
                </c:pt>
                <c:pt idx="1391">
                  <c:v>44.6586</c:v>
                </c:pt>
                <c:pt idx="1392">
                  <c:v>44.690199999999997</c:v>
                </c:pt>
                <c:pt idx="1393">
                  <c:v>44.823005999999999</c:v>
                </c:pt>
                <c:pt idx="1394">
                  <c:v>45.220097000000003</c:v>
                </c:pt>
                <c:pt idx="1395">
                  <c:v>45.273086999999997</c:v>
                </c:pt>
                <c:pt idx="1396">
                  <c:v>45.560352000000002</c:v>
                </c:pt>
                <c:pt idx="1397">
                  <c:v>45.605956999999997</c:v>
                </c:pt>
                <c:pt idx="1398">
                  <c:v>45.823070000000001</c:v>
                </c:pt>
                <c:pt idx="1399">
                  <c:v>46.111640000000001</c:v>
                </c:pt>
                <c:pt idx="1400">
                  <c:v>46.201749999999997</c:v>
                </c:pt>
                <c:pt idx="1401">
                  <c:v>45.678669999999997</c:v>
                </c:pt>
                <c:pt idx="1402">
                  <c:v>45.530692999999999</c:v>
                </c:pt>
                <c:pt idx="1403">
                  <c:v>45.570259999999998</c:v>
                </c:pt>
                <c:pt idx="1404">
                  <c:v>45.801037000000001</c:v>
                </c:pt>
                <c:pt idx="1405">
                  <c:v>45.743965000000003</c:v>
                </c:pt>
                <c:pt idx="1406">
                  <c:v>45.896132999999999</c:v>
                </c:pt>
                <c:pt idx="1407">
                  <c:v>45.939197999999998</c:v>
                </c:pt>
                <c:pt idx="1408">
                  <c:v>45.84355</c:v>
                </c:pt>
                <c:pt idx="1409">
                  <c:v>45.853614999999998</c:v>
                </c:pt>
                <c:pt idx="1410">
                  <c:v>45.926597999999998</c:v>
                </c:pt>
                <c:pt idx="1411">
                  <c:v>46.253413999999999</c:v>
                </c:pt>
                <c:pt idx="1412">
                  <c:v>46.311107999999997</c:v>
                </c:pt>
                <c:pt idx="1413">
                  <c:v>46.415146</c:v>
                </c:pt>
                <c:pt idx="1414">
                  <c:v>46.637076999999998</c:v>
                </c:pt>
                <c:pt idx="1415">
                  <c:v>47.020195000000001</c:v>
                </c:pt>
                <c:pt idx="1416">
                  <c:v>47.168779999999998</c:v>
                </c:pt>
                <c:pt idx="1417">
                  <c:v>47.138910000000003</c:v>
                </c:pt>
                <c:pt idx="1418">
                  <c:v>47.349829999999997</c:v>
                </c:pt>
                <c:pt idx="1419">
                  <c:v>47.998280000000001</c:v>
                </c:pt>
                <c:pt idx="1420">
                  <c:v>47.718960000000003</c:v>
                </c:pt>
                <c:pt idx="1421">
                  <c:v>48.142690000000002</c:v>
                </c:pt>
                <c:pt idx="1422">
                  <c:v>47.757725000000001</c:v>
                </c:pt>
                <c:pt idx="1423">
                  <c:v>47.606354000000003</c:v>
                </c:pt>
                <c:pt idx="1424">
                  <c:v>47.602814000000002</c:v>
                </c:pt>
                <c:pt idx="1425">
                  <c:v>47.440437000000003</c:v>
                </c:pt>
                <c:pt idx="1426">
                  <c:v>46.714280000000002</c:v>
                </c:pt>
                <c:pt idx="1427">
                  <c:v>46.786149999999999</c:v>
                </c:pt>
                <c:pt idx="1428">
                  <c:v>45.817863000000003</c:v>
                </c:pt>
                <c:pt idx="1429">
                  <c:v>45.823624000000002</c:v>
                </c:pt>
                <c:pt idx="1430">
                  <c:v>45.80838</c:v>
                </c:pt>
                <c:pt idx="1431">
                  <c:v>45.448844999999999</c:v>
                </c:pt>
                <c:pt idx="1432">
                  <c:v>45.211067</c:v>
                </c:pt>
                <c:pt idx="1433">
                  <c:v>45.094279999999998</c:v>
                </c:pt>
                <c:pt idx="1434">
                  <c:v>44.931373999999998</c:v>
                </c:pt>
                <c:pt idx="1435">
                  <c:v>44.053493000000003</c:v>
                </c:pt>
                <c:pt idx="1436">
                  <c:v>43.890224000000003</c:v>
                </c:pt>
                <c:pt idx="1437">
                  <c:v>43.716876999999997</c:v>
                </c:pt>
                <c:pt idx="1438">
                  <c:v>43.421467</c:v>
                </c:pt>
                <c:pt idx="1439">
                  <c:v>43.381720000000001</c:v>
                </c:pt>
                <c:pt idx="1440">
                  <c:v>43.723427000000001</c:v>
                </c:pt>
                <c:pt idx="1441">
                  <c:v>43.941853000000002</c:v>
                </c:pt>
                <c:pt idx="1442">
                  <c:v>43.60604</c:v>
                </c:pt>
                <c:pt idx="1443">
                  <c:v>43.579864999999998</c:v>
                </c:pt>
                <c:pt idx="1444">
                  <c:v>43.743293999999999</c:v>
                </c:pt>
                <c:pt idx="1445">
                  <c:v>44.026245000000003</c:v>
                </c:pt>
                <c:pt idx="1446">
                  <c:v>44.082214</c:v>
                </c:pt>
                <c:pt idx="1447">
                  <c:v>44.034089999999999</c:v>
                </c:pt>
                <c:pt idx="1448">
                  <c:v>43.684986000000002</c:v>
                </c:pt>
                <c:pt idx="1449">
                  <c:v>43.568207000000001</c:v>
                </c:pt>
                <c:pt idx="1450">
                  <c:v>43.318040000000003</c:v>
                </c:pt>
                <c:pt idx="1451">
                  <c:v>43.349308000000001</c:v>
                </c:pt>
                <c:pt idx="1452">
                  <c:v>43.463329999999999</c:v>
                </c:pt>
                <c:pt idx="1453">
                  <c:v>43.386319999999998</c:v>
                </c:pt>
                <c:pt idx="1454">
                  <c:v>43.252696999999998</c:v>
                </c:pt>
                <c:pt idx="1455">
                  <c:v>43.140163000000001</c:v>
                </c:pt>
                <c:pt idx="1456">
                  <c:v>42.796463000000003</c:v>
                </c:pt>
                <c:pt idx="1457">
                  <c:v>42.965378000000001</c:v>
                </c:pt>
                <c:pt idx="1458">
                  <c:v>43.030186</c:v>
                </c:pt>
                <c:pt idx="1459">
                  <c:v>43.433517000000002</c:v>
                </c:pt>
                <c:pt idx="1460">
                  <c:v>43.704389999999997</c:v>
                </c:pt>
                <c:pt idx="1461">
                  <c:v>43.970529999999997</c:v>
                </c:pt>
                <c:pt idx="1462">
                  <c:v>44.192436000000001</c:v>
                </c:pt>
                <c:pt idx="1463">
                  <c:v>44.237976000000003</c:v>
                </c:pt>
                <c:pt idx="1464">
                  <c:v>43.990839999999999</c:v>
                </c:pt>
                <c:pt idx="1465">
                  <c:v>43.194249999999997</c:v>
                </c:pt>
                <c:pt idx="1466">
                  <c:v>43.336468000000004</c:v>
                </c:pt>
                <c:pt idx="1467">
                  <c:v>43.010165999999998</c:v>
                </c:pt>
                <c:pt idx="1468">
                  <c:v>42.776282999999999</c:v>
                </c:pt>
                <c:pt idx="1469">
                  <c:v>42.667540000000002</c:v>
                </c:pt>
                <c:pt idx="1470">
                  <c:v>42.169930000000001</c:v>
                </c:pt>
                <c:pt idx="1471">
                  <c:v>41.708629999999999</c:v>
                </c:pt>
                <c:pt idx="1472">
                  <c:v>41.418599999999998</c:v>
                </c:pt>
                <c:pt idx="1473">
                  <c:v>41.076320000000003</c:v>
                </c:pt>
                <c:pt idx="1474">
                  <c:v>40.617846999999998</c:v>
                </c:pt>
                <c:pt idx="1475">
                  <c:v>39.95673</c:v>
                </c:pt>
                <c:pt idx="1476">
                  <c:v>39.788634999999999</c:v>
                </c:pt>
                <c:pt idx="1477">
                  <c:v>40.335796000000002</c:v>
                </c:pt>
                <c:pt idx="1478">
                  <c:v>40.469012999999997</c:v>
                </c:pt>
                <c:pt idx="1479">
                  <c:v>40.567880000000002</c:v>
                </c:pt>
                <c:pt idx="1480">
                  <c:v>40.803097000000001</c:v>
                </c:pt>
                <c:pt idx="1481">
                  <c:v>40.91048</c:v>
                </c:pt>
                <c:pt idx="1482">
                  <c:v>40.618164</c:v>
                </c:pt>
                <c:pt idx="1483">
                  <c:v>40.811259999999997</c:v>
                </c:pt>
                <c:pt idx="1484">
                  <c:v>40.958663999999999</c:v>
                </c:pt>
                <c:pt idx="1485">
                  <c:v>41.040194999999997</c:v>
                </c:pt>
                <c:pt idx="1486">
                  <c:v>41.091859999999997</c:v>
                </c:pt>
                <c:pt idx="1487">
                  <c:v>41.188119999999998</c:v>
                </c:pt>
                <c:pt idx="1488">
                  <c:v>41.395870000000002</c:v>
                </c:pt>
                <c:pt idx="1489">
                  <c:v>41.472701999999998</c:v>
                </c:pt>
                <c:pt idx="1490">
                  <c:v>41.636096999999999</c:v>
                </c:pt>
                <c:pt idx="1491">
                  <c:v>41.507289999999998</c:v>
                </c:pt>
                <c:pt idx="1492">
                  <c:v>41.625515</c:v>
                </c:pt>
                <c:pt idx="1493">
                  <c:v>41.855710000000002</c:v>
                </c:pt>
                <c:pt idx="1494">
                  <c:v>41.838177000000002</c:v>
                </c:pt>
                <c:pt idx="1495">
                  <c:v>41.886166000000003</c:v>
                </c:pt>
                <c:pt idx="1496">
                  <c:v>41.978928000000003</c:v>
                </c:pt>
                <c:pt idx="1497">
                  <c:v>42.110477000000003</c:v>
                </c:pt>
                <c:pt idx="1498">
                  <c:v>42.15502</c:v>
                </c:pt>
                <c:pt idx="1499">
                  <c:v>42.139397000000002</c:v>
                </c:pt>
                <c:pt idx="1500">
                  <c:v>42.187420000000003</c:v>
                </c:pt>
                <c:pt idx="1501">
                  <c:v>41.532074000000001</c:v>
                </c:pt>
                <c:pt idx="1502">
                  <c:v>41.572524999999999</c:v>
                </c:pt>
                <c:pt idx="1503">
                  <c:v>42.00994</c:v>
                </c:pt>
                <c:pt idx="1504">
                  <c:v>42.31118</c:v>
                </c:pt>
                <c:pt idx="1505">
                  <c:v>42.675873000000003</c:v>
                </c:pt>
                <c:pt idx="1506">
                  <c:v>42.67539</c:v>
                </c:pt>
                <c:pt idx="1507">
                  <c:v>42.689230000000002</c:v>
                </c:pt>
                <c:pt idx="1508">
                  <c:v>42.772162999999999</c:v>
                </c:pt>
                <c:pt idx="1509">
                  <c:v>42.869419999999998</c:v>
                </c:pt>
                <c:pt idx="1510">
                  <c:v>42.861199999999997</c:v>
                </c:pt>
                <c:pt idx="1511">
                  <c:v>41.406497999999999</c:v>
                </c:pt>
                <c:pt idx="1512">
                  <c:v>41.345314000000002</c:v>
                </c:pt>
                <c:pt idx="1513">
                  <c:v>42.087418</c:v>
                </c:pt>
                <c:pt idx="1514">
                  <c:v>42.587440000000001</c:v>
                </c:pt>
                <c:pt idx="1515">
                  <c:v>42.831029999999998</c:v>
                </c:pt>
                <c:pt idx="1516">
                  <c:v>43.029102000000002</c:v>
                </c:pt>
                <c:pt idx="1517">
                  <c:v>43.155552</c:v>
                </c:pt>
                <c:pt idx="1518">
                  <c:v>43.379772000000003</c:v>
                </c:pt>
                <c:pt idx="1519">
                  <c:v>43.569794000000002</c:v>
                </c:pt>
                <c:pt idx="1520">
                  <c:v>43.732548000000001</c:v>
                </c:pt>
                <c:pt idx="1521">
                  <c:v>43.720978000000002</c:v>
                </c:pt>
                <c:pt idx="1522">
                  <c:v>43.828792999999997</c:v>
                </c:pt>
                <c:pt idx="1523">
                  <c:v>43.842950000000002</c:v>
                </c:pt>
                <c:pt idx="1524">
                  <c:v>43.839314000000002</c:v>
                </c:pt>
                <c:pt idx="1525">
                  <c:v>43.717469999999999</c:v>
                </c:pt>
                <c:pt idx="1526">
                  <c:v>43.745567000000001</c:v>
                </c:pt>
                <c:pt idx="1527">
                  <c:v>43.87961</c:v>
                </c:pt>
                <c:pt idx="1528">
                  <c:v>44.290570000000002</c:v>
                </c:pt>
                <c:pt idx="1529">
                  <c:v>44.989212000000002</c:v>
                </c:pt>
                <c:pt idx="1530">
                  <c:v>46.488174000000001</c:v>
                </c:pt>
                <c:pt idx="1531">
                  <c:v>45.850909999999999</c:v>
                </c:pt>
                <c:pt idx="1532">
                  <c:v>45.247172999999997</c:v>
                </c:pt>
                <c:pt idx="1533">
                  <c:v>45.204726999999998</c:v>
                </c:pt>
                <c:pt idx="1534">
                  <c:v>45.286059999999999</c:v>
                </c:pt>
                <c:pt idx="1535">
                  <c:v>46.231166999999999</c:v>
                </c:pt>
                <c:pt idx="1536">
                  <c:v>46.698695999999998</c:v>
                </c:pt>
                <c:pt idx="1537">
                  <c:v>47.414520000000003</c:v>
                </c:pt>
                <c:pt idx="1538">
                  <c:v>49.066809999999997</c:v>
                </c:pt>
                <c:pt idx="1539">
                  <c:v>50.168979999999998</c:v>
                </c:pt>
                <c:pt idx="1540">
                  <c:v>49.003951999999998</c:v>
                </c:pt>
                <c:pt idx="1541">
                  <c:v>49.056384999999999</c:v>
                </c:pt>
                <c:pt idx="1542">
                  <c:v>49.175117</c:v>
                </c:pt>
                <c:pt idx="1543">
                  <c:v>49.297825000000003</c:v>
                </c:pt>
                <c:pt idx="1544">
                  <c:v>49.814070000000001</c:v>
                </c:pt>
                <c:pt idx="1545">
                  <c:v>49.900993</c:v>
                </c:pt>
                <c:pt idx="1546">
                  <c:v>50.159514999999999</c:v>
                </c:pt>
                <c:pt idx="1547">
                  <c:v>50.133204999999997</c:v>
                </c:pt>
                <c:pt idx="1548">
                  <c:v>49.803066000000001</c:v>
                </c:pt>
                <c:pt idx="1549">
                  <c:v>49.795749999999998</c:v>
                </c:pt>
                <c:pt idx="1550">
                  <c:v>49.015770000000003</c:v>
                </c:pt>
                <c:pt idx="1551">
                  <c:v>48.944285999999998</c:v>
                </c:pt>
                <c:pt idx="1552">
                  <c:v>48.664935999999997</c:v>
                </c:pt>
                <c:pt idx="1553">
                  <c:v>48.979602999999997</c:v>
                </c:pt>
                <c:pt idx="1554">
                  <c:v>49.039078000000003</c:v>
                </c:pt>
                <c:pt idx="1555">
                  <c:v>49.616954999999997</c:v>
                </c:pt>
                <c:pt idx="1556">
                  <c:v>49.695717000000002</c:v>
                </c:pt>
                <c:pt idx="1557">
                  <c:v>49.570717000000002</c:v>
                </c:pt>
                <c:pt idx="1558">
                  <c:v>48.951239999999999</c:v>
                </c:pt>
                <c:pt idx="1559">
                  <c:v>49.059742</c:v>
                </c:pt>
                <c:pt idx="1560">
                  <c:v>49.450232999999997</c:v>
                </c:pt>
                <c:pt idx="1561">
                  <c:v>49.339286999999999</c:v>
                </c:pt>
                <c:pt idx="1562">
                  <c:v>48.725433000000002</c:v>
                </c:pt>
                <c:pt idx="1563">
                  <c:v>48.545819999999999</c:v>
                </c:pt>
                <c:pt idx="1564">
                  <c:v>48.889552999999999</c:v>
                </c:pt>
                <c:pt idx="1565">
                  <c:v>48.513496000000004</c:v>
                </c:pt>
                <c:pt idx="1566">
                  <c:v>47.971798</c:v>
                </c:pt>
                <c:pt idx="1567">
                  <c:v>47.921272000000002</c:v>
                </c:pt>
                <c:pt idx="1568">
                  <c:v>47.876441999999997</c:v>
                </c:pt>
                <c:pt idx="1569">
                  <c:v>47.935966000000001</c:v>
                </c:pt>
                <c:pt idx="1570">
                  <c:v>48.133476000000002</c:v>
                </c:pt>
                <c:pt idx="1571">
                  <c:v>47.319664000000003</c:v>
                </c:pt>
                <c:pt idx="1572">
                  <c:v>47.090899999999998</c:v>
                </c:pt>
                <c:pt idx="1573">
                  <c:v>47.258156</c:v>
                </c:pt>
                <c:pt idx="1574">
                  <c:v>47.061030000000002</c:v>
                </c:pt>
                <c:pt idx="1575">
                  <c:v>47.097136999999996</c:v>
                </c:pt>
                <c:pt idx="1576">
                  <c:v>47.245583000000003</c:v>
                </c:pt>
                <c:pt idx="1577">
                  <c:v>47.213383</c:v>
                </c:pt>
                <c:pt idx="1578">
                  <c:v>47.332689999999999</c:v>
                </c:pt>
                <c:pt idx="1579">
                  <c:v>47.237667000000002</c:v>
                </c:pt>
                <c:pt idx="1580">
                  <c:v>47.454560000000001</c:v>
                </c:pt>
                <c:pt idx="1581">
                  <c:v>47.369636999999997</c:v>
                </c:pt>
                <c:pt idx="1582">
                  <c:v>47.040832999999999</c:v>
                </c:pt>
                <c:pt idx="1583">
                  <c:v>46.878709999999998</c:v>
                </c:pt>
                <c:pt idx="1584">
                  <c:v>46.561478000000001</c:v>
                </c:pt>
                <c:pt idx="1585">
                  <c:v>46.294865000000001</c:v>
                </c:pt>
                <c:pt idx="1586">
                  <c:v>46.925870000000003</c:v>
                </c:pt>
                <c:pt idx="1587">
                  <c:v>46.173831999999997</c:v>
                </c:pt>
                <c:pt idx="1588">
                  <c:v>45.76923</c:v>
                </c:pt>
                <c:pt idx="1589">
                  <c:v>45.841025999999999</c:v>
                </c:pt>
                <c:pt idx="1590">
                  <c:v>46.002341999999999</c:v>
                </c:pt>
                <c:pt idx="1591">
                  <c:v>46.337322</c:v>
                </c:pt>
                <c:pt idx="1592">
                  <c:v>45.792110000000001</c:v>
                </c:pt>
                <c:pt idx="1593">
                  <c:v>45.731762000000003</c:v>
                </c:pt>
                <c:pt idx="1594">
                  <c:v>45.772629999999999</c:v>
                </c:pt>
                <c:pt idx="1595">
                  <c:v>46.046100000000003</c:v>
                </c:pt>
                <c:pt idx="1596">
                  <c:v>46.377845999999998</c:v>
                </c:pt>
                <c:pt idx="1597">
                  <c:v>46.376460000000002</c:v>
                </c:pt>
                <c:pt idx="1598">
                  <c:v>46.828850000000003</c:v>
                </c:pt>
                <c:pt idx="1599">
                  <c:v>47.018265</c:v>
                </c:pt>
                <c:pt idx="1600">
                  <c:v>47.399334000000003</c:v>
                </c:pt>
                <c:pt idx="1601">
                  <c:v>47.747450000000001</c:v>
                </c:pt>
                <c:pt idx="1602">
                  <c:v>47.324134999999998</c:v>
                </c:pt>
                <c:pt idx="1603">
                  <c:v>47.774369999999998</c:v>
                </c:pt>
                <c:pt idx="1604">
                  <c:v>47.352629999999998</c:v>
                </c:pt>
                <c:pt idx="1605">
                  <c:v>47.786845999999997</c:v>
                </c:pt>
                <c:pt idx="1606">
                  <c:v>47.800494999999998</c:v>
                </c:pt>
                <c:pt idx="1607">
                  <c:v>48.556857999999998</c:v>
                </c:pt>
                <c:pt idx="1608">
                  <c:v>48.355891999999997</c:v>
                </c:pt>
                <c:pt idx="1609">
                  <c:v>48.501666999999998</c:v>
                </c:pt>
                <c:pt idx="1610">
                  <c:v>50.040480000000002</c:v>
                </c:pt>
                <c:pt idx="1611">
                  <c:v>49.547379999999997</c:v>
                </c:pt>
                <c:pt idx="1612">
                  <c:v>49.85087</c:v>
                </c:pt>
                <c:pt idx="1613">
                  <c:v>50.678795000000001</c:v>
                </c:pt>
                <c:pt idx="1614">
                  <c:v>51.02205</c:v>
                </c:pt>
                <c:pt idx="1615">
                  <c:v>51.05198</c:v>
                </c:pt>
                <c:pt idx="1616">
                  <c:v>50.861899999999999</c:v>
                </c:pt>
                <c:pt idx="1617">
                  <c:v>50.910719999999998</c:v>
                </c:pt>
                <c:pt idx="1618">
                  <c:v>50.780684999999998</c:v>
                </c:pt>
                <c:pt idx="1619">
                  <c:v>50.800182</c:v>
                </c:pt>
                <c:pt idx="1620">
                  <c:v>51.201709999999999</c:v>
                </c:pt>
                <c:pt idx="1621">
                  <c:v>50.857081999999998</c:v>
                </c:pt>
                <c:pt idx="1622">
                  <c:v>50.926422000000002</c:v>
                </c:pt>
                <c:pt idx="1623">
                  <c:v>50.878245999999997</c:v>
                </c:pt>
                <c:pt idx="1624">
                  <c:v>50.817779999999999</c:v>
                </c:pt>
                <c:pt idx="1625">
                  <c:v>50.838790000000003</c:v>
                </c:pt>
                <c:pt idx="1626">
                  <c:v>50.776539999999997</c:v>
                </c:pt>
                <c:pt idx="1627">
                  <c:v>50.442562000000002</c:v>
                </c:pt>
                <c:pt idx="1628">
                  <c:v>49.900883</c:v>
                </c:pt>
                <c:pt idx="1629">
                  <c:v>49.937176000000001</c:v>
                </c:pt>
                <c:pt idx="1630">
                  <c:v>49.781109999999998</c:v>
                </c:pt>
                <c:pt idx="1631">
                  <c:v>49.661315999999999</c:v>
                </c:pt>
                <c:pt idx="1632">
                  <c:v>49.746535999999999</c:v>
                </c:pt>
                <c:pt idx="1633">
                  <c:v>49.778168000000001</c:v>
                </c:pt>
                <c:pt idx="1634">
                  <c:v>49.787967999999999</c:v>
                </c:pt>
                <c:pt idx="1635">
                  <c:v>50.144362999999998</c:v>
                </c:pt>
                <c:pt idx="1636">
                  <c:v>49.952199999999998</c:v>
                </c:pt>
                <c:pt idx="1637">
                  <c:v>49.637478000000002</c:v>
                </c:pt>
                <c:pt idx="1638">
                  <c:v>49.727634000000002</c:v>
                </c:pt>
                <c:pt idx="1639">
                  <c:v>49.851819999999996</c:v>
                </c:pt>
                <c:pt idx="1640">
                  <c:v>49.788359999999997</c:v>
                </c:pt>
                <c:pt idx="1641">
                  <c:v>49.981544</c:v>
                </c:pt>
                <c:pt idx="1642">
                  <c:v>49.897902999999999</c:v>
                </c:pt>
                <c:pt idx="1643">
                  <c:v>49.678440000000002</c:v>
                </c:pt>
                <c:pt idx="1644">
                  <c:v>49.609276000000001</c:v>
                </c:pt>
                <c:pt idx="1645">
                  <c:v>49.634673999999997</c:v>
                </c:pt>
                <c:pt idx="1646">
                  <c:v>49.594459999999998</c:v>
                </c:pt>
                <c:pt idx="1647">
                  <c:v>49.767040000000001</c:v>
                </c:pt>
                <c:pt idx="1648">
                  <c:v>49.858657999999998</c:v>
                </c:pt>
                <c:pt idx="1649">
                  <c:v>49.795856000000001</c:v>
                </c:pt>
                <c:pt idx="1650">
                  <c:v>50.014187</c:v>
                </c:pt>
                <c:pt idx="1651">
                  <c:v>50.275986000000003</c:v>
                </c:pt>
                <c:pt idx="1652">
                  <c:v>49.937016</c:v>
                </c:pt>
                <c:pt idx="1653">
                  <c:v>50.039093000000001</c:v>
                </c:pt>
                <c:pt idx="1654">
                  <c:v>50.044635999999997</c:v>
                </c:pt>
                <c:pt idx="1655">
                  <c:v>50.723824</c:v>
                </c:pt>
                <c:pt idx="1656">
                  <c:v>50.882689999999997</c:v>
                </c:pt>
                <c:pt idx="1657">
                  <c:v>50.724220000000003</c:v>
                </c:pt>
                <c:pt idx="1658">
                  <c:v>50.986522999999998</c:v>
                </c:pt>
                <c:pt idx="1659">
                  <c:v>50.912579999999998</c:v>
                </c:pt>
                <c:pt idx="1660">
                  <c:v>50.577682000000003</c:v>
                </c:pt>
                <c:pt idx="1661">
                  <c:v>50.017757000000003</c:v>
                </c:pt>
                <c:pt idx="1662">
                  <c:v>50.087226999999999</c:v>
                </c:pt>
                <c:pt idx="1663">
                  <c:v>49.978059999999999</c:v>
                </c:pt>
                <c:pt idx="1664">
                  <c:v>50.802199999999999</c:v>
                </c:pt>
                <c:pt idx="1665">
                  <c:v>50.825400000000002</c:v>
                </c:pt>
                <c:pt idx="1666">
                  <c:v>50.832090000000001</c:v>
                </c:pt>
                <c:pt idx="1667">
                  <c:v>50.655642999999998</c:v>
                </c:pt>
                <c:pt idx="1668">
                  <c:v>50.701976999999999</c:v>
                </c:pt>
                <c:pt idx="1669">
                  <c:v>50.587814000000002</c:v>
                </c:pt>
                <c:pt idx="1670">
                  <c:v>50.177757</c:v>
                </c:pt>
                <c:pt idx="1671">
                  <c:v>50.044764999999998</c:v>
                </c:pt>
                <c:pt idx="1672">
                  <c:v>49.891770000000001</c:v>
                </c:pt>
                <c:pt idx="1673">
                  <c:v>49.944249999999997</c:v>
                </c:pt>
                <c:pt idx="1674">
                  <c:v>49.827472999999998</c:v>
                </c:pt>
                <c:pt idx="1675">
                  <c:v>49.801043999999997</c:v>
                </c:pt>
                <c:pt idx="1676">
                  <c:v>49.924236000000001</c:v>
                </c:pt>
                <c:pt idx="1677">
                  <c:v>50.100364999999996</c:v>
                </c:pt>
                <c:pt idx="1678">
                  <c:v>50.084763000000002</c:v>
                </c:pt>
                <c:pt idx="1679">
                  <c:v>50.380146000000003</c:v>
                </c:pt>
                <c:pt idx="1680">
                  <c:v>50.470215000000003</c:v>
                </c:pt>
                <c:pt idx="1681">
                  <c:v>50.688457</c:v>
                </c:pt>
                <c:pt idx="1682">
                  <c:v>50.763570000000001</c:v>
                </c:pt>
                <c:pt idx="1683">
                  <c:v>50.763123</c:v>
                </c:pt>
                <c:pt idx="1684">
                  <c:v>50.763446999999999</c:v>
                </c:pt>
                <c:pt idx="1685">
                  <c:v>50.805529999999997</c:v>
                </c:pt>
                <c:pt idx="1686">
                  <c:v>50.978999999999999</c:v>
                </c:pt>
                <c:pt idx="1687">
                  <c:v>51.075671999999997</c:v>
                </c:pt>
                <c:pt idx="1688">
                  <c:v>51.209119999999999</c:v>
                </c:pt>
                <c:pt idx="1689">
                  <c:v>51.282420000000002</c:v>
                </c:pt>
                <c:pt idx="1690">
                  <c:v>51.380279999999999</c:v>
                </c:pt>
                <c:pt idx="1691">
                  <c:v>51.241999999999997</c:v>
                </c:pt>
                <c:pt idx="1692">
                  <c:v>51.574689999999997</c:v>
                </c:pt>
                <c:pt idx="1693">
                  <c:v>51.677543999999997</c:v>
                </c:pt>
                <c:pt idx="1694">
                  <c:v>51.684570000000001</c:v>
                </c:pt>
                <c:pt idx="1695">
                  <c:v>51.521065</c:v>
                </c:pt>
                <c:pt idx="1696">
                  <c:v>51.440604999999998</c:v>
                </c:pt>
                <c:pt idx="1697">
                  <c:v>50.948140000000002</c:v>
                </c:pt>
                <c:pt idx="1698">
                  <c:v>50.729970000000002</c:v>
                </c:pt>
                <c:pt idx="1699">
                  <c:v>50.861781999999998</c:v>
                </c:pt>
                <c:pt idx="1700">
                  <c:v>50.876784999999998</c:v>
                </c:pt>
                <c:pt idx="1701">
                  <c:v>50.844982000000002</c:v>
                </c:pt>
                <c:pt idx="1702">
                  <c:v>50.866183999999997</c:v>
                </c:pt>
                <c:pt idx="1703">
                  <c:v>50.948642999999997</c:v>
                </c:pt>
                <c:pt idx="1704">
                  <c:v>50.941605000000003</c:v>
                </c:pt>
                <c:pt idx="1705">
                  <c:v>50.897829999999999</c:v>
                </c:pt>
                <c:pt idx="1706">
                  <c:v>50.771152000000001</c:v>
                </c:pt>
                <c:pt idx="1707">
                  <c:v>50.841487999999998</c:v>
                </c:pt>
                <c:pt idx="1708">
                  <c:v>51.062289999999997</c:v>
                </c:pt>
                <c:pt idx="1709">
                  <c:v>51.255623</c:v>
                </c:pt>
                <c:pt idx="1710">
                  <c:v>51.294455999999997</c:v>
                </c:pt>
                <c:pt idx="1711">
                  <c:v>51.24248</c:v>
                </c:pt>
                <c:pt idx="1712">
                  <c:v>51.279310000000002</c:v>
                </c:pt>
                <c:pt idx="1713">
                  <c:v>51.18459</c:v>
                </c:pt>
                <c:pt idx="1714">
                  <c:v>51.177930000000003</c:v>
                </c:pt>
                <c:pt idx="1715">
                  <c:v>51.235239999999997</c:v>
                </c:pt>
                <c:pt idx="1716">
                  <c:v>51.155673999999998</c:v>
                </c:pt>
                <c:pt idx="1717">
                  <c:v>51.368167999999997</c:v>
                </c:pt>
                <c:pt idx="1718">
                  <c:v>51.263404999999999</c:v>
                </c:pt>
                <c:pt idx="1719">
                  <c:v>51.339866999999998</c:v>
                </c:pt>
                <c:pt idx="1720">
                  <c:v>51.593113000000002</c:v>
                </c:pt>
                <c:pt idx="1721">
                  <c:v>51.721089999999997</c:v>
                </c:pt>
                <c:pt idx="1722">
                  <c:v>51.793517999999999</c:v>
                </c:pt>
                <c:pt idx="1723">
                  <c:v>51.834637000000001</c:v>
                </c:pt>
                <c:pt idx="1724">
                  <c:v>52.021442</c:v>
                </c:pt>
                <c:pt idx="1725">
                  <c:v>52.044319999999999</c:v>
                </c:pt>
                <c:pt idx="1726">
                  <c:v>52.443302000000003</c:v>
                </c:pt>
                <c:pt idx="1727">
                  <c:v>52.107517000000001</c:v>
                </c:pt>
                <c:pt idx="1728">
                  <c:v>51.947890000000001</c:v>
                </c:pt>
                <c:pt idx="1729">
                  <c:v>52.111379999999997</c:v>
                </c:pt>
                <c:pt idx="1730">
                  <c:v>52.193263999999999</c:v>
                </c:pt>
                <c:pt idx="1731">
                  <c:v>52.179394000000002</c:v>
                </c:pt>
                <c:pt idx="1732">
                  <c:v>52.285029999999999</c:v>
                </c:pt>
                <c:pt idx="1733">
                  <c:v>52.519114999999999</c:v>
                </c:pt>
                <c:pt idx="1734">
                  <c:v>52.482559999999999</c:v>
                </c:pt>
                <c:pt idx="1735">
                  <c:v>52.61515</c:v>
                </c:pt>
                <c:pt idx="1736">
                  <c:v>52.472683000000004</c:v>
                </c:pt>
                <c:pt idx="1737">
                  <c:v>52.550724000000002</c:v>
                </c:pt>
                <c:pt idx="1738">
                  <c:v>52.821765999999997</c:v>
                </c:pt>
                <c:pt idx="1739">
                  <c:v>52.769306</c:v>
                </c:pt>
                <c:pt idx="1740">
                  <c:v>52.918419999999998</c:v>
                </c:pt>
                <c:pt idx="1741">
                  <c:v>53.075733</c:v>
                </c:pt>
                <c:pt idx="1742">
                  <c:v>53.187083999999999</c:v>
                </c:pt>
                <c:pt idx="1743">
                  <c:v>53.048904</c:v>
                </c:pt>
                <c:pt idx="1744">
                  <c:v>53.282800000000002</c:v>
                </c:pt>
                <c:pt idx="1745">
                  <c:v>53.24483</c:v>
                </c:pt>
                <c:pt idx="1746">
                  <c:v>53.337609999999998</c:v>
                </c:pt>
                <c:pt idx="1747">
                  <c:v>53.371634999999998</c:v>
                </c:pt>
                <c:pt idx="1748">
                  <c:v>53.15549</c:v>
                </c:pt>
                <c:pt idx="1749">
                  <c:v>53.16574</c:v>
                </c:pt>
                <c:pt idx="1750">
                  <c:v>53.228409999999997</c:v>
                </c:pt>
                <c:pt idx="1751">
                  <c:v>53.136609999999997</c:v>
                </c:pt>
                <c:pt idx="1752">
                  <c:v>53.411799999999999</c:v>
                </c:pt>
                <c:pt idx="1753">
                  <c:v>53.179802000000002</c:v>
                </c:pt>
                <c:pt idx="1754">
                  <c:v>52.960644000000002</c:v>
                </c:pt>
                <c:pt idx="1755">
                  <c:v>53.20205</c:v>
                </c:pt>
                <c:pt idx="1756">
                  <c:v>53.221812999999997</c:v>
                </c:pt>
                <c:pt idx="1757">
                  <c:v>53.268818000000003</c:v>
                </c:pt>
                <c:pt idx="1758">
                  <c:v>53.287520000000001</c:v>
                </c:pt>
                <c:pt idx="1759">
                  <c:v>53.366066000000004</c:v>
                </c:pt>
                <c:pt idx="1760">
                  <c:v>53.420223</c:v>
                </c:pt>
                <c:pt idx="1761">
                  <c:v>53.609413000000004</c:v>
                </c:pt>
                <c:pt idx="1762">
                  <c:v>53.633057000000001</c:v>
                </c:pt>
                <c:pt idx="1763">
                  <c:v>53.745846</c:v>
                </c:pt>
                <c:pt idx="1764">
                  <c:v>53.759014000000001</c:v>
                </c:pt>
                <c:pt idx="1765">
                  <c:v>53.648926000000003</c:v>
                </c:pt>
                <c:pt idx="1766">
                  <c:v>53.667285999999997</c:v>
                </c:pt>
                <c:pt idx="1767">
                  <c:v>53.688057000000001</c:v>
                </c:pt>
                <c:pt idx="1768">
                  <c:v>53.42266</c:v>
                </c:pt>
                <c:pt idx="1769">
                  <c:v>52.951552999999997</c:v>
                </c:pt>
                <c:pt idx="1770">
                  <c:v>52.592210000000001</c:v>
                </c:pt>
                <c:pt idx="1771">
                  <c:v>52.084071999999999</c:v>
                </c:pt>
                <c:pt idx="1772">
                  <c:v>51.906649999999999</c:v>
                </c:pt>
                <c:pt idx="1773">
                  <c:v>51.546245999999996</c:v>
                </c:pt>
                <c:pt idx="1774">
                  <c:v>51.194533999999997</c:v>
                </c:pt>
                <c:pt idx="1775">
                  <c:v>51.314883999999999</c:v>
                </c:pt>
                <c:pt idx="1776">
                  <c:v>51.013126</c:v>
                </c:pt>
                <c:pt idx="1777">
                  <c:v>50.851379999999999</c:v>
                </c:pt>
                <c:pt idx="1778">
                  <c:v>49.943362999999998</c:v>
                </c:pt>
                <c:pt idx="1779">
                  <c:v>49.832718</c:v>
                </c:pt>
                <c:pt idx="1780">
                  <c:v>48.997790000000002</c:v>
                </c:pt>
                <c:pt idx="1781">
                  <c:v>47.665799999999997</c:v>
                </c:pt>
                <c:pt idx="1782">
                  <c:v>47.767307000000002</c:v>
                </c:pt>
                <c:pt idx="1783">
                  <c:v>46.193820000000002</c:v>
                </c:pt>
                <c:pt idx="1784">
                  <c:v>46.212082000000002</c:v>
                </c:pt>
                <c:pt idx="1785">
                  <c:v>45.703826999999997</c:v>
                </c:pt>
                <c:pt idx="1786">
                  <c:v>45.651780000000002</c:v>
                </c:pt>
                <c:pt idx="1787">
                  <c:v>45.207569999999997</c:v>
                </c:pt>
                <c:pt idx="1788">
                  <c:v>44.427160000000001</c:v>
                </c:pt>
                <c:pt idx="1789">
                  <c:v>45.231712000000002</c:v>
                </c:pt>
                <c:pt idx="1790">
                  <c:v>45.93656</c:v>
                </c:pt>
                <c:pt idx="1791">
                  <c:v>47.49729</c:v>
                </c:pt>
                <c:pt idx="1792">
                  <c:v>48.11506</c:v>
                </c:pt>
                <c:pt idx="1793">
                  <c:v>49.227035999999998</c:v>
                </c:pt>
                <c:pt idx="1794">
                  <c:v>49.694243999999998</c:v>
                </c:pt>
                <c:pt idx="1795">
                  <c:v>48.954903000000002</c:v>
                </c:pt>
                <c:pt idx="1796">
                  <c:v>48.550167000000002</c:v>
                </c:pt>
                <c:pt idx="1797">
                  <c:v>48.203311999999997</c:v>
                </c:pt>
                <c:pt idx="1798">
                  <c:v>49.101779999999998</c:v>
                </c:pt>
                <c:pt idx="1799">
                  <c:v>49.412089999999999</c:v>
                </c:pt>
                <c:pt idx="1800">
                  <c:v>49.941142999999997</c:v>
                </c:pt>
                <c:pt idx="1801">
                  <c:v>50.42127</c:v>
                </c:pt>
                <c:pt idx="1802">
                  <c:v>50.573970000000003</c:v>
                </c:pt>
                <c:pt idx="1803">
                  <c:v>51.057766000000001</c:v>
                </c:pt>
                <c:pt idx="1804">
                  <c:v>50.705880000000001</c:v>
                </c:pt>
                <c:pt idx="1805">
                  <c:v>50.899140000000003</c:v>
                </c:pt>
                <c:pt idx="1806">
                  <c:v>51.308425999999997</c:v>
                </c:pt>
                <c:pt idx="1807">
                  <c:v>51.244155999999997</c:v>
                </c:pt>
                <c:pt idx="1808">
                  <c:v>51.100929999999998</c:v>
                </c:pt>
                <c:pt idx="1809">
                  <c:v>50.755916999999997</c:v>
                </c:pt>
                <c:pt idx="1810">
                  <c:v>50.782969999999999</c:v>
                </c:pt>
                <c:pt idx="1811">
                  <c:v>50.772345999999999</c:v>
                </c:pt>
                <c:pt idx="1812">
                  <c:v>51.081856000000002</c:v>
                </c:pt>
                <c:pt idx="1813">
                  <c:v>50.991962000000001</c:v>
                </c:pt>
                <c:pt idx="1814">
                  <c:v>51.161372999999998</c:v>
                </c:pt>
                <c:pt idx="1815">
                  <c:v>51.202840000000002</c:v>
                </c:pt>
                <c:pt idx="1816">
                  <c:v>50.496780000000001</c:v>
                </c:pt>
                <c:pt idx="1817">
                  <c:v>50.330322000000002</c:v>
                </c:pt>
                <c:pt idx="1818">
                  <c:v>49.635063000000002</c:v>
                </c:pt>
                <c:pt idx="1819">
                  <c:v>49.395989999999998</c:v>
                </c:pt>
                <c:pt idx="1820">
                  <c:v>49.523910000000001</c:v>
                </c:pt>
                <c:pt idx="1821">
                  <c:v>49.770899999999997</c:v>
                </c:pt>
                <c:pt idx="1822">
                  <c:v>49.788822000000003</c:v>
                </c:pt>
                <c:pt idx="1823">
                  <c:v>49.62894</c:v>
                </c:pt>
                <c:pt idx="1824">
                  <c:v>49.565399999999997</c:v>
                </c:pt>
                <c:pt idx="1825">
                  <c:v>49.715065000000003</c:v>
                </c:pt>
                <c:pt idx="1826">
                  <c:v>49.732455999999999</c:v>
                </c:pt>
                <c:pt idx="1827">
                  <c:v>49.690036999999997</c:v>
                </c:pt>
                <c:pt idx="1828">
                  <c:v>49.558439999999997</c:v>
                </c:pt>
                <c:pt idx="1829">
                  <c:v>50.013474000000002</c:v>
                </c:pt>
                <c:pt idx="1830">
                  <c:v>49.875847</c:v>
                </c:pt>
                <c:pt idx="1831">
                  <c:v>49.988308000000004</c:v>
                </c:pt>
                <c:pt idx="1832">
                  <c:v>50.472748000000003</c:v>
                </c:pt>
                <c:pt idx="1833">
                  <c:v>50.980879999999999</c:v>
                </c:pt>
                <c:pt idx="1834">
                  <c:v>50.617373999999998</c:v>
                </c:pt>
                <c:pt idx="1835">
                  <c:v>51.467370000000003</c:v>
                </c:pt>
                <c:pt idx="1836">
                  <c:v>50.65175</c:v>
                </c:pt>
                <c:pt idx="1837">
                  <c:v>50.761479999999999</c:v>
                </c:pt>
                <c:pt idx="1838">
                  <c:v>51.092804000000001</c:v>
                </c:pt>
                <c:pt idx="1839">
                  <c:v>51.143737999999999</c:v>
                </c:pt>
                <c:pt idx="1840">
                  <c:v>51.738247000000001</c:v>
                </c:pt>
                <c:pt idx="1841">
                  <c:v>52.13138</c:v>
                </c:pt>
                <c:pt idx="1842">
                  <c:v>52.142868</c:v>
                </c:pt>
                <c:pt idx="1843">
                  <c:v>52.157352000000003</c:v>
                </c:pt>
                <c:pt idx="1844">
                  <c:v>51.866604000000002</c:v>
                </c:pt>
                <c:pt idx="1845">
                  <c:v>51.475417999999998</c:v>
                </c:pt>
                <c:pt idx="1846">
                  <c:v>51.328989999999997</c:v>
                </c:pt>
                <c:pt idx="1847">
                  <c:v>51.504905999999998</c:v>
                </c:pt>
                <c:pt idx="1848">
                  <c:v>51.433199999999999</c:v>
                </c:pt>
                <c:pt idx="1849">
                  <c:v>51.472070000000002</c:v>
                </c:pt>
                <c:pt idx="1850">
                  <c:v>52.051575</c:v>
                </c:pt>
                <c:pt idx="1851">
                  <c:v>51.850802999999999</c:v>
                </c:pt>
                <c:pt idx="1852">
                  <c:v>51.807499999999997</c:v>
                </c:pt>
                <c:pt idx="1853">
                  <c:v>51.697777000000002</c:v>
                </c:pt>
                <c:pt idx="1854">
                  <c:v>51.621796000000003</c:v>
                </c:pt>
                <c:pt idx="1855">
                  <c:v>51.624854999999997</c:v>
                </c:pt>
                <c:pt idx="1856">
                  <c:v>51.457047000000003</c:v>
                </c:pt>
                <c:pt idx="1857">
                  <c:v>51.739193</c:v>
                </c:pt>
                <c:pt idx="1858">
                  <c:v>51.597659999999998</c:v>
                </c:pt>
                <c:pt idx="1859">
                  <c:v>51.696956999999998</c:v>
                </c:pt>
                <c:pt idx="1860">
                  <c:v>52.0139</c:v>
                </c:pt>
                <c:pt idx="1861">
                  <c:v>52.038849999999996</c:v>
                </c:pt>
                <c:pt idx="1862">
                  <c:v>52.153294000000002</c:v>
                </c:pt>
                <c:pt idx="1863">
                  <c:v>52.229464999999998</c:v>
                </c:pt>
                <c:pt idx="1864">
                  <c:v>52.391182000000001</c:v>
                </c:pt>
                <c:pt idx="1865">
                  <c:v>52.392223000000001</c:v>
                </c:pt>
                <c:pt idx="1866">
                  <c:v>52.532626999999998</c:v>
                </c:pt>
                <c:pt idx="1867">
                  <c:v>52.922783000000003</c:v>
                </c:pt>
                <c:pt idx="1868">
                  <c:v>52.643562000000003</c:v>
                </c:pt>
                <c:pt idx="1869">
                  <c:v>52.746707999999998</c:v>
                </c:pt>
                <c:pt idx="1870">
                  <c:v>52.969659999999998</c:v>
                </c:pt>
                <c:pt idx="1871">
                  <c:v>53.363149999999997</c:v>
                </c:pt>
                <c:pt idx="1872">
                  <c:v>53.634999999999998</c:v>
                </c:pt>
                <c:pt idx="1873">
                  <c:v>53.138939999999998</c:v>
                </c:pt>
                <c:pt idx="1874">
                  <c:v>52.992705999999998</c:v>
                </c:pt>
                <c:pt idx="1875">
                  <c:v>53.039864000000001</c:v>
                </c:pt>
                <c:pt idx="1876">
                  <c:v>52.877369999999999</c:v>
                </c:pt>
                <c:pt idx="1877">
                  <c:v>52.956237999999999</c:v>
                </c:pt>
                <c:pt idx="1878">
                  <c:v>53.120579999999997</c:v>
                </c:pt>
                <c:pt idx="1879">
                  <c:v>53.225560000000002</c:v>
                </c:pt>
                <c:pt idx="1880">
                  <c:v>53.301654999999997</c:v>
                </c:pt>
                <c:pt idx="1881">
                  <c:v>53.302562999999999</c:v>
                </c:pt>
                <c:pt idx="1882">
                  <c:v>53.392547999999998</c:v>
                </c:pt>
                <c:pt idx="1883">
                  <c:v>53.530056000000002</c:v>
                </c:pt>
                <c:pt idx="1884">
                  <c:v>53.671979999999998</c:v>
                </c:pt>
                <c:pt idx="1885">
                  <c:v>53.753796000000001</c:v>
                </c:pt>
                <c:pt idx="1886">
                  <c:v>53.898380000000003</c:v>
                </c:pt>
                <c:pt idx="1887">
                  <c:v>53.764679999999998</c:v>
                </c:pt>
                <c:pt idx="1888">
                  <c:v>53.790855000000001</c:v>
                </c:pt>
                <c:pt idx="1889">
                  <c:v>53.813899999999997</c:v>
                </c:pt>
                <c:pt idx="1890">
                  <c:v>53.812095999999997</c:v>
                </c:pt>
                <c:pt idx="1891">
                  <c:v>53.885094000000002</c:v>
                </c:pt>
                <c:pt idx="1892">
                  <c:v>54.163580000000003</c:v>
                </c:pt>
                <c:pt idx="1893">
                  <c:v>53.996093999999999</c:v>
                </c:pt>
                <c:pt idx="1894">
                  <c:v>54.158104000000002</c:v>
                </c:pt>
                <c:pt idx="1895">
                  <c:v>54.081584999999997</c:v>
                </c:pt>
                <c:pt idx="1896">
                  <c:v>54.094209999999997</c:v>
                </c:pt>
                <c:pt idx="1897">
                  <c:v>54.311157000000001</c:v>
                </c:pt>
                <c:pt idx="1898">
                  <c:v>54.456035999999997</c:v>
                </c:pt>
                <c:pt idx="1899">
                  <c:v>54.816715000000002</c:v>
                </c:pt>
                <c:pt idx="1900">
                  <c:v>54.991183999999997</c:v>
                </c:pt>
                <c:pt idx="1901">
                  <c:v>54.887860000000003</c:v>
                </c:pt>
                <c:pt idx="1902">
                  <c:v>55.589460000000003</c:v>
                </c:pt>
                <c:pt idx="1903">
                  <c:v>55.256577</c:v>
                </c:pt>
                <c:pt idx="1904">
                  <c:v>55.020269999999996</c:v>
                </c:pt>
                <c:pt idx="1905">
                  <c:v>54.495292999999997</c:v>
                </c:pt>
                <c:pt idx="1906">
                  <c:v>54.379989999999999</c:v>
                </c:pt>
                <c:pt idx="1907">
                  <c:v>54.1648</c:v>
                </c:pt>
                <c:pt idx="1908">
                  <c:v>54.159640000000003</c:v>
                </c:pt>
                <c:pt idx="1909">
                  <c:v>53.953560000000003</c:v>
                </c:pt>
                <c:pt idx="1910">
                  <c:v>54.073256999999998</c:v>
                </c:pt>
                <c:pt idx="1911">
                  <c:v>54.167540000000002</c:v>
                </c:pt>
                <c:pt idx="1912">
                  <c:v>54.020904999999999</c:v>
                </c:pt>
                <c:pt idx="1913">
                  <c:v>54.249749999999999</c:v>
                </c:pt>
                <c:pt idx="1914">
                  <c:v>53.856490000000001</c:v>
                </c:pt>
                <c:pt idx="1915">
                  <c:v>53.669421999999997</c:v>
                </c:pt>
                <c:pt idx="1916">
                  <c:v>53.511547</c:v>
                </c:pt>
                <c:pt idx="1917">
                  <c:v>53.400703</c:v>
                </c:pt>
                <c:pt idx="1918">
                  <c:v>53.346237000000002</c:v>
                </c:pt>
                <c:pt idx="1919">
                  <c:v>53.490135000000002</c:v>
                </c:pt>
                <c:pt idx="1920">
                  <c:v>53.592064000000001</c:v>
                </c:pt>
                <c:pt idx="1921">
                  <c:v>53.862900000000003</c:v>
                </c:pt>
                <c:pt idx="1922">
                  <c:v>54.063000000000002</c:v>
                </c:pt>
                <c:pt idx="1923">
                  <c:v>53.899814999999997</c:v>
                </c:pt>
                <c:pt idx="1924">
                  <c:v>53.937603000000003</c:v>
                </c:pt>
                <c:pt idx="1925">
                  <c:v>53.838496999999997</c:v>
                </c:pt>
                <c:pt idx="1926">
                  <c:v>54.001530000000002</c:v>
                </c:pt>
                <c:pt idx="1927">
                  <c:v>54.243606999999997</c:v>
                </c:pt>
                <c:pt idx="1928">
                  <c:v>54.409092000000001</c:v>
                </c:pt>
                <c:pt idx="1929">
                  <c:v>54.664230000000003</c:v>
                </c:pt>
                <c:pt idx="1930">
                  <c:v>54.848522000000003</c:v>
                </c:pt>
                <c:pt idx="1931">
                  <c:v>54.710149999999999</c:v>
                </c:pt>
                <c:pt idx="1932">
                  <c:v>54.647311999999999</c:v>
                </c:pt>
                <c:pt idx="1933">
                  <c:v>54.776736999999997</c:v>
                </c:pt>
                <c:pt idx="1934">
                  <c:v>54.475357000000002</c:v>
                </c:pt>
                <c:pt idx="1935">
                  <c:v>54.463664999999999</c:v>
                </c:pt>
                <c:pt idx="1936">
                  <c:v>54.479770000000002</c:v>
                </c:pt>
                <c:pt idx="1937">
                  <c:v>54.815463999999999</c:v>
                </c:pt>
                <c:pt idx="1938">
                  <c:v>54.63599</c:v>
                </c:pt>
                <c:pt idx="1939">
                  <c:v>54.49841</c:v>
                </c:pt>
                <c:pt idx="1940">
                  <c:v>54.359580000000001</c:v>
                </c:pt>
                <c:pt idx="1941">
                  <c:v>54.148989999999998</c:v>
                </c:pt>
                <c:pt idx="1942">
                  <c:v>53.910316000000002</c:v>
                </c:pt>
                <c:pt idx="1943">
                  <c:v>53.691090000000003</c:v>
                </c:pt>
                <c:pt idx="1944">
                  <c:v>53.667712999999999</c:v>
                </c:pt>
                <c:pt idx="1945">
                  <c:v>53.852176999999998</c:v>
                </c:pt>
                <c:pt idx="1946">
                  <c:v>54.074759999999998</c:v>
                </c:pt>
                <c:pt idx="1947">
                  <c:v>54.403126</c:v>
                </c:pt>
                <c:pt idx="1948">
                  <c:v>54.460720000000002</c:v>
                </c:pt>
                <c:pt idx="1949">
                  <c:v>55.574829999999999</c:v>
                </c:pt>
                <c:pt idx="1950">
                  <c:v>55.666379999999997</c:v>
                </c:pt>
                <c:pt idx="1951">
                  <c:v>55.377560000000003</c:v>
                </c:pt>
                <c:pt idx="1952">
                  <c:v>55.216698000000001</c:v>
                </c:pt>
                <c:pt idx="1953">
                  <c:v>55.222588000000002</c:v>
                </c:pt>
                <c:pt idx="1954">
                  <c:v>55.482964000000003</c:v>
                </c:pt>
                <c:pt idx="1955">
                  <c:v>55.515495000000001</c:v>
                </c:pt>
                <c:pt idx="1956">
                  <c:v>55.485312999999998</c:v>
                </c:pt>
                <c:pt idx="1957">
                  <c:v>55.582009999999997</c:v>
                </c:pt>
                <c:pt idx="1958">
                  <c:v>55.475124000000001</c:v>
                </c:pt>
                <c:pt idx="1959">
                  <c:v>55.399830000000001</c:v>
                </c:pt>
                <c:pt idx="1960">
                  <c:v>55.569189999999999</c:v>
                </c:pt>
                <c:pt idx="1961">
                  <c:v>55.474327000000002</c:v>
                </c:pt>
                <c:pt idx="1962">
                  <c:v>55.433211999999997</c:v>
                </c:pt>
                <c:pt idx="1963">
                  <c:v>56.700879999999998</c:v>
                </c:pt>
                <c:pt idx="1964">
                  <c:v>56.100586</c:v>
                </c:pt>
                <c:pt idx="1965">
                  <c:v>55.959150000000001</c:v>
                </c:pt>
                <c:pt idx="1966">
                  <c:v>56.057729999999999</c:v>
                </c:pt>
                <c:pt idx="1967">
                  <c:v>56.190013999999998</c:v>
                </c:pt>
                <c:pt idx="1968">
                  <c:v>56.153095</c:v>
                </c:pt>
                <c:pt idx="1969">
                  <c:v>56.037149999999997</c:v>
                </c:pt>
                <c:pt idx="1970">
                  <c:v>55.919220000000003</c:v>
                </c:pt>
                <c:pt idx="1971">
                  <c:v>55.889940000000003</c:v>
                </c:pt>
                <c:pt idx="1972">
                  <c:v>55.794353000000001</c:v>
                </c:pt>
                <c:pt idx="1973">
                  <c:v>56.208495999999997</c:v>
                </c:pt>
                <c:pt idx="1974">
                  <c:v>56.132620000000003</c:v>
                </c:pt>
                <c:pt idx="1975">
                  <c:v>56.155963999999997</c:v>
                </c:pt>
                <c:pt idx="1976">
                  <c:v>56.106969999999997</c:v>
                </c:pt>
                <c:pt idx="1977">
                  <c:v>56.979349999999997</c:v>
                </c:pt>
                <c:pt idx="1978">
                  <c:v>56.292313</c:v>
                </c:pt>
                <c:pt idx="1979">
                  <c:v>55.968837999999998</c:v>
                </c:pt>
                <c:pt idx="1980">
                  <c:v>55.771698000000001</c:v>
                </c:pt>
                <c:pt idx="1981">
                  <c:v>55.56579</c:v>
                </c:pt>
                <c:pt idx="1982">
                  <c:v>55.848025999999997</c:v>
                </c:pt>
                <c:pt idx="1983">
                  <c:v>55.85877</c:v>
                </c:pt>
                <c:pt idx="1984">
                  <c:v>55.876044999999998</c:v>
                </c:pt>
                <c:pt idx="1985">
                  <c:v>55.96237</c:v>
                </c:pt>
                <c:pt idx="1986">
                  <c:v>56.574173000000002</c:v>
                </c:pt>
                <c:pt idx="1987">
                  <c:v>56.519489999999998</c:v>
                </c:pt>
                <c:pt idx="1988">
                  <c:v>57.278174999999997</c:v>
                </c:pt>
                <c:pt idx="1989">
                  <c:v>57.954501999999998</c:v>
                </c:pt>
                <c:pt idx="1990">
                  <c:v>57.356605999999999</c:v>
                </c:pt>
                <c:pt idx="1991">
                  <c:v>56.935555000000001</c:v>
                </c:pt>
                <c:pt idx="1992">
                  <c:v>56.878025000000001</c:v>
                </c:pt>
                <c:pt idx="1993">
                  <c:v>56.897086999999999</c:v>
                </c:pt>
                <c:pt idx="1994">
                  <c:v>57.45599</c:v>
                </c:pt>
                <c:pt idx="1995">
                  <c:v>57.097087999999999</c:v>
                </c:pt>
                <c:pt idx="1996">
                  <c:v>57.302925000000002</c:v>
                </c:pt>
                <c:pt idx="1997">
                  <c:v>57.233780000000003</c:v>
                </c:pt>
                <c:pt idx="1998">
                  <c:v>57.143787000000003</c:v>
                </c:pt>
                <c:pt idx="1999">
                  <c:v>56.953249999999997</c:v>
                </c:pt>
                <c:pt idx="2000">
                  <c:v>57.008803999999998</c:v>
                </c:pt>
                <c:pt idx="2001">
                  <c:v>56.85163</c:v>
                </c:pt>
                <c:pt idx="2002">
                  <c:v>56.950589999999998</c:v>
                </c:pt>
                <c:pt idx="2003">
                  <c:v>56.831344999999999</c:v>
                </c:pt>
                <c:pt idx="2004">
                  <c:v>56.682228000000002</c:v>
                </c:pt>
                <c:pt idx="2005">
                  <c:v>56.469265</c:v>
                </c:pt>
                <c:pt idx="2006">
                  <c:v>56.612693999999998</c:v>
                </c:pt>
                <c:pt idx="2007">
                  <c:v>56.618201999999997</c:v>
                </c:pt>
                <c:pt idx="2008">
                  <c:v>57.08117</c:v>
                </c:pt>
                <c:pt idx="2009">
                  <c:v>56.900939999999999</c:v>
                </c:pt>
                <c:pt idx="2010">
                  <c:v>57.197414000000002</c:v>
                </c:pt>
                <c:pt idx="2011">
                  <c:v>57.139136999999998</c:v>
                </c:pt>
                <c:pt idx="2012">
                  <c:v>57.498814000000003</c:v>
                </c:pt>
                <c:pt idx="2013">
                  <c:v>57.544939999999997</c:v>
                </c:pt>
                <c:pt idx="2014">
                  <c:v>57.25367</c:v>
                </c:pt>
                <c:pt idx="2015">
                  <c:v>57.310870000000001</c:v>
                </c:pt>
                <c:pt idx="2016">
                  <c:v>57.208637000000003</c:v>
                </c:pt>
                <c:pt idx="2017">
                  <c:v>57.148403000000002</c:v>
                </c:pt>
                <c:pt idx="2018">
                  <c:v>57.246307000000002</c:v>
                </c:pt>
                <c:pt idx="2019">
                  <c:v>57.121017000000002</c:v>
                </c:pt>
                <c:pt idx="2020">
                  <c:v>57.170127999999998</c:v>
                </c:pt>
                <c:pt idx="2021">
                  <c:v>57.188515000000002</c:v>
                </c:pt>
                <c:pt idx="2022">
                  <c:v>56.987361999999997</c:v>
                </c:pt>
                <c:pt idx="2023">
                  <c:v>57.264099999999999</c:v>
                </c:pt>
                <c:pt idx="2024">
                  <c:v>57.070259999999998</c:v>
                </c:pt>
                <c:pt idx="2025">
                  <c:v>56.916041999999997</c:v>
                </c:pt>
                <c:pt idx="2026">
                  <c:v>56.922221999999998</c:v>
                </c:pt>
                <c:pt idx="2027">
                  <c:v>57.042549999999999</c:v>
                </c:pt>
                <c:pt idx="2028">
                  <c:v>57.155169999999998</c:v>
                </c:pt>
                <c:pt idx="2029">
                  <c:v>57.304819999999999</c:v>
                </c:pt>
                <c:pt idx="2030">
                  <c:v>57.374844000000003</c:v>
                </c:pt>
                <c:pt idx="2031">
                  <c:v>57.411816000000002</c:v>
                </c:pt>
                <c:pt idx="2032">
                  <c:v>57.381256</c:v>
                </c:pt>
                <c:pt idx="2033">
                  <c:v>57.433734999999999</c:v>
                </c:pt>
                <c:pt idx="2034">
                  <c:v>57.337859999999999</c:v>
                </c:pt>
                <c:pt idx="2035">
                  <c:v>57.367336000000002</c:v>
                </c:pt>
                <c:pt idx="2036">
                  <c:v>57.540638000000001</c:v>
                </c:pt>
                <c:pt idx="2037">
                  <c:v>57.480206000000003</c:v>
                </c:pt>
                <c:pt idx="2038">
                  <c:v>59.120069999999998</c:v>
                </c:pt>
                <c:pt idx="2039">
                  <c:v>57.666759999999996</c:v>
                </c:pt>
                <c:pt idx="2040">
                  <c:v>57.463664999999999</c:v>
                </c:pt>
                <c:pt idx="2041">
                  <c:v>57.271990000000002</c:v>
                </c:pt>
                <c:pt idx="2042">
                  <c:v>57.333733000000002</c:v>
                </c:pt>
                <c:pt idx="2043">
                  <c:v>57.471089999999997</c:v>
                </c:pt>
                <c:pt idx="2044">
                  <c:v>57.537334000000001</c:v>
                </c:pt>
                <c:pt idx="2045">
                  <c:v>57.430244000000002</c:v>
                </c:pt>
                <c:pt idx="2046">
                  <c:v>57.489646999999998</c:v>
                </c:pt>
                <c:pt idx="2047">
                  <c:v>57.605972000000001</c:v>
                </c:pt>
                <c:pt idx="2048">
                  <c:v>57.796430000000001</c:v>
                </c:pt>
                <c:pt idx="2049">
                  <c:v>57.836320000000001</c:v>
                </c:pt>
                <c:pt idx="2050">
                  <c:v>57.641269999999999</c:v>
                </c:pt>
                <c:pt idx="2051">
                  <c:v>57.637650000000001</c:v>
                </c:pt>
                <c:pt idx="2052">
                  <c:v>57.752963999999999</c:v>
                </c:pt>
                <c:pt idx="2053">
                  <c:v>57.682285</c:v>
                </c:pt>
                <c:pt idx="2054">
                  <c:v>57.81626</c:v>
                </c:pt>
                <c:pt idx="2055">
                  <c:v>57.759500000000003</c:v>
                </c:pt>
                <c:pt idx="2056">
                  <c:v>57.985970000000002</c:v>
                </c:pt>
                <c:pt idx="2057">
                  <c:v>58.283369999999998</c:v>
                </c:pt>
                <c:pt idx="2058">
                  <c:v>58.382083999999999</c:v>
                </c:pt>
                <c:pt idx="2059">
                  <c:v>58.158264000000003</c:v>
                </c:pt>
                <c:pt idx="2060">
                  <c:v>58.16977</c:v>
                </c:pt>
                <c:pt idx="2061">
                  <c:v>58.044980000000002</c:v>
                </c:pt>
                <c:pt idx="2062">
                  <c:v>57.938442000000002</c:v>
                </c:pt>
                <c:pt idx="2063">
                  <c:v>58.051913999999996</c:v>
                </c:pt>
                <c:pt idx="2064">
                  <c:v>57.989531999999997</c:v>
                </c:pt>
                <c:pt idx="2065">
                  <c:v>58.019233999999997</c:v>
                </c:pt>
                <c:pt idx="2066">
                  <c:v>58.270263999999997</c:v>
                </c:pt>
                <c:pt idx="2067">
                  <c:v>58.253376000000003</c:v>
                </c:pt>
                <c:pt idx="2068">
                  <c:v>58.088279999999997</c:v>
                </c:pt>
                <c:pt idx="2069">
                  <c:v>58.171722000000003</c:v>
                </c:pt>
                <c:pt idx="2070">
                  <c:v>57.979824000000001</c:v>
                </c:pt>
                <c:pt idx="2071">
                  <c:v>58.089733000000003</c:v>
                </c:pt>
                <c:pt idx="2072">
                  <c:v>58.129356000000001</c:v>
                </c:pt>
                <c:pt idx="2073">
                  <c:v>58.283543000000002</c:v>
                </c:pt>
                <c:pt idx="2074">
                  <c:v>58.127907</c:v>
                </c:pt>
                <c:pt idx="2075">
                  <c:v>58.041091999999999</c:v>
                </c:pt>
                <c:pt idx="2076">
                  <c:v>58.059759999999997</c:v>
                </c:pt>
                <c:pt idx="2077">
                  <c:v>58.015270000000001</c:v>
                </c:pt>
                <c:pt idx="2078">
                  <c:v>58.025829999999999</c:v>
                </c:pt>
                <c:pt idx="2079">
                  <c:v>58.008564</c:v>
                </c:pt>
                <c:pt idx="2080">
                  <c:v>58.051180000000002</c:v>
                </c:pt>
                <c:pt idx="2081">
                  <c:v>57.951819999999998</c:v>
                </c:pt>
                <c:pt idx="2082">
                  <c:v>58.160732000000003</c:v>
                </c:pt>
                <c:pt idx="2083">
                  <c:v>58.032944000000001</c:v>
                </c:pt>
                <c:pt idx="2084">
                  <c:v>58.087207999999997</c:v>
                </c:pt>
                <c:pt idx="2085">
                  <c:v>58.292610000000003</c:v>
                </c:pt>
                <c:pt idx="2086">
                  <c:v>59.884388000000001</c:v>
                </c:pt>
                <c:pt idx="2087">
                  <c:v>58.641705000000002</c:v>
                </c:pt>
                <c:pt idx="2088">
                  <c:v>58.390793000000002</c:v>
                </c:pt>
                <c:pt idx="2089">
                  <c:v>58.257153000000002</c:v>
                </c:pt>
                <c:pt idx="2090">
                  <c:v>58.439503000000002</c:v>
                </c:pt>
                <c:pt idx="2091">
                  <c:v>58.583649999999999</c:v>
                </c:pt>
                <c:pt idx="2092">
                  <c:v>58.412613</c:v>
                </c:pt>
                <c:pt idx="2093">
                  <c:v>58.264023000000002</c:v>
                </c:pt>
                <c:pt idx="2094">
                  <c:v>58.167755</c:v>
                </c:pt>
                <c:pt idx="2095">
                  <c:v>58.286124999999998</c:v>
                </c:pt>
                <c:pt idx="2096">
                  <c:v>58.292045999999999</c:v>
                </c:pt>
                <c:pt idx="2097">
                  <c:v>58.220947000000002</c:v>
                </c:pt>
                <c:pt idx="2098">
                  <c:v>58.260845000000003</c:v>
                </c:pt>
                <c:pt idx="2099">
                  <c:v>58.391823000000002</c:v>
                </c:pt>
                <c:pt idx="2100">
                  <c:v>58.196784999999998</c:v>
                </c:pt>
                <c:pt idx="2101">
                  <c:v>58.877045000000003</c:v>
                </c:pt>
                <c:pt idx="2102">
                  <c:v>58.428215000000002</c:v>
                </c:pt>
                <c:pt idx="2103">
                  <c:v>58.355956999999997</c:v>
                </c:pt>
                <c:pt idx="2104">
                  <c:v>58.335532999999998</c:v>
                </c:pt>
                <c:pt idx="2105">
                  <c:v>58.323129999999999</c:v>
                </c:pt>
                <c:pt idx="2106">
                  <c:v>58.684834000000002</c:v>
                </c:pt>
                <c:pt idx="2107">
                  <c:v>58.408023999999997</c:v>
                </c:pt>
                <c:pt idx="2108">
                  <c:v>58.469738</c:v>
                </c:pt>
                <c:pt idx="2109">
                  <c:v>58.566127999999999</c:v>
                </c:pt>
              </c:numCache>
            </c:numRef>
          </c:val>
          <c:smooth val="0"/>
          <c:extLst>
            <c:ext xmlns:c16="http://schemas.microsoft.com/office/drawing/2014/chart" uri="{C3380CC4-5D6E-409C-BE32-E72D297353CC}">
              <c16:uniqueId val="{00000001-C8D2-184B-888A-AA77F19D4BA5}"/>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60"/>
          <c:min val="25"/>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15"/>
        <c:min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90203223919881E-2"/>
          <c:y val="4.4978949683174771E-2"/>
          <c:w val="0.93640979677608016"/>
          <c:h val="0.80444506052374321"/>
        </c:manualLayout>
      </c:layout>
      <c:lineChart>
        <c:grouping val="standard"/>
        <c:varyColors val="0"/>
        <c:ser>
          <c:idx val="0"/>
          <c:order val="0"/>
          <c:tx>
            <c:strRef>
              <c:f>Sheet1!$B$1</c:f>
              <c:strCache>
                <c:ptCount val="1"/>
                <c:pt idx="0">
                  <c:v>Actual</c:v>
                </c:pt>
              </c:strCache>
            </c:strRef>
          </c:tx>
          <c:spPr>
            <a:ln w="12700" cap="rnd">
              <a:solidFill>
                <a:schemeClr val="accent4"/>
              </a:solidFill>
              <a:round/>
            </a:ln>
            <a:effectLst/>
          </c:spPr>
          <c:marker>
            <c:symbol val="none"/>
          </c:marker>
          <c:cat>
            <c:numRef>
              <c:f>Sheet1!$A$2:$A$2111</c:f>
              <c:numCache>
                <c:formatCode>m/d/yy</c:formatCode>
                <c:ptCount val="2110"/>
                <c:pt idx="0">
                  <c:v>43833</c:v>
                </c:pt>
                <c:pt idx="1">
                  <c:v>43836</c:v>
                </c:pt>
                <c:pt idx="2">
                  <c:v>43837</c:v>
                </c:pt>
                <c:pt idx="3">
                  <c:v>43838</c:v>
                </c:pt>
                <c:pt idx="4">
                  <c:v>43839</c:v>
                </c:pt>
                <c:pt idx="5">
                  <c:v>43840</c:v>
                </c:pt>
                <c:pt idx="6">
                  <c:v>43843</c:v>
                </c:pt>
                <c:pt idx="7">
                  <c:v>43844</c:v>
                </c:pt>
                <c:pt idx="8">
                  <c:v>43845</c:v>
                </c:pt>
                <c:pt idx="9">
                  <c:v>43846</c:v>
                </c:pt>
                <c:pt idx="10">
                  <c:v>43847</c:v>
                </c:pt>
                <c:pt idx="11">
                  <c:v>43851</c:v>
                </c:pt>
                <c:pt idx="12">
                  <c:v>43852</c:v>
                </c:pt>
                <c:pt idx="13">
                  <c:v>43853</c:v>
                </c:pt>
                <c:pt idx="14">
                  <c:v>43854</c:v>
                </c:pt>
                <c:pt idx="15">
                  <c:v>43857</c:v>
                </c:pt>
                <c:pt idx="16">
                  <c:v>43858</c:v>
                </c:pt>
                <c:pt idx="17">
                  <c:v>43859</c:v>
                </c:pt>
                <c:pt idx="18">
                  <c:v>43860</c:v>
                </c:pt>
                <c:pt idx="19">
                  <c:v>43861</c:v>
                </c:pt>
                <c:pt idx="20">
                  <c:v>43864</c:v>
                </c:pt>
                <c:pt idx="21">
                  <c:v>43865</c:v>
                </c:pt>
                <c:pt idx="22">
                  <c:v>43866</c:v>
                </c:pt>
                <c:pt idx="23">
                  <c:v>43867</c:v>
                </c:pt>
                <c:pt idx="24">
                  <c:v>43868</c:v>
                </c:pt>
                <c:pt idx="25">
                  <c:v>43871</c:v>
                </c:pt>
                <c:pt idx="26">
                  <c:v>43872</c:v>
                </c:pt>
                <c:pt idx="27">
                  <c:v>43873</c:v>
                </c:pt>
                <c:pt idx="28">
                  <c:v>43874</c:v>
                </c:pt>
                <c:pt idx="29">
                  <c:v>43875</c:v>
                </c:pt>
                <c:pt idx="30">
                  <c:v>43879</c:v>
                </c:pt>
                <c:pt idx="31">
                  <c:v>43880</c:v>
                </c:pt>
                <c:pt idx="32">
                  <c:v>43881</c:v>
                </c:pt>
                <c:pt idx="33">
                  <c:v>43882</c:v>
                </c:pt>
                <c:pt idx="34">
                  <c:v>43885</c:v>
                </c:pt>
                <c:pt idx="35">
                  <c:v>43886</c:v>
                </c:pt>
                <c:pt idx="36">
                  <c:v>43887</c:v>
                </c:pt>
                <c:pt idx="37">
                  <c:v>43888</c:v>
                </c:pt>
                <c:pt idx="38">
                  <c:v>43889</c:v>
                </c:pt>
                <c:pt idx="39">
                  <c:v>43892</c:v>
                </c:pt>
                <c:pt idx="40">
                  <c:v>43893</c:v>
                </c:pt>
                <c:pt idx="41">
                  <c:v>43894</c:v>
                </c:pt>
                <c:pt idx="42">
                  <c:v>43895</c:v>
                </c:pt>
                <c:pt idx="43">
                  <c:v>43896</c:v>
                </c:pt>
                <c:pt idx="44">
                  <c:v>43899</c:v>
                </c:pt>
                <c:pt idx="45">
                  <c:v>43900</c:v>
                </c:pt>
                <c:pt idx="46">
                  <c:v>43901</c:v>
                </c:pt>
                <c:pt idx="47">
                  <c:v>43902</c:v>
                </c:pt>
                <c:pt idx="48">
                  <c:v>43903</c:v>
                </c:pt>
                <c:pt idx="49">
                  <c:v>43906</c:v>
                </c:pt>
                <c:pt idx="50">
                  <c:v>43907</c:v>
                </c:pt>
                <c:pt idx="51">
                  <c:v>43908</c:v>
                </c:pt>
                <c:pt idx="52">
                  <c:v>43909</c:v>
                </c:pt>
                <c:pt idx="53">
                  <c:v>43910</c:v>
                </c:pt>
                <c:pt idx="54">
                  <c:v>43913</c:v>
                </c:pt>
                <c:pt idx="55">
                  <c:v>43914</c:v>
                </c:pt>
                <c:pt idx="56">
                  <c:v>43915</c:v>
                </c:pt>
                <c:pt idx="57">
                  <c:v>43916</c:v>
                </c:pt>
                <c:pt idx="58">
                  <c:v>43917</c:v>
                </c:pt>
                <c:pt idx="59">
                  <c:v>43920</c:v>
                </c:pt>
                <c:pt idx="60">
                  <c:v>43921</c:v>
                </c:pt>
                <c:pt idx="61">
                  <c:v>43922</c:v>
                </c:pt>
                <c:pt idx="62">
                  <c:v>43923</c:v>
                </c:pt>
                <c:pt idx="63">
                  <c:v>43924</c:v>
                </c:pt>
                <c:pt idx="64">
                  <c:v>43927</c:v>
                </c:pt>
                <c:pt idx="65">
                  <c:v>43928</c:v>
                </c:pt>
                <c:pt idx="66">
                  <c:v>43929</c:v>
                </c:pt>
                <c:pt idx="67">
                  <c:v>43930</c:v>
                </c:pt>
                <c:pt idx="68">
                  <c:v>43934</c:v>
                </c:pt>
                <c:pt idx="69">
                  <c:v>43935</c:v>
                </c:pt>
                <c:pt idx="70">
                  <c:v>43936</c:v>
                </c:pt>
                <c:pt idx="71">
                  <c:v>43937</c:v>
                </c:pt>
                <c:pt idx="72">
                  <c:v>43938</c:v>
                </c:pt>
                <c:pt idx="73">
                  <c:v>43941</c:v>
                </c:pt>
                <c:pt idx="74">
                  <c:v>43942</c:v>
                </c:pt>
                <c:pt idx="75">
                  <c:v>43943</c:v>
                </c:pt>
                <c:pt idx="76">
                  <c:v>43944</c:v>
                </c:pt>
                <c:pt idx="77">
                  <c:v>43945</c:v>
                </c:pt>
                <c:pt idx="78">
                  <c:v>43948</c:v>
                </c:pt>
                <c:pt idx="79">
                  <c:v>43949</c:v>
                </c:pt>
                <c:pt idx="80">
                  <c:v>43950</c:v>
                </c:pt>
                <c:pt idx="81">
                  <c:v>43951</c:v>
                </c:pt>
                <c:pt idx="82">
                  <c:v>43952</c:v>
                </c:pt>
                <c:pt idx="83">
                  <c:v>43955</c:v>
                </c:pt>
                <c:pt idx="84">
                  <c:v>43956</c:v>
                </c:pt>
                <c:pt idx="85">
                  <c:v>43957</c:v>
                </c:pt>
                <c:pt idx="86">
                  <c:v>43958</c:v>
                </c:pt>
                <c:pt idx="87">
                  <c:v>43959</c:v>
                </c:pt>
                <c:pt idx="88">
                  <c:v>43962</c:v>
                </c:pt>
                <c:pt idx="89">
                  <c:v>43963</c:v>
                </c:pt>
                <c:pt idx="90">
                  <c:v>43964</c:v>
                </c:pt>
                <c:pt idx="91">
                  <c:v>43965</c:v>
                </c:pt>
                <c:pt idx="92">
                  <c:v>43966</c:v>
                </c:pt>
                <c:pt idx="93">
                  <c:v>43969</c:v>
                </c:pt>
                <c:pt idx="94">
                  <c:v>43970</c:v>
                </c:pt>
                <c:pt idx="95">
                  <c:v>43971</c:v>
                </c:pt>
                <c:pt idx="96">
                  <c:v>43972</c:v>
                </c:pt>
                <c:pt idx="97">
                  <c:v>43973</c:v>
                </c:pt>
                <c:pt idx="98">
                  <c:v>43977</c:v>
                </c:pt>
                <c:pt idx="99">
                  <c:v>43978</c:v>
                </c:pt>
                <c:pt idx="100">
                  <c:v>43979</c:v>
                </c:pt>
                <c:pt idx="101">
                  <c:v>43980</c:v>
                </c:pt>
                <c:pt idx="102">
                  <c:v>43983</c:v>
                </c:pt>
                <c:pt idx="103">
                  <c:v>43984</c:v>
                </c:pt>
                <c:pt idx="104">
                  <c:v>43985</c:v>
                </c:pt>
                <c:pt idx="105">
                  <c:v>43986</c:v>
                </c:pt>
                <c:pt idx="106">
                  <c:v>43987</c:v>
                </c:pt>
                <c:pt idx="107">
                  <c:v>43990</c:v>
                </c:pt>
                <c:pt idx="108">
                  <c:v>43991</c:v>
                </c:pt>
                <c:pt idx="109">
                  <c:v>43992</c:v>
                </c:pt>
                <c:pt idx="110">
                  <c:v>43993</c:v>
                </c:pt>
                <c:pt idx="111">
                  <c:v>43994</c:v>
                </c:pt>
                <c:pt idx="112">
                  <c:v>43997</c:v>
                </c:pt>
                <c:pt idx="113">
                  <c:v>43998</c:v>
                </c:pt>
                <c:pt idx="114">
                  <c:v>43999</c:v>
                </c:pt>
                <c:pt idx="115">
                  <c:v>44000</c:v>
                </c:pt>
                <c:pt idx="116">
                  <c:v>44001</c:v>
                </c:pt>
                <c:pt idx="117">
                  <c:v>44004</c:v>
                </c:pt>
                <c:pt idx="118">
                  <c:v>44005</c:v>
                </c:pt>
                <c:pt idx="119">
                  <c:v>44006</c:v>
                </c:pt>
                <c:pt idx="120">
                  <c:v>44007</c:v>
                </c:pt>
                <c:pt idx="121">
                  <c:v>44008</c:v>
                </c:pt>
                <c:pt idx="122">
                  <c:v>44011</c:v>
                </c:pt>
                <c:pt idx="123">
                  <c:v>44012</c:v>
                </c:pt>
                <c:pt idx="124">
                  <c:v>44013</c:v>
                </c:pt>
                <c:pt idx="125">
                  <c:v>44014</c:v>
                </c:pt>
                <c:pt idx="126">
                  <c:v>44018</c:v>
                </c:pt>
                <c:pt idx="127">
                  <c:v>44019</c:v>
                </c:pt>
                <c:pt idx="128">
                  <c:v>44020</c:v>
                </c:pt>
                <c:pt idx="129">
                  <c:v>44021</c:v>
                </c:pt>
                <c:pt idx="130">
                  <c:v>44022</c:v>
                </c:pt>
                <c:pt idx="131">
                  <c:v>44025</c:v>
                </c:pt>
                <c:pt idx="132">
                  <c:v>44026</c:v>
                </c:pt>
                <c:pt idx="133">
                  <c:v>44027</c:v>
                </c:pt>
                <c:pt idx="134">
                  <c:v>44028</c:v>
                </c:pt>
                <c:pt idx="135">
                  <c:v>44029</c:v>
                </c:pt>
                <c:pt idx="136">
                  <c:v>44032</c:v>
                </c:pt>
                <c:pt idx="137">
                  <c:v>44033</c:v>
                </c:pt>
                <c:pt idx="138">
                  <c:v>44034</c:v>
                </c:pt>
                <c:pt idx="139">
                  <c:v>44035</c:v>
                </c:pt>
                <c:pt idx="140">
                  <c:v>44036</c:v>
                </c:pt>
                <c:pt idx="141">
                  <c:v>44039</c:v>
                </c:pt>
                <c:pt idx="142">
                  <c:v>44040</c:v>
                </c:pt>
                <c:pt idx="143">
                  <c:v>44041</c:v>
                </c:pt>
                <c:pt idx="144">
                  <c:v>44042</c:v>
                </c:pt>
                <c:pt idx="145">
                  <c:v>44043</c:v>
                </c:pt>
                <c:pt idx="146">
                  <c:v>44046</c:v>
                </c:pt>
                <c:pt idx="147">
                  <c:v>44047</c:v>
                </c:pt>
                <c:pt idx="148">
                  <c:v>44048</c:v>
                </c:pt>
                <c:pt idx="149">
                  <c:v>44049</c:v>
                </c:pt>
                <c:pt idx="150">
                  <c:v>44050</c:v>
                </c:pt>
                <c:pt idx="151">
                  <c:v>44053</c:v>
                </c:pt>
                <c:pt idx="152">
                  <c:v>44054</c:v>
                </c:pt>
                <c:pt idx="153">
                  <c:v>44055</c:v>
                </c:pt>
                <c:pt idx="154">
                  <c:v>44056</c:v>
                </c:pt>
                <c:pt idx="155">
                  <c:v>44057</c:v>
                </c:pt>
                <c:pt idx="156">
                  <c:v>44060</c:v>
                </c:pt>
                <c:pt idx="157">
                  <c:v>44061</c:v>
                </c:pt>
                <c:pt idx="158">
                  <c:v>44062</c:v>
                </c:pt>
                <c:pt idx="159">
                  <c:v>44063</c:v>
                </c:pt>
                <c:pt idx="160">
                  <c:v>44064</c:v>
                </c:pt>
                <c:pt idx="161">
                  <c:v>44067</c:v>
                </c:pt>
                <c:pt idx="162">
                  <c:v>44068</c:v>
                </c:pt>
                <c:pt idx="163">
                  <c:v>44069</c:v>
                </c:pt>
                <c:pt idx="164">
                  <c:v>44070</c:v>
                </c:pt>
                <c:pt idx="165">
                  <c:v>44071</c:v>
                </c:pt>
                <c:pt idx="166">
                  <c:v>44074</c:v>
                </c:pt>
                <c:pt idx="167">
                  <c:v>44075</c:v>
                </c:pt>
                <c:pt idx="168">
                  <c:v>44076</c:v>
                </c:pt>
                <c:pt idx="169">
                  <c:v>44077</c:v>
                </c:pt>
                <c:pt idx="170">
                  <c:v>44078</c:v>
                </c:pt>
                <c:pt idx="171">
                  <c:v>44082</c:v>
                </c:pt>
                <c:pt idx="172">
                  <c:v>44083</c:v>
                </c:pt>
                <c:pt idx="173">
                  <c:v>44084</c:v>
                </c:pt>
                <c:pt idx="174">
                  <c:v>44085</c:v>
                </c:pt>
                <c:pt idx="175">
                  <c:v>44088</c:v>
                </c:pt>
                <c:pt idx="176">
                  <c:v>44089</c:v>
                </c:pt>
                <c:pt idx="177">
                  <c:v>44090</c:v>
                </c:pt>
                <c:pt idx="178">
                  <c:v>44091</c:v>
                </c:pt>
                <c:pt idx="179">
                  <c:v>44092</c:v>
                </c:pt>
                <c:pt idx="180">
                  <c:v>44095</c:v>
                </c:pt>
                <c:pt idx="181">
                  <c:v>44096</c:v>
                </c:pt>
                <c:pt idx="182">
                  <c:v>44097</c:v>
                </c:pt>
                <c:pt idx="183">
                  <c:v>44098</c:v>
                </c:pt>
                <c:pt idx="184">
                  <c:v>44099</c:v>
                </c:pt>
                <c:pt idx="185">
                  <c:v>44102</c:v>
                </c:pt>
                <c:pt idx="186">
                  <c:v>44103</c:v>
                </c:pt>
                <c:pt idx="187">
                  <c:v>44104</c:v>
                </c:pt>
                <c:pt idx="188">
                  <c:v>44105</c:v>
                </c:pt>
                <c:pt idx="189">
                  <c:v>44106</c:v>
                </c:pt>
                <c:pt idx="190">
                  <c:v>44109</c:v>
                </c:pt>
                <c:pt idx="191">
                  <c:v>44110</c:v>
                </c:pt>
                <c:pt idx="192">
                  <c:v>44111</c:v>
                </c:pt>
                <c:pt idx="193">
                  <c:v>44112</c:v>
                </c:pt>
                <c:pt idx="194">
                  <c:v>44113</c:v>
                </c:pt>
                <c:pt idx="195">
                  <c:v>44116</c:v>
                </c:pt>
                <c:pt idx="196">
                  <c:v>44117</c:v>
                </c:pt>
                <c:pt idx="197">
                  <c:v>44118</c:v>
                </c:pt>
                <c:pt idx="198">
                  <c:v>44119</c:v>
                </c:pt>
                <c:pt idx="199">
                  <c:v>44120</c:v>
                </c:pt>
                <c:pt idx="200">
                  <c:v>44123</c:v>
                </c:pt>
                <c:pt idx="201">
                  <c:v>44124</c:v>
                </c:pt>
                <c:pt idx="202">
                  <c:v>44125</c:v>
                </c:pt>
                <c:pt idx="203">
                  <c:v>44126</c:v>
                </c:pt>
                <c:pt idx="204">
                  <c:v>44127</c:v>
                </c:pt>
                <c:pt idx="205">
                  <c:v>44130</c:v>
                </c:pt>
                <c:pt idx="206">
                  <c:v>44131</c:v>
                </c:pt>
                <c:pt idx="207">
                  <c:v>44132</c:v>
                </c:pt>
                <c:pt idx="208">
                  <c:v>44133</c:v>
                </c:pt>
                <c:pt idx="209">
                  <c:v>44134</c:v>
                </c:pt>
                <c:pt idx="210">
                  <c:v>44137</c:v>
                </c:pt>
                <c:pt idx="211">
                  <c:v>44138</c:v>
                </c:pt>
                <c:pt idx="212">
                  <c:v>44139</c:v>
                </c:pt>
                <c:pt idx="213">
                  <c:v>44140</c:v>
                </c:pt>
                <c:pt idx="214">
                  <c:v>44141</c:v>
                </c:pt>
                <c:pt idx="215">
                  <c:v>44144</c:v>
                </c:pt>
                <c:pt idx="216">
                  <c:v>44145</c:v>
                </c:pt>
                <c:pt idx="217">
                  <c:v>44146</c:v>
                </c:pt>
                <c:pt idx="218">
                  <c:v>44147</c:v>
                </c:pt>
                <c:pt idx="219">
                  <c:v>44148</c:v>
                </c:pt>
                <c:pt idx="220">
                  <c:v>44151</c:v>
                </c:pt>
                <c:pt idx="221">
                  <c:v>44152</c:v>
                </c:pt>
                <c:pt idx="222">
                  <c:v>44153</c:v>
                </c:pt>
                <c:pt idx="223">
                  <c:v>44154</c:v>
                </c:pt>
                <c:pt idx="224">
                  <c:v>44155</c:v>
                </c:pt>
                <c:pt idx="225">
                  <c:v>44158</c:v>
                </c:pt>
                <c:pt idx="226">
                  <c:v>44159</c:v>
                </c:pt>
                <c:pt idx="227">
                  <c:v>44160</c:v>
                </c:pt>
                <c:pt idx="228">
                  <c:v>44162</c:v>
                </c:pt>
                <c:pt idx="229">
                  <c:v>44165</c:v>
                </c:pt>
                <c:pt idx="230">
                  <c:v>44166</c:v>
                </c:pt>
                <c:pt idx="231">
                  <c:v>44167</c:v>
                </c:pt>
                <c:pt idx="232">
                  <c:v>44168</c:v>
                </c:pt>
                <c:pt idx="233">
                  <c:v>44169</c:v>
                </c:pt>
                <c:pt idx="234">
                  <c:v>44172</c:v>
                </c:pt>
                <c:pt idx="235">
                  <c:v>44173</c:v>
                </c:pt>
                <c:pt idx="236">
                  <c:v>44174</c:v>
                </c:pt>
                <c:pt idx="237">
                  <c:v>44175</c:v>
                </c:pt>
                <c:pt idx="238">
                  <c:v>44176</c:v>
                </c:pt>
                <c:pt idx="239">
                  <c:v>44179</c:v>
                </c:pt>
                <c:pt idx="240">
                  <c:v>44180</c:v>
                </c:pt>
                <c:pt idx="241">
                  <c:v>44181</c:v>
                </c:pt>
                <c:pt idx="242">
                  <c:v>44182</c:v>
                </c:pt>
                <c:pt idx="243">
                  <c:v>44183</c:v>
                </c:pt>
                <c:pt idx="244">
                  <c:v>44186</c:v>
                </c:pt>
                <c:pt idx="245">
                  <c:v>44187</c:v>
                </c:pt>
                <c:pt idx="246">
                  <c:v>44188</c:v>
                </c:pt>
                <c:pt idx="247">
                  <c:v>44189</c:v>
                </c:pt>
                <c:pt idx="248">
                  <c:v>44193</c:v>
                </c:pt>
                <c:pt idx="249">
                  <c:v>44194</c:v>
                </c:pt>
                <c:pt idx="250">
                  <c:v>44195</c:v>
                </c:pt>
                <c:pt idx="251">
                  <c:v>44196</c:v>
                </c:pt>
                <c:pt idx="252">
                  <c:v>44200</c:v>
                </c:pt>
                <c:pt idx="253">
                  <c:v>44201</c:v>
                </c:pt>
                <c:pt idx="254">
                  <c:v>44202</c:v>
                </c:pt>
                <c:pt idx="255">
                  <c:v>44203</c:v>
                </c:pt>
                <c:pt idx="256">
                  <c:v>44204</c:v>
                </c:pt>
                <c:pt idx="257">
                  <c:v>44207</c:v>
                </c:pt>
                <c:pt idx="258">
                  <c:v>44208</c:v>
                </c:pt>
                <c:pt idx="259">
                  <c:v>44209</c:v>
                </c:pt>
                <c:pt idx="260">
                  <c:v>44210</c:v>
                </c:pt>
                <c:pt idx="261">
                  <c:v>44211</c:v>
                </c:pt>
                <c:pt idx="262">
                  <c:v>44215</c:v>
                </c:pt>
                <c:pt idx="263">
                  <c:v>44216</c:v>
                </c:pt>
                <c:pt idx="264">
                  <c:v>44217</c:v>
                </c:pt>
                <c:pt idx="265">
                  <c:v>44218</c:v>
                </c:pt>
                <c:pt idx="266">
                  <c:v>44221</c:v>
                </c:pt>
                <c:pt idx="267">
                  <c:v>44222</c:v>
                </c:pt>
                <c:pt idx="268">
                  <c:v>44223</c:v>
                </c:pt>
                <c:pt idx="269">
                  <c:v>44224</c:v>
                </c:pt>
                <c:pt idx="270">
                  <c:v>44225</c:v>
                </c:pt>
                <c:pt idx="271">
                  <c:v>44228</c:v>
                </c:pt>
                <c:pt idx="272">
                  <c:v>44229</c:v>
                </c:pt>
                <c:pt idx="273">
                  <c:v>44230</c:v>
                </c:pt>
                <c:pt idx="274">
                  <c:v>44231</c:v>
                </c:pt>
                <c:pt idx="275">
                  <c:v>44232</c:v>
                </c:pt>
                <c:pt idx="276">
                  <c:v>44235</c:v>
                </c:pt>
                <c:pt idx="277">
                  <c:v>44236</c:v>
                </c:pt>
                <c:pt idx="278">
                  <c:v>44237</c:v>
                </c:pt>
                <c:pt idx="279">
                  <c:v>44238</c:v>
                </c:pt>
                <c:pt idx="280">
                  <c:v>44239</c:v>
                </c:pt>
                <c:pt idx="281">
                  <c:v>44243</c:v>
                </c:pt>
                <c:pt idx="282">
                  <c:v>44244</c:v>
                </c:pt>
                <c:pt idx="283">
                  <c:v>44245</c:v>
                </c:pt>
                <c:pt idx="284">
                  <c:v>44246</c:v>
                </c:pt>
                <c:pt idx="285">
                  <c:v>44249</c:v>
                </c:pt>
                <c:pt idx="286">
                  <c:v>44250</c:v>
                </c:pt>
                <c:pt idx="287">
                  <c:v>44251</c:v>
                </c:pt>
                <c:pt idx="288">
                  <c:v>44252</c:v>
                </c:pt>
                <c:pt idx="289">
                  <c:v>44253</c:v>
                </c:pt>
                <c:pt idx="290">
                  <c:v>44256</c:v>
                </c:pt>
                <c:pt idx="291">
                  <c:v>44257</c:v>
                </c:pt>
                <c:pt idx="292">
                  <c:v>44258</c:v>
                </c:pt>
                <c:pt idx="293">
                  <c:v>44259</c:v>
                </c:pt>
                <c:pt idx="294">
                  <c:v>44260</c:v>
                </c:pt>
                <c:pt idx="295">
                  <c:v>44263</c:v>
                </c:pt>
                <c:pt idx="296">
                  <c:v>44264</c:v>
                </c:pt>
                <c:pt idx="297">
                  <c:v>44265</c:v>
                </c:pt>
                <c:pt idx="298">
                  <c:v>44266</c:v>
                </c:pt>
                <c:pt idx="299">
                  <c:v>44267</c:v>
                </c:pt>
                <c:pt idx="300">
                  <c:v>44270</c:v>
                </c:pt>
                <c:pt idx="301">
                  <c:v>44271</c:v>
                </c:pt>
                <c:pt idx="302">
                  <c:v>44272</c:v>
                </c:pt>
                <c:pt idx="303">
                  <c:v>44273</c:v>
                </c:pt>
                <c:pt idx="304">
                  <c:v>44274</c:v>
                </c:pt>
                <c:pt idx="305">
                  <c:v>44277</c:v>
                </c:pt>
                <c:pt idx="306">
                  <c:v>44278</c:v>
                </c:pt>
                <c:pt idx="307">
                  <c:v>44279</c:v>
                </c:pt>
                <c:pt idx="308">
                  <c:v>44280</c:v>
                </c:pt>
                <c:pt idx="309">
                  <c:v>44281</c:v>
                </c:pt>
                <c:pt idx="310">
                  <c:v>44284</c:v>
                </c:pt>
                <c:pt idx="311">
                  <c:v>44285</c:v>
                </c:pt>
                <c:pt idx="312">
                  <c:v>44286</c:v>
                </c:pt>
                <c:pt idx="313">
                  <c:v>44287</c:v>
                </c:pt>
                <c:pt idx="314">
                  <c:v>44291</c:v>
                </c:pt>
                <c:pt idx="315">
                  <c:v>44292</c:v>
                </c:pt>
                <c:pt idx="316">
                  <c:v>44293</c:v>
                </c:pt>
                <c:pt idx="317">
                  <c:v>44294</c:v>
                </c:pt>
                <c:pt idx="318">
                  <c:v>44295</c:v>
                </c:pt>
                <c:pt idx="319">
                  <c:v>44298</c:v>
                </c:pt>
                <c:pt idx="320">
                  <c:v>44299</c:v>
                </c:pt>
                <c:pt idx="321">
                  <c:v>44300</c:v>
                </c:pt>
                <c:pt idx="322">
                  <c:v>44301</c:v>
                </c:pt>
                <c:pt idx="323">
                  <c:v>44302</c:v>
                </c:pt>
                <c:pt idx="324">
                  <c:v>44305</c:v>
                </c:pt>
                <c:pt idx="325">
                  <c:v>44306</c:v>
                </c:pt>
                <c:pt idx="326">
                  <c:v>44307</c:v>
                </c:pt>
                <c:pt idx="327">
                  <c:v>44308</c:v>
                </c:pt>
                <c:pt idx="328">
                  <c:v>44309</c:v>
                </c:pt>
                <c:pt idx="329">
                  <c:v>44312</c:v>
                </c:pt>
                <c:pt idx="330">
                  <c:v>44313</c:v>
                </c:pt>
                <c:pt idx="331">
                  <c:v>44314</c:v>
                </c:pt>
                <c:pt idx="332">
                  <c:v>44315</c:v>
                </c:pt>
                <c:pt idx="333">
                  <c:v>44316</c:v>
                </c:pt>
                <c:pt idx="334">
                  <c:v>44319</c:v>
                </c:pt>
                <c:pt idx="335">
                  <c:v>44320</c:v>
                </c:pt>
                <c:pt idx="336">
                  <c:v>44321</c:v>
                </c:pt>
                <c:pt idx="337">
                  <c:v>44322</c:v>
                </c:pt>
                <c:pt idx="338">
                  <c:v>44323</c:v>
                </c:pt>
                <c:pt idx="339">
                  <c:v>44326</c:v>
                </c:pt>
                <c:pt idx="340">
                  <c:v>44327</c:v>
                </c:pt>
                <c:pt idx="341">
                  <c:v>44328</c:v>
                </c:pt>
                <c:pt idx="342">
                  <c:v>44329</c:v>
                </c:pt>
                <c:pt idx="343">
                  <c:v>44330</c:v>
                </c:pt>
                <c:pt idx="344">
                  <c:v>44333</c:v>
                </c:pt>
                <c:pt idx="345">
                  <c:v>44334</c:v>
                </c:pt>
                <c:pt idx="346">
                  <c:v>44335</c:v>
                </c:pt>
              </c:numCache>
            </c:numRef>
          </c:cat>
          <c:val>
            <c:numRef>
              <c:f>Sheet1!$B$2:$B$2111</c:f>
              <c:numCache>
                <c:formatCode>General</c:formatCode>
                <c:ptCount val="2110"/>
                <c:pt idx="0">
                  <c:v>139.33840000000001</c:v>
                </c:pt>
                <c:pt idx="1">
                  <c:v>139.2714</c:v>
                </c:pt>
                <c:pt idx="2">
                  <c:v>138.91730000000001</c:v>
                </c:pt>
                <c:pt idx="3">
                  <c:v>139.57764</c:v>
                </c:pt>
                <c:pt idx="4">
                  <c:v>136.50568999999999</c:v>
                </c:pt>
                <c:pt idx="5">
                  <c:v>135.03190000000001</c:v>
                </c:pt>
                <c:pt idx="6">
                  <c:v>135.87406999999999</c:v>
                </c:pt>
                <c:pt idx="7">
                  <c:v>130.50532999999999</c:v>
                </c:pt>
                <c:pt idx="8">
                  <c:v>126.35198</c:v>
                </c:pt>
                <c:pt idx="9">
                  <c:v>131.66329999999999</c:v>
                </c:pt>
                <c:pt idx="10">
                  <c:v>129.74931000000001</c:v>
                </c:pt>
                <c:pt idx="11">
                  <c:v>136.26644999999999</c:v>
                </c:pt>
                <c:pt idx="12">
                  <c:v>133.05331000000001</c:v>
                </c:pt>
                <c:pt idx="13">
                  <c:v>132.244</c:v>
                </c:pt>
                <c:pt idx="14">
                  <c:v>125.40348</c:v>
                </c:pt>
                <c:pt idx="15">
                  <c:v>129.23802000000001</c:v>
                </c:pt>
                <c:pt idx="16">
                  <c:v>125.00845</c:v>
                </c:pt>
                <c:pt idx="17">
                  <c:v>111.12504</c:v>
                </c:pt>
                <c:pt idx="18">
                  <c:v>122.7925</c:v>
                </c:pt>
                <c:pt idx="19">
                  <c:v>108.95726999999999</c:v>
                </c:pt>
                <c:pt idx="20">
                  <c:v>123.05264</c:v>
                </c:pt>
                <c:pt idx="21">
                  <c:v>116.501114</c:v>
                </c:pt>
                <c:pt idx="22">
                  <c:v>113.051956</c:v>
                </c:pt>
                <c:pt idx="23">
                  <c:v>100.13200000000001</c:v>
                </c:pt>
                <c:pt idx="24">
                  <c:v>101.33633</c:v>
                </c:pt>
                <c:pt idx="25">
                  <c:v>109.67986000000001</c:v>
                </c:pt>
                <c:pt idx="26">
                  <c:v>108.38884</c:v>
                </c:pt>
                <c:pt idx="27">
                  <c:v>115.86526000000001</c:v>
                </c:pt>
                <c:pt idx="28">
                  <c:v>116.05794</c:v>
                </c:pt>
                <c:pt idx="29">
                  <c:v>120.89449999999999</c:v>
                </c:pt>
                <c:pt idx="30">
                  <c:v>115.7111</c:v>
                </c:pt>
                <c:pt idx="31">
                  <c:v>113.803444</c:v>
                </c:pt>
                <c:pt idx="32">
                  <c:v>119.33369999999999</c:v>
                </c:pt>
                <c:pt idx="33">
                  <c:v>120.03702</c:v>
                </c:pt>
                <c:pt idx="34">
                  <c:v>126.36691999999999</c:v>
                </c:pt>
                <c:pt idx="35">
                  <c:v>125.71177</c:v>
                </c:pt>
                <c:pt idx="36">
                  <c:v>127.76394000000001</c:v>
                </c:pt>
                <c:pt idx="37">
                  <c:v>128.74665999999999</c:v>
                </c:pt>
                <c:pt idx="38">
                  <c:v>126.10677</c:v>
                </c:pt>
                <c:pt idx="39">
                  <c:v>133.34233</c:v>
                </c:pt>
                <c:pt idx="40">
                  <c:v>130.09547000000001</c:v>
                </c:pt>
                <c:pt idx="41">
                  <c:v>130.68321</c:v>
                </c:pt>
                <c:pt idx="42">
                  <c:v>132.52341999999999</c:v>
                </c:pt>
                <c:pt idx="43">
                  <c:v>129.63302999999999</c:v>
                </c:pt>
                <c:pt idx="44">
                  <c:v>126.15496</c:v>
                </c:pt>
                <c:pt idx="45">
                  <c:v>127.77357000000001</c:v>
                </c:pt>
                <c:pt idx="46">
                  <c:v>125.49979399999999</c:v>
                </c:pt>
                <c:pt idx="47">
                  <c:v>129.44998000000001</c:v>
                </c:pt>
                <c:pt idx="48">
                  <c:v>129.54633999999999</c:v>
                </c:pt>
                <c:pt idx="49">
                  <c:v>131.33838</c:v>
                </c:pt>
                <c:pt idx="50">
                  <c:v>128.48652999999999</c:v>
                </c:pt>
                <c:pt idx="51">
                  <c:v>127.45563</c:v>
                </c:pt>
                <c:pt idx="52">
                  <c:v>125.38419</c:v>
                </c:pt>
                <c:pt idx="53">
                  <c:v>126.1357</c:v>
                </c:pt>
                <c:pt idx="54">
                  <c:v>126.858284</c:v>
                </c:pt>
                <c:pt idx="55">
                  <c:v>126.00081</c:v>
                </c:pt>
                <c:pt idx="56">
                  <c:v>126.74267999999999</c:v>
                </c:pt>
                <c:pt idx="57">
                  <c:v>129.32472000000001</c:v>
                </c:pt>
                <c:pt idx="58">
                  <c:v>129.46924999999999</c:v>
                </c:pt>
                <c:pt idx="59">
                  <c:v>128.08186000000001</c:v>
                </c:pt>
                <c:pt idx="60">
                  <c:v>128.10114999999999</c:v>
                </c:pt>
                <c:pt idx="61">
                  <c:v>128.21677</c:v>
                </c:pt>
                <c:pt idx="62">
                  <c:v>130.98186999999999</c:v>
                </c:pt>
                <c:pt idx="63">
                  <c:v>130.5676</c:v>
                </c:pt>
                <c:pt idx="64">
                  <c:v>126.916084</c:v>
                </c:pt>
                <c:pt idx="65">
                  <c:v>126.46326999999999</c:v>
                </c:pt>
                <c:pt idx="66">
                  <c:v>125.451645</c:v>
                </c:pt>
                <c:pt idx="67">
                  <c:v>125.71177</c:v>
                </c:pt>
                <c:pt idx="68">
                  <c:v>125.00845</c:v>
                </c:pt>
                <c:pt idx="69">
                  <c:v>126.029724</c:v>
                </c:pt>
                <c:pt idx="70">
                  <c:v>127.45563</c:v>
                </c:pt>
                <c:pt idx="71">
                  <c:v>126.74267999999999</c:v>
                </c:pt>
                <c:pt idx="72">
                  <c:v>128.13005000000001</c:v>
                </c:pt>
                <c:pt idx="73">
                  <c:v>127.78321</c:v>
                </c:pt>
                <c:pt idx="74">
                  <c:v>127.966255</c:v>
                </c:pt>
                <c:pt idx="75">
                  <c:v>126.774925</c:v>
                </c:pt>
                <c:pt idx="76">
                  <c:v>128.59058999999999</c:v>
                </c:pt>
                <c:pt idx="77">
                  <c:v>128.36725999999999</c:v>
                </c:pt>
                <c:pt idx="78">
                  <c:v>129.10516000000001</c:v>
                </c:pt>
                <c:pt idx="79">
                  <c:v>130.23146</c:v>
                </c:pt>
                <c:pt idx="80">
                  <c:v>124.12426000000001</c:v>
                </c:pt>
                <c:pt idx="81">
                  <c:v>125.25055999999999</c:v>
                </c:pt>
                <c:pt idx="82">
                  <c:v>126.68754</c:v>
                </c:pt>
                <c:pt idx="83">
                  <c:v>127.84294</c:v>
                </c:pt>
                <c:pt idx="84">
                  <c:v>127.93031000000001</c:v>
                </c:pt>
                <c:pt idx="85">
                  <c:v>128.92068</c:v>
                </c:pt>
                <c:pt idx="86">
                  <c:v>127.46427</c:v>
                </c:pt>
                <c:pt idx="87">
                  <c:v>127.24097999999999</c:v>
                </c:pt>
                <c:pt idx="88">
                  <c:v>127.541954</c:v>
                </c:pt>
                <c:pt idx="89">
                  <c:v>125.79428</c:v>
                </c:pt>
                <c:pt idx="90">
                  <c:v>127.590515</c:v>
                </c:pt>
                <c:pt idx="91">
                  <c:v>125.18259399999999</c:v>
                </c:pt>
                <c:pt idx="92">
                  <c:v>127.27011</c:v>
                </c:pt>
                <c:pt idx="93">
                  <c:v>128.41579999999999</c:v>
                </c:pt>
                <c:pt idx="94">
                  <c:v>128.5129</c:v>
                </c:pt>
                <c:pt idx="95">
                  <c:v>128.98866000000001</c:v>
                </c:pt>
                <c:pt idx="96">
                  <c:v>129.42558</c:v>
                </c:pt>
                <c:pt idx="97">
                  <c:v>129.68773999999999</c:v>
                </c:pt>
                <c:pt idx="98">
                  <c:v>130.31882999999999</c:v>
                </c:pt>
                <c:pt idx="99">
                  <c:v>128.85274000000001</c:v>
                </c:pt>
                <c:pt idx="100">
                  <c:v>130.55188000000001</c:v>
                </c:pt>
                <c:pt idx="101">
                  <c:v>130.98877999999999</c:v>
                </c:pt>
                <c:pt idx="102">
                  <c:v>131.58105</c:v>
                </c:pt>
                <c:pt idx="103">
                  <c:v>129.80423999999999</c:v>
                </c:pt>
                <c:pt idx="104">
                  <c:v>129.98874000000001</c:v>
                </c:pt>
                <c:pt idx="105">
                  <c:v>130.74605</c:v>
                </c:pt>
                <c:pt idx="106">
                  <c:v>129.24109999999999</c:v>
                </c:pt>
                <c:pt idx="107">
                  <c:v>130.52271999999999</c:v>
                </c:pt>
                <c:pt idx="108">
                  <c:v>132.05680000000001</c:v>
                </c:pt>
                <c:pt idx="109">
                  <c:v>133.09569999999999</c:v>
                </c:pt>
                <c:pt idx="110">
                  <c:v>132.10535999999999</c:v>
                </c:pt>
                <c:pt idx="111">
                  <c:v>133.66856000000001</c:v>
                </c:pt>
                <c:pt idx="112">
                  <c:v>133.387</c:v>
                </c:pt>
                <c:pt idx="113">
                  <c:v>133.92098999999999</c:v>
                </c:pt>
                <c:pt idx="114">
                  <c:v>133.68799000000001</c:v>
                </c:pt>
                <c:pt idx="115">
                  <c:v>133.65886</c:v>
                </c:pt>
                <c:pt idx="116">
                  <c:v>132.72675000000001</c:v>
                </c:pt>
                <c:pt idx="117">
                  <c:v>133.47436999999999</c:v>
                </c:pt>
                <c:pt idx="118">
                  <c:v>132.28984</c:v>
                </c:pt>
                <c:pt idx="119">
                  <c:v>131.91118</c:v>
                </c:pt>
                <c:pt idx="120">
                  <c:v>132.76560000000001</c:v>
                </c:pt>
                <c:pt idx="121">
                  <c:v>132.02766</c:v>
                </c:pt>
                <c:pt idx="122">
                  <c:v>131.19266999999999</c:v>
                </c:pt>
                <c:pt idx="123">
                  <c:v>133.79477</c:v>
                </c:pt>
                <c:pt idx="124">
                  <c:v>134.08606</c:v>
                </c:pt>
                <c:pt idx="125">
                  <c:v>133.56173999999999</c:v>
                </c:pt>
                <c:pt idx="126">
                  <c:v>133.91130000000001</c:v>
                </c:pt>
                <c:pt idx="127">
                  <c:v>134.09577999999999</c:v>
                </c:pt>
                <c:pt idx="128">
                  <c:v>132.48401000000001</c:v>
                </c:pt>
                <c:pt idx="129">
                  <c:v>132.74617000000001</c:v>
                </c:pt>
                <c:pt idx="130">
                  <c:v>132.49373</c:v>
                </c:pt>
                <c:pt idx="131">
                  <c:v>133.63943</c:v>
                </c:pt>
                <c:pt idx="132">
                  <c:v>133.30932999999999</c:v>
                </c:pt>
                <c:pt idx="133">
                  <c:v>134.44531000000001</c:v>
                </c:pt>
                <c:pt idx="134">
                  <c:v>134.37733</c:v>
                </c:pt>
                <c:pt idx="135">
                  <c:v>135.87259</c:v>
                </c:pt>
                <c:pt idx="136">
                  <c:v>135.98909</c:v>
                </c:pt>
                <c:pt idx="137">
                  <c:v>135.14438000000001</c:v>
                </c:pt>
                <c:pt idx="138">
                  <c:v>139.12521000000001</c:v>
                </c:pt>
                <c:pt idx="139">
                  <c:v>136.29219000000001</c:v>
                </c:pt>
                <c:pt idx="140">
                  <c:v>135.69566</c:v>
                </c:pt>
                <c:pt idx="141">
                  <c:v>132.55654999999999</c:v>
                </c:pt>
                <c:pt idx="142">
                  <c:v>134.08208999999999</c:v>
                </c:pt>
                <c:pt idx="143">
                  <c:v>131.78399999999999</c:v>
                </c:pt>
                <c:pt idx="144">
                  <c:v>132.8108</c:v>
                </c:pt>
                <c:pt idx="145">
                  <c:v>133.65181999999999</c:v>
                </c:pt>
                <c:pt idx="146">
                  <c:v>132.62502000000001</c:v>
                </c:pt>
                <c:pt idx="147">
                  <c:v>131.99914999999999</c:v>
                </c:pt>
                <c:pt idx="148">
                  <c:v>130.25845000000001</c:v>
                </c:pt>
                <c:pt idx="149">
                  <c:v>128.56665000000001</c:v>
                </c:pt>
                <c:pt idx="150">
                  <c:v>128.34173999999999</c:v>
                </c:pt>
                <c:pt idx="151">
                  <c:v>129.23163</c:v>
                </c:pt>
                <c:pt idx="152">
                  <c:v>128.10704000000001</c:v>
                </c:pt>
                <c:pt idx="153">
                  <c:v>128.67421999999999</c:v>
                </c:pt>
                <c:pt idx="154">
                  <c:v>130.60072</c:v>
                </c:pt>
                <c:pt idx="155">
                  <c:v>134.92311000000001</c:v>
                </c:pt>
                <c:pt idx="156">
                  <c:v>134.13101</c:v>
                </c:pt>
                <c:pt idx="157">
                  <c:v>135.53922</c:v>
                </c:pt>
                <c:pt idx="158">
                  <c:v>137.69060999999999</c:v>
                </c:pt>
                <c:pt idx="159">
                  <c:v>135.01112000000001</c:v>
                </c:pt>
                <c:pt idx="160">
                  <c:v>134.88399999999999</c:v>
                </c:pt>
                <c:pt idx="161">
                  <c:v>132.70325</c:v>
                </c:pt>
                <c:pt idx="162">
                  <c:v>133.98429999999999</c:v>
                </c:pt>
                <c:pt idx="163">
                  <c:v>134.80577</c:v>
                </c:pt>
                <c:pt idx="164">
                  <c:v>135.38274000000001</c:v>
                </c:pt>
                <c:pt idx="165">
                  <c:v>138.99124</c:v>
                </c:pt>
                <c:pt idx="166">
                  <c:v>140.37010000000001</c:v>
                </c:pt>
                <c:pt idx="167">
                  <c:v>139.37262999999999</c:v>
                </c:pt>
                <c:pt idx="168">
                  <c:v>138.30669</c:v>
                </c:pt>
                <c:pt idx="169">
                  <c:v>138.60006999999999</c:v>
                </c:pt>
                <c:pt idx="170">
                  <c:v>136.59535</c:v>
                </c:pt>
                <c:pt idx="171">
                  <c:v>136.62470999999999</c:v>
                </c:pt>
                <c:pt idx="172">
                  <c:v>136.51712000000001</c:v>
                </c:pt>
                <c:pt idx="173">
                  <c:v>136.52690000000001</c:v>
                </c:pt>
                <c:pt idx="174">
                  <c:v>136.47800000000001</c:v>
                </c:pt>
                <c:pt idx="175">
                  <c:v>135.01112000000001</c:v>
                </c:pt>
                <c:pt idx="176">
                  <c:v>136.04771</c:v>
                </c:pt>
                <c:pt idx="177">
                  <c:v>131.20703</c:v>
                </c:pt>
                <c:pt idx="178">
                  <c:v>131.03100000000001</c:v>
                </c:pt>
                <c:pt idx="179">
                  <c:v>130.34645</c:v>
                </c:pt>
                <c:pt idx="180">
                  <c:v>132.16537</c:v>
                </c:pt>
                <c:pt idx="181">
                  <c:v>134.01364000000001</c:v>
                </c:pt>
                <c:pt idx="182">
                  <c:v>134.81554</c:v>
                </c:pt>
                <c:pt idx="183">
                  <c:v>135.00136000000001</c:v>
                </c:pt>
                <c:pt idx="184">
                  <c:v>135.32407000000001</c:v>
                </c:pt>
                <c:pt idx="185">
                  <c:v>135.39250000000001</c:v>
                </c:pt>
                <c:pt idx="186">
                  <c:v>138.59030000000001</c:v>
                </c:pt>
                <c:pt idx="187">
                  <c:v>140.72214</c:v>
                </c:pt>
                <c:pt idx="188">
                  <c:v>140.66346999999999</c:v>
                </c:pt>
                <c:pt idx="189">
                  <c:v>141.51428000000001</c:v>
                </c:pt>
                <c:pt idx="190">
                  <c:v>142.54107999999999</c:v>
                </c:pt>
                <c:pt idx="191">
                  <c:v>142.03258</c:v>
                </c:pt>
                <c:pt idx="192">
                  <c:v>140.21365</c:v>
                </c:pt>
                <c:pt idx="193">
                  <c:v>140.15496999999999</c:v>
                </c:pt>
                <c:pt idx="194">
                  <c:v>140.25274999999999</c:v>
                </c:pt>
                <c:pt idx="195">
                  <c:v>139.86159000000001</c:v>
                </c:pt>
                <c:pt idx="196">
                  <c:v>140.84929</c:v>
                </c:pt>
                <c:pt idx="197">
                  <c:v>140.97640999999999</c:v>
                </c:pt>
                <c:pt idx="198">
                  <c:v>141.4067</c:v>
                </c:pt>
                <c:pt idx="199">
                  <c:v>141.04488000000001</c:v>
                </c:pt>
                <c:pt idx="200">
                  <c:v>142.84424999999999</c:v>
                </c:pt>
                <c:pt idx="201">
                  <c:v>141.42625000000001</c:v>
                </c:pt>
                <c:pt idx="202">
                  <c:v>142.26635999999999</c:v>
                </c:pt>
                <c:pt idx="203">
                  <c:v>143.64519999999999</c:v>
                </c:pt>
                <c:pt idx="204">
                  <c:v>143.17243999999999</c:v>
                </c:pt>
                <c:pt idx="205">
                  <c:v>143.32019</c:v>
                </c:pt>
                <c:pt idx="206">
                  <c:v>143.48760999999999</c:v>
                </c:pt>
                <c:pt idx="207">
                  <c:v>142.48302000000001</c:v>
                </c:pt>
                <c:pt idx="208">
                  <c:v>142.77849000000001</c:v>
                </c:pt>
                <c:pt idx="209">
                  <c:v>142.04968</c:v>
                </c:pt>
                <c:pt idx="210">
                  <c:v>142.58151000000001</c:v>
                </c:pt>
                <c:pt idx="211">
                  <c:v>142.69970000000001</c:v>
                </c:pt>
                <c:pt idx="212">
                  <c:v>143.50731999999999</c:v>
                </c:pt>
                <c:pt idx="213">
                  <c:v>144.70885999999999</c:v>
                </c:pt>
                <c:pt idx="214">
                  <c:v>143.202</c:v>
                </c:pt>
                <c:pt idx="215">
                  <c:v>141.84286</c:v>
                </c:pt>
                <c:pt idx="216">
                  <c:v>142.22696999999999</c:v>
                </c:pt>
                <c:pt idx="217">
                  <c:v>142.86714000000001</c:v>
                </c:pt>
                <c:pt idx="218">
                  <c:v>144.68915999999999</c:v>
                </c:pt>
                <c:pt idx="219">
                  <c:v>145.19147000000001</c:v>
                </c:pt>
                <c:pt idx="220">
                  <c:v>145.08311</c:v>
                </c:pt>
                <c:pt idx="221">
                  <c:v>146.05816999999999</c:v>
                </c:pt>
                <c:pt idx="222">
                  <c:v>142.08908</c:v>
                </c:pt>
                <c:pt idx="223">
                  <c:v>142.51257000000001</c:v>
                </c:pt>
                <c:pt idx="224">
                  <c:v>140.76933</c:v>
                </c:pt>
                <c:pt idx="225">
                  <c:v>140.31630000000001</c:v>
                </c:pt>
                <c:pt idx="226">
                  <c:v>142.00042999999999</c:v>
                </c:pt>
                <c:pt idx="227">
                  <c:v>139.94202999999999</c:v>
                </c:pt>
                <c:pt idx="228">
                  <c:v>139.292</c:v>
                </c:pt>
                <c:pt idx="229">
                  <c:v>140.43448000000001</c:v>
                </c:pt>
                <c:pt idx="230">
                  <c:v>139.61702</c:v>
                </c:pt>
                <c:pt idx="231">
                  <c:v>139.25261</c:v>
                </c:pt>
                <c:pt idx="232">
                  <c:v>139.91248999999999</c:v>
                </c:pt>
                <c:pt idx="233">
                  <c:v>139.19353000000001</c:v>
                </c:pt>
                <c:pt idx="234">
                  <c:v>137.49952999999999</c:v>
                </c:pt>
                <c:pt idx="235">
                  <c:v>136.49494999999999</c:v>
                </c:pt>
                <c:pt idx="236">
                  <c:v>138.0609</c:v>
                </c:pt>
                <c:pt idx="237">
                  <c:v>139.65642</c:v>
                </c:pt>
                <c:pt idx="238">
                  <c:v>135.95325</c:v>
                </c:pt>
                <c:pt idx="239">
                  <c:v>137.08588</c:v>
                </c:pt>
                <c:pt idx="240">
                  <c:v>134.50550000000001</c:v>
                </c:pt>
                <c:pt idx="241">
                  <c:v>134.90926999999999</c:v>
                </c:pt>
                <c:pt idx="242">
                  <c:v>136.28813</c:v>
                </c:pt>
                <c:pt idx="243">
                  <c:v>135.93356</c:v>
                </c:pt>
                <c:pt idx="244">
                  <c:v>137.56846999999999</c:v>
                </c:pt>
                <c:pt idx="245">
                  <c:v>138.82911999999999</c:v>
                </c:pt>
                <c:pt idx="246">
                  <c:v>138.27759</c:v>
                </c:pt>
                <c:pt idx="247">
                  <c:v>137.48969</c:v>
                </c:pt>
                <c:pt idx="248">
                  <c:v>135.61840000000001</c:v>
                </c:pt>
                <c:pt idx="249">
                  <c:v>132.92966999999999</c:v>
                </c:pt>
                <c:pt idx="250">
                  <c:v>131.84628000000001</c:v>
                </c:pt>
                <c:pt idx="251">
                  <c:v>132.34859</c:v>
                </c:pt>
                <c:pt idx="252">
                  <c:v>132.42738</c:v>
                </c:pt>
                <c:pt idx="253">
                  <c:v>133.32361</c:v>
                </c:pt>
                <c:pt idx="254">
                  <c:v>130.50684999999999</c:v>
                </c:pt>
                <c:pt idx="255">
                  <c:v>129.99472</c:v>
                </c:pt>
                <c:pt idx="256">
                  <c:v>130.77277000000001</c:v>
                </c:pt>
                <c:pt idx="257">
                  <c:v>130.0932</c:v>
                </c:pt>
                <c:pt idx="258">
                  <c:v>128.03479999999999</c:v>
                </c:pt>
                <c:pt idx="259">
                  <c:v>127.23704499999999</c:v>
                </c:pt>
                <c:pt idx="260">
                  <c:v>128.64542</c:v>
                </c:pt>
                <c:pt idx="261">
                  <c:v>129.08861999999999</c:v>
                </c:pt>
                <c:pt idx="262">
                  <c:v>127.1878</c:v>
                </c:pt>
                <c:pt idx="263">
                  <c:v>127.89563</c:v>
                </c:pt>
                <c:pt idx="264">
                  <c:v>132.06516999999999</c:v>
                </c:pt>
                <c:pt idx="265">
                  <c:v>131.17169000000001</c:v>
                </c:pt>
                <c:pt idx="266">
                  <c:v>131.29082</c:v>
                </c:pt>
                <c:pt idx="267">
                  <c:v>132.61117999999999</c:v>
                </c:pt>
                <c:pt idx="268">
                  <c:v>132.25378000000001</c:v>
                </c:pt>
                <c:pt idx="269">
                  <c:v>132.07508999999999</c:v>
                </c:pt>
                <c:pt idx="270">
                  <c:v>132.06516999999999</c:v>
                </c:pt>
                <c:pt idx="271">
                  <c:v>133.03806</c:v>
                </c:pt>
                <c:pt idx="272">
                  <c:v>132.65088</c:v>
                </c:pt>
                <c:pt idx="273">
                  <c:v>131.56879000000001</c:v>
                </c:pt>
                <c:pt idx="274">
                  <c:v>133.52449999999999</c:v>
                </c:pt>
                <c:pt idx="275">
                  <c:v>136.80056999999999</c:v>
                </c:pt>
                <c:pt idx="276">
                  <c:v>138.44853000000001</c:v>
                </c:pt>
                <c:pt idx="277">
                  <c:v>137.80323999999999</c:v>
                </c:pt>
                <c:pt idx="278">
                  <c:v>138.61731</c:v>
                </c:pt>
                <c:pt idx="279">
                  <c:v>141.66502</c:v>
                </c:pt>
                <c:pt idx="280">
                  <c:v>143.75971999999999</c:v>
                </c:pt>
                <c:pt idx="281">
                  <c:v>141.50618</c:v>
                </c:pt>
                <c:pt idx="282">
                  <c:v>140.42409000000001</c:v>
                </c:pt>
                <c:pt idx="283">
                  <c:v>140.25532999999999</c:v>
                </c:pt>
                <c:pt idx="284">
                  <c:v>142.1217</c:v>
                </c:pt>
                <c:pt idx="285">
                  <c:v>142.62799000000001</c:v>
                </c:pt>
                <c:pt idx="286">
                  <c:v>142.36989</c:v>
                </c:pt>
                <c:pt idx="287">
                  <c:v>141.50618</c:v>
                </c:pt>
                <c:pt idx="288">
                  <c:v>141.53598</c:v>
                </c:pt>
                <c:pt idx="289">
                  <c:v>141.98271</c:v>
                </c:pt>
                <c:pt idx="290">
                  <c:v>142.01249999999999</c:v>
                </c:pt>
                <c:pt idx="291">
                  <c:v>141.07932</c:v>
                </c:pt>
                <c:pt idx="292">
                  <c:v>141.27786</c:v>
                </c:pt>
                <c:pt idx="293">
                  <c:v>143.11444</c:v>
                </c:pt>
                <c:pt idx="294">
                  <c:v>143.70016000000001</c:v>
                </c:pt>
                <c:pt idx="295">
                  <c:v>144.65321</c:v>
                </c:pt>
                <c:pt idx="296">
                  <c:v>145.91399000000001</c:v>
                </c:pt>
                <c:pt idx="297">
                  <c:v>145.01060000000001</c:v>
                </c:pt>
                <c:pt idx="298">
                  <c:v>144.77234000000001</c:v>
                </c:pt>
                <c:pt idx="299">
                  <c:v>142.32024999999999</c:v>
                </c:pt>
                <c:pt idx="300">
                  <c:v>141.85364999999999</c:v>
                </c:pt>
                <c:pt idx="301">
                  <c:v>140.80135000000001</c:v>
                </c:pt>
                <c:pt idx="302">
                  <c:v>142.89604</c:v>
                </c:pt>
                <c:pt idx="303">
                  <c:v>143.11444</c:v>
                </c:pt>
                <c:pt idx="304">
                  <c:v>144.73262</c:v>
                </c:pt>
                <c:pt idx="305">
                  <c:v>142.91589999999999</c:v>
                </c:pt>
                <c:pt idx="306">
                  <c:v>142.84639999999999</c:v>
                </c:pt>
                <c:pt idx="307">
                  <c:v>144.50429</c:v>
                </c:pt>
                <c:pt idx="308">
                  <c:v>144.50429</c:v>
                </c:pt>
                <c:pt idx="309">
                  <c:v>145.65588</c:v>
                </c:pt>
                <c:pt idx="310">
                  <c:v>144.59362999999999</c:v>
                </c:pt>
                <c:pt idx="311">
                  <c:v>143.18393</c:v>
                </c:pt>
                <c:pt idx="312">
                  <c:v>145.30841000000001</c:v>
                </c:pt>
                <c:pt idx="313">
                  <c:v>145.52681000000001</c:v>
                </c:pt>
                <c:pt idx="314">
                  <c:v>145.10986</c:v>
                </c:pt>
                <c:pt idx="315">
                  <c:v>144.45464999999999</c:v>
                </c:pt>
                <c:pt idx="316">
                  <c:v>144.37522999999999</c:v>
                </c:pt>
                <c:pt idx="317">
                  <c:v>146.16217</c:v>
                </c:pt>
                <c:pt idx="318">
                  <c:v>146.03313</c:v>
                </c:pt>
                <c:pt idx="319">
                  <c:v>146.77768</c:v>
                </c:pt>
                <c:pt idx="320">
                  <c:v>147.22443000000001</c:v>
                </c:pt>
                <c:pt idx="321">
                  <c:v>147.22443000000001</c:v>
                </c:pt>
                <c:pt idx="322">
                  <c:v>145.44739000000001</c:v>
                </c:pt>
                <c:pt idx="323">
                  <c:v>146.86703</c:v>
                </c:pt>
                <c:pt idx="324">
                  <c:v>146.55928</c:v>
                </c:pt>
                <c:pt idx="325">
                  <c:v>147.14500000000001</c:v>
                </c:pt>
                <c:pt idx="326">
                  <c:v>147.66999999999999</c:v>
                </c:pt>
                <c:pt idx="327">
                  <c:v>147.84</c:v>
                </c:pt>
                <c:pt idx="328">
                  <c:v>147.75</c:v>
                </c:pt>
                <c:pt idx="329">
                  <c:v>146.37</c:v>
                </c:pt>
                <c:pt idx="330">
                  <c:v>146.1</c:v>
                </c:pt>
                <c:pt idx="331">
                  <c:v>147.59998999999999</c:v>
                </c:pt>
                <c:pt idx="332">
                  <c:v>147.69</c:v>
                </c:pt>
                <c:pt idx="333">
                  <c:v>148.57</c:v>
                </c:pt>
                <c:pt idx="334">
                  <c:v>148.58000000000001</c:v>
                </c:pt>
                <c:pt idx="335">
                  <c:v>147.1</c:v>
                </c:pt>
                <c:pt idx="336">
                  <c:v>148.51999000000001</c:v>
                </c:pt>
                <c:pt idx="337">
                  <c:v>145.41999999999999</c:v>
                </c:pt>
                <c:pt idx="338">
                  <c:v>146.56</c:v>
                </c:pt>
                <c:pt idx="339">
                  <c:v>146.78</c:v>
                </c:pt>
                <c:pt idx="340">
                  <c:v>144.85</c:v>
                </c:pt>
                <c:pt idx="341">
                  <c:v>145.66999999999999</c:v>
                </c:pt>
                <c:pt idx="342">
                  <c:v>146.41</c:v>
                </c:pt>
                <c:pt idx="343">
                  <c:v>147.04001</c:v>
                </c:pt>
                <c:pt idx="344">
                  <c:v>146.93998999999999</c:v>
                </c:pt>
                <c:pt idx="345">
                  <c:v>148.16999999999999</c:v>
                </c:pt>
                <c:pt idx="346">
                  <c:v>148.19999999999999</c:v>
                </c:pt>
              </c:numCache>
            </c:numRef>
          </c:val>
          <c:smooth val="0"/>
          <c:extLst>
            <c:ext xmlns:c16="http://schemas.microsoft.com/office/drawing/2014/chart" uri="{C3380CC4-5D6E-409C-BE32-E72D297353CC}">
              <c16:uniqueId val="{00000000-A5EA-5040-88DA-AE427E308C27}"/>
            </c:ext>
          </c:extLst>
        </c:ser>
        <c:ser>
          <c:idx val="1"/>
          <c:order val="1"/>
          <c:tx>
            <c:strRef>
              <c:f>Sheet1!$C$1</c:f>
              <c:strCache>
                <c:ptCount val="1"/>
                <c:pt idx="0">
                  <c:v>Predicted</c:v>
                </c:pt>
              </c:strCache>
            </c:strRef>
          </c:tx>
          <c:spPr>
            <a:ln w="12700" cap="rnd">
              <a:solidFill>
                <a:schemeClr val="accent2"/>
              </a:solidFill>
              <a:round/>
            </a:ln>
            <a:effectLst/>
          </c:spPr>
          <c:marker>
            <c:symbol val="none"/>
          </c:marker>
          <c:cat>
            <c:numRef>
              <c:f>Sheet1!$A$2:$A$2111</c:f>
              <c:numCache>
                <c:formatCode>m/d/yy</c:formatCode>
                <c:ptCount val="2110"/>
                <c:pt idx="0">
                  <c:v>43833</c:v>
                </c:pt>
                <c:pt idx="1">
                  <c:v>43836</c:v>
                </c:pt>
                <c:pt idx="2">
                  <c:v>43837</c:v>
                </c:pt>
                <c:pt idx="3">
                  <c:v>43838</c:v>
                </c:pt>
                <c:pt idx="4">
                  <c:v>43839</c:v>
                </c:pt>
                <c:pt idx="5">
                  <c:v>43840</c:v>
                </c:pt>
                <c:pt idx="6">
                  <c:v>43843</c:v>
                </c:pt>
                <c:pt idx="7">
                  <c:v>43844</c:v>
                </c:pt>
                <c:pt idx="8">
                  <c:v>43845</c:v>
                </c:pt>
                <c:pt idx="9">
                  <c:v>43846</c:v>
                </c:pt>
                <c:pt idx="10">
                  <c:v>43847</c:v>
                </c:pt>
                <c:pt idx="11">
                  <c:v>43851</c:v>
                </c:pt>
                <c:pt idx="12">
                  <c:v>43852</c:v>
                </c:pt>
                <c:pt idx="13">
                  <c:v>43853</c:v>
                </c:pt>
                <c:pt idx="14">
                  <c:v>43854</c:v>
                </c:pt>
                <c:pt idx="15">
                  <c:v>43857</c:v>
                </c:pt>
                <c:pt idx="16">
                  <c:v>43858</c:v>
                </c:pt>
                <c:pt idx="17">
                  <c:v>43859</c:v>
                </c:pt>
                <c:pt idx="18">
                  <c:v>43860</c:v>
                </c:pt>
                <c:pt idx="19">
                  <c:v>43861</c:v>
                </c:pt>
                <c:pt idx="20">
                  <c:v>43864</c:v>
                </c:pt>
                <c:pt idx="21">
                  <c:v>43865</c:v>
                </c:pt>
                <c:pt idx="22">
                  <c:v>43866</c:v>
                </c:pt>
                <c:pt idx="23">
                  <c:v>43867</c:v>
                </c:pt>
                <c:pt idx="24">
                  <c:v>43868</c:v>
                </c:pt>
                <c:pt idx="25">
                  <c:v>43871</c:v>
                </c:pt>
                <c:pt idx="26">
                  <c:v>43872</c:v>
                </c:pt>
                <c:pt idx="27">
                  <c:v>43873</c:v>
                </c:pt>
                <c:pt idx="28">
                  <c:v>43874</c:v>
                </c:pt>
                <c:pt idx="29">
                  <c:v>43875</c:v>
                </c:pt>
                <c:pt idx="30">
                  <c:v>43879</c:v>
                </c:pt>
                <c:pt idx="31">
                  <c:v>43880</c:v>
                </c:pt>
                <c:pt idx="32">
                  <c:v>43881</c:v>
                </c:pt>
                <c:pt idx="33">
                  <c:v>43882</c:v>
                </c:pt>
                <c:pt idx="34">
                  <c:v>43885</c:v>
                </c:pt>
                <c:pt idx="35">
                  <c:v>43886</c:v>
                </c:pt>
                <c:pt idx="36">
                  <c:v>43887</c:v>
                </c:pt>
                <c:pt idx="37">
                  <c:v>43888</c:v>
                </c:pt>
                <c:pt idx="38">
                  <c:v>43889</c:v>
                </c:pt>
                <c:pt idx="39">
                  <c:v>43892</c:v>
                </c:pt>
                <c:pt idx="40">
                  <c:v>43893</c:v>
                </c:pt>
                <c:pt idx="41">
                  <c:v>43894</c:v>
                </c:pt>
                <c:pt idx="42">
                  <c:v>43895</c:v>
                </c:pt>
                <c:pt idx="43">
                  <c:v>43896</c:v>
                </c:pt>
                <c:pt idx="44">
                  <c:v>43899</c:v>
                </c:pt>
                <c:pt idx="45">
                  <c:v>43900</c:v>
                </c:pt>
                <c:pt idx="46">
                  <c:v>43901</c:v>
                </c:pt>
                <c:pt idx="47">
                  <c:v>43902</c:v>
                </c:pt>
                <c:pt idx="48">
                  <c:v>43903</c:v>
                </c:pt>
                <c:pt idx="49">
                  <c:v>43906</c:v>
                </c:pt>
                <c:pt idx="50">
                  <c:v>43907</c:v>
                </c:pt>
                <c:pt idx="51">
                  <c:v>43908</c:v>
                </c:pt>
                <c:pt idx="52">
                  <c:v>43909</c:v>
                </c:pt>
                <c:pt idx="53">
                  <c:v>43910</c:v>
                </c:pt>
                <c:pt idx="54">
                  <c:v>43913</c:v>
                </c:pt>
                <c:pt idx="55">
                  <c:v>43914</c:v>
                </c:pt>
                <c:pt idx="56">
                  <c:v>43915</c:v>
                </c:pt>
                <c:pt idx="57">
                  <c:v>43916</c:v>
                </c:pt>
                <c:pt idx="58">
                  <c:v>43917</c:v>
                </c:pt>
                <c:pt idx="59">
                  <c:v>43920</c:v>
                </c:pt>
                <c:pt idx="60">
                  <c:v>43921</c:v>
                </c:pt>
                <c:pt idx="61">
                  <c:v>43922</c:v>
                </c:pt>
                <c:pt idx="62">
                  <c:v>43923</c:v>
                </c:pt>
                <c:pt idx="63">
                  <c:v>43924</c:v>
                </c:pt>
                <c:pt idx="64">
                  <c:v>43927</c:v>
                </c:pt>
                <c:pt idx="65">
                  <c:v>43928</c:v>
                </c:pt>
                <c:pt idx="66">
                  <c:v>43929</c:v>
                </c:pt>
                <c:pt idx="67">
                  <c:v>43930</c:v>
                </c:pt>
                <c:pt idx="68">
                  <c:v>43934</c:v>
                </c:pt>
                <c:pt idx="69">
                  <c:v>43935</c:v>
                </c:pt>
                <c:pt idx="70">
                  <c:v>43936</c:v>
                </c:pt>
                <c:pt idx="71">
                  <c:v>43937</c:v>
                </c:pt>
                <c:pt idx="72">
                  <c:v>43938</c:v>
                </c:pt>
                <c:pt idx="73">
                  <c:v>43941</c:v>
                </c:pt>
                <c:pt idx="74">
                  <c:v>43942</c:v>
                </c:pt>
                <c:pt idx="75">
                  <c:v>43943</c:v>
                </c:pt>
                <c:pt idx="76">
                  <c:v>43944</c:v>
                </c:pt>
                <c:pt idx="77">
                  <c:v>43945</c:v>
                </c:pt>
                <c:pt idx="78">
                  <c:v>43948</c:v>
                </c:pt>
                <c:pt idx="79">
                  <c:v>43949</c:v>
                </c:pt>
                <c:pt idx="80">
                  <c:v>43950</c:v>
                </c:pt>
                <c:pt idx="81">
                  <c:v>43951</c:v>
                </c:pt>
                <c:pt idx="82">
                  <c:v>43952</c:v>
                </c:pt>
                <c:pt idx="83">
                  <c:v>43955</c:v>
                </c:pt>
                <c:pt idx="84">
                  <c:v>43956</c:v>
                </c:pt>
                <c:pt idx="85">
                  <c:v>43957</c:v>
                </c:pt>
                <c:pt idx="86">
                  <c:v>43958</c:v>
                </c:pt>
                <c:pt idx="87">
                  <c:v>43959</c:v>
                </c:pt>
                <c:pt idx="88">
                  <c:v>43962</c:v>
                </c:pt>
                <c:pt idx="89">
                  <c:v>43963</c:v>
                </c:pt>
                <c:pt idx="90">
                  <c:v>43964</c:v>
                </c:pt>
                <c:pt idx="91">
                  <c:v>43965</c:v>
                </c:pt>
                <c:pt idx="92">
                  <c:v>43966</c:v>
                </c:pt>
                <c:pt idx="93">
                  <c:v>43969</c:v>
                </c:pt>
                <c:pt idx="94">
                  <c:v>43970</c:v>
                </c:pt>
                <c:pt idx="95">
                  <c:v>43971</c:v>
                </c:pt>
                <c:pt idx="96">
                  <c:v>43972</c:v>
                </c:pt>
                <c:pt idx="97">
                  <c:v>43973</c:v>
                </c:pt>
                <c:pt idx="98">
                  <c:v>43977</c:v>
                </c:pt>
                <c:pt idx="99">
                  <c:v>43978</c:v>
                </c:pt>
                <c:pt idx="100">
                  <c:v>43979</c:v>
                </c:pt>
                <c:pt idx="101">
                  <c:v>43980</c:v>
                </c:pt>
                <c:pt idx="102">
                  <c:v>43983</c:v>
                </c:pt>
                <c:pt idx="103">
                  <c:v>43984</c:v>
                </c:pt>
                <c:pt idx="104">
                  <c:v>43985</c:v>
                </c:pt>
                <c:pt idx="105">
                  <c:v>43986</c:v>
                </c:pt>
                <c:pt idx="106">
                  <c:v>43987</c:v>
                </c:pt>
                <c:pt idx="107">
                  <c:v>43990</c:v>
                </c:pt>
                <c:pt idx="108">
                  <c:v>43991</c:v>
                </c:pt>
                <c:pt idx="109">
                  <c:v>43992</c:v>
                </c:pt>
                <c:pt idx="110">
                  <c:v>43993</c:v>
                </c:pt>
                <c:pt idx="111">
                  <c:v>43994</c:v>
                </c:pt>
                <c:pt idx="112">
                  <c:v>43997</c:v>
                </c:pt>
                <c:pt idx="113">
                  <c:v>43998</c:v>
                </c:pt>
                <c:pt idx="114">
                  <c:v>43999</c:v>
                </c:pt>
                <c:pt idx="115">
                  <c:v>44000</c:v>
                </c:pt>
                <c:pt idx="116">
                  <c:v>44001</c:v>
                </c:pt>
                <c:pt idx="117">
                  <c:v>44004</c:v>
                </c:pt>
                <c:pt idx="118">
                  <c:v>44005</c:v>
                </c:pt>
                <c:pt idx="119">
                  <c:v>44006</c:v>
                </c:pt>
                <c:pt idx="120">
                  <c:v>44007</c:v>
                </c:pt>
                <c:pt idx="121">
                  <c:v>44008</c:v>
                </c:pt>
                <c:pt idx="122">
                  <c:v>44011</c:v>
                </c:pt>
                <c:pt idx="123">
                  <c:v>44012</c:v>
                </c:pt>
                <c:pt idx="124">
                  <c:v>44013</c:v>
                </c:pt>
                <c:pt idx="125">
                  <c:v>44014</c:v>
                </c:pt>
                <c:pt idx="126">
                  <c:v>44018</c:v>
                </c:pt>
                <c:pt idx="127">
                  <c:v>44019</c:v>
                </c:pt>
                <c:pt idx="128">
                  <c:v>44020</c:v>
                </c:pt>
                <c:pt idx="129">
                  <c:v>44021</c:v>
                </c:pt>
                <c:pt idx="130">
                  <c:v>44022</c:v>
                </c:pt>
                <c:pt idx="131">
                  <c:v>44025</c:v>
                </c:pt>
                <c:pt idx="132">
                  <c:v>44026</c:v>
                </c:pt>
                <c:pt idx="133">
                  <c:v>44027</c:v>
                </c:pt>
                <c:pt idx="134">
                  <c:v>44028</c:v>
                </c:pt>
                <c:pt idx="135">
                  <c:v>44029</c:v>
                </c:pt>
                <c:pt idx="136">
                  <c:v>44032</c:v>
                </c:pt>
                <c:pt idx="137">
                  <c:v>44033</c:v>
                </c:pt>
                <c:pt idx="138">
                  <c:v>44034</c:v>
                </c:pt>
                <c:pt idx="139">
                  <c:v>44035</c:v>
                </c:pt>
                <c:pt idx="140">
                  <c:v>44036</c:v>
                </c:pt>
                <c:pt idx="141">
                  <c:v>44039</c:v>
                </c:pt>
                <c:pt idx="142">
                  <c:v>44040</c:v>
                </c:pt>
                <c:pt idx="143">
                  <c:v>44041</c:v>
                </c:pt>
                <c:pt idx="144">
                  <c:v>44042</c:v>
                </c:pt>
                <c:pt idx="145">
                  <c:v>44043</c:v>
                </c:pt>
                <c:pt idx="146">
                  <c:v>44046</c:v>
                </c:pt>
                <c:pt idx="147">
                  <c:v>44047</c:v>
                </c:pt>
                <c:pt idx="148">
                  <c:v>44048</c:v>
                </c:pt>
                <c:pt idx="149">
                  <c:v>44049</c:v>
                </c:pt>
                <c:pt idx="150">
                  <c:v>44050</c:v>
                </c:pt>
                <c:pt idx="151">
                  <c:v>44053</c:v>
                </c:pt>
                <c:pt idx="152">
                  <c:v>44054</c:v>
                </c:pt>
                <c:pt idx="153">
                  <c:v>44055</c:v>
                </c:pt>
                <c:pt idx="154">
                  <c:v>44056</c:v>
                </c:pt>
                <c:pt idx="155">
                  <c:v>44057</c:v>
                </c:pt>
                <c:pt idx="156">
                  <c:v>44060</c:v>
                </c:pt>
                <c:pt idx="157">
                  <c:v>44061</c:v>
                </c:pt>
                <c:pt idx="158">
                  <c:v>44062</c:v>
                </c:pt>
                <c:pt idx="159">
                  <c:v>44063</c:v>
                </c:pt>
                <c:pt idx="160">
                  <c:v>44064</c:v>
                </c:pt>
                <c:pt idx="161">
                  <c:v>44067</c:v>
                </c:pt>
                <c:pt idx="162">
                  <c:v>44068</c:v>
                </c:pt>
                <c:pt idx="163">
                  <c:v>44069</c:v>
                </c:pt>
                <c:pt idx="164">
                  <c:v>44070</c:v>
                </c:pt>
                <c:pt idx="165">
                  <c:v>44071</c:v>
                </c:pt>
                <c:pt idx="166">
                  <c:v>44074</c:v>
                </c:pt>
                <c:pt idx="167">
                  <c:v>44075</c:v>
                </c:pt>
                <c:pt idx="168">
                  <c:v>44076</c:v>
                </c:pt>
                <c:pt idx="169">
                  <c:v>44077</c:v>
                </c:pt>
                <c:pt idx="170">
                  <c:v>44078</c:v>
                </c:pt>
                <c:pt idx="171">
                  <c:v>44082</c:v>
                </c:pt>
                <c:pt idx="172">
                  <c:v>44083</c:v>
                </c:pt>
                <c:pt idx="173">
                  <c:v>44084</c:v>
                </c:pt>
                <c:pt idx="174">
                  <c:v>44085</c:v>
                </c:pt>
                <c:pt idx="175">
                  <c:v>44088</c:v>
                </c:pt>
                <c:pt idx="176">
                  <c:v>44089</c:v>
                </c:pt>
                <c:pt idx="177">
                  <c:v>44090</c:v>
                </c:pt>
                <c:pt idx="178">
                  <c:v>44091</c:v>
                </c:pt>
                <c:pt idx="179">
                  <c:v>44092</c:v>
                </c:pt>
                <c:pt idx="180">
                  <c:v>44095</c:v>
                </c:pt>
                <c:pt idx="181">
                  <c:v>44096</c:v>
                </c:pt>
                <c:pt idx="182">
                  <c:v>44097</c:v>
                </c:pt>
                <c:pt idx="183">
                  <c:v>44098</c:v>
                </c:pt>
                <c:pt idx="184">
                  <c:v>44099</c:v>
                </c:pt>
                <c:pt idx="185">
                  <c:v>44102</c:v>
                </c:pt>
                <c:pt idx="186">
                  <c:v>44103</c:v>
                </c:pt>
                <c:pt idx="187">
                  <c:v>44104</c:v>
                </c:pt>
                <c:pt idx="188">
                  <c:v>44105</c:v>
                </c:pt>
                <c:pt idx="189">
                  <c:v>44106</c:v>
                </c:pt>
                <c:pt idx="190">
                  <c:v>44109</c:v>
                </c:pt>
                <c:pt idx="191">
                  <c:v>44110</c:v>
                </c:pt>
                <c:pt idx="192">
                  <c:v>44111</c:v>
                </c:pt>
                <c:pt idx="193">
                  <c:v>44112</c:v>
                </c:pt>
                <c:pt idx="194">
                  <c:v>44113</c:v>
                </c:pt>
                <c:pt idx="195">
                  <c:v>44116</c:v>
                </c:pt>
                <c:pt idx="196">
                  <c:v>44117</c:v>
                </c:pt>
                <c:pt idx="197">
                  <c:v>44118</c:v>
                </c:pt>
                <c:pt idx="198">
                  <c:v>44119</c:v>
                </c:pt>
                <c:pt idx="199">
                  <c:v>44120</c:v>
                </c:pt>
                <c:pt idx="200">
                  <c:v>44123</c:v>
                </c:pt>
                <c:pt idx="201">
                  <c:v>44124</c:v>
                </c:pt>
                <c:pt idx="202">
                  <c:v>44125</c:v>
                </c:pt>
                <c:pt idx="203">
                  <c:v>44126</c:v>
                </c:pt>
                <c:pt idx="204">
                  <c:v>44127</c:v>
                </c:pt>
                <c:pt idx="205">
                  <c:v>44130</c:v>
                </c:pt>
                <c:pt idx="206">
                  <c:v>44131</c:v>
                </c:pt>
                <c:pt idx="207">
                  <c:v>44132</c:v>
                </c:pt>
                <c:pt idx="208">
                  <c:v>44133</c:v>
                </c:pt>
                <c:pt idx="209">
                  <c:v>44134</c:v>
                </c:pt>
                <c:pt idx="210">
                  <c:v>44137</c:v>
                </c:pt>
                <c:pt idx="211">
                  <c:v>44138</c:v>
                </c:pt>
                <c:pt idx="212">
                  <c:v>44139</c:v>
                </c:pt>
                <c:pt idx="213">
                  <c:v>44140</c:v>
                </c:pt>
                <c:pt idx="214">
                  <c:v>44141</c:v>
                </c:pt>
                <c:pt idx="215">
                  <c:v>44144</c:v>
                </c:pt>
                <c:pt idx="216">
                  <c:v>44145</c:v>
                </c:pt>
                <c:pt idx="217">
                  <c:v>44146</c:v>
                </c:pt>
                <c:pt idx="218">
                  <c:v>44147</c:v>
                </c:pt>
                <c:pt idx="219">
                  <c:v>44148</c:v>
                </c:pt>
                <c:pt idx="220">
                  <c:v>44151</c:v>
                </c:pt>
                <c:pt idx="221">
                  <c:v>44152</c:v>
                </c:pt>
                <c:pt idx="222">
                  <c:v>44153</c:v>
                </c:pt>
                <c:pt idx="223">
                  <c:v>44154</c:v>
                </c:pt>
                <c:pt idx="224">
                  <c:v>44155</c:v>
                </c:pt>
                <c:pt idx="225">
                  <c:v>44158</c:v>
                </c:pt>
                <c:pt idx="226">
                  <c:v>44159</c:v>
                </c:pt>
                <c:pt idx="227">
                  <c:v>44160</c:v>
                </c:pt>
                <c:pt idx="228">
                  <c:v>44162</c:v>
                </c:pt>
                <c:pt idx="229">
                  <c:v>44165</c:v>
                </c:pt>
                <c:pt idx="230">
                  <c:v>44166</c:v>
                </c:pt>
                <c:pt idx="231">
                  <c:v>44167</c:v>
                </c:pt>
                <c:pt idx="232">
                  <c:v>44168</c:v>
                </c:pt>
                <c:pt idx="233">
                  <c:v>44169</c:v>
                </c:pt>
                <c:pt idx="234">
                  <c:v>44172</c:v>
                </c:pt>
                <c:pt idx="235">
                  <c:v>44173</c:v>
                </c:pt>
                <c:pt idx="236">
                  <c:v>44174</c:v>
                </c:pt>
                <c:pt idx="237">
                  <c:v>44175</c:v>
                </c:pt>
                <c:pt idx="238">
                  <c:v>44176</c:v>
                </c:pt>
                <c:pt idx="239">
                  <c:v>44179</c:v>
                </c:pt>
                <c:pt idx="240">
                  <c:v>44180</c:v>
                </c:pt>
                <c:pt idx="241">
                  <c:v>44181</c:v>
                </c:pt>
                <c:pt idx="242">
                  <c:v>44182</c:v>
                </c:pt>
                <c:pt idx="243">
                  <c:v>44183</c:v>
                </c:pt>
                <c:pt idx="244">
                  <c:v>44186</c:v>
                </c:pt>
                <c:pt idx="245">
                  <c:v>44187</c:v>
                </c:pt>
                <c:pt idx="246">
                  <c:v>44188</c:v>
                </c:pt>
                <c:pt idx="247">
                  <c:v>44189</c:v>
                </c:pt>
                <c:pt idx="248">
                  <c:v>44193</c:v>
                </c:pt>
                <c:pt idx="249">
                  <c:v>44194</c:v>
                </c:pt>
                <c:pt idx="250">
                  <c:v>44195</c:v>
                </c:pt>
                <c:pt idx="251">
                  <c:v>44196</c:v>
                </c:pt>
                <c:pt idx="252">
                  <c:v>44200</c:v>
                </c:pt>
                <c:pt idx="253">
                  <c:v>44201</c:v>
                </c:pt>
                <c:pt idx="254">
                  <c:v>44202</c:v>
                </c:pt>
                <c:pt idx="255">
                  <c:v>44203</c:v>
                </c:pt>
                <c:pt idx="256">
                  <c:v>44204</c:v>
                </c:pt>
                <c:pt idx="257">
                  <c:v>44207</c:v>
                </c:pt>
                <c:pt idx="258">
                  <c:v>44208</c:v>
                </c:pt>
                <c:pt idx="259">
                  <c:v>44209</c:v>
                </c:pt>
                <c:pt idx="260">
                  <c:v>44210</c:v>
                </c:pt>
                <c:pt idx="261">
                  <c:v>44211</c:v>
                </c:pt>
                <c:pt idx="262">
                  <c:v>44215</c:v>
                </c:pt>
                <c:pt idx="263">
                  <c:v>44216</c:v>
                </c:pt>
                <c:pt idx="264">
                  <c:v>44217</c:v>
                </c:pt>
                <c:pt idx="265">
                  <c:v>44218</c:v>
                </c:pt>
                <c:pt idx="266">
                  <c:v>44221</c:v>
                </c:pt>
                <c:pt idx="267">
                  <c:v>44222</c:v>
                </c:pt>
                <c:pt idx="268">
                  <c:v>44223</c:v>
                </c:pt>
                <c:pt idx="269">
                  <c:v>44224</c:v>
                </c:pt>
                <c:pt idx="270">
                  <c:v>44225</c:v>
                </c:pt>
                <c:pt idx="271">
                  <c:v>44228</c:v>
                </c:pt>
                <c:pt idx="272">
                  <c:v>44229</c:v>
                </c:pt>
                <c:pt idx="273">
                  <c:v>44230</c:v>
                </c:pt>
                <c:pt idx="274">
                  <c:v>44231</c:v>
                </c:pt>
                <c:pt idx="275">
                  <c:v>44232</c:v>
                </c:pt>
                <c:pt idx="276">
                  <c:v>44235</c:v>
                </c:pt>
                <c:pt idx="277">
                  <c:v>44236</c:v>
                </c:pt>
                <c:pt idx="278">
                  <c:v>44237</c:v>
                </c:pt>
                <c:pt idx="279">
                  <c:v>44238</c:v>
                </c:pt>
                <c:pt idx="280">
                  <c:v>44239</c:v>
                </c:pt>
                <c:pt idx="281">
                  <c:v>44243</c:v>
                </c:pt>
                <c:pt idx="282">
                  <c:v>44244</c:v>
                </c:pt>
                <c:pt idx="283">
                  <c:v>44245</c:v>
                </c:pt>
                <c:pt idx="284">
                  <c:v>44246</c:v>
                </c:pt>
                <c:pt idx="285">
                  <c:v>44249</c:v>
                </c:pt>
                <c:pt idx="286">
                  <c:v>44250</c:v>
                </c:pt>
                <c:pt idx="287">
                  <c:v>44251</c:v>
                </c:pt>
                <c:pt idx="288">
                  <c:v>44252</c:v>
                </c:pt>
                <c:pt idx="289">
                  <c:v>44253</c:v>
                </c:pt>
                <c:pt idx="290">
                  <c:v>44256</c:v>
                </c:pt>
                <c:pt idx="291">
                  <c:v>44257</c:v>
                </c:pt>
                <c:pt idx="292">
                  <c:v>44258</c:v>
                </c:pt>
                <c:pt idx="293">
                  <c:v>44259</c:v>
                </c:pt>
                <c:pt idx="294">
                  <c:v>44260</c:v>
                </c:pt>
                <c:pt idx="295">
                  <c:v>44263</c:v>
                </c:pt>
                <c:pt idx="296">
                  <c:v>44264</c:v>
                </c:pt>
                <c:pt idx="297">
                  <c:v>44265</c:v>
                </c:pt>
                <c:pt idx="298">
                  <c:v>44266</c:v>
                </c:pt>
                <c:pt idx="299">
                  <c:v>44267</c:v>
                </c:pt>
                <c:pt idx="300">
                  <c:v>44270</c:v>
                </c:pt>
                <c:pt idx="301">
                  <c:v>44271</c:v>
                </c:pt>
                <c:pt idx="302">
                  <c:v>44272</c:v>
                </c:pt>
                <c:pt idx="303">
                  <c:v>44273</c:v>
                </c:pt>
                <c:pt idx="304">
                  <c:v>44274</c:v>
                </c:pt>
                <c:pt idx="305">
                  <c:v>44277</c:v>
                </c:pt>
                <c:pt idx="306">
                  <c:v>44278</c:v>
                </c:pt>
                <c:pt idx="307">
                  <c:v>44279</c:v>
                </c:pt>
                <c:pt idx="308">
                  <c:v>44280</c:v>
                </c:pt>
                <c:pt idx="309">
                  <c:v>44281</c:v>
                </c:pt>
                <c:pt idx="310">
                  <c:v>44284</c:v>
                </c:pt>
                <c:pt idx="311">
                  <c:v>44285</c:v>
                </c:pt>
                <c:pt idx="312">
                  <c:v>44286</c:v>
                </c:pt>
                <c:pt idx="313">
                  <c:v>44287</c:v>
                </c:pt>
                <c:pt idx="314">
                  <c:v>44291</c:v>
                </c:pt>
                <c:pt idx="315">
                  <c:v>44292</c:v>
                </c:pt>
                <c:pt idx="316">
                  <c:v>44293</c:v>
                </c:pt>
                <c:pt idx="317">
                  <c:v>44294</c:v>
                </c:pt>
                <c:pt idx="318">
                  <c:v>44295</c:v>
                </c:pt>
                <c:pt idx="319">
                  <c:v>44298</c:v>
                </c:pt>
                <c:pt idx="320">
                  <c:v>44299</c:v>
                </c:pt>
                <c:pt idx="321">
                  <c:v>44300</c:v>
                </c:pt>
                <c:pt idx="322">
                  <c:v>44301</c:v>
                </c:pt>
                <c:pt idx="323">
                  <c:v>44302</c:v>
                </c:pt>
                <c:pt idx="324">
                  <c:v>44305</c:v>
                </c:pt>
                <c:pt idx="325">
                  <c:v>44306</c:v>
                </c:pt>
                <c:pt idx="326">
                  <c:v>44307</c:v>
                </c:pt>
                <c:pt idx="327">
                  <c:v>44308</c:v>
                </c:pt>
                <c:pt idx="328">
                  <c:v>44309</c:v>
                </c:pt>
                <c:pt idx="329">
                  <c:v>44312</c:v>
                </c:pt>
                <c:pt idx="330">
                  <c:v>44313</c:v>
                </c:pt>
                <c:pt idx="331">
                  <c:v>44314</c:v>
                </c:pt>
                <c:pt idx="332">
                  <c:v>44315</c:v>
                </c:pt>
                <c:pt idx="333">
                  <c:v>44316</c:v>
                </c:pt>
                <c:pt idx="334">
                  <c:v>44319</c:v>
                </c:pt>
                <c:pt idx="335">
                  <c:v>44320</c:v>
                </c:pt>
                <c:pt idx="336">
                  <c:v>44321</c:v>
                </c:pt>
                <c:pt idx="337">
                  <c:v>44322</c:v>
                </c:pt>
                <c:pt idx="338">
                  <c:v>44323</c:v>
                </c:pt>
                <c:pt idx="339">
                  <c:v>44326</c:v>
                </c:pt>
                <c:pt idx="340">
                  <c:v>44327</c:v>
                </c:pt>
                <c:pt idx="341">
                  <c:v>44328</c:v>
                </c:pt>
                <c:pt idx="342">
                  <c:v>44329</c:v>
                </c:pt>
                <c:pt idx="343">
                  <c:v>44330</c:v>
                </c:pt>
                <c:pt idx="344">
                  <c:v>44333</c:v>
                </c:pt>
                <c:pt idx="345">
                  <c:v>44334</c:v>
                </c:pt>
                <c:pt idx="346">
                  <c:v>44335</c:v>
                </c:pt>
              </c:numCache>
            </c:numRef>
          </c:cat>
          <c:val>
            <c:numRef>
              <c:f>Sheet1!$C$2:$C$2111</c:f>
              <c:numCache>
                <c:formatCode>General</c:formatCode>
                <c:ptCount val="2110"/>
                <c:pt idx="0">
                  <c:v>137.58284</c:v>
                </c:pt>
                <c:pt idx="1">
                  <c:v>137.72546</c:v>
                </c:pt>
                <c:pt idx="2">
                  <c:v>137.89615000000001</c:v>
                </c:pt>
                <c:pt idx="3">
                  <c:v>138.01047</c:v>
                </c:pt>
                <c:pt idx="4">
                  <c:v>137.72909999999999</c:v>
                </c:pt>
                <c:pt idx="5">
                  <c:v>136.43540999999999</c:v>
                </c:pt>
                <c:pt idx="6">
                  <c:v>134.94963000000001</c:v>
                </c:pt>
                <c:pt idx="7">
                  <c:v>134.06775999999999</c:v>
                </c:pt>
                <c:pt idx="8">
                  <c:v>132.44756000000001</c:v>
                </c:pt>
                <c:pt idx="9">
                  <c:v>131.45274000000001</c:v>
                </c:pt>
                <c:pt idx="10">
                  <c:v>131.99821</c:v>
                </c:pt>
                <c:pt idx="11">
                  <c:v>131.73438999999999</c:v>
                </c:pt>
                <c:pt idx="12">
                  <c:v>132.86949000000001</c:v>
                </c:pt>
                <c:pt idx="13">
                  <c:v>132.27227999999999</c:v>
                </c:pt>
                <c:pt idx="14">
                  <c:v>131.5771</c:v>
                </c:pt>
                <c:pt idx="15">
                  <c:v>129.00894</c:v>
                </c:pt>
                <c:pt idx="16">
                  <c:v>129.20638</c:v>
                </c:pt>
                <c:pt idx="17">
                  <c:v>127.737076</c:v>
                </c:pt>
                <c:pt idx="18">
                  <c:v>124.56724</c:v>
                </c:pt>
                <c:pt idx="19">
                  <c:v>125.18107999999999</c:v>
                </c:pt>
                <c:pt idx="20">
                  <c:v>121.72381</c:v>
                </c:pt>
                <c:pt idx="21">
                  <c:v>121.6973</c:v>
                </c:pt>
                <c:pt idx="22">
                  <c:v>119.62031</c:v>
                </c:pt>
                <c:pt idx="23">
                  <c:v>117.8566</c:v>
                </c:pt>
                <c:pt idx="24">
                  <c:v>115.439285</c:v>
                </c:pt>
                <c:pt idx="25">
                  <c:v>112.346115</c:v>
                </c:pt>
                <c:pt idx="26">
                  <c:v>112.30267000000001</c:v>
                </c:pt>
                <c:pt idx="27">
                  <c:v>113.502</c:v>
                </c:pt>
                <c:pt idx="28">
                  <c:v>121.94071</c:v>
                </c:pt>
                <c:pt idx="29">
                  <c:v>132.7525</c:v>
                </c:pt>
                <c:pt idx="30">
                  <c:v>132.43365</c:v>
                </c:pt>
                <c:pt idx="31">
                  <c:v>120.59041000000001</c:v>
                </c:pt>
                <c:pt idx="32">
                  <c:v>113.00761</c:v>
                </c:pt>
                <c:pt idx="33">
                  <c:v>117.85444</c:v>
                </c:pt>
                <c:pt idx="34">
                  <c:v>100.971985</c:v>
                </c:pt>
                <c:pt idx="35">
                  <c:v>97.12021</c:v>
                </c:pt>
                <c:pt idx="36">
                  <c:v>95.263419999999996</c:v>
                </c:pt>
                <c:pt idx="37">
                  <c:v>94.160470000000004</c:v>
                </c:pt>
                <c:pt idx="38">
                  <c:v>95.832430000000002</c:v>
                </c:pt>
                <c:pt idx="39">
                  <c:v>97.997020000000006</c:v>
                </c:pt>
                <c:pt idx="40">
                  <c:v>103.16587</c:v>
                </c:pt>
                <c:pt idx="41">
                  <c:v>104.94889000000001</c:v>
                </c:pt>
                <c:pt idx="42">
                  <c:v>106.10200500000001</c:v>
                </c:pt>
                <c:pt idx="43">
                  <c:v>107.35917999999999</c:v>
                </c:pt>
                <c:pt idx="44">
                  <c:v>107.58725</c:v>
                </c:pt>
                <c:pt idx="45">
                  <c:v>106.69564</c:v>
                </c:pt>
                <c:pt idx="46">
                  <c:v>107.00185</c:v>
                </c:pt>
                <c:pt idx="47">
                  <c:v>106.89716</c:v>
                </c:pt>
                <c:pt idx="48">
                  <c:v>107.50754499999999</c:v>
                </c:pt>
                <c:pt idx="49">
                  <c:v>108.2991</c:v>
                </c:pt>
                <c:pt idx="50">
                  <c:v>108.2315</c:v>
                </c:pt>
                <c:pt idx="51">
                  <c:v>109.13576999999999</c:v>
                </c:pt>
                <c:pt idx="52">
                  <c:v>109.18706</c:v>
                </c:pt>
                <c:pt idx="53">
                  <c:v>108.433334</c:v>
                </c:pt>
                <c:pt idx="54">
                  <c:v>107.93186</c:v>
                </c:pt>
                <c:pt idx="55">
                  <c:v>108.18947</c:v>
                </c:pt>
                <c:pt idx="56">
                  <c:v>107.85266</c:v>
                </c:pt>
                <c:pt idx="57">
                  <c:v>107.83993</c:v>
                </c:pt>
                <c:pt idx="58">
                  <c:v>108.61051</c:v>
                </c:pt>
                <c:pt idx="59">
                  <c:v>109.01599</c:v>
                </c:pt>
                <c:pt idx="60">
                  <c:v>108.46432</c:v>
                </c:pt>
                <c:pt idx="61">
                  <c:v>105.39717</c:v>
                </c:pt>
                <c:pt idx="62">
                  <c:v>105.75427999999999</c:v>
                </c:pt>
                <c:pt idx="63">
                  <c:v>105.60629</c:v>
                </c:pt>
                <c:pt idx="64">
                  <c:v>109.13703</c:v>
                </c:pt>
                <c:pt idx="65">
                  <c:v>111.19971</c:v>
                </c:pt>
                <c:pt idx="66">
                  <c:v>112.80905</c:v>
                </c:pt>
                <c:pt idx="67">
                  <c:v>113.71411000000001</c:v>
                </c:pt>
                <c:pt idx="68">
                  <c:v>114.61902600000001</c:v>
                </c:pt>
                <c:pt idx="69">
                  <c:v>115.51546999999999</c:v>
                </c:pt>
                <c:pt idx="70">
                  <c:v>116.81010999999999</c:v>
                </c:pt>
                <c:pt idx="71">
                  <c:v>117.934296</c:v>
                </c:pt>
                <c:pt idx="72">
                  <c:v>118.21746</c:v>
                </c:pt>
                <c:pt idx="73">
                  <c:v>119.91692</c:v>
                </c:pt>
                <c:pt idx="74">
                  <c:v>122.21034</c:v>
                </c:pt>
                <c:pt idx="75">
                  <c:v>124.78516</c:v>
                </c:pt>
                <c:pt idx="76">
                  <c:v>126.50297</c:v>
                </c:pt>
                <c:pt idx="77">
                  <c:v>129.36951999999999</c:v>
                </c:pt>
                <c:pt idx="78">
                  <c:v>131.60435000000001</c:v>
                </c:pt>
                <c:pt idx="79">
                  <c:v>131.32175000000001</c:v>
                </c:pt>
                <c:pt idx="80">
                  <c:v>128.50077999999999</c:v>
                </c:pt>
                <c:pt idx="81">
                  <c:v>123.16588</c:v>
                </c:pt>
                <c:pt idx="82">
                  <c:v>120.212074</c:v>
                </c:pt>
                <c:pt idx="83">
                  <c:v>119.38326000000001</c:v>
                </c:pt>
                <c:pt idx="84">
                  <c:v>121.27112</c:v>
                </c:pt>
                <c:pt idx="85">
                  <c:v>123.395775</c:v>
                </c:pt>
                <c:pt idx="86">
                  <c:v>125.46146400000001</c:v>
                </c:pt>
                <c:pt idx="87">
                  <c:v>126.47295</c:v>
                </c:pt>
                <c:pt idx="88">
                  <c:v>127.52477</c:v>
                </c:pt>
                <c:pt idx="89">
                  <c:v>128.68224000000001</c:v>
                </c:pt>
                <c:pt idx="90">
                  <c:v>128.30841000000001</c:v>
                </c:pt>
                <c:pt idx="91">
                  <c:v>128.50313</c:v>
                </c:pt>
                <c:pt idx="92">
                  <c:v>127.73605999999999</c:v>
                </c:pt>
                <c:pt idx="93">
                  <c:v>127.776505</c:v>
                </c:pt>
                <c:pt idx="94">
                  <c:v>128.59258</c:v>
                </c:pt>
                <c:pt idx="95">
                  <c:v>129.0566</c:v>
                </c:pt>
                <c:pt idx="96">
                  <c:v>129.46102999999999</c:v>
                </c:pt>
                <c:pt idx="97">
                  <c:v>130.19828999999999</c:v>
                </c:pt>
                <c:pt idx="98">
                  <c:v>130.04378</c:v>
                </c:pt>
                <c:pt idx="99">
                  <c:v>130.24385000000001</c:v>
                </c:pt>
                <c:pt idx="100">
                  <c:v>130.20103</c:v>
                </c:pt>
                <c:pt idx="101">
                  <c:v>130.51462000000001</c:v>
                </c:pt>
                <c:pt idx="102">
                  <c:v>130.21953999999999</c:v>
                </c:pt>
                <c:pt idx="103">
                  <c:v>130.4341</c:v>
                </c:pt>
                <c:pt idx="104">
                  <c:v>131.04678000000001</c:v>
                </c:pt>
                <c:pt idx="105">
                  <c:v>131.30045999999999</c:v>
                </c:pt>
                <c:pt idx="106">
                  <c:v>131.61751000000001</c:v>
                </c:pt>
                <c:pt idx="107">
                  <c:v>132.04355000000001</c:v>
                </c:pt>
                <c:pt idx="108">
                  <c:v>132.25755000000001</c:v>
                </c:pt>
                <c:pt idx="109">
                  <c:v>132.43306000000001</c:v>
                </c:pt>
                <c:pt idx="110">
                  <c:v>132.30867000000001</c:v>
                </c:pt>
                <c:pt idx="111">
                  <c:v>131.92722000000001</c:v>
                </c:pt>
                <c:pt idx="112">
                  <c:v>132.14124000000001</c:v>
                </c:pt>
                <c:pt idx="113">
                  <c:v>131.98781</c:v>
                </c:pt>
                <c:pt idx="114">
                  <c:v>132.27939000000001</c:v>
                </c:pt>
                <c:pt idx="115">
                  <c:v>132.26888</c:v>
                </c:pt>
                <c:pt idx="116">
                  <c:v>132.5301</c:v>
                </c:pt>
                <c:pt idx="117">
                  <c:v>132.74097</c:v>
                </c:pt>
                <c:pt idx="118">
                  <c:v>133.05619999999999</c:v>
                </c:pt>
                <c:pt idx="119">
                  <c:v>133.44452999999999</c:v>
                </c:pt>
                <c:pt idx="120">
                  <c:v>133.91392999999999</c:v>
                </c:pt>
                <c:pt idx="121">
                  <c:v>134.31422000000001</c:v>
                </c:pt>
                <c:pt idx="122">
                  <c:v>134.78032999999999</c:v>
                </c:pt>
                <c:pt idx="123">
                  <c:v>134.94458</c:v>
                </c:pt>
                <c:pt idx="124">
                  <c:v>135.58181999999999</c:v>
                </c:pt>
                <c:pt idx="125">
                  <c:v>135.78505999999999</c:v>
                </c:pt>
                <c:pt idx="126">
                  <c:v>136.09824</c:v>
                </c:pt>
                <c:pt idx="127">
                  <c:v>136.26929999999999</c:v>
                </c:pt>
                <c:pt idx="128">
                  <c:v>136.38016999999999</c:v>
                </c:pt>
                <c:pt idx="129">
                  <c:v>136.37799999999999</c:v>
                </c:pt>
                <c:pt idx="130">
                  <c:v>136.59818000000001</c:v>
                </c:pt>
                <c:pt idx="131">
                  <c:v>137.09996000000001</c:v>
                </c:pt>
                <c:pt idx="132">
                  <c:v>137.62195</c:v>
                </c:pt>
                <c:pt idx="133">
                  <c:v>138.07202000000001</c:v>
                </c:pt>
                <c:pt idx="134">
                  <c:v>138.62413000000001</c:v>
                </c:pt>
                <c:pt idx="135">
                  <c:v>138.69727</c:v>
                </c:pt>
                <c:pt idx="136">
                  <c:v>139.20972</c:v>
                </c:pt>
                <c:pt idx="137">
                  <c:v>139.52324999999999</c:v>
                </c:pt>
                <c:pt idx="138">
                  <c:v>139.96943999999999</c:v>
                </c:pt>
                <c:pt idx="139">
                  <c:v>140.75821999999999</c:v>
                </c:pt>
                <c:pt idx="140">
                  <c:v>139.85817</c:v>
                </c:pt>
                <c:pt idx="141">
                  <c:v>139.29413</c:v>
                </c:pt>
                <c:pt idx="142">
                  <c:v>138.43522999999999</c:v>
                </c:pt>
                <c:pt idx="143">
                  <c:v>138.81811999999999</c:v>
                </c:pt>
                <c:pt idx="144">
                  <c:v>138.45178000000001</c:v>
                </c:pt>
                <c:pt idx="145">
                  <c:v>138.26315</c:v>
                </c:pt>
                <c:pt idx="146">
                  <c:v>138.8058</c:v>
                </c:pt>
                <c:pt idx="147">
                  <c:v>139.19846999999999</c:v>
                </c:pt>
                <c:pt idx="148">
                  <c:v>139.08779999999999</c:v>
                </c:pt>
                <c:pt idx="149">
                  <c:v>138.82680999999999</c:v>
                </c:pt>
                <c:pt idx="150">
                  <c:v>138.20793</c:v>
                </c:pt>
                <c:pt idx="151">
                  <c:v>137.45445000000001</c:v>
                </c:pt>
                <c:pt idx="152">
                  <c:v>137.85548</c:v>
                </c:pt>
                <c:pt idx="153">
                  <c:v>137.28403</c:v>
                </c:pt>
                <c:pt idx="154">
                  <c:v>137.02301</c:v>
                </c:pt>
                <c:pt idx="155">
                  <c:v>137.52446</c:v>
                </c:pt>
                <c:pt idx="156">
                  <c:v>138.13985</c:v>
                </c:pt>
                <c:pt idx="157">
                  <c:v>138.01524000000001</c:v>
                </c:pt>
                <c:pt idx="158">
                  <c:v>138.45222000000001</c:v>
                </c:pt>
                <c:pt idx="159">
                  <c:v>138.57810000000001</c:v>
                </c:pt>
                <c:pt idx="160">
                  <c:v>138.38708</c:v>
                </c:pt>
                <c:pt idx="161">
                  <c:v>138.9949</c:v>
                </c:pt>
                <c:pt idx="162">
                  <c:v>138.79375999999999</c:v>
                </c:pt>
                <c:pt idx="163">
                  <c:v>139.23374999999999</c:v>
                </c:pt>
                <c:pt idx="164">
                  <c:v>139.68716000000001</c:v>
                </c:pt>
                <c:pt idx="165">
                  <c:v>140.19980000000001</c:v>
                </c:pt>
                <c:pt idx="166">
                  <c:v>140.80249000000001</c:v>
                </c:pt>
                <c:pt idx="167">
                  <c:v>140.5635</c:v>
                </c:pt>
                <c:pt idx="168">
                  <c:v>140.42385999999999</c:v>
                </c:pt>
                <c:pt idx="169">
                  <c:v>140.40916000000001</c:v>
                </c:pt>
                <c:pt idx="170">
                  <c:v>140.43358000000001</c:v>
                </c:pt>
                <c:pt idx="171">
                  <c:v>139.81827000000001</c:v>
                </c:pt>
                <c:pt idx="172">
                  <c:v>139.92869999999999</c:v>
                </c:pt>
                <c:pt idx="173">
                  <c:v>139.94217</c:v>
                </c:pt>
                <c:pt idx="174">
                  <c:v>140.101</c:v>
                </c:pt>
                <c:pt idx="175">
                  <c:v>140.20267999999999</c:v>
                </c:pt>
                <c:pt idx="176">
                  <c:v>139.6173</c:v>
                </c:pt>
                <c:pt idx="177">
                  <c:v>139.24585999999999</c:v>
                </c:pt>
                <c:pt idx="178">
                  <c:v>138.01077000000001</c:v>
                </c:pt>
                <c:pt idx="179">
                  <c:v>137.86371</c:v>
                </c:pt>
                <c:pt idx="180">
                  <c:v>137.54464999999999</c:v>
                </c:pt>
                <c:pt idx="181">
                  <c:v>137.78380000000001</c:v>
                </c:pt>
                <c:pt idx="182">
                  <c:v>138.48817</c:v>
                </c:pt>
                <c:pt idx="183">
                  <c:v>139.38321999999999</c:v>
                </c:pt>
                <c:pt idx="184">
                  <c:v>140.2122</c:v>
                </c:pt>
                <c:pt idx="185">
                  <c:v>140.58314999999999</c:v>
                </c:pt>
                <c:pt idx="186">
                  <c:v>141.13792000000001</c:v>
                </c:pt>
                <c:pt idx="187">
                  <c:v>141.08413999999999</c:v>
                </c:pt>
                <c:pt idx="188">
                  <c:v>141.44014000000001</c:v>
                </c:pt>
                <c:pt idx="189">
                  <c:v>141.37769</c:v>
                </c:pt>
                <c:pt idx="190">
                  <c:v>141.96254999999999</c:v>
                </c:pt>
                <c:pt idx="191">
                  <c:v>142.53927999999999</c:v>
                </c:pt>
                <c:pt idx="192">
                  <c:v>142.52464000000001</c:v>
                </c:pt>
                <c:pt idx="193">
                  <c:v>142.16659999999999</c:v>
                </c:pt>
                <c:pt idx="194">
                  <c:v>142.06470999999999</c:v>
                </c:pt>
                <c:pt idx="195">
                  <c:v>141.84032999999999</c:v>
                </c:pt>
                <c:pt idx="196">
                  <c:v>142.01876999999999</c:v>
                </c:pt>
                <c:pt idx="197">
                  <c:v>142.58350999999999</c:v>
                </c:pt>
                <c:pt idx="198">
                  <c:v>142.67653000000001</c:v>
                </c:pt>
                <c:pt idx="199">
                  <c:v>142.98723000000001</c:v>
                </c:pt>
                <c:pt idx="200">
                  <c:v>142.97368</c:v>
                </c:pt>
                <c:pt idx="201">
                  <c:v>143.08394000000001</c:v>
                </c:pt>
                <c:pt idx="202">
                  <c:v>143.24948000000001</c:v>
                </c:pt>
                <c:pt idx="203">
                  <c:v>143.26872</c:v>
                </c:pt>
                <c:pt idx="204">
                  <c:v>143.57749999999999</c:v>
                </c:pt>
                <c:pt idx="205">
                  <c:v>143.74426</c:v>
                </c:pt>
                <c:pt idx="206">
                  <c:v>143.88083</c:v>
                </c:pt>
                <c:pt idx="207">
                  <c:v>143.74585999999999</c:v>
                </c:pt>
                <c:pt idx="208">
                  <c:v>143.66472999999999</c:v>
                </c:pt>
                <c:pt idx="209">
                  <c:v>143.61415</c:v>
                </c:pt>
                <c:pt idx="210">
                  <c:v>143.53165999999999</c:v>
                </c:pt>
                <c:pt idx="211">
                  <c:v>143.85579000000001</c:v>
                </c:pt>
                <c:pt idx="212">
                  <c:v>144.054</c:v>
                </c:pt>
                <c:pt idx="213">
                  <c:v>144.19989000000001</c:v>
                </c:pt>
                <c:pt idx="214">
                  <c:v>144.11940000000001</c:v>
                </c:pt>
                <c:pt idx="215">
                  <c:v>143.66574</c:v>
                </c:pt>
                <c:pt idx="216">
                  <c:v>143.88521</c:v>
                </c:pt>
                <c:pt idx="217">
                  <c:v>144.10632000000001</c:v>
                </c:pt>
                <c:pt idx="218">
                  <c:v>144.29650000000001</c:v>
                </c:pt>
                <c:pt idx="219">
                  <c:v>144.76034999999999</c:v>
                </c:pt>
                <c:pt idx="220">
                  <c:v>144.70179999999999</c:v>
                </c:pt>
                <c:pt idx="221">
                  <c:v>144.68024</c:v>
                </c:pt>
                <c:pt idx="222">
                  <c:v>144.96704</c:v>
                </c:pt>
                <c:pt idx="223">
                  <c:v>144.48605000000001</c:v>
                </c:pt>
                <c:pt idx="224">
                  <c:v>144.21179000000001</c:v>
                </c:pt>
                <c:pt idx="225">
                  <c:v>144.56598</c:v>
                </c:pt>
                <c:pt idx="226">
                  <c:v>145.13195999999999</c:v>
                </c:pt>
                <c:pt idx="227">
                  <c:v>145.52937</c:v>
                </c:pt>
                <c:pt idx="228">
                  <c:v>145.47313</c:v>
                </c:pt>
                <c:pt idx="229">
                  <c:v>145.48231999999999</c:v>
                </c:pt>
                <c:pt idx="230">
                  <c:v>145.48087000000001</c:v>
                </c:pt>
                <c:pt idx="231">
                  <c:v>145.41820000000001</c:v>
                </c:pt>
                <c:pt idx="232">
                  <c:v>145.15096</c:v>
                </c:pt>
                <c:pt idx="233">
                  <c:v>145.34229999999999</c:v>
                </c:pt>
                <c:pt idx="234">
                  <c:v>145.79329999999999</c:v>
                </c:pt>
                <c:pt idx="235">
                  <c:v>145.9495</c:v>
                </c:pt>
                <c:pt idx="236">
                  <c:v>145.89635999999999</c:v>
                </c:pt>
                <c:pt idx="237">
                  <c:v>146.14275000000001</c:v>
                </c:pt>
                <c:pt idx="238">
                  <c:v>146.18709000000001</c:v>
                </c:pt>
                <c:pt idx="239">
                  <c:v>145.2587</c:v>
                </c:pt>
                <c:pt idx="240">
                  <c:v>145.10650000000001</c:v>
                </c:pt>
                <c:pt idx="241">
                  <c:v>144.47841</c:v>
                </c:pt>
                <c:pt idx="242">
                  <c:v>144.75737000000001</c:v>
                </c:pt>
                <c:pt idx="243">
                  <c:v>145.51920000000001</c:v>
                </c:pt>
                <c:pt idx="244">
                  <c:v>145.85693000000001</c:v>
                </c:pt>
                <c:pt idx="245">
                  <c:v>146.30981</c:v>
                </c:pt>
                <c:pt idx="246">
                  <c:v>146.55363</c:v>
                </c:pt>
                <c:pt idx="247">
                  <c:v>146.83885000000001</c:v>
                </c:pt>
                <c:pt idx="248">
                  <c:v>146.94441</c:v>
                </c:pt>
                <c:pt idx="249">
                  <c:v>146.95908</c:v>
                </c:pt>
                <c:pt idx="250">
                  <c:v>146.69623999999999</c:v>
                </c:pt>
                <c:pt idx="251">
                  <c:v>146.78202999999999</c:v>
                </c:pt>
                <c:pt idx="252">
                  <c:v>146.97049999999999</c:v>
                </c:pt>
                <c:pt idx="253">
                  <c:v>147.10645</c:v>
                </c:pt>
                <c:pt idx="254">
                  <c:v>147.1414</c:v>
                </c:pt>
                <c:pt idx="255">
                  <c:v>147.00922</c:v>
                </c:pt>
                <c:pt idx="256">
                  <c:v>146.57756000000001</c:v>
                </c:pt>
                <c:pt idx="257">
                  <c:v>146.43451999999999</c:v>
                </c:pt>
                <c:pt idx="258">
                  <c:v>146.76039</c:v>
                </c:pt>
                <c:pt idx="259">
                  <c:v>146.14613</c:v>
                </c:pt>
                <c:pt idx="260">
                  <c:v>145.64252999999999</c:v>
                </c:pt>
                <c:pt idx="261">
                  <c:v>146.12899999999999</c:v>
                </c:pt>
                <c:pt idx="262">
                  <c:v>146.25917000000001</c:v>
                </c:pt>
                <c:pt idx="263">
                  <c:v>145.79347000000001</c:v>
                </c:pt>
                <c:pt idx="264">
                  <c:v>144.98090999999999</c:v>
                </c:pt>
                <c:pt idx="265">
                  <c:v>145.17084</c:v>
                </c:pt>
                <c:pt idx="266">
                  <c:v>145.03460000000001</c:v>
                </c:pt>
                <c:pt idx="267">
                  <c:v>145.57438999999999</c:v>
                </c:pt>
                <c:pt idx="268">
                  <c:v>145.97130999999999</c:v>
                </c:pt>
                <c:pt idx="269">
                  <c:v>146.63040000000001</c:v>
                </c:pt>
                <c:pt idx="270">
                  <c:v>147.13426000000001</c:v>
                </c:pt>
                <c:pt idx="271">
                  <c:v>147.44123999999999</c:v>
                </c:pt>
                <c:pt idx="272">
                  <c:v>147.46964</c:v>
                </c:pt>
                <c:pt idx="273">
                  <c:v>147.54637</c:v>
                </c:pt>
                <c:pt idx="274">
                  <c:v>147.02369999999999</c:v>
                </c:pt>
                <c:pt idx="275">
                  <c:v>146.33036999999999</c:v>
                </c:pt>
                <c:pt idx="276">
                  <c:v>146.0086</c:v>
                </c:pt>
                <c:pt idx="277">
                  <c:v>146.35290000000001</c:v>
                </c:pt>
                <c:pt idx="278">
                  <c:v>146.42812000000001</c:v>
                </c:pt>
                <c:pt idx="279">
                  <c:v>146.74065999999999</c:v>
                </c:pt>
                <c:pt idx="280">
                  <c:v>147.28654</c:v>
                </c:pt>
                <c:pt idx="281">
                  <c:v>147.37092999999999</c:v>
                </c:pt>
                <c:pt idx="282">
                  <c:v>147.39789999999999</c:v>
                </c:pt>
                <c:pt idx="283">
                  <c:v>147.62100000000001</c:v>
                </c:pt>
                <c:pt idx="284">
                  <c:v>147.96617000000001</c:v>
                </c:pt>
                <c:pt idx="285">
                  <c:v>148.63564</c:v>
                </c:pt>
                <c:pt idx="286">
                  <c:v>148.76320999999999</c:v>
                </c:pt>
                <c:pt idx="287">
                  <c:v>148.95349999999999</c:v>
                </c:pt>
                <c:pt idx="288">
                  <c:v>149.09967</c:v>
                </c:pt>
                <c:pt idx="289">
                  <c:v>149.30453</c:v>
                </c:pt>
                <c:pt idx="290">
                  <c:v>149.52246</c:v>
                </c:pt>
                <c:pt idx="291">
                  <c:v>149.73267000000001</c:v>
                </c:pt>
                <c:pt idx="292">
                  <c:v>149.60675000000001</c:v>
                </c:pt>
                <c:pt idx="293">
                  <c:v>149.97939</c:v>
                </c:pt>
                <c:pt idx="294">
                  <c:v>150.1688</c:v>
                </c:pt>
                <c:pt idx="295">
                  <c:v>149.91623000000001</c:v>
                </c:pt>
                <c:pt idx="296">
                  <c:v>149.65128000000001</c:v>
                </c:pt>
                <c:pt idx="297">
                  <c:v>149.97362000000001</c:v>
                </c:pt>
                <c:pt idx="298">
                  <c:v>149.70299</c:v>
                </c:pt>
                <c:pt idx="299">
                  <c:v>150.09941000000001</c:v>
                </c:pt>
                <c:pt idx="300">
                  <c:v>150.29340999999999</c:v>
                </c:pt>
                <c:pt idx="301">
                  <c:v>150.25918999999999</c:v>
                </c:pt>
                <c:pt idx="302">
                  <c:v>150.30369999999999</c:v>
                </c:pt>
                <c:pt idx="303">
                  <c:v>150.52860999999999</c:v>
                </c:pt>
                <c:pt idx="304">
                  <c:v>150.37352000000001</c:v>
                </c:pt>
                <c:pt idx="305">
                  <c:v>150.36339000000001</c:v>
                </c:pt>
                <c:pt idx="306">
                  <c:v>150.03822</c:v>
                </c:pt>
                <c:pt idx="307">
                  <c:v>149.96038999999999</c:v>
                </c:pt>
                <c:pt idx="308">
                  <c:v>150.32973000000001</c:v>
                </c:pt>
                <c:pt idx="309">
                  <c:v>150.76125999999999</c:v>
                </c:pt>
                <c:pt idx="310">
                  <c:v>150.54854</c:v>
                </c:pt>
                <c:pt idx="311">
                  <c:v>150.10771</c:v>
                </c:pt>
                <c:pt idx="312">
                  <c:v>149.24039999999999</c:v>
                </c:pt>
                <c:pt idx="313">
                  <c:v>149.35216</c:v>
                </c:pt>
                <c:pt idx="314">
                  <c:v>149.94899000000001</c:v>
                </c:pt>
                <c:pt idx="315">
                  <c:v>150.11067</c:v>
                </c:pt>
                <c:pt idx="316">
                  <c:v>149.90279000000001</c:v>
                </c:pt>
                <c:pt idx="317">
                  <c:v>149.67852999999999</c:v>
                </c:pt>
                <c:pt idx="318">
                  <c:v>149.96803</c:v>
                </c:pt>
                <c:pt idx="319">
                  <c:v>150.04454000000001</c:v>
                </c:pt>
                <c:pt idx="320">
                  <c:v>150.33091999999999</c:v>
                </c:pt>
                <c:pt idx="321">
                  <c:v>150.45683</c:v>
                </c:pt>
                <c:pt idx="322">
                  <c:v>150.48660000000001</c:v>
                </c:pt>
                <c:pt idx="323">
                  <c:v>150.39161999999999</c:v>
                </c:pt>
                <c:pt idx="324">
                  <c:v>150.16775999999999</c:v>
                </c:pt>
                <c:pt idx="325">
                  <c:v>150.40852000000001</c:v>
                </c:pt>
                <c:pt idx="326">
                  <c:v>150.51465999999999</c:v>
                </c:pt>
                <c:pt idx="327">
                  <c:v>150.49635000000001</c:v>
                </c:pt>
                <c:pt idx="328">
                  <c:v>150.77724000000001</c:v>
                </c:pt>
                <c:pt idx="329">
                  <c:v>150.86410000000001</c:v>
                </c:pt>
                <c:pt idx="330">
                  <c:v>150.90242000000001</c:v>
                </c:pt>
                <c:pt idx="331">
                  <c:v>150.76232999999999</c:v>
                </c:pt>
                <c:pt idx="332">
                  <c:v>150.98769999999999</c:v>
                </c:pt>
                <c:pt idx="333">
                  <c:v>151.06816000000001</c:v>
                </c:pt>
                <c:pt idx="334">
                  <c:v>151.19765000000001</c:v>
                </c:pt>
                <c:pt idx="335">
                  <c:v>151.24021999999999</c:v>
                </c:pt>
                <c:pt idx="336">
                  <c:v>150.97632999999999</c:v>
                </c:pt>
                <c:pt idx="337">
                  <c:v>150.78398000000001</c:v>
                </c:pt>
                <c:pt idx="338">
                  <c:v>150.07683</c:v>
                </c:pt>
                <c:pt idx="339">
                  <c:v>150.12540999999999</c:v>
                </c:pt>
                <c:pt idx="340">
                  <c:v>150.79769999999999</c:v>
                </c:pt>
                <c:pt idx="341">
                  <c:v>151.08054999999999</c:v>
                </c:pt>
                <c:pt idx="342">
                  <c:v>151.32311999999999</c:v>
                </c:pt>
                <c:pt idx="343">
                  <c:v>151.45139</c:v>
                </c:pt>
                <c:pt idx="344">
                  <c:v>151.42447999999999</c:v>
                </c:pt>
                <c:pt idx="345">
                  <c:v>151.61313999999999</c:v>
                </c:pt>
                <c:pt idx="346">
                  <c:v>151.7774</c:v>
                </c:pt>
              </c:numCache>
            </c:numRef>
          </c:val>
          <c:smooth val="0"/>
          <c:extLst>
            <c:ext xmlns:c16="http://schemas.microsoft.com/office/drawing/2014/chart" uri="{C3380CC4-5D6E-409C-BE32-E72D297353CC}">
              <c16:uniqueId val="{00000001-A5EA-5040-88DA-AE427E308C27}"/>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165"/>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min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90203223919881E-2"/>
          <c:y val="4.4978949683174771E-2"/>
          <c:w val="0.93640979677608016"/>
          <c:h val="0.80444506052374321"/>
        </c:manualLayout>
      </c:layout>
      <c:lineChart>
        <c:grouping val="standard"/>
        <c:varyColors val="0"/>
        <c:ser>
          <c:idx val="0"/>
          <c:order val="0"/>
          <c:tx>
            <c:strRef>
              <c:f>Sheet1!$B$1</c:f>
              <c:strCache>
                <c:ptCount val="1"/>
                <c:pt idx="0">
                  <c:v>Actual</c:v>
                </c:pt>
              </c:strCache>
            </c:strRef>
          </c:tx>
          <c:spPr>
            <a:ln w="12700" cap="rnd">
              <a:solidFill>
                <a:schemeClr val="accent4"/>
              </a:solidFill>
              <a:round/>
            </a:ln>
            <a:effectLst/>
          </c:spPr>
          <c:marker>
            <c:symbol val="none"/>
          </c:marker>
          <c:cat>
            <c:numRef>
              <c:f>Sheet1!$A$2:$A$348</c:f>
              <c:numCache>
                <c:formatCode>m/d/yy</c:formatCode>
                <c:ptCount val="347"/>
                <c:pt idx="0">
                  <c:v>43833</c:v>
                </c:pt>
                <c:pt idx="1">
                  <c:v>43836</c:v>
                </c:pt>
                <c:pt idx="2">
                  <c:v>43837</c:v>
                </c:pt>
                <c:pt idx="3">
                  <c:v>43838</c:v>
                </c:pt>
                <c:pt idx="4">
                  <c:v>43839</c:v>
                </c:pt>
                <c:pt idx="5">
                  <c:v>43840</c:v>
                </c:pt>
                <c:pt idx="6">
                  <c:v>43843</c:v>
                </c:pt>
                <c:pt idx="7">
                  <c:v>43844</c:v>
                </c:pt>
                <c:pt idx="8">
                  <c:v>43845</c:v>
                </c:pt>
                <c:pt idx="9">
                  <c:v>43846</c:v>
                </c:pt>
                <c:pt idx="10">
                  <c:v>43847</c:v>
                </c:pt>
                <c:pt idx="11">
                  <c:v>43851</c:v>
                </c:pt>
                <c:pt idx="12">
                  <c:v>43852</c:v>
                </c:pt>
                <c:pt idx="13">
                  <c:v>43853</c:v>
                </c:pt>
                <c:pt idx="14">
                  <c:v>43854</c:v>
                </c:pt>
                <c:pt idx="15">
                  <c:v>43857</c:v>
                </c:pt>
                <c:pt idx="16">
                  <c:v>43858</c:v>
                </c:pt>
                <c:pt idx="17">
                  <c:v>43859</c:v>
                </c:pt>
                <c:pt idx="18">
                  <c:v>43860</c:v>
                </c:pt>
                <c:pt idx="19">
                  <c:v>43861</c:v>
                </c:pt>
                <c:pt idx="20">
                  <c:v>43864</c:v>
                </c:pt>
                <c:pt idx="21">
                  <c:v>43865</c:v>
                </c:pt>
                <c:pt idx="22">
                  <c:v>43866</c:v>
                </c:pt>
                <c:pt idx="23">
                  <c:v>43867</c:v>
                </c:pt>
                <c:pt idx="24">
                  <c:v>43868</c:v>
                </c:pt>
                <c:pt idx="25">
                  <c:v>43871</c:v>
                </c:pt>
                <c:pt idx="26">
                  <c:v>43872</c:v>
                </c:pt>
                <c:pt idx="27">
                  <c:v>43873</c:v>
                </c:pt>
                <c:pt idx="28">
                  <c:v>43874</c:v>
                </c:pt>
                <c:pt idx="29">
                  <c:v>43875</c:v>
                </c:pt>
                <c:pt idx="30">
                  <c:v>43879</c:v>
                </c:pt>
                <c:pt idx="31">
                  <c:v>43880</c:v>
                </c:pt>
                <c:pt idx="32">
                  <c:v>43881</c:v>
                </c:pt>
                <c:pt idx="33">
                  <c:v>43882</c:v>
                </c:pt>
                <c:pt idx="34">
                  <c:v>43885</c:v>
                </c:pt>
                <c:pt idx="35">
                  <c:v>43886</c:v>
                </c:pt>
                <c:pt idx="36">
                  <c:v>43887</c:v>
                </c:pt>
                <c:pt idx="37">
                  <c:v>43888</c:v>
                </c:pt>
                <c:pt idx="38">
                  <c:v>43889</c:v>
                </c:pt>
                <c:pt idx="39">
                  <c:v>43892</c:v>
                </c:pt>
                <c:pt idx="40">
                  <c:v>43893</c:v>
                </c:pt>
                <c:pt idx="41">
                  <c:v>43894</c:v>
                </c:pt>
                <c:pt idx="42">
                  <c:v>43895</c:v>
                </c:pt>
                <c:pt idx="43">
                  <c:v>43896</c:v>
                </c:pt>
                <c:pt idx="44">
                  <c:v>43899</c:v>
                </c:pt>
                <c:pt idx="45">
                  <c:v>43900</c:v>
                </c:pt>
                <c:pt idx="46">
                  <c:v>43901</c:v>
                </c:pt>
                <c:pt idx="47">
                  <c:v>43902</c:v>
                </c:pt>
                <c:pt idx="48">
                  <c:v>43903</c:v>
                </c:pt>
                <c:pt idx="49">
                  <c:v>43906</c:v>
                </c:pt>
                <c:pt idx="50">
                  <c:v>43907</c:v>
                </c:pt>
                <c:pt idx="51">
                  <c:v>43908</c:v>
                </c:pt>
                <c:pt idx="52">
                  <c:v>43909</c:v>
                </c:pt>
                <c:pt idx="53">
                  <c:v>43910</c:v>
                </c:pt>
                <c:pt idx="54">
                  <c:v>43913</c:v>
                </c:pt>
                <c:pt idx="55">
                  <c:v>43914</c:v>
                </c:pt>
                <c:pt idx="56">
                  <c:v>43915</c:v>
                </c:pt>
                <c:pt idx="57">
                  <c:v>43916</c:v>
                </c:pt>
                <c:pt idx="58">
                  <c:v>43917</c:v>
                </c:pt>
                <c:pt idx="59">
                  <c:v>43920</c:v>
                </c:pt>
                <c:pt idx="60">
                  <c:v>43921</c:v>
                </c:pt>
                <c:pt idx="61">
                  <c:v>43922</c:v>
                </c:pt>
                <c:pt idx="62">
                  <c:v>43923</c:v>
                </c:pt>
                <c:pt idx="63">
                  <c:v>43924</c:v>
                </c:pt>
                <c:pt idx="64">
                  <c:v>43927</c:v>
                </c:pt>
                <c:pt idx="65">
                  <c:v>43928</c:v>
                </c:pt>
                <c:pt idx="66">
                  <c:v>43929</c:v>
                </c:pt>
                <c:pt idx="67">
                  <c:v>43930</c:v>
                </c:pt>
                <c:pt idx="68">
                  <c:v>43934</c:v>
                </c:pt>
                <c:pt idx="69">
                  <c:v>43935</c:v>
                </c:pt>
                <c:pt idx="70">
                  <c:v>43936</c:v>
                </c:pt>
                <c:pt idx="71">
                  <c:v>43937</c:v>
                </c:pt>
                <c:pt idx="72">
                  <c:v>43938</c:v>
                </c:pt>
                <c:pt idx="73">
                  <c:v>43941</c:v>
                </c:pt>
                <c:pt idx="74">
                  <c:v>43942</c:v>
                </c:pt>
                <c:pt idx="75">
                  <c:v>43943</c:v>
                </c:pt>
                <c:pt idx="76">
                  <c:v>43944</c:v>
                </c:pt>
                <c:pt idx="77">
                  <c:v>43945</c:v>
                </c:pt>
                <c:pt idx="78">
                  <c:v>43948</c:v>
                </c:pt>
                <c:pt idx="79">
                  <c:v>43949</c:v>
                </c:pt>
                <c:pt idx="80">
                  <c:v>43950</c:v>
                </c:pt>
                <c:pt idx="81">
                  <c:v>43951</c:v>
                </c:pt>
                <c:pt idx="82">
                  <c:v>43952</c:v>
                </c:pt>
                <c:pt idx="83">
                  <c:v>43955</c:v>
                </c:pt>
                <c:pt idx="84">
                  <c:v>43956</c:v>
                </c:pt>
                <c:pt idx="85">
                  <c:v>43957</c:v>
                </c:pt>
                <c:pt idx="86">
                  <c:v>43958</c:v>
                </c:pt>
                <c:pt idx="87">
                  <c:v>43959</c:v>
                </c:pt>
                <c:pt idx="88">
                  <c:v>43962</c:v>
                </c:pt>
                <c:pt idx="89">
                  <c:v>43963</c:v>
                </c:pt>
                <c:pt idx="90">
                  <c:v>43964</c:v>
                </c:pt>
                <c:pt idx="91">
                  <c:v>43965</c:v>
                </c:pt>
                <c:pt idx="92">
                  <c:v>43966</c:v>
                </c:pt>
                <c:pt idx="93">
                  <c:v>43969</c:v>
                </c:pt>
                <c:pt idx="94">
                  <c:v>43970</c:v>
                </c:pt>
                <c:pt idx="95">
                  <c:v>43971</c:v>
                </c:pt>
                <c:pt idx="96">
                  <c:v>43972</c:v>
                </c:pt>
                <c:pt idx="97">
                  <c:v>43973</c:v>
                </c:pt>
                <c:pt idx="98">
                  <c:v>43977</c:v>
                </c:pt>
                <c:pt idx="99">
                  <c:v>43978</c:v>
                </c:pt>
                <c:pt idx="100">
                  <c:v>43979</c:v>
                </c:pt>
                <c:pt idx="101">
                  <c:v>43980</c:v>
                </c:pt>
                <c:pt idx="102">
                  <c:v>43983</c:v>
                </c:pt>
                <c:pt idx="103">
                  <c:v>43984</c:v>
                </c:pt>
                <c:pt idx="104">
                  <c:v>43985</c:v>
                </c:pt>
                <c:pt idx="105">
                  <c:v>43986</c:v>
                </c:pt>
                <c:pt idx="106">
                  <c:v>43987</c:v>
                </c:pt>
                <c:pt idx="107">
                  <c:v>43990</c:v>
                </c:pt>
                <c:pt idx="108">
                  <c:v>43991</c:v>
                </c:pt>
                <c:pt idx="109">
                  <c:v>43992</c:v>
                </c:pt>
                <c:pt idx="110">
                  <c:v>43993</c:v>
                </c:pt>
                <c:pt idx="111">
                  <c:v>43994</c:v>
                </c:pt>
                <c:pt idx="112">
                  <c:v>43997</c:v>
                </c:pt>
                <c:pt idx="113">
                  <c:v>43998</c:v>
                </c:pt>
                <c:pt idx="114">
                  <c:v>43999</c:v>
                </c:pt>
                <c:pt idx="115">
                  <c:v>44000</c:v>
                </c:pt>
                <c:pt idx="116">
                  <c:v>44001</c:v>
                </c:pt>
                <c:pt idx="117">
                  <c:v>44004</c:v>
                </c:pt>
                <c:pt idx="118">
                  <c:v>44005</c:v>
                </c:pt>
                <c:pt idx="119">
                  <c:v>44006</c:v>
                </c:pt>
                <c:pt idx="120">
                  <c:v>44007</c:v>
                </c:pt>
                <c:pt idx="121">
                  <c:v>44008</c:v>
                </c:pt>
                <c:pt idx="122">
                  <c:v>44011</c:v>
                </c:pt>
                <c:pt idx="123">
                  <c:v>44012</c:v>
                </c:pt>
                <c:pt idx="124">
                  <c:v>44013</c:v>
                </c:pt>
                <c:pt idx="125">
                  <c:v>44014</c:v>
                </c:pt>
                <c:pt idx="126">
                  <c:v>44018</c:v>
                </c:pt>
                <c:pt idx="127">
                  <c:v>44019</c:v>
                </c:pt>
                <c:pt idx="128">
                  <c:v>44020</c:v>
                </c:pt>
                <c:pt idx="129">
                  <c:v>44021</c:v>
                </c:pt>
                <c:pt idx="130">
                  <c:v>44022</c:v>
                </c:pt>
                <c:pt idx="131">
                  <c:v>44025</c:v>
                </c:pt>
                <c:pt idx="132">
                  <c:v>44026</c:v>
                </c:pt>
                <c:pt idx="133">
                  <c:v>44027</c:v>
                </c:pt>
                <c:pt idx="134">
                  <c:v>44028</c:v>
                </c:pt>
                <c:pt idx="135">
                  <c:v>44029</c:v>
                </c:pt>
                <c:pt idx="136">
                  <c:v>44032</c:v>
                </c:pt>
                <c:pt idx="137">
                  <c:v>44033</c:v>
                </c:pt>
                <c:pt idx="138">
                  <c:v>44034</c:v>
                </c:pt>
                <c:pt idx="139">
                  <c:v>44035</c:v>
                </c:pt>
                <c:pt idx="140">
                  <c:v>44036</c:v>
                </c:pt>
                <c:pt idx="141">
                  <c:v>44039</c:v>
                </c:pt>
                <c:pt idx="142">
                  <c:v>44040</c:v>
                </c:pt>
                <c:pt idx="143">
                  <c:v>44041</c:v>
                </c:pt>
                <c:pt idx="144">
                  <c:v>44042</c:v>
                </c:pt>
                <c:pt idx="145">
                  <c:v>44043</c:v>
                </c:pt>
                <c:pt idx="146">
                  <c:v>44046</c:v>
                </c:pt>
                <c:pt idx="147">
                  <c:v>44047</c:v>
                </c:pt>
                <c:pt idx="148">
                  <c:v>44048</c:v>
                </c:pt>
                <c:pt idx="149">
                  <c:v>44049</c:v>
                </c:pt>
                <c:pt idx="150">
                  <c:v>44050</c:v>
                </c:pt>
                <c:pt idx="151">
                  <c:v>44053</c:v>
                </c:pt>
                <c:pt idx="152">
                  <c:v>44054</c:v>
                </c:pt>
                <c:pt idx="153">
                  <c:v>44055</c:v>
                </c:pt>
                <c:pt idx="154">
                  <c:v>44056</c:v>
                </c:pt>
                <c:pt idx="155">
                  <c:v>44057</c:v>
                </c:pt>
                <c:pt idx="156">
                  <c:v>44060</c:v>
                </c:pt>
                <c:pt idx="157">
                  <c:v>44061</c:v>
                </c:pt>
                <c:pt idx="158">
                  <c:v>44062</c:v>
                </c:pt>
                <c:pt idx="159">
                  <c:v>44063</c:v>
                </c:pt>
                <c:pt idx="160">
                  <c:v>44064</c:v>
                </c:pt>
                <c:pt idx="161">
                  <c:v>44067</c:v>
                </c:pt>
                <c:pt idx="162">
                  <c:v>44068</c:v>
                </c:pt>
                <c:pt idx="163">
                  <c:v>44069</c:v>
                </c:pt>
                <c:pt idx="164">
                  <c:v>44070</c:v>
                </c:pt>
                <c:pt idx="165">
                  <c:v>44071</c:v>
                </c:pt>
                <c:pt idx="166">
                  <c:v>44074</c:v>
                </c:pt>
                <c:pt idx="167">
                  <c:v>44075</c:v>
                </c:pt>
                <c:pt idx="168">
                  <c:v>44076</c:v>
                </c:pt>
                <c:pt idx="169">
                  <c:v>44077</c:v>
                </c:pt>
                <c:pt idx="170">
                  <c:v>44078</c:v>
                </c:pt>
                <c:pt idx="171">
                  <c:v>44082</c:v>
                </c:pt>
                <c:pt idx="172">
                  <c:v>44083</c:v>
                </c:pt>
                <c:pt idx="173">
                  <c:v>44084</c:v>
                </c:pt>
                <c:pt idx="174">
                  <c:v>44085</c:v>
                </c:pt>
                <c:pt idx="175">
                  <c:v>44088</c:v>
                </c:pt>
                <c:pt idx="176">
                  <c:v>44089</c:v>
                </c:pt>
                <c:pt idx="177">
                  <c:v>44090</c:v>
                </c:pt>
                <c:pt idx="178">
                  <c:v>44091</c:v>
                </c:pt>
                <c:pt idx="179">
                  <c:v>44092</c:v>
                </c:pt>
                <c:pt idx="180">
                  <c:v>44095</c:v>
                </c:pt>
                <c:pt idx="181">
                  <c:v>44096</c:v>
                </c:pt>
                <c:pt idx="182">
                  <c:v>44097</c:v>
                </c:pt>
                <c:pt idx="183">
                  <c:v>44098</c:v>
                </c:pt>
                <c:pt idx="184">
                  <c:v>44099</c:v>
                </c:pt>
                <c:pt idx="185">
                  <c:v>44102</c:v>
                </c:pt>
                <c:pt idx="186">
                  <c:v>44103</c:v>
                </c:pt>
                <c:pt idx="187">
                  <c:v>44104</c:v>
                </c:pt>
                <c:pt idx="188">
                  <c:v>44105</c:v>
                </c:pt>
                <c:pt idx="189">
                  <c:v>44106</c:v>
                </c:pt>
                <c:pt idx="190">
                  <c:v>44109</c:v>
                </c:pt>
                <c:pt idx="191">
                  <c:v>44110</c:v>
                </c:pt>
                <c:pt idx="192">
                  <c:v>44111</c:v>
                </c:pt>
                <c:pt idx="193">
                  <c:v>44112</c:v>
                </c:pt>
                <c:pt idx="194">
                  <c:v>44113</c:v>
                </c:pt>
                <c:pt idx="195">
                  <c:v>44116</c:v>
                </c:pt>
                <c:pt idx="196">
                  <c:v>44117</c:v>
                </c:pt>
                <c:pt idx="197">
                  <c:v>44118</c:v>
                </c:pt>
                <c:pt idx="198">
                  <c:v>44119</c:v>
                </c:pt>
                <c:pt idx="199">
                  <c:v>44120</c:v>
                </c:pt>
                <c:pt idx="200">
                  <c:v>44123</c:v>
                </c:pt>
                <c:pt idx="201">
                  <c:v>44124</c:v>
                </c:pt>
                <c:pt idx="202">
                  <c:v>44125</c:v>
                </c:pt>
                <c:pt idx="203">
                  <c:v>44126</c:v>
                </c:pt>
                <c:pt idx="204">
                  <c:v>44127</c:v>
                </c:pt>
                <c:pt idx="205">
                  <c:v>44130</c:v>
                </c:pt>
                <c:pt idx="206">
                  <c:v>44131</c:v>
                </c:pt>
                <c:pt idx="207">
                  <c:v>44132</c:v>
                </c:pt>
                <c:pt idx="208">
                  <c:v>44133</c:v>
                </c:pt>
                <c:pt idx="209">
                  <c:v>44134</c:v>
                </c:pt>
                <c:pt idx="210">
                  <c:v>44137</c:v>
                </c:pt>
                <c:pt idx="211">
                  <c:v>44138</c:v>
                </c:pt>
                <c:pt idx="212">
                  <c:v>44139</c:v>
                </c:pt>
                <c:pt idx="213">
                  <c:v>44140</c:v>
                </c:pt>
                <c:pt idx="214">
                  <c:v>44141</c:v>
                </c:pt>
                <c:pt idx="215">
                  <c:v>44144</c:v>
                </c:pt>
                <c:pt idx="216">
                  <c:v>44145</c:v>
                </c:pt>
                <c:pt idx="217">
                  <c:v>44146</c:v>
                </c:pt>
                <c:pt idx="218">
                  <c:v>44147</c:v>
                </c:pt>
                <c:pt idx="219">
                  <c:v>44148</c:v>
                </c:pt>
                <c:pt idx="220">
                  <c:v>44151</c:v>
                </c:pt>
                <c:pt idx="221">
                  <c:v>44152</c:v>
                </c:pt>
                <c:pt idx="222">
                  <c:v>44153</c:v>
                </c:pt>
                <c:pt idx="223">
                  <c:v>44154</c:v>
                </c:pt>
                <c:pt idx="224">
                  <c:v>44155</c:v>
                </c:pt>
                <c:pt idx="225">
                  <c:v>44158</c:v>
                </c:pt>
                <c:pt idx="226">
                  <c:v>44159</c:v>
                </c:pt>
                <c:pt idx="227">
                  <c:v>44160</c:v>
                </c:pt>
                <c:pt idx="228">
                  <c:v>44162</c:v>
                </c:pt>
                <c:pt idx="229">
                  <c:v>44165</c:v>
                </c:pt>
                <c:pt idx="230">
                  <c:v>44166</c:v>
                </c:pt>
                <c:pt idx="231">
                  <c:v>44167</c:v>
                </c:pt>
                <c:pt idx="232">
                  <c:v>44168</c:v>
                </c:pt>
                <c:pt idx="233">
                  <c:v>44169</c:v>
                </c:pt>
                <c:pt idx="234">
                  <c:v>44172</c:v>
                </c:pt>
                <c:pt idx="235">
                  <c:v>44173</c:v>
                </c:pt>
                <c:pt idx="236">
                  <c:v>44174</c:v>
                </c:pt>
                <c:pt idx="237">
                  <c:v>44175</c:v>
                </c:pt>
                <c:pt idx="238">
                  <c:v>44176</c:v>
                </c:pt>
                <c:pt idx="239">
                  <c:v>44179</c:v>
                </c:pt>
                <c:pt idx="240">
                  <c:v>44180</c:v>
                </c:pt>
                <c:pt idx="241">
                  <c:v>44181</c:v>
                </c:pt>
                <c:pt idx="242">
                  <c:v>44182</c:v>
                </c:pt>
                <c:pt idx="243">
                  <c:v>44183</c:v>
                </c:pt>
                <c:pt idx="244">
                  <c:v>44186</c:v>
                </c:pt>
                <c:pt idx="245">
                  <c:v>44187</c:v>
                </c:pt>
                <c:pt idx="246">
                  <c:v>44188</c:v>
                </c:pt>
                <c:pt idx="247">
                  <c:v>44189</c:v>
                </c:pt>
                <c:pt idx="248">
                  <c:v>44193</c:v>
                </c:pt>
                <c:pt idx="249">
                  <c:v>44194</c:v>
                </c:pt>
                <c:pt idx="250">
                  <c:v>44195</c:v>
                </c:pt>
                <c:pt idx="251">
                  <c:v>44196</c:v>
                </c:pt>
                <c:pt idx="252">
                  <c:v>44200</c:v>
                </c:pt>
                <c:pt idx="253">
                  <c:v>44201</c:v>
                </c:pt>
                <c:pt idx="254">
                  <c:v>44202</c:v>
                </c:pt>
                <c:pt idx="255">
                  <c:v>44203</c:v>
                </c:pt>
                <c:pt idx="256">
                  <c:v>44204</c:v>
                </c:pt>
                <c:pt idx="257">
                  <c:v>44207</c:v>
                </c:pt>
                <c:pt idx="258">
                  <c:v>44208</c:v>
                </c:pt>
                <c:pt idx="259">
                  <c:v>44209</c:v>
                </c:pt>
                <c:pt idx="260">
                  <c:v>44210</c:v>
                </c:pt>
                <c:pt idx="261">
                  <c:v>44211</c:v>
                </c:pt>
                <c:pt idx="262">
                  <c:v>44215</c:v>
                </c:pt>
                <c:pt idx="263">
                  <c:v>44216</c:v>
                </c:pt>
                <c:pt idx="264">
                  <c:v>44217</c:v>
                </c:pt>
                <c:pt idx="265">
                  <c:v>44218</c:v>
                </c:pt>
                <c:pt idx="266">
                  <c:v>44221</c:v>
                </c:pt>
                <c:pt idx="267">
                  <c:v>44222</c:v>
                </c:pt>
                <c:pt idx="268">
                  <c:v>44223</c:v>
                </c:pt>
                <c:pt idx="269">
                  <c:v>44224</c:v>
                </c:pt>
                <c:pt idx="270">
                  <c:v>44225</c:v>
                </c:pt>
                <c:pt idx="271">
                  <c:v>44228</c:v>
                </c:pt>
                <c:pt idx="272">
                  <c:v>44229</c:v>
                </c:pt>
                <c:pt idx="273">
                  <c:v>44230</c:v>
                </c:pt>
                <c:pt idx="274">
                  <c:v>44231</c:v>
                </c:pt>
                <c:pt idx="275">
                  <c:v>44232</c:v>
                </c:pt>
                <c:pt idx="276">
                  <c:v>44235</c:v>
                </c:pt>
                <c:pt idx="277">
                  <c:v>44236</c:v>
                </c:pt>
                <c:pt idx="278">
                  <c:v>44237</c:v>
                </c:pt>
                <c:pt idx="279">
                  <c:v>44238</c:v>
                </c:pt>
                <c:pt idx="280">
                  <c:v>44239</c:v>
                </c:pt>
                <c:pt idx="281">
                  <c:v>44243</c:v>
                </c:pt>
                <c:pt idx="282">
                  <c:v>44244</c:v>
                </c:pt>
                <c:pt idx="283">
                  <c:v>44245</c:v>
                </c:pt>
                <c:pt idx="284">
                  <c:v>44246</c:v>
                </c:pt>
                <c:pt idx="285">
                  <c:v>44249</c:v>
                </c:pt>
                <c:pt idx="286">
                  <c:v>44250</c:v>
                </c:pt>
                <c:pt idx="287">
                  <c:v>44251</c:v>
                </c:pt>
                <c:pt idx="288">
                  <c:v>44252</c:v>
                </c:pt>
                <c:pt idx="289">
                  <c:v>44253</c:v>
                </c:pt>
                <c:pt idx="290">
                  <c:v>44256</c:v>
                </c:pt>
                <c:pt idx="291">
                  <c:v>44257</c:v>
                </c:pt>
                <c:pt idx="292">
                  <c:v>44258</c:v>
                </c:pt>
                <c:pt idx="293">
                  <c:v>44259</c:v>
                </c:pt>
                <c:pt idx="294">
                  <c:v>44260</c:v>
                </c:pt>
                <c:pt idx="295">
                  <c:v>44263</c:v>
                </c:pt>
                <c:pt idx="296">
                  <c:v>44264</c:v>
                </c:pt>
                <c:pt idx="297">
                  <c:v>44265</c:v>
                </c:pt>
                <c:pt idx="298">
                  <c:v>44266</c:v>
                </c:pt>
                <c:pt idx="299">
                  <c:v>44267</c:v>
                </c:pt>
                <c:pt idx="300">
                  <c:v>44270</c:v>
                </c:pt>
                <c:pt idx="301">
                  <c:v>44271</c:v>
                </c:pt>
                <c:pt idx="302">
                  <c:v>44272</c:v>
                </c:pt>
                <c:pt idx="303">
                  <c:v>44273</c:v>
                </c:pt>
                <c:pt idx="304">
                  <c:v>44274</c:v>
                </c:pt>
                <c:pt idx="305">
                  <c:v>44277</c:v>
                </c:pt>
                <c:pt idx="306">
                  <c:v>44278</c:v>
                </c:pt>
                <c:pt idx="307">
                  <c:v>44279</c:v>
                </c:pt>
                <c:pt idx="308">
                  <c:v>44280</c:v>
                </c:pt>
                <c:pt idx="309">
                  <c:v>44281</c:v>
                </c:pt>
                <c:pt idx="310">
                  <c:v>44284</c:v>
                </c:pt>
                <c:pt idx="311">
                  <c:v>44285</c:v>
                </c:pt>
                <c:pt idx="312">
                  <c:v>44286</c:v>
                </c:pt>
                <c:pt idx="313">
                  <c:v>44287</c:v>
                </c:pt>
                <c:pt idx="314">
                  <c:v>44291</c:v>
                </c:pt>
                <c:pt idx="315">
                  <c:v>44292</c:v>
                </c:pt>
                <c:pt idx="316">
                  <c:v>44293</c:v>
                </c:pt>
                <c:pt idx="317">
                  <c:v>44294</c:v>
                </c:pt>
                <c:pt idx="318">
                  <c:v>44295</c:v>
                </c:pt>
                <c:pt idx="319">
                  <c:v>44298</c:v>
                </c:pt>
                <c:pt idx="320">
                  <c:v>44299</c:v>
                </c:pt>
                <c:pt idx="321">
                  <c:v>44300</c:v>
                </c:pt>
                <c:pt idx="322">
                  <c:v>44301</c:v>
                </c:pt>
                <c:pt idx="323">
                  <c:v>44302</c:v>
                </c:pt>
                <c:pt idx="324">
                  <c:v>44305</c:v>
                </c:pt>
                <c:pt idx="325">
                  <c:v>44306</c:v>
                </c:pt>
                <c:pt idx="326">
                  <c:v>44307</c:v>
                </c:pt>
                <c:pt idx="327">
                  <c:v>44308</c:v>
                </c:pt>
                <c:pt idx="328">
                  <c:v>44309</c:v>
                </c:pt>
                <c:pt idx="329">
                  <c:v>44312</c:v>
                </c:pt>
                <c:pt idx="330">
                  <c:v>44313</c:v>
                </c:pt>
                <c:pt idx="331">
                  <c:v>44314</c:v>
                </c:pt>
                <c:pt idx="332">
                  <c:v>44315</c:v>
                </c:pt>
                <c:pt idx="333">
                  <c:v>44316</c:v>
                </c:pt>
                <c:pt idx="334">
                  <c:v>44319</c:v>
                </c:pt>
                <c:pt idx="335">
                  <c:v>44320</c:v>
                </c:pt>
                <c:pt idx="336">
                  <c:v>44321</c:v>
                </c:pt>
                <c:pt idx="337">
                  <c:v>44322</c:v>
                </c:pt>
                <c:pt idx="338">
                  <c:v>44323</c:v>
                </c:pt>
                <c:pt idx="339">
                  <c:v>44326</c:v>
                </c:pt>
                <c:pt idx="340">
                  <c:v>44327</c:v>
                </c:pt>
                <c:pt idx="341">
                  <c:v>44328</c:v>
                </c:pt>
                <c:pt idx="342">
                  <c:v>44329</c:v>
                </c:pt>
                <c:pt idx="343">
                  <c:v>44330</c:v>
                </c:pt>
                <c:pt idx="344">
                  <c:v>44333</c:v>
                </c:pt>
                <c:pt idx="345">
                  <c:v>44334</c:v>
                </c:pt>
                <c:pt idx="346">
                  <c:v>44335</c:v>
                </c:pt>
              </c:numCache>
            </c:numRef>
          </c:cat>
          <c:val>
            <c:numRef>
              <c:f>Sheet1!$B$2:$B$348</c:f>
              <c:numCache>
                <c:formatCode>General</c:formatCode>
                <c:ptCount val="347"/>
                <c:pt idx="0">
                  <c:v>139.13999999999999</c:v>
                </c:pt>
                <c:pt idx="1">
                  <c:v>141.30000000000001</c:v>
                </c:pt>
                <c:pt idx="2">
                  <c:v>140.37</c:v>
                </c:pt>
                <c:pt idx="3">
                  <c:v>138.97</c:v>
                </c:pt>
                <c:pt idx="4">
                  <c:v>133.01</c:v>
                </c:pt>
                <c:pt idx="5">
                  <c:v>128.19</c:v>
                </c:pt>
                <c:pt idx="6">
                  <c:v>123.36</c:v>
                </c:pt>
                <c:pt idx="7">
                  <c:v>118.04</c:v>
                </c:pt>
                <c:pt idx="8">
                  <c:v>117.65</c:v>
                </c:pt>
                <c:pt idx="9">
                  <c:v>119.98</c:v>
                </c:pt>
                <c:pt idx="10">
                  <c:v>116.45</c:v>
                </c:pt>
                <c:pt idx="11">
                  <c:v>119.18</c:v>
                </c:pt>
                <c:pt idx="12">
                  <c:v>113.98</c:v>
                </c:pt>
                <c:pt idx="13">
                  <c:v>115.27</c:v>
                </c:pt>
                <c:pt idx="14">
                  <c:v>104.34999000000001</c:v>
                </c:pt>
                <c:pt idx="15">
                  <c:v>111.46</c:v>
                </c:pt>
                <c:pt idx="16">
                  <c:v>105.51</c:v>
                </c:pt>
                <c:pt idx="17">
                  <c:v>91.81</c:v>
                </c:pt>
                <c:pt idx="18">
                  <c:v>102.52</c:v>
                </c:pt>
                <c:pt idx="19">
                  <c:v>95.009995000000004</c:v>
                </c:pt>
                <c:pt idx="20">
                  <c:v>93.53</c:v>
                </c:pt>
                <c:pt idx="21">
                  <c:v>88.8</c:v>
                </c:pt>
                <c:pt idx="22">
                  <c:v>94.93</c:v>
                </c:pt>
                <c:pt idx="23">
                  <c:v>85.98</c:v>
                </c:pt>
                <c:pt idx="24">
                  <c:v>85.76</c:v>
                </c:pt>
                <c:pt idx="25">
                  <c:v>98.12</c:v>
                </c:pt>
                <c:pt idx="26">
                  <c:v>100.73</c:v>
                </c:pt>
                <c:pt idx="27">
                  <c:v>105.35999</c:v>
                </c:pt>
                <c:pt idx="28">
                  <c:v>96.4</c:v>
                </c:pt>
                <c:pt idx="29">
                  <c:v>99.8</c:v>
                </c:pt>
                <c:pt idx="30">
                  <c:v>96.599990000000005</c:v>
                </c:pt>
                <c:pt idx="31">
                  <c:v>94.919989999999999</c:v>
                </c:pt>
                <c:pt idx="32">
                  <c:v>96.97</c:v>
                </c:pt>
                <c:pt idx="33">
                  <c:v>93.88</c:v>
                </c:pt>
                <c:pt idx="34">
                  <c:v>99.58</c:v>
                </c:pt>
                <c:pt idx="35">
                  <c:v>101.24</c:v>
                </c:pt>
                <c:pt idx="36">
                  <c:v>101.07</c:v>
                </c:pt>
                <c:pt idx="37">
                  <c:v>104.5</c:v>
                </c:pt>
                <c:pt idx="38">
                  <c:v>103.5</c:v>
                </c:pt>
                <c:pt idx="39">
                  <c:v>106.02999</c:v>
                </c:pt>
                <c:pt idx="40">
                  <c:v>103.37</c:v>
                </c:pt>
                <c:pt idx="41">
                  <c:v>102.02</c:v>
                </c:pt>
                <c:pt idx="42">
                  <c:v>106.63</c:v>
                </c:pt>
                <c:pt idx="43">
                  <c:v>102.259995</c:v>
                </c:pt>
                <c:pt idx="44">
                  <c:v>100.53999</c:v>
                </c:pt>
                <c:pt idx="45">
                  <c:v>100.99</c:v>
                </c:pt>
                <c:pt idx="46">
                  <c:v>100.99999</c:v>
                </c:pt>
                <c:pt idx="47">
                  <c:v>101.19</c:v>
                </c:pt>
                <c:pt idx="48">
                  <c:v>106.06</c:v>
                </c:pt>
                <c:pt idx="49">
                  <c:v>106.21</c:v>
                </c:pt>
                <c:pt idx="50">
                  <c:v>112.25</c:v>
                </c:pt>
                <c:pt idx="51">
                  <c:v>108.15</c:v>
                </c:pt>
                <c:pt idx="52">
                  <c:v>105.5</c:v>
                </c:pt>
                <c:pt idx="53">
                  <c:v>103.17999</c:v>
                </c:pt>
                <c:pt idx="54">
                  <c:v>101.06</c:v>
                </c:pt>
                <c:pt idx="55">
                  <c:v>100.88</c:v>
                </c:pt>
                <c:pt idx="56">
                  <c:v>105.56999</c:v>
                </c:pt>
                <c:pt idx="57">
                  <c:v>109.16</c:v>
                </c:pt>
                <c:pt idx="58">
                  <c:v>107.77</c:v>
                </c:pt>
                <c:pt idx="59">
                  <c:v>104.55999</c:v>
                </c:pt>
                <c:pt idx="60">
                  <c:v>102.92</c:v>
                </c:pt>
                <c:pt idx="61">
                  <c:v>105.91001</c:v>
                </c:pt>
                <c:pt idx="62">
                  <c:v>109.049995</c:v>
                </c:pt>
                <c:pt idx="63">
                  <c:v>116.85</c:v>
                </c:pt>
                <c:pt idx="64">
                  <c:v>114.369995</c:v>
                </c:pt>
                <c:pt idx="65">
                  <c:v>119.92</c:v>
                </c:pt>
                <c:pt idx="66">
                  <c:v>117.83</c:v>
                </c:pt>
                <c:pt idx="67">
                  <c:v>118.02</c:v>
                </c:pt>
                <c:pt idx="68">
                  <c:v>120.94999</c:v>
                </c:pt>
                <c:pt idx="69">
                  <c:v>121.53</c:v>
                </c:pt>
                <c:pt idx="70">
                  <c:v>116.75</c:v>
                </c:pt>
                <c:pt idx="71">
                  <c:v>117.3</c:v>
                </c:pt>
                <c:pt idx="72">
                  <c:v>118.76999000000001</c:v>
                </c:pt>
                <c:pt idx="73">
                  <c:v>118.75</c:v>
                </c:pt>
                <c:pt idx="74">
                  <c:v>122.18</c:v>
                </c:pt>
                <c:pt idx="75">
                  <c:v>123.69</c:v>
                </c:pt>
                <c:pt idx="76">
                  <c:v>124.82</c:v>
                </c:pt>
                <c:pt idx="77">
                  <c:v>127.28001</c:v>
                </c:pt>
                <c:pt idx="78">
                  <c:v>123.88999</c:v>
                </c:pt>
                <c:pt idx="79">
                  <c:v>122.18</c:v>
                </c:pt>
                <c:pt idx="80">
                  <c:v>112.64</c:v>
                </c:pt>
                <c:pt idx="81">
                  <c:v>115.49</c:v>
                </c:pt>
                <c:pt idx="82">
                  <c:v>117.08</c:v>
                </c:pt>
                <c:pt idx="83">
                  <c:v>118.439995</c:v>
                </c:pt>
                <c:pt idx="84">
                  <c:v>117.65</c:v>
                </c:pt>
                <c:pt idx="85">
                  <c:v>118.37</c:v>
                </c:pt>
                <c:pt idx="86">
                  <c:v>114.35</c:v>
                </c:pt>
                <c:pt idx="87">
                  <c:v>115.91999</c:v>
                </c:pt>
                <c:pt idx="88">
                  <c:v>116.58999</c:v>
                </c:pt>
                <c:pt idx="89">
                  <c:v>112.07</c:v>
                </c:pt>
                <c:pt idx="90">
                  <c:v>111.36</c:v>
                </c:pt>
                <c:pt idx="91">
                  <c:v>109.1</c:v>
                </c:pt>
                <c:pt idx="92">
                  <c:v>111.520004</c:v>
                </c:pt>
                <c:pt idx="93">
                  <c:v>111.51</c:v>
                </c:pt>
                <c:pt idx="94">
                  <c:v>113.01</c:v>
                </c:pt>
                <c:pt idx="95">
                  <c:v>112.18</c:v>
                </c:pt>
                <c:pt idx="96">
                  <c:v>114.43</c:v>
                </c:pt>
                <c:pt idx="97">
                  <c:v>113.63</c:v>
                </c:pt>
                <c:pt idx="98">
                  <c:v>116.66</c:v>
                </c:pt>
                <c:pt idx="99">
                  <c:v>116.81</c:v>
                </c:pt>
                <c:pt idx="100">
                  <c:v>119.34</c:v>
                </c:pt>
                <c:pt idx="101">
                  <c:v>116.21999</c:v>
                </c:pt>
                <c:pt idx="102">
                  <c:v>118.66</c:v>
                </c:pt>
                <c:pt idx="103">
                  <c:v>120.9</c:v>
                </c:pt>
                <c:pt idx="104">
                  <c:v>119.43</c:v>
                </c:pt>
                <c:pt idx="105">
                  <c:v>118.65000999999999</c:v>
                </c:pt>
                <c:pt idx="106">
                  <c:v>117.79</c:v>
                </c:pt>
                <c:pt idx="107">
                  <c:v>118.62</c:v>
                </c:pt>
                <c:pt idx="108">
                  <c:v>119.03</c:v>
                </c:pt>
                <c:pt idx="109">
                  <c:v>118.12</c:v>
                </c:pt>
                <c:pt idx="110">
                  <c:v>117.61</c:v>
                </c:pt>
                <c:pt idx="111">
                  <c:v>116.31</c:v>
                </c:pt>
                <c:pt idx="112">
                  <c:v>116.18</c:v>
                </c:pt>
                <c:pt idx="113">
                  <c:v>115.61</c:v>
                </c:pt>
                <c:pt idx="114">
                  <c:v>115.66</c:v>
                </c:pt>
                <c:pt idx="115">
                  <c:v>116.94</c:v>
                </c:pt>
                <c:pt idx="116">
                  <c:v>116.35</c:v>
                </c:pt>
                <c:pt idx="117">
                  <c:v>117.29</c:v>
                </c:pt>
                <c:pt idx="118">
                  <c:v>127.61001</c:v>
                </c:pt>
                <c:pt idx="119">
                  <c:v>130.82</c:v>
                </c:pt>
                <c:pt idx="120">
                  <c:v>129.93</c:v>
                </c:pt>
                <c:pt idx="121">
                  <c:v>128.79</c:v>
                </c:pt>
                <c:pt idx="122">
                  <c:v>130.49</c:v>
                </c:pt>
                <c:pt idx="123">
                  <c:v>131.79</c:v>
                </c:pt>
                <c:pt idx="124">
                  <c:v>130.96</c:v>
                </c:pt>
                <c:pt idx="125">
                  <c:v>130.53</c:v>
                </c:pt>
                <c:pt idx="126">
                  <c:v>129.37</c:v>
                </c:pt>
                <c:pt idx="127">
                  <c:v>128.91999999999999</c:v>
                </c:pt>
                <c:pt idx="128">
                  <c:v>127.77</c:v>
                </c:pt>
                <c:pt idx="129">
                  <c:v>128.12</c:v>
                </c:pt>
                <c:pt idx="130">
                  <c:v>127.44</c:v>
                </c:pt>
                <c:pt idx="131">
                  <c:v>130.69</c:v>
                </c:pt>
                <c:pt idx="132">
                  <c:v>129.79</c:v>
                </c:pt>
                <c:pt idx="133">
                  <c:v>132.18</c:v>
                </c:pt>
                <c:pt idx="134">
                  <c:v>133.72999999999999</c:v>
                </c:pt>
                <c:pt idx="135">
                  <c:v>135.54</c:v>
                </c:pt>
                <c:pt idx="136">
                  <c:v>131.87</c:v>
                </c:pt>
                <c:pt idx="137">
                  <c:v>133.55000000000001</c:v>
                </c:pt>
                <c:pt idx="138">
                  <c:v>135.38999999999999</c:v>
                </c:pt>
                <c:pt idx="139">
                  <c:v>133.24</c:v>
                </c:pt>
                <c:pt idx="140">
                  <c:v>131.99</c:v>
                </c:pt>
                <c:pt idx="141">
                  <c:v>134.19999999999999</c:v>
                </c:pt>
                <c:pt idx="142">
                  <c:v>133.36000000000001</c:v>
                </c:pt>
                <c:pt idx="143">
                  <c:v>133.22</c:v>
                </c:pt>
                <c:pt idx="144">
                  <c:v>131.75</c:v>
                </c:pt>
                <c:pt idx="145">
                  <c:v>131.25</c:v>
                </c:pt>
                <c:pt idx="146">
                  <c:v>131.24</c:v>
                </c:pt>
                <c:pt idx="147">
                  <c:v>132.09</c:v>
                </c:pt>
                <c:pt idx="148">
                  <c:v>130.22</c:v>
                </c:pt>
                <c:pt idx="149">
                  <c:v>128.63</c:v>
                </c:pt>
                <c:pt idx="150">
                  <c:v>125.41</c:v>
                </c:pt>
                <c:pt idx="151">
                  <c:v>127.21</c:v>
                </c:pt>
                <c:pt idx="152">
                  <c:v>123.28</c:v>
                </c:pt>
                <c:pt idx="153">
                  <c:v>122.49</c:v>
                </c:pt>
                <c:pt idx="154">
                  <c:v>124</c:v>
                </c:pt>
                <c:pt idx="155">
                  <c:v>125.99</c:v>
                </c:pt>
                <c:pt idx="156">
                  <c:v>125.4</c:v>
                </c:pt>
                <c:pt idx="157">
                  <c:v>124.08</c:v>
                </c:pt>
                <c:pt idx="158">
                  <c:v>123.31</c:v>
                </c:pt>
                <c:pt idx="159">
                  <c:v>122.549995</c:v>
                </c:pt>
                <c:pt idx="160">
                  <c:v>123.37</c:v>
                </c:pt>
                <c:pt idx="161">
                  <c:v>120.93</c:v>
                </c:pt>
                <c:pt idx="162">
                  <c:v>122.91</c:v>
                </c:pt>
                <c:pt idx="163">
                  <c:v>123.08999</c:v>
                </c:pt>
                <c:pt idx="164">
                  <c:v>124.98000999999999</c:v>
                </c:pt>
                <c:pt idx="165">
                  <c:v>124.97</c:v>
                </c:pt>
                <c:pt idx="166">
                  <c:v>128.96</c:v>
                </c:pt>
                <c:pt idx="167">
                  <c:v>126.59</c:v>
                </c:pt>
                <c:pt idx="168">
                  <c:v>127.36001</c:v>
                </c:pt>
                <c:pt idx="169">
                  <c:v>126.810005</c:v>
                </c:pt>
                <c:pt idx="170">
                  <c:v>124.23</c:v>
                </c:pt>
                <c:pt idx="171">
                  <c:v>124.95</c:v>
                </c:pt>
                <c:pt idx="172">
                  <c:v>126.63</c:v>
                </c:pt>
                <c:pt idx="173">
                  <c:v>127.56</c:v>
                </c:pt>
                <c:pt idx="174">
                  <c:v>128.35</c:v>
                </c:pt>
                <c:pt idx="175">
                  <c:v>124.06</c:v>
                </c:pt>
                <c:pt idx="176">
                  <c:v>123.31</c:v>
                </c:pt>
                <c:pt idx="177">
                  <c:v>118.47</c:v>
                </c:pt>
                <c:pt idx="178">
                  <c:v>121.53999</c:v>
                </c:pt>
                <c:pt idx="179">
                  <c:v>121.25</c:v>
                </c:pt>
                <c:pt idx="180">
                  <c:v>120.13</c:v>
                </c:pt>
                <c:pt idx="181">
                  <c:v>124.02</c:v>
                </c:pt>
                <c:pt idx="182">
                  <c:v>125.07</c:v>
                </c:pt>
                <c:pt idx="183">
                  <c:v>126.96</c:v>
                </c:pt>
                <c:pt idx="184">
                  <c:v>127.46</c:v>
                </c:pt>
                <c:pt idx="185">
                  <c:v>142.59</c:v>
                </c:pt>
                <c:pt idx="186">
                  <c:v>142.11000000000001</c:v>
                </c:pt>
                <c:pt idx="187">
                  <c:v>137.82</c:v>
                </c:pt>
                <c:pt idx="188">
                  <c:v>135.52000000000001</c:v>
                </c:pt>
                <c:pt idx="189">
                  <c:v>138.36000000000001</c:v>
                </c:pt>
                <c:pt idx="190">
                  <c:v>144.66999999999999</c:v>
                </c:pt>
                <c:pt idx="191">
                  <c:v>144.5</c:v>
                </c:pt>
                <c:pt idx="192">
                  <c:v>143.9</c:v>
                </c:pt>
                <c:pt idx="193">
                  <c:v>141.72</c:v>
                </c:pt>
                <c:pt idx="194">
                  <c:v>141.07</c:v>
                </c:pt>
                <c:pt idx="195">
                  <c:v>145.97999999999999</c:v>
                </c:pt>
                <c:pt idx="196">
                  <c:v>151.49</c:v>
                </c:pt>
                <c:pt idx="197">
                  <c:v>149.09</c:v>
                </c:pt>
                <c:pt idx="198">
                  <c:v>147.13</c:v>
                </c:pt>
                <c:pt idx="199">
                  <c:v>148.01</c:v>
                </c:pt>
                <c:pt idx="200">
                  <c:v>149.44</c:v>
                </c:pt>
                <c:pt idx="201">
                  <c:v>153.61000000000001</c:v>
                </c:pt>
                <c:pt idx="202">
                  <c:v>153.24</c:v>
                </c:pt>
                <c:pt idx="203">
                  <c:v>154.13999999999999</c:v>
                </c:pt>
                <c:pt idx="204">
                  <c:v>153.68</c:v>
                </c:pt>
                <c:pt idx="205">
                  <c:v>153.72</c:v>
                </c:pt>
                <c:pt idx="206">
                  <c:v>154.43</c:v>
                </c:pt>
                <c:pt idx="207">
                  <c:v>154.69</c:v>
                </c:pt>
                <c:pt idx="208">
                  <c:v>175.72</c:v>
                </c:pt>
                <c:pt idx="209">
                  <c:v>169.29999000000001</c:v>
                </c:pt>
                <c:pt idx="210">
                  <c:v>173.94</c:v>
                </c:pt>
                <c:pt idx="211">
                  <c:v>173.12</c:v>
                </c:pt>
                <c:pt idx="212">
                  <c:v>173.54999000000001</c:v>
                </c:pt>
                <c:pt idx="213">
                  <c:v>172.89</c:v>
                </c:pt>
                <c:pt idx="214">
                  <c:v>170.68998999999999</c:v>
                </c:pt>
                <c:pt idx="215">
                  <c:v>170.45</c:v>
                </c:pt>
                <c:pt idx="216">
                  <c:v>173.54999000000001</c:v>
                </c:pt>
                <c:pt idx="217">
                  <c:v>173.73</c:v>
                </c:pt>
                <c:pt idx="218">
                  <c:v>178.85999000000001</c:v>
                </c:pt>
                <c:pt idx="219">
                  <c:v>177.3</c:v>
                </c:pt>
                <c:pt idx="220">
                  <c:v>181.16998000000001</c:v>
                </c:pt>
                <c:pt idx="221">
                  <c:v>181.18</c:v>
                </c:pt>
                <c:pt idx="222">
                  <c:v>177.67998</c:v>
                </c:pt>
                <c:pt idx="223">
                  <c:v>178.43998999999999</c:v>
                </c:pt>
                <c:pt idx="224">
                  <c:v>179.11998</c:v>
                </c:pt>
                <c:pt idx="225">
                  <c:v>178.58</c:v>
                </c:pt>
                <c:pt idx="226">
                  <c:v>178.69</c:v>
                </c:pt>
                <c:pt idx="227">
                  <c:v>179.09</c:v>
                </c:pt>
                <c:pt idx="228">
                  <c:v>175.99</c:v>
                </c:pt>
                <c:pt idx="229">
                  <c:v>176.12</c:v>
                </c:pt>
                <c:pt idx="230">
                  <c:v>173.43</c:v>
                </c:pt>
                <c:pt idx="231">
                  <c:v>171.44</c:v>
                </c:pt>
                <c:pt idx="232">
                  <c:v>172.26</c:v>
                </c:pt>
                <c:pt idx="233">
                  <c:v>173.64</c:v>
                </c:pt>
                <c:pt idx="234">
                  <c:v>171.28</c:v>
                </c:pt>
                <c:pt idx="235">
                  <c:v>172.78</c:v>
                </c:pt>
                <c:pt idx="236">
                  <c:v>171.89</c:v>
                </c:pt>
                <c:pt idx="237">
                  <c:v>169.55998</c:v>
                </c:pt>
                <c:pt idx="238">
                  <c:v>163.03</c:v>
                </c:pt>
                <c:pt idx="239">
                  <c:v>171.88</c:v>
                </c:pt>
                <c:pt idx="240">
                  <c:v>168.16998000000001</c:v>
                </c:pt>
                <c:pt idx="241">
                  <c:v>170.97</c:v>
                </c:pt>
                <c:pt idx="242">
                  <c:v>176.96</c:v>
                </c:pt>
                <c:pt idx="243">
                  <c:v>176.43</c:v>
                </c:pt>
                <c:pt idx="244">
                  <c:v>180.23</c:v>
                </c:pt>
                <c:pt idx="245">
                  <c:v>181.16</c:v>
                </c:pt>
                <c:pt idx="246">
                  <c:v>190</c:v>
                </c:pt>
                <c:pt idx="247">
                  <c:v>188.20999</c:v>
                </c:pt>
                <c:pt idx="248">
                  <c:v>189.62998999999999</c:v>
                </c:pt>
                <c:pt idx="249">
                  <c:v>190.91</c:v>
                </c:pt>
                <c:pt idx="250">
                  <c:v>187.67</c:v>
                </c:pt>
                <c:pt idx="251">
                  <c:v>186.35</c:v>
                </c:pt>
                <c:pt idx="252">
                  <c:v>186.44</c:v>
                </c:pt>
                <c:pt idx="253">
                  <c:v>183</c:v>
                </c:pt>
                <c:pt idx="254">
                  <c:v>183.65</c:v>
                </c:pt>
                <c:pt idx="255">
                  <c:v>191.75998000000001</c:v>
                </c:pt>
                <c:pt idx="256">
                  <c:v>197.08998</c:v>
                </c:pt>
                <c:pt idx="257">
                  <c:v>197.50998000000001</c:v>
                </c:pt>
                <c:pt idx="258">
                  <c:v>190.98</c:v>
                </c:pt>
                <c:pt idx="259">
                  <c:v>189.04</c:v>
                </c:pt>
                <c:pt idx="260">
                  <c:v>194.98</c:v>
                </c:pt>
                <c:pt idx="261">
                  <c:v>193.94</c:v>
                </c:pt>
                <c:pt idx="262">
                  <c:v>192.25998000000001</c:v>
                </c:pt>
                <c:pt idx="263">
                  <c:v>188.03</c:v>
                </c:pt>
                <c:pt idx="264">
                  <c:v>189.98999000000001</c:v>
                </c:pt>
                <c:pt idx="265">
                  <c:v>201.91</c:v>
                </c:pt>
                <c:pt idx="266">
                  <c:v>194.51</c:v>
                </c:pt>
                <c:pt idx="267">
                  <c:v>195.06</c:v>
                </c:pt>
                <c:pt idx="268">
                  <c:v>196.75</c:v>
                </c:pt>
                <c:pt idx="269">
                  <c:v>197.16</c:v>
                </c:pt>
                <c:pt idx="270">
                  <c:v>196.76</c:v>
                </c:pt>
                <c:pt idx="271">
                  <c:v>194.24</c:v>
                </c:pt>
                <c:pt idx="272">
                  <c:v>195.24</c:v>
                </c:pt>
                <c:pt idx="273">
                  <c:v>192.27997999999999</c:v>
                </c:pt>
                <c:pt idx="274">
                  <c:v>191.14</c:v>
                </c:pt>
                <c:pt idx="275">
                  <c:v>192.85999000000001</c:v>
                </c:pt>
                <c:pt idx="276">
                  <c:v>188.73</c:v>
                </c:pt>
                <c:pt idx="277">
                  <c:v>184.72</c:v>
                </c:pt>
                <c:pt idx="278">
                  <c:v>186.91</c:v>
                </c:pt>
                <c:pt idx="279">
                  <c:v>185.92</c:v>
                </c:pt>
                <c:pt idx="280">
                  <c:v>184.85</c:v>
                </c:pt>
                <c:pt idx="281">
                  <c:v>185.52997999999999</c:v>
                </c:pt>
                <c:pt idx="282">
                  <c:v>184.52</c:v>
                </c:pt>
                <c:pt idx="283">
                  <c:v>188.96999</c:v>
                </c:pt>
                <c:pt idx="284">
                  <c:v>188.49997999999999</c:v>
                </c:pt>
                <c:pt idx="285">
                  <c:v>189.73</c:v>
                </c:pt>
                <c:pt idx="286">
                  <c:v>187.56</c:v>
                </c:pt>
                <c:pt idx="287">
                  <c:v>187.32</c:v>
                </c:pt>
                <c:pt idx="288">
                  <c:v>187.89</c:v>
                </c:pt>
                <c:pt idx="289">
                  <c:v>186.49</c:v>
                </c:pt>
                <c:pt idx="290">
                  <c:v>185.49</c:v>
                </c:pt>
                <c:pt idx="291">
                  <c:v>187.46</c:v>
                </c:pt>
                <c:pt idx="292">
                  <c:v>185.93001000000001</c:v>
                </c:pt>
                <c:pt idx="293">
                  <c:v>187.26</c:v>
                </c:pt>
                <c:pt idx="294">
                  <c:v>187.43001000000001</c:v>
                </c:pt>
                <c:pt idx="295">
                  <c:v>182.79</c:v>
                </c:pt>
                <c:pt idx="296">
                  <c:v>183.10999000000001</c:v>
                </c:pt>
                <c:pt idx="297">
                  <c:v>182.76</c:v>
                </c:pt>
                <c:pt idx="298">
                  <c:v>183.02</c:v>
                </c:pt>
                <c:pt idx="299">
                  <c:v>184.26999000000001</c:v>
                </c:pt>
                <c:pt idx="300">
                  <c:v>184.63998000000001</c:v>
                </c:pt>
                <c:pt idx="301">
                  <c:v>183.39</c:v>
                </c:pt>
                <c:pt idx="302">
                  <c:v>185.33</c:v>
                </c:pt>
                <c:pt idx="303">
                  <c:v>186.01999000000001</c:v>
                </c:pt>
                <c:pt idx="304">
                  <c:v>185.51000999999999</c:v>
                </c:pt>
                <c:pt idx="305">
                  <c:v>184.25</c:v>
                </c:pt>
                <c:pt idx="306">
                  <c:v>181.51</c:v>
                </c:pt>
                <c:pt idx="307">
                  <c:v>181.79</c:v>
                </c:pt>
                <c:pt idx="308">
                  <c:v>184.84</c:v>
                </c:pt>
                <c:pt idx="309">
                  <c:v>184.3</c:v>
                </c:pt>
                <c:pt idx="310">
                  <c:v>181.66998000000001</c:v>
                </c:pt>
                <c:pt idx="311">
                  <c:v>177.84998999999999</c:v>
                </c:pt>
                <c:pt idx="312">
                  <c:v>178.34</c:v>
                </c:pt>
                <c:pt idx="313">
                  <c:v>173.7</c:v>
                </c:pt>
                <c:pt idx="314">
                  <c:v>170.07999000000001</c:v>
                </c:pt>
                <c:pt idx="315">
                  <c:v>169.68</c:v>
                </c:pt>
                <c:pt idx="316">
                  <c:v>169.26999000000001</c:v>
                </c:pt>
                <c:pt idx="317">
                  <c:v>171.36</c:v>
                </c:pt>
                <c:pt idx="318">
                  <c:v>172.40001000000001</c:v>
                </c:pt>
                <c:pt idx="319">
                  <c:v>174.31</c:v>
                </c:pt>
                <c:pt idx="320">
                  <c:v>176.17</c:v>
                </c:pt>
                <c:pt idx="321">
                  <c:v>176.46999</c:v>
                </c:pt>
                <c:pt idx="322">
                  <c:v>179.04</c:v>
                </c:pt>
                <c:pt idx="323">
                  <c:v>178.65001000000001</c:v>
                </c:pt>
                <c:pt idx="324">
                  <c:v>178.84</c:v>
                </c:pt>
                <c:pt idx="325">
                  <c:v>177</c:v>
                </c:pt>
                <c:pt idx="326">
                  <c:v>176.24</c:v>
                </c:pt>
                <c:pt idx="327">
                  <c:v>177.18001000000001</c:v>
                </c:pt>
                <c:pt idx="328">
                  <c:v>176.98999000000001</c:v>
                </c:pt>
                <c:pt idx="329">
                  <c:v>176.33</c:v>
                </c:pt>
                <c:pt idx="330">
                  <c:v>176.04</c:v>
                </c:pt>
                <c:pt idx="331">
                  <c:v>176.56998999999999</c:v>
                </c:pt>
                <c:pt idx="332">
                  <c:v>177.37998999999999</c:v>
                </c:pt>
                <c:pt idx="333">
                  <c:v>178.18001000000001</c:v>
                </c:pt>
                <c:pt idx="334">
                  <c:v>175.86</c:v>
                </c:pt>
                <c:pt idx="335">
                  <c:v>174.66</c:v>
                </c:pt>
                <c:pt idx="336">
                  <c:v>174.65</c:v>
                </c:pt>
                <c:pt idx="337">
                  <c:v>172.42</c:v>
                </c:pt>
                <c:pt idx="338">
                  <c:v>173.96999</c:v>
                </c:pt>
                <c:pt idx="339">
                  <c:v>173.49997999999999</c:v>
                </c:pt>
                <c:pt idx="340">
                  <c:v>175.33</c:v>
                </c:pt>
                <c:pt idx="341">
                  <c:v>177.93</c:v>
                </c:pt>
                <c:pt idx="342">
                  <c:v>178.34998999999999</c:v>
                </c:pt>
                <c:pt idx="343">
                  <c:v>176.56998999999999</c:v>
                </c:pt>
                <c:pt idx="344">
                  <c:v>173.93</c:v>
                </c:pt>
                <c:pt idx="345">
                  <c:v>175.77</c:v>
                </c:pt>
                <c:pt idx="346">
                  <c:v>177.26000999999999</c:v>
                </c:pt>
              </c:numCache>
            </c:numRef>
          </c:val>
          <c:smooth val="0"/>
          <c:extLst>
            <c:ext xmlns:c16="http://schemas.microsoft.com/office/drawing/2014/chart" uri="{C3380CC4-5D6E-409C-BE32-E72D297353CC}">
              <c16:uniqueId val="{00000000-B3F6-DC4D-AA43-E6598E73E359}"/>
            </c:ext>
          </c:extLst>
        </c:ser>
        <c:ser>
          <c:idx val="1"/>
          <c:order val="1"/>
          <c:tx>
            <c:strRef>
              <c:f>Sheet1!$C$1</c:f>
              <c:strCache>
                <c:ptCount val="1"/>
                <c:pt idx="0">
                  <c:v>Predicted</c:v>
                </c:pt>
              </c:strCache>
            </c:strRef>
          </c:tx>
          <c:spPr>
            <a:ln w="12700" cap="rnd">
              <a:solidFill>
                <a:schemeClr val="accent2"/>
              </a:solidFill>
              <a:round/>
            </a:ln>
            <a:effectLst/>
          </c:spPr>
          <c:marker>
            <c:symbol val="none"/>
          </c:marker>
          <c:cat>
            <c:numRef>
              <c:f>Sheet1!$A$2:$A$348</c:f>
              <c:numCache>
                <c:formatCode>m/d/yy</c:formatCode>
                <c:ptCount val="347"/>
                <c:pt idx="0">
                  <c:v>43833</c:v>
                </c:pt>
                <c:pt idx="1">
                  <c:v>43836</c:v>
                </c:pt>
                <c:pt idx="2">
                  <c:v>43837</c:v>
                </c:pt>
                <c:pt idx="3">
                  <c:v>43838</c:v>
                </c:pt>
                <c:pt idx="4">
                  <c:v>43839</c:v>
                </c:pt>
                <c:pt idx="5">
                  <c:v>43840</c:v>
                </c:pt>
                <c:pt idx="6">
                  <c:v>43843</c:v>
                </c:pt>
                <c:pt idx="7">
                  <c:v>43844</c:v>
                </c:pt>
                <c:pt idx="8">
                  <c:v>43845</c:v>
                </c:pt>
                <c:pt idx="9">
                  <c:v>43846</c:v>
                </c:pt>
                <c:pt idx="10">
                  <c:v>43847</c:v>
                </c:pt>
                <c:pt idx="11">
                  <c:v>43851</c:v>
                </c:pt>
                <c:pt idx="12">
                  <c:v>43852</c:v>
                </c:pt>
                <c:pt idx="13">
                  <c:v>43853</c:v>
                </c:pt>
                <c:pt idx="14">
                  <c:v>43854</c:v>
                </c:pt>
                <c:pt idx="15">
                  <c:v>43857</c:v>
                </c:pt>
                <c:pt idx="16">
                  <c:v>43858</c:v>
                </c:pt>
                <c:pt idx="17">
                  <c:v>43859</c:v>
                </c:pt>
                <c:pt idx="18">
                  <c:v>43860</c:v>
                </c:pt>
                <c:pt idx="19">
                  <c:v>43861</c:v>
                </c:pt>
                <c:pt idx="20">
                  <c:v>43864</c:v>
                </c:pt>
                <c:pt idx="21">
                  <c:v>43865</c:v>
                </c:pt>
                <c:pt idx="22">
                  <c:v>43866</c:v>
                </c:pt>
                <c:pt idx="23">
                  <c:v>43867</c:v>
                </c:pt>
                <c:pt idx="24">
                  <c:v>43868</c:v>
                </c:pt>
                <c:pt idx="25">
                  <c:v>43871</c:v>
                </c:pt>
                <c:pt idx="26">
                  <c:v>43872</c:v>
                </c:pt>
                <c:pt idx="27">
                  <c:v>43873</c:v>
                </c:pt>
                <c:pt idx="28">
                  <c:v>43874</c:v>
                </c:pt>
                <c:pt idx="29">
                  <c:v>43875</c:v>
                </c:pt>
                <c:pt idx="30">
                  <c:v>43879</c:v>
                </c:pt>
                <c:pt idx="31">
                  <c:v>43880</c:v>
                </c:pt>
                <c:pt idx="32">
                  <c:v>43881</c:v>
                </c:pt>
                <c:pt idx="33">
                  <c:v>43882</c:v>
                </c:pt>
                <c:pt idx="34">
                  <c:v>43885</c:v>
                </c:pt>
                <c:pt idx="35">
                  <c:v>43886</c:v>
                </c:pt>
                <c:pt idx="36">
                  <c:v>43887</c:v>
                </c:pt>
                <c:pt idx="37">
                  <c:v>43888</c:v>
                </c:pt>
                <c:pt idx="38">
                  <c:v>43889</c:v>
                </c:pt>
                <c:pt idx="39">
                  <c:v>43892</c:v>
                </c:pt>
                <c:pt idx="40">
                  <c:v>43893</c:v>
                </c:pt>
                <c:pt idx="41">
                  <c:v>43894</c:v>
                </c:pt>
                <c:pt idx="42">
                  <c:v>43895</c:v>
                </c:pt>
                <c:pt idx="43">
                  <c:v>43896</c:v>
                </c:pt>
                <c:pt idx="44">
                  <c:v>43899</c:v>
                </c:pt>
                <c:pt idx="45">
                  <c:v>43900</c:v>
                </c:pt>
                <c:pt idx="46">
                  <c:v>43901</c:v>
                </c:pt>
                <c:pt idx="47">
                  <c:v>43902</c:v>
                </c:pt>
                <c:pt idx="48">
                  <c:v>43903</c:v>
                </c:pt>
                <c:pt idx="49">
                  <c:v>43906</c:v>
                </c:pt>
                <c:pt idx="50">
                  <c:v>43907</c:v>
                </c:pt>
                <c:pt idx="51">
                  <c:v>43908</c:v>
                </c:pt>
                <c:pt idx="52">
                  <c:v>43909</c:v>
                </c:pt>
                <c:pt idx="53">
                  <c:v>43910</c:v>
                </c:pt>
                <c:pt idx="54">
                  <c:v>43913</c:v>
                </c:pt>
                <c:pt idx="55">
                  <c:v>43914</c:v>
                </c:pt>
                <c:pt idx="56">
                  <c:v>43915</c:v>
                </c:pt>
                <c:pt idx="57">
                  <c:v>43916</c:v>
                </c:pt>
                <c:pt idx="58">
                  <c:v>43917</c:v>
                </c:pt>
                <c:pt idx="59">
                  <c:v>43920</c:v>
                </c:pt>
                <c:pt idx="60">
                  <c:v>43921</c:v>
                </c:pt>
                <c:pt idx="61">
                  <c:v>43922</c:v>
                </c:pt>
                <c:pt idx="62">
                  <c:v>43923</c:v>
                </c:pt>
                <c:pt idx="63">
                  <c:v>43924</c:v>
                </c:pt>
                <c:pt idx="64">
                  <c:v>43927</c:v>
                </c:pt>
                <c:pt idx="65">
                  <c:v>43928</c:v>
                </c:pt>
                <c:pt idx="66">
                  <c:v>43929</c:v>
                </c:pt>
                <c:pt idx="67">
                  <c:v>43930</c:v>
                </c:pt>
                <c:pt idx="68">
                  <c:v>43934</c:v>
                </c:pt>
                <c:pt idx="69">
                  <c:v>43935</c:v>
                </c:pt>
                <c:pt idx="70">
                  <c:v>43936</c:v>
                </c:pt>
                <c:pt idx="71">
                  <c:v>43937</c:v>
                </c:pt>
                <c:pt idx="72">
                  <c:v>43938</c:v>
                </c:pt>
                <c:pt idx="73">
                  <c:v>43941</c:v>
                </c:pt>
                <c:pt idx="74">
                  <c:v>43942</c:v>
                </c:pt>
                <c:pt idx="75">
                  <c:v>43943</c:v>
                </c:pt>
                <c:pt idx="76">
                  <c:v>43944</c:v>
                </c:pt>
                <c:pt idx="77">
                  <c:v>43945</c:v>
                </c:pt>
                <c:pt idx="78">
                  <c:v>43948</c:v>
                </c:pt>
                <c:pt idx="79">
                  <c:v>43949</c:v>
                </c:pt>
                <c:pt idx="80">
                  <c:v>43950</c:v>
                </c:pt>
                <c:pt idx="81">
                  <c:v>43951</c:v>
                </c:pt>
                <c:pt idx="82">
                  <c:v>43952</c:v>
                </c:pt>
                <c:pt idx="83">
                  <c:v>43955</c:v>
                </c:pt>
                <c:pt idx="84">
                  <c:v>43956</c:v>
                </c:pt>
                <c:pt idx="85">
                  <c:v>43957</c:v>
                </c:pt>
                <c:pt idx="86">
                  <c:v>43958</c:v>
                </c:pt>
                <c:pt idx="87">
                  <c:v>43959</c:v>
                </c:pt>
                <c:pt idx="88">
                  <c:v>43962</c:v>
                </c:pt>
                <c:pt idx="89">
                  <c:v>43963</c:v>
                </c:pt>
                <c:pt idx="90">
                  <c:v>43964</c:v>
                </c:pt>
                <c:pt idx="91">
                  <c:v>43965</c:v>
                </c:pt>
                <c:pt idx="92">
                  <c:v>43966</c:v>
                </c:pt>
                <c:pt idx="93">
                  <c:v>43969</c:v>
                </c:pt>
                <c:pt idx="94">
                  <c:v>43970</c:v>
                </c:pt>
                <c:pt idx="95">
                  <c:v>43971</c:v>
                </c:pt>
                <c:pt idx="96">
                  <c:v>43972</c:v>
                </c:pt>
                <c:pt idx="97">
                  <c:v>43973</c:v>
                </c:pt>
                <c:pt idx="98">
                  <c:v>43977</c:v>
                </c:pt>
                <c:pt idx="99">
                  <c:v>43978</c:v>
                </c:pt>
                <c:pt idx="100">
                  <c:v>43979</c:v>
                </c:pt>
                <c:pt idx="101">
                  <c:v>43980</c:v>
                </c:pt>
                <c:pt idx="102">
                  <c:v>43983</c:v>
                </c:pt>
                <c:pt idx="103">
                  <c:v>43984</c:v>
                </c:pt>
                <c:pt idx="104">
                  <c:v>43985</c:v>
                </c:pt>
                <c:pt idx="105">
                  <c:v>43986</c:v>
                </c:pt>
                <c:pt idx="106">
                  <c:v>43987</c:v>
                </c:pt>
                <c:pt idx="107">
                  <c:v>43990</c:v>
                </c:pt>
                <c:pt idx="108">
                  <c:v>43991</c:v>
                </c:pt>
                <c:pt idx="109">
                  <c:v>43992</c:v>
                </c:pt>
                <c:pt idx="110">
                  <c:v>43993</c:v>
                </c:pt>
                <c:pt idx="111">
                  <c:v>43994</c:v>
                </c:pt>
                <c:pt idx="112">
                  <c:v>43997</c:v>
                </c:pt>
                <c:pt idx="113">
                  <c:v>43998</c:v>
                </c:pt>
                <c:pt idx="114">
                  <c:v>43999</c:v>
                </c:pt>
                <c:pt idx="115">
                  <c:v>44000</c:v>
                </c:pt>
                <c:pt idx="116">
                  <c:v>44001</c:v>
                </c:pt>
                <c:pt idx="117">
                  <c:v>44004</c:v>
                </c:pt>
                <c:pt idx="118">
                  <c:v>44005</c:v>
                </c:pt>
                <c:pt idx="119">
                  <c:v>44006</c:v>
                </c:pt>
                <c:pt idx="120">
                  <c:v>44007</c:v>
                </c:pt>
                <c:pt idx="121">
                  <c:v>44008</c:v>
                </c:pt>
                <c:pt idx="122">
                  <c:v>44011</c:v>
                </c:pt>
                <c:pt idx="123">
                  <c:v>44012</c:v>
                </c:pt>
                <c:pt idx="124">
                  <c:v>44013</c:v>
                </c:pt>
                <c:pt idx="125">
                  <c:v>44014</c:v>
                </c:pt>
                <c:pt idx="126">
                  <c:v>44018</c:v>
                </c:pt>
                <c:pt idx="127">
                  <c:v>44019</c:v>
                </c:pt>
                <c:pt idx="128">
                  <c:v>44020</c:v>
                </c:pt>
                <c:pt idx="129">
                  <c:v>44021</c:v>
                </c:pt>
                <c:pt idx="130">
                  <c:v>44022</c:v>
                </c:pt>
                <c:pt idx="131">
                  <c:v>44025</c:v>
                </c:pt>
                <c:pt idx="132">
                  <c:v>44026</c:v>
                </c:pt>
                <c:pt idx="133">
                  <c:v>44027</c:v>
                </c:pt>
                <c:pt idx="134">
                  <c:v>44028</c:v>
                </c:pt>
                <c:pt idx="135">
                  <c:v>44029</c:v>
                </c:pt>
                <c:pt idx="136">
                  <c:v>44032</c:v>
                </c:pt>
                <c:pt idx="137">
                  <c:v>44033</c:v>
                </c:pt>
                <c:pt idx="138">
                  <c:v>44034</c:v>
                </c:pt>
                <c:pt idx="139">
                  <c:v>44035</c:v>
                </c:pt>
                <c:pt idx="140">
                  <c:v>44036</c:v>
                </c:pt>
                <c:pt idx="141">
                  <c:v>44039</c:v>
                </c:pt>
                <c:pt idx="142">
                  <c:v>44040</c:v>
                </c:pt>
                <c:pt idx="143">
                  <c:v>44041</c:v>
                </c:pt>
                <c:pt idx="144">
                  <c:v>44042</c:v>
                </c:pt>
                <c:pt idx="145">
                  <c:v>44043</c:v>
                </c:pt>
                <c:pt idx="146">
                  <c:v>44046</c:v>
                </c:pt>
                <c:pt idx="147">
                  <c:v>44047</c:v>
                </c:pt>
                <c:pt idx="148">
                  <c:v>44048</c:v>
                </c:pt>
                <c:pt idx="149">
                  <c:v>44049</c:v>
                </c:pt>
                <c:pt idx="150">
                  <c:v>44050</c:v>
                </c:pt>
                <c:pt idx="151">
                  <c:v>44053</c:v>
                </c:pt>
                <c:pt idx="152">
                  <c:v>44054</c:v>
                </c:pt>
                <c:pt idx="153">
                  <c:v>44055</c:v>
                </c:pt>
                <c:pt idx="154">
                  <c:v>44056</c:v>
                </c:pt>
                <c:pt idx="155">
                  <c:v>44057</c:v>
                </c:pt>
                <c:pt idx="156">
                  <c:v>44060</c:v>
                </c:pt>
                <c:pt idx="157">
                  <c:v>44061</c:v>
                </c:pt>
                <c:pt idx="158">
                  <c:v>44062</c:v>
                </c:pt>
                <c:pt idx="159">
                  <c:v>44063</c:v>
                </c:pt>
                <c:pt idx="160">
                  <c:v>44064</c:v>
                </c:pt>
                <c:pt idx="161">
                  <c:v>44067</c:v>
                </c:pt>
                <c:pt idx="162">
                  <c:v>44068</c:v>
                </c:pt>
                <c:pt idx="163">
                  <c:v>44069</c:v>
                </c:pt>
                <c:pt idx="164">
                  <c:v>44070</c:v>
                </c:pt>
                <c:pt idx="165">
                  <c:v>44071</c:v>
                </c:pt>
                <c:pt idx="166">
                  <c:v>44074</c:v>
                </c:pt>
                <c:pt idx="167">
                  <c:v>44075</c:v>
                </c:pt>
                <c:pt idx="168">
                  <c:v>44076</c:v>
                </c:pt>
                <c:pt idx="169">
                  <c:v>44077</c:v>
                </c:pt>
                <c:pt idx="170">
                  <c:v>44078</c:v>
                </c:pt>
                <c:pt idx="171">
                  <c:v>44082</c:v>
                </c:pt>
                <c:pt idx="172">
                  <c:v>44083</c:v>
                </c:pt>
                <c:pt idx="173">
                  <c:v>44084</c:v>
                </c:pt>
                <c:pt idx="174">
                  <c:v>44085</c:v>
                </c:pt>
                <c:pt idx="175">
                  <c:v>44088</c:v>
                </c:pt>
                <c:pt idx="176">
                  <c:v>44089</c:v>
                </c:pt>
                <c:pt idx="177">
                  <c:v>44090</c:v>
                </c:pt>
                <c:pt idx="178">
                  <c:v>44091</c:v>
                </c:pt>
                <c:pt idx="179">
                  <c:v>44092</c:v>
                </c:pt>
                <c:pt idx="180">
                  <c:v>44095</c:v>
                </c:pt>
                <c:pt idx="181">
                  <c:v>44096</c:v>
                </c:pt>
                <c:pt idx="182">
                  <c:v>44097</c:v>
                </c:pt>
                <c:pt idx="183">
                  <c:v>44098</c:v>
                </c:pt>
                <c:pt idx="184">
                  <c:v>44099</c:v>
                </c:pt>
                <c:pt idx="185">
                  <c:v>44102</c:v>
                </c:pt>
                <c:pt idx="186">
                  <c:v>44103</c:v>
                </c:pt>
                <c:pt idx="187">
                  <c:v>44104</c:v>
                </c:pt>
                <c:pt idx="188">
                  <c:v>44105</c:v>
                </c:pt>
                <c:pt idx="189">
                  <c:v>44106</c:v>
                </c:pt>
                <c:pt idx="190">
                  <c:v>44109</c:v>
                </c:pt>
                <c:pt idx="191">
                  <c:v>44110</c:v>
                </c:pt>
                <c:pt idx="192">
                  <c:v>44111</c:v>
                </c:pt>
                <c:pt idx="193">
                  <c:v>44112</c:v>
                </c:pt>
                <c:pt idx="194">
                  <c:v>44113</c:v>
                </c:pt>
                <c:pt idx="195">
                  <c:v>44116</c:v>
                </c:pt>
                <c:pt idx="196">
                  <c:v>44117</c:v>
                </c:pt>
                <c:pt idx="197">
                  <c:v>44118</c:v>
                </c:pt>
                <c:pt idx="198">
                  <c:v>44119</c:v>
                </c:pt>
                <c:pt idx="199">
                  <c:v>44120</c:v>
                </c:pt>
                <c:pt idx="200">
                  <c:v>44123</c:v>
                </c:pt>
                <c:pt idx="201">
                  <c:v>44124</c:v>
                </c:pt>
                <c:pt idx="202">
                  <c:v>44125</c:v>
                </c:pt>
                <c:pt idx="203">
                  <c:v>44126</c:v>
                </c:pt>
                <c:pt idx="204">
                  <c:v>44127</c:v>
                </c:pt>
                <c:pt idx="205">
                  <c:v>44130</c:v>
                </c:pt>
                <c:pt idx="206">
                  <c:v>44131</c:v>
                </c:pt>
                <c:pt idx="207">
                  <c:v>44132</c:v>
                </c:pt>
                <c:pt idx="208">
                  <c:v>44133</c:v>
                </c:pt>
                <c:pt idx="209">
                  <c:v>44134</c:v>
                </c:pt>
                <c:pt idx="210">
                  <c:v>44137</c:v>
                </c:pt>
                <c:pt idx="211">
                  <c:v>44138</c:v>
                </c:pt>
                <c:pt idx="212">
                  <c:v>44139</c:v>
                </c:pt>
                <c:pt idx="213">
                  <c:v>44140</c:v>
                </c:pt>
                <c:pt idx="214">
                  <c:v>44141</c:v>
                </c:pt>
                <c:pt idx="215">
                  <c:v>44144</c:v>
                </c:pt>
                <c:pt idx="216">
                  <c:v>44145</c:v>
                </c:pt>
                <c:pt idx="217">
                  <c:v>44146</c:v>
                </c:pt>
                <c:pt idx="218">
                  <c:v>44147</c:v>
                </c:pt>
                <c:pt idx="219">
                  <c:v>44148</c:v>
                </c:pt>
                <c:pt idx="220">
                  <c:v>44151</c:v>
                </c:pt>
                <c:pt idx="221">
                  <c:v>44152</c:v>
                </c:pt>
                <c:pt idx="222">
                  <c:v>44153</c:v>
                </c:pt>
                <c:pt idx="223">
                  <c:v>44154</c:v>
                </c:pt>
                <c:pt idx="224">
                  <c:v>44155</c:v>
                </c:pt>
                <c:pt idx="225">
                  <c:v>44158</c:v>
                </c:pt>
                <c:pt idx="226">
                  <c:v>44159</c:v>
                </c:pt>
                <c:pt idx="227">
                  <c:v>44160</c:v>
                </c:pt>
                <c:pt idx="228">
                  <c:v>44162</c:v>
                </c:pt>
                <c:pt idx="229">
                  <c:v>44165</c:v>
                </c:pt>
                <c:pt idx="230">
                  <c:v>44166</c:v>
                </c:pt>
                <c:pt idx="231">
                  <c:v>44167</c:v>
                </c:pt>
                <c:pt idx="232">
                  <c:v>44168</c:v>
                </c:pt>
                <c:pt idx="233">
                  <c:v>44169</c:v>
                </c:pt>
                <c:pt idx="234">
                  <c:v>44172</c:v>
                </c:pt>
                <c:pt idx="235">
                  <c:v>44173</c:v>
                </c:pt>
                <c:pt idx="236">
                  <c:v>44174</c:v>
                </c:pt>
                <c:pt idx="237">
                  <c:v>44175</c:v>
                </c:pt>
                <c:pt idx="238">
                  <c:v>44176</c:v>
                </c:pt>
                <c:pt idx="239">
                  <c:v>44179</c:v>
                </c:pt>
                <c:pt idx="240">
                  <c:v>44180</c:v>
                </c:pt>
                <c:pt idx="241">
                  <c:v>44181</c:v>
                </c:pt>
                <c:pt idx="242">
                  <c:v>44182</c:v>
                </c:pt>
                <c:pt idx="243">
                  <c:v>44183</c:v>
                </c:pt>
                <c:pt idx="244">
                  <c:v>44186</c:v>
                </c:pt>
                <c:pt idx="245">
                  <c:v>44187</c:v>
                </c:pt>
                <c:pt idx="246">
                  <c:v>44188</c:v>
                </c:pt>
                <c:pt idx="247">
                  <c:v>44189</c:v>
                </c:pt>
                <c:pt idx="248">
                  <c:v>44193</c:v>
                </c:pt>
                <c:pt idx="249">
                  <c:v>44194</c:v>
                </c:pt>
                <c:pt idx="250">
                  <c:v>44195</c:v>
                </c:pt>
                <c:pt idx="251">
                  <c:v>44196</c:v>
                </c:pt>
                <c:pt idx="252">
                  <c:v>44200</c:v>
                </c:pt>
                <c:pt idx="253">
                  <c:v>44201</c:v>
                </c:pt>
                <c:pt idx="254">
                  <c:v>44202</c:v>
                </c:pt>
                <c:pt idx="255">
                  <c:v>44203</c:v>
                </c:pt>
                <c:pt idx="256">
                  <c:v>44204</c:v>
                </c:pt>
                <c:pt idx="257">
                  <c:v>44207</c:v>
                </c:pt>
                <c:pt idx="258">
                  <c:v>44208</c:v>
                </c:pt>
                <c:pt idx="259">
                  <c:v>44209</c:v>
                </c:pt>
                <c:pt idx="260">
                  <c:v>44210</c:v>
                </c:pt>
                <c:pt idx="261">
                  <c:v>44211</c:v>
                </c:pt>
                <c:pt idx="262">
                  <c:v>44215</c:v>
                </c:pt>
                <c:pt idx="263">
                  <c:v>44216</c:v>
                </c:pt>
                <c:pt idx="264">
                  <c:v>44217</c:v>
                </c:pt>
                <c:pt idx="265">
                  <c:v>44218</c:v>
                </c:pt>
                <c:pt idx="266">
                  <c:v>44221</c:v>
                </c:pt>
                <c:pt idx="267">
                  <c:v>44222</c:v>
                </c:pt>
                <c:pt idx="268">
                  <c:v>44223</c:v>
                </c:pt>
                <c:pt idx="269">
                  <c:v>44224</c:v>
                </c:pt>
                <c:pt idx="270">
                  <c:v>44225</c:v>
                </c:pt>
                <c:pt idx="271">
                  <c:v>44228</c:v>
                </c:pt>
                <c:pt idx="272">
                  <c:v>44229</c:v>
                </c:pt>
                <c:pt idx="273">
                  <c:v>44230</c:v>
                </c:pt>
                <c:pt idx="274">
                  <c:v>44231</c:v>
                </c:pt>
                <c:pt idx="275">
                  <c:v>44232</c:v>
                </c:pt>
                <c:pt idx="276">
                  <c:v>44235</c:v>
                </c:pt>
                <c:pt idx="277">
                  <c:v>44236</c:v>
                </c:pt>
                <c:pt idx="278">
                  <c:v>44237</c:v>
                </c:pt>
                <c:pt idx="279">
                  <c:v>44238</c:v>
                </c:pt>
                <c:pt idx="280">
                  <c:v>44239</c:v>
                </c:pt>
                <c:pt idx="281">
                  <c:v>44243</c:v>
                </c:pt>
                <c:pt idx="282">
                  <c:v>44244</c:v>
                </c:pt>
                <c:pt idx="283">
                  <c:v>44245</c:v>
                </c:pt>
                <c:pt idx="284">
                  <c:v>44246</c:v>
                </c:pt>
                <c:pt idx="285">
                  <c:v>44249</c:v>
                </c:pt>
                <c:pt idx="286">
                  <c:v>44250</c:v>
                </c:pt>
                <c:pt idx="287">
                  <c:v>44251</c:v>
                </c:pt>
                <c:pt idx="288">
                  <c:v>44252</c:v>
                </c:pt>
                <c:pt idx="289">
                  <c:v>44253</c:v>
                </c:pt>
                <c:pt idx="290">
                  <c:v>44256</c:v>
                </c:pt>
                <c:pt idx="291">
                  <c:v>44257</c:v>
                </c:pt>
                <c:pt idx="292">
                  <c:v>44258</c:v>
                </c:pt>
                <c:pt idx="293">
                  <c:v>44259</c:v>
                </c:pt>
                <c:pt idx="294">
                  <c:v>44260</c:v>
                </c:pt>
                <c:pt idx="295">
                  <c:v>44263</c:v>
                </c:pt>
                <c:pt idx="296">
                  <c:v>44264</c:v>
                </c:pt>
                <c:pt idx="297">
                  <c:v>44265</c:v>
                </c:pt>
                <c:pt idx="298">
                  <c:v>44266</c:v>
                </c:pt>
                <c:pt idx="299">
                  <c:v>44267</c:v>
                </c:pt>
                <c:pt idx="300">
                  <c:v>44270</c:v>
                </c:pt>
                <c:pt idx="301">
                  <c:v>44271</c:v>
                </c:pt>
                <c:pt idx="302">
                  <c:v>44272</c:v>
                </c:pt>
                <c:pt idx="303">
                  <c:v>44273</c:v>
                </c:pt>
                <c:pt idx="304">
                  <c:v>44274</c:v>
                </c:pt>
                <c:pt idx="305">
                  <c:v>44277</c:v>
                </c:pt>
                <c:pt idx="306">
                  <c:v>44278</c:v>
                </c:pt>
                <c:pt idx="307">
                  <c:v>44279</c:v>
                </c:pt>
                <c:pt idx="308">
                  <c:v>44280</c:v>
                </c:pt>
                <c:pt idx="309">
                  <c:v>44281</c:v>
                </c:pt>
                <c:pt idx="310">
                  <c:v>44284</c:v>
                </c:pt>
                <c:pt idx="311">
                  <c:v>44285</c:v>
                </c:pt>
                <c:pt idx="312">
                  <c:v>44286</c:v>
                </c:pt>
                <c:pt idx="313">
                  <c:v>44287</c:v>
                </c:pt>
                <c:pt idx="314">
                  <c:v>44291</c:v>
                </c:pt>
                <c:pt idx="315">
                  <c:v>44292</c:v>
                </c:pt>
                <c:pt idx="316">
                  <c:v>44293</c:v>
                </c:pt>
                <c:pt idx="317">
                  <c:v>44294</c:v>
                </c:pt>
                <c:pt idx="318">
                  <c:v>44295</c:v>
                </c:pt>
                <c:pt idx="319">
                  <c:v>44298</c:v>
                </c:pt>
                <c:pt idx="320">
                  <c:v>44299</c:v>
                </c:pt>
                <c:pt idx="321">
                  <c:v>44300</c:v>
                </c:pt>
                <c:pt idx="322">
                  <c:v>44301</c:v>
                </c:pt>
                <c:pt idx="323">
                  <c:v>44302</c:v>
                </c:pt>
                <c:pt idx="324">
                  <c:v>44305</c:v>
                </c:pt>
                <c:pt idx="325">
                  <c:v>44306</c:v>
                </c:pt>
                <c:pt idx="326">
                  <c:v>44307</c:v>
                </c:pt>
                <c:pt idx="327">
                  <c:v>44308</c:v>
                </c:pt>
                <c:pt idx="328">
                  <c:v>44309</c:v>
                </c:pt>
                <c:pt idx="329">
                  <c:v>44312</c:v>
                </c:pt>
                <c:pt idx="330">
                  <c:v>44313</c:v>
                </c:pt>
                <c:pt idx="331">
                  <c:v>44314</c:v>
                </c:pt>
                <c:pt idx="332">
                  <c:v>44315</c:v>
                </c:pt>
                <c:pt idx="333">
                  <c:v>44316</c:v>
                </c:pt>
                <c:pt idx="334">
                  <c:v>44319</c:v>
                </c:pt>
                <c:pt idx="335">
                  <c:v>44320</c:v>
                </c:pt>
                <c:pt idx="336">
                  <c:v>44321</c:v>
                </c:pt>
                <c:pt idx="337">
                  <c:v>44322</c:v>
                </c:pt>
                <c:pt idx="338">
                  <c:v>44323</c:v>
                </c:pt>
                <c:pt idx="339">
                  <c:v>44326</c:v>
                </c:pt>
                <c:pt idx="340">
                  <c:v>44327</c:v>
                </c:pt>
                <c:pt idx="341">
                  <c:v>44328</c:v>
                </c:pt>
                <c:pt idx="342">
                  <c:v>44329</c:v>
                </c:pt>
                <c:pt idx="343">
                  <c:v>44330</c:v>
                </c:pt>
                <c:pt idx="344">
                  <c:v>44333</c:v>
                </c:pt>
                <c:pt idx="345">
                  <c:v>44334</c:v>
                </c:pt>
                <c:pt idx="346">
                  <c:v>44335</c:v>
                </c:pt>
              </c:numCache>
            </c:numRef>
          </c:cat>
          <c:val>
            <c:numRef>
              <c:f>Sheet1!$C$2:$C$348</c:f>
              <c:numCache>
                <c:formatCode>General</c:formatCode>
                <c:ptCount val="347"/>
                <c:pt idx="0">
                  <c:v>147.18595999999999</c:v>
                </c:pt>
                <c:pt idx="1">
                  <c:v>147.18753000000001</c:v>
                </c:pt>
                <c:pt idx="2">
                  <c:v>147.36264</c:v>
                </c:pt>
                <c:pt idx="3">
                  <c:v>147.36893000000001</c:v>
                </c:pt>
                <c:pt idx="4">
                  <c:v>147.02038999999999</c:v>
                </c:pt>
                <c:pt idx="5">
                  <c:v>145.68753000000001</c:v>
                </c:pt>
                <c:pt idx="6">
                  <c:v>144.30770999999999</c:v>
                </c:pt>
                <c:pt idx="7">
                  <c:v>143.43019000000001</c:v>
                </c:pt>
                <c:pt idx="8">
                  <c:v>141.89821000000001</c:v>
                </c:pt>
                <c:pt idx="9">
                  <c:v>141.06137000000001</c:v>
                </c:pt>
                <c:pt idx="10">
                  <c:v>141.50812999999999</c:v>
                </c:pt>
                <c:pt idx="11">
                  <c:v>141.15926999999999</c:v>
                </c:pt>
                <c:pt idx="12">
                  <c:v>142.10169999999999</c:v>
                </c:pt>
                <c:pt idx="13">
                  <c:v>141.67436000000001</c:v>
                </c:pt>
                <c:pt idx="14">
                  <c:v>141.1438</c:v>
                </c:pt>
                <c:pt idx="15">
                  <c:v>139.30806000000001</c:v>
                </c:pt>
                <c:pt idx="16">
                  <c:v>139.49913000000001</c:v>
                </c:pt>
                <c:pt idx="17">
                  <c:v>138.39127999999999</c:v>
                </c:pt>
                <c:pt idx="18">
                  <c:v>136.43790000000001</c:v>
                </c:pt>
                <c:pt idx="19">
                  <c:v>136.89856</c:v>
                </c:pt>
                <c:pt idx="20">
                  <c:v>134.36168000000001</c:v>
                </c:pt>
                <c:pt idx="21">
                  <c:v>134.06040999999999</c:v>
                </c:pt>
                <c:pt idx="22">
                  <c:v>133.46179000000001</c:v>
                </c:pt>
                <c:pt idx="23">
                  <c:v>132.20659000000001</c:v>
                </c:pt>
                <c:pt idx="24">
                  <c:v>130.86267000000001</c:v>
                </c:pt>
                <c:pt idx="25">
                  <c:v>129.47098</c:v>
                </c:pt>
                <c:pt idx="26">
                  <c:v>130.21889999999999</c:v>
                </c:pt>
                <c:pt idx="27">
                  <c:v>130.11241000000001</c:v>
                </c:pt>
                <c:pt idx="28">
                  <c:v>131.05428000000001</c:v>
                </c:pt>
                <c:pt idx="29">
                  <c:v>131.12262000000001</c:v>
                </c:pt>
                <c:pt idx="30">
                  <c:v>131.34401</c:v>
                </c:pt>
                <c:pt idx="31">
                  <c:v>130.91324</c:v>
                </c:pt>
                <c:pt idx="32">
                  <c:v>129.38011</c:v>
                </c:pt>
                <c:pt idx="33">
                  <c:v>128.83556999999999</c:v>
                </c:pt>
                <c:pt idx="34">
                  <c:v>127.96416499999999</c:v>
                </c:pt>
                <c:pt idx="35">
                  <c:v>129.50918999999999</c:v>
                </c:pt>
                <c:pt idx="36">
                  <c:v>130.41990000000001</c:v>
                </c:pt>
                <c:pt idx="37">
                  <c:v>131.61891</c:v>
                </c:pt>
                <c:pt idx="38">
                  <c:v>132.52289999999999</c:v>
                </c:pt>
                <c:pt idx="39">
                  <c:v>102.33427399999999</c:v>
                </c:pt>
                <c:pt idx="40">
                  <c:v>101.09196</c:v>
                </c:pt>
                <c:pt idx="41">
                  <c:v>101.145706</c:v>
                </c:pt>
                <c:pt idx="42">
                  <c:v>101.83620000000001</c:v>
                </c:pt>
                <c:pt idx="43">
                  <c:v>102.78327</c:v>
                </c:pt>
                <c:pt idx="44">
                  <c:v>103.07329</c:v>
                </c:pt>
                <c:pt idx="45">
                  <c:v>102.77016399999999</c:v>
                </c:pt>
                <c:pt idx="46">
                  <c:v>103.209526</c:v>
                </c:pt>
                <c:pt idx="47">
                  <c:v>104.02578</c:v>
                </c:pt>
                <c:pt idx="48">
                  <c:v>104.79694000000001</c:v>
                </c:pt>
                <c:pt idx="49">
                  <c:v>106.38155</c:v>
                </c:pt>
                <c:pt idx="50">
                  <c:v>107.96678</c:v>
                </c:pt>
                <c:pt idx="51">
                  <c:v>112.84151</c:v>
                </c:pt>
                <c:pt idx="52">
                  <c:v>122.24594</c:v>
                </c:pt>
                <c:pt idx="53">
                  <c:v>132.57808</c:v>
                </c:pt>
                <c:pt idx="54">
                  <c:v>135.10165000000001</c:v>
                </c:pt>
                <c:pt idx="55">
                  <c:v>136.17466999999999</c:v>
                </c:pt>
                <c:pt idx="56">
                  <c:v>136.85956999999999</c:v>
                </c:pt>
                <c:pt idx="57">
                  <c:v>136.19990000000001</c:v>
                </c:pt>
                <c:pt idx="58">
                  <c:v>137.26840000000001</c:v>
                </c:pt>
                <c:pt idx="59">
                  <c:v>137.73863</c:v>
                </c:pt>
                <c:pt idx="60">
                  <c:v>137.61845</c:v>
                </c:pt>
                <c:pt idx="61">
                  <c:v>137.41132999999999</c:v>
                </c:pt>
                <c:pt idx="62">
                  <c:v>137.66273000000001</c:v>
                </c:pt>
                <c:pt idx="63">
                  <c:v>138.07300000000001</c:v>
                </c:pt>
                <c:pt idx="64">
                  <c:v>138.9383</c:v>
                </c:pt>
                <c:pt idx="65">
                  <c:v>138.60640000000001</c:v>
                </c:pt>
                <c:pt idx="66">
                  <c:v>139.22916000000001</c:v>
                </c:pt>
                <c:pt idx="67">
                  <c:v>139.25932</c:v>
                </c:pt>
                <c:pt idx="68">
                  <c:v>139.26230000000001</c:v>
                </c:pt>
                <c:pt idx="69">
                  <c:v>139.68603999999999</c:v>
                </c:pt>
                <c:pt idx="70">
                  <c:v>140.25174999999999</c:v>
                </c:pt>
                <c:pt idx="71">
                  <c:v>140.48041000000001</c:v>
                </c:pt>
                <c:pt idx="72">
                  <c:v>140.71902</c:v>
                </c:pt>
                <c:pt idx="73">
                  <c:v>140.87396000000001</c:v>
                </c:pt>
                <c:pt idx="74">
                  <c:v>141.14241000000001</c:v>
                </c:pt>
                <c:pt idx="75">
                  <c:v>141.61096000000001</c:v>
                </c:pt>
                <c:pt idx="76">
                  <c:v>141.79598999999999</c:v>
                </c:pt>
                <c:pt idx="77">
                  <c:v>142.56787</c:v>
                </c:pt>
                <c:pt idx="78">
                  <c:v>143.27063000000001</c:v>
                </c:pt>
                <c:pt idx="79">
                  <c:v>143.44772</c:v>
                </c:pt>
                <c:pt idx="80">
                  <c:v>143.44443000000001</c:v>
                </c:pt>
                <c:pt idx="81">
                  <c:v>141.94246000000001</c:v>
                </c:pt>
                <c:pt idx="82">
                  <c:v>141.61809</c:v>
                </c:pt>
                <c:pt idx="83">
                  <c:v>141.69076999999999</c:v>
                </c:pt>
                <c:pt idx="84">
                  <c:v>142.18333000000001</c:v>
                </c:pt>
                <c:pt idx="85">
                  <c:v>142.27816999999999</c:v>
                </c:pt>
                <c:pt idx="86">
                  <c:v>142.29109</c:v>
                </c:pt>
                <c:pt idx="87">
                  <c:v>142.16908000000001</c:v>
                </c:pt>
                <c:pt idx="88">
                  <c:v>142.23824999999999</c:v>
                </c:pt>
                <c:pt idx="89">
                  <c:v>142.41721999999999</c:v>
                </c:pt>
                <c:pt idx="90">
                  <c:v>141.87805</c:v>
                </c:pt>
                <c:pt idx="91">
                  <c:v>141.91154</c:v>
                </c:pt>
                <c:pt idx="92">
                  <c:v>141.32741999999999</c:v>
                </c:pt>
                <c:pt idx="93">
                  <c:v>141.43933000000001</c:v>
                </c:pt>
                <c:pt idx="94">
                  <c:v>141.79849999999999</c:v>
                </c:pt>
                <c:pt idx="95">
                  <c:v>142.04498000000001</c:v>
                </c:pt>
                <c:pt idx="96">
                  <c:v>142.24757</c:v>
                </c:pt>
                <c:pt idx="97">
                  <c:v>142.76164</c:v>
                </c:pt>
                <c:pt idx="98">
                  <c:v>142.72118</c:v>
                </c:pt>
                <c:pt idx="99">
                  <c:v>142.94211999999999</c:v>
                </c:pt>
                <c:pt idx="100">
                  <c:v>142.89883</c:v>
                </c:pt>
                <c:pt idx="101">
                  <c:v>143.17760999999999</c:v>
                </c:pt>
                <c:pt idx="102">
                  <c:v>143.05501000000001</c:v>
                </c:pt>
                <c:pt idx="103">
                  <c:v>143.40973</c:v>
                </c:pt>
                <c:pt idx="104">
                  <c:v>143.79024000000001</c:v>
                </c:pt>
                <c:pt idx="105">
                  <c:v>143.94139000000001</c:v>
                </c:pt>
                <c:pt idx="106">
                  <c:v>144.12984</c:v>
                </c:pt>
                <c:pt idx="107">
                  <c:v>144.45505</c:v>
                </c:pt>
                <c:pt idx="108">
                  <c:v>144.64635000000001</c:v>
                </c:pt>
                <c:pt idx="109">
                  <c:v>144.93780000000001</c:v>
                </c:pt>
                <c:pt idx="110">
                  <c:v>144.71277000000001</c:v>
                </c:pt>
                <c:pt idx="111">
                  <c:v>144.40295</c:v>
                </c:pt>
                <c:pt idx="112">
                  <c:v>144.43407999999999</c:v>
                </c:pt>
                <c:pt idx="113">
                  <c:v>144.25280000000001</c:v>
                </c:pt>
                <c:pt idx="114">
                  <c:v>144.47461000000001</c:v>
                </c:pt>
                <c:pt idx="115">
                  <c:v>144.47342</c:v>
                </c:pt>
                <c:pt idx="116">
                  <c:v>144.71512999999999</c:v>
                </c:pt>
                <c:pt idx="117">
                  <c:v>145.00835000000001</c:v>
                </c:pt>
                <c:pt idx="118">
                  <c:v>145.18109000000001</c:v>
                </c:pt>
                <c:pt idx="119">
                  <c:v>144.59349</c:v>
                </c:pt>
                <c:pt idx="120">
                  <c:v>144.26782</c:v>
                </c:pt>
                <c:pt idx="121">
                  <c:v>144.79669999999999</c:v>
                </c:pt>
                <c:pt idx="122">
                  <c:v>145.60901000000001</c:v>
                </c:pt>
                <c:pt idx="123">
                  <c:v>145.80323999999999</c:v>
                </c:pt>
                <c:pt idx="124">
                  <c:v>146.37701000000001</c:v>
                </c:pt>
                <c:pt idx="125">
                  <c:v>146.83061000000001</c:v>
                </c:pt>
                <c:pt idx="126">
                  <c:v>147.11260999999999</c:v>
                </c:pt>
                <c:pt idx="127">
                  <c:v>147.30495999999999</c:v>
                </c:pt>
                <c:pt idx="128">
                  <c:v>147.49119999999999</c:v>
                </c:pt>
                <c:pt idx="129">
                  <c:v>147.42146</c:v>
                </c:pt>
                <c:pt idx="130">
                  <c:v>147.57722000000001</c:v>
                </c:pt>
                <c:pt idx="131">
                  <c:v>147.67895999999999</c:v>
                </c:pt>
                <c:pt idx="132">
                  <c:v>147.93039999999999</c:v>
                </c:pt>
                <c:pt idx="133">
                  <c:v>148.21592999999999</c:v>
                </c:pt>
                <c:pt idx="134">
                  <c:v>148.51929999999999</c:v>
                </c:pt>
                <c:pt idx="135">
                  <c:v>148.5136</c:v>
                </c:pt>
                <c:pt idx="136">
                  <c:v>148.79203999999999</c:v>
                </c:pt>
                <c:pt idx="137">
                  <c:v>148.85033000000001</c:v>
                </c:pt>
                <c:pt idx="138">
                  <c:v>149.25407000000001</c:v>
                </c:pt>
                <c:pt idx="139">
                  <c:v>149.89828</c:v>
                </c:pt>
                <c:pt idx="140">
                  <c:v>149.05840000000001</c:v>
                </c:pt>
                <c:pt idx="141">
                  <c:v>148.56704999999999</c:v>
                </c:pt>
                <c:pt idx="142">
                  <c:v>147.38603000000001</c:v>
                </c:pt>
                <c:pt idx="143">
                  <c:v>147.64232000000001</c:v>
                </c:pt>
                <c:pt idx="144">
                  <c:v>147.23094</c:v>
                </c:pt>
                <c:pt idx="145">
                  <c:v>147.179</c:v>
                </c:pt>
                <c:pt idx="146">
                  <c:v>147.42232000000001</c:v>
                </c:pt>
                <c:pt idx="147">
                  <c:v>147.67171999999999</c:v>
                </c:pt>
                <c:pt idx="148">
                  <c:v>147.6773</c:v>
                </c:pt>
                <c:pt idx="149">
                  <c:v>147.44202999999999</c:v>
                </c:pt>
                <c:pt idx="150">
                  <c:v>146.90737999999999</c:v>
                </c:pt>
                <c:pt idx="151">
                  <c:v>146.32239999999999</c:v>
                </c:pt>
                <c:pt idx="152">
                  <c:v>146.40787</c:v>
                </c:pt>
                <c:pt idx="153">
                  <c:v>145.68209999999999</c:v>
                </c:pt>
                <c:pt idx="154">
                  <c:v>145.39609999999999</c:v>
                </c:pt>
                <c:pt idx="155">
                  <c:v>145.67008999999999</c:v>
                </c:pt>
                <c:pt idx="156">
                  <c:v>146.18450999999999</c:v>
                </c:pt>
                <c:pt idx="157">
                  <c:v>146.21973</c:v>
                </c:pt>
                <c:pt idx="158">
                  <c:v>146.36109999999999</c:v>
                </c:pt>
                <c:pt idx="159">
                  <c:v>146.69121000000001</c:v>
                </c:pt>
                <c:pt idx="160">
                  <c:v>146.67402999999999</c:v>
                </c:pt>
                <c:pt idx="161">
                  <c:v>147.21652</c:v>
                </c:pt>
                <c:pt idx="162">
                  <c:v>146.96028000000001</c:v>
                </c:pt>
                <c:pt idx="163">
                  <c:v>147.34524999999999</c:v>
                </c:pt>
                <c:pt idx="164">
                  <c:v>147.82248000000001</c:v>
                </c:pt>
                <c:pt idx="165">
                  <c:v>148.15834000000001</c:v>
                </c:pt>
                <c:pt idx="166">
                  <c:v>148.79677000000001</c:v>
                </c:pt>
                <c:pt idx="167">
                  <c:v>148.45930000000001</c:v>
                </c:pt>
                <c:pt idx="168">
                  <c:v>148.49863999999999</c:v>
                </c:pt>
                <c:pt idx="169">
                  <c:v>148.76756</c:v>
                </c:pt>
                <c:pt idx="170">
                  <c:v>149.03613000000001</c:v>
                </c:pt>
                <c:pt idx="171">
                  <c:v>148.73760999999999</c:v>
                </c:pt>
                <c:pt idx="172">
                  <c:v>148.77426</c:v>
                </c:pt>
                <c:pt idx="173">
                  <c:v>148.68663000000001</c:v>
                </c:pt>
                <c:pt idx="174">
                  <c:v>148.83525</c:v>
                </c:pt>
                <c:pt idx="175">
                  <c:v>148.96530000000001</c:v>
                </c:pt>
                <c:pt idx="176">
                  <c:v>148.35703000000001</c:v>
                </c:pt>
                <c:pt idx="177">
                  <c:v>148.07894999999999</c:v>
                </c:pt>
                <c:pt idx="178">
                  <c:v>146.80013</c:v>
                </c:pt>
                <c:pt idx="179">
                  <c:v>146.59242</c:v>
                </c:pt>
                <c:pt idx="180">
                  <c:v>146.12106</c:v>
                </c:pt>
                <c:pt idx="181">
                  <c:v>146.16403</c:v>
                </c:pt>
                <c:pt idx="182">
                  <c:v>146.63578999999999</c:v>
                </c:pt>
                <c:pt idx="183">
                  <c:v>147.44238000000001</c:v>
                </c:pt>
                <c:pt idx="184">
                  <c:v>148.34717000000001</c:v>
                </c:pt>
                <c:pt idx="185">
                  <c:v>148.85051000000001</c:v>
                </c:pt>
                <c:pt idx="186">
                  <c:v>148.27476999999999</c:v>
                </c:pt>
                <c:pt idx="187">
                  <c:v>148.27386000000001</c:v>
                </c:pt>
                <c:pt idx="188">
                  <c:v>149.04578000000001</c:v>
                </c:pt>
                <c:pt idx="189">
                  <c:v>149.07387</c:v>
                </c:pt>
                <c:pt idx="190">
                  <c:v>149.12075999999999</c:v>
                </c:pt>
                <c:pt idx="191">
                  <c:v>149.53982999999999</c:v>
                </c:pt>
                <c:pt idx="192">
                  <c:v>150.0428</c:v>
                </c:pt>
                <c:pt idx="193">
                  <c:v>150.1208</c:v>
                </c:pt>
                <c:pt idx="194">
                  <c:v>150.38856999999999</c:v>
                </c:pt>
                <c:pt idx="195">
                  <c:v>150.39080999999999</c:v>
                </c:pt>
                <c:pt idx="196">
                  <c:v>150.30770999999999</c:v>
                </c:pt>
                <c:pt idx="197">
                  <c:v>150.38986</c:v>
                </c:pt>
                <c:pt idx="198">
                  <c:v>150.71612999999999</c:v>
                </c:pt>
                <c:pt idx="199">
                  <c:v>151.31168</c:v>
                </c:pt>
                <c:pt idx="200">
                  <c:v>151.25038000000001</c:v>
                </c:pt>
                <c:pt idx="201">
                  <c:v>151.58902</c:v>
                </c:pt>
                <c:pt idx="202">
                  <c:v>151.66515000000001</c:v>
                </c:pt>
                <c:pt idx="203">
                  <c:v>151.78301999999999</c:v>
                </c:pt>
                <c:pt idx="204">
                  <c:v>152.31781000000001</c:v>
                </c:pt>
                <c:pt idx="205">
                  <c:v>152.49109999999999</c:v>
                </c:pt>
                <c:pt idx="206">
                  <c:v>152.59907999999999</c:v>
                </c:pt>
                <c:pt idx="207">
                  <c:v>152.23613</c:v>
                </c:pt>
                <c:pt idx="208">
                  <c:v>152.14711</c:v>
                </c:pt>
                <c:pt idx="209">
                  <c:v>148.25615999999999</c:v>
                </c:pt>
                <c:pt idx="210">
                  <c:v>146.82988</c:v>
                </c:pt>
                <c:pt idx="211">
                  <c:v>148.04230999999999</c:v>
                </c:pt>
                <c:pt idx="212">
                  <c:v>149.39216999999999</c:v>
                </c:pt>
                <c:pt idx="213">
                  <c:v>150.62873999999999</c:v>
                </c:pt>
                <c:pt idx="214">
                  <c:v>150.53886</c:v>
                </c:pt>
                <c:pt idx="215">
                  <c:v>150.96033</c:v>
                </c:pt>
                <c:pt idx="216">
                  <c:v>151.63106999999999</c:v>
                </c:pt>
                <c:pt idx="217">
                  <c:v>151.84702999999999</c:v>
                </c:pt>
                <c:pt idx="218">
                  <c:v>152.63561999999999</c:v>
                </c:pt>
                <c:pt idx="219">
                  <c:v>152.5324</c:v>
                </c:pt>
                <c:pt idx="220">
                  <c:v>152.8108</c:v>
                </c:pt>
                <c:pt idx="221">
                  <c:v>152.68325999999999</c:v>
                </c:pt>
                <c:pt idx="222">
                  <c:v>153.10802000000001</c:v>
                </c:pt>
                <c:pt idx="223">
                  <c:v>152.48096000000001</c:v>
                </c:pt>
                <c:pt idx="224">
                  <c:v>152.76309000000001</c:v>
                </c:pt>
                <c:pt idx="225">
                  <c:v>153.09165999999999</c:v>
                </c:pt>
                <c:pt idx="226">
                  <c:v>153.66582</c:v>
                </c:pt>
                <c:pt idx="227">
                  <c:v>154.02950000000001</c:v>
                </c:pt>
                <c:pt idx="228">
                  <c:v>154.16320999999999</c:v>
                </c:pt>
                <c:pt idx="229">
                  <c:v>154.14126999999999</c:v>
                </c:pt>
                <c:pt idx="230">
                  <c:v>154.31487999999999</c:v>
                </c:pt>
                <c:pt idx="231">
                  <c:v>154.13664</c:v>
                </c:pt>
                <c:pt idx="232">
                  <c:v>153.60070999999999</c:v>
                </c:pt>
                <c:pt idx="233">
                  <c:v>153.86396999999999</c:v>
                </c:pt>
                <c:pt idx="234">
                  <c:v>154.19857999999999</c:v>
                </c:pt>
                <c:pt idx="235">
                  <c:v>154.44019</c:v>
                </c:pt>
                <c:pt idx="236">
                  <c:v>154.41526999999999</c:v>
                </c:pt>
                <c:pt idx="237">
                  <c:v>154.65459000000001</c:v>
                </c:pt>
                <c:pt idx="238">
                  <c:v>154.77464000000001</c:v>
                </c:pt>
                <c:pt idx="239">
                  <c:v>153.34995000000001</c:v>
                </c:pt>
                <c:pt idx="240">
                  <c:v>153.10720000000001</c:v>
                </c:pt>
                <c:pt idx="241">
                  <c:v>152.55327</c:v>
                </c:pt>
                <c:pt idx="242">
                  <c:v>153.09773000000001</c:v>
                </c:pt>
                <c:pt idx="243">
                  <c:v>153.40066999999999</c:v>
                </c:pt>
                <c:pt idx="244">
                  <c:v>154.06318999999999</c:v>
                </c:pt>
                <c:pt idx="245">
                  <c:v>154.4622</c:v>
                </c:pt>
                <c:pt idx="246">
                  <c:v>154.95797999999999</c:v>
                </c:pt>
                <c:pt idx="247">
                  <c:v>154.65496999999999</c:v>
                </c:pt>
                <c:pt idx="248">
                  <c:v>154.75888</c:v>
                </c:pt>
                <c:pt idx="249">
                  <c:v>154.81854000000001</c:v>
                </c:pt>
                <c:pt idx="250">
                  <c:v>154.41792000000001</c:v>
                </c:pt>
                <c:pt idx="251">
                  <c:v>153.55144999999999</c:v>
                </c:pt>
                <c:pt idx="252">
                  <c:v>154.0427</c:v>
                </c:pt>
                <c:pt idx="253">
                  <c:v>154.46068</c:v>
                </c:pt>
                <c:pt idx="254">
                  <c:v>154.53912</c:v>
                </c:pt>
                <c:pt idx="255">
                  <c:v>154.87187</c:v>
                </c:pt>
                <c:pt idx="256">
                  <c:v>154.09628000000001</c:v>
                </c:pt>
                <c:pt idx="257">
                  <c:v>153.34271000000001</c:v>
                </c:pt>
                <c:pt idx="258">
                  <c:v>153.62372999999999</c:v>
                </c:pt>
                <c:pt idx="259">
                  <c:v>153.41417999999999</c:v>
                </c:pt>
                <c:pt idx="260">
                  <c:v>153.09254000000001</c:v>
                </c:pt>
                <c:pt idx="261">
                  <c:v>153.92223000000001</c:v>
                </c:pt>
                <c:pt idx="262">
                  <c:v>154.31204</c:v>
                </c:pt>
                <c:pt idx="263">
                  <c:v>154.23088000000001</c:v>
                </c:pt>
                <c:pt idx="264">
                  <c:v>153.60915</c:v>
                </c:pt>
                <c:pt idx="265">
                  <c:v>153.97855999999999</c:v>
                </c:pt>
                <c:pt idx="266">
                  <c:v>152.8689</c:v>
                </c:pt>
                <c:pt idx="267">
                  <c:v>152.57924</c:v>
                </c:pt>
                <c:pt idx="268">
                  <c:v>153.16331</c:v>
                </c:pt>
                <c:pt idx="269">
                  <c:v>153.95927</c:v>
                </c:pt>
                <c:pt idx="270">
                  <c:v>154.32816</c:v>
                </c:pt>
                <c:pt idx="271">
                  <c:v>154.96853999999999</c:v>
                </c:pt>
                <c:pt idx="272">
                  <c:v>155.36011999999999</c:v>
                </c:pt>
                <c:pt idx="273">
                  <c:v>155.28815</c:v>
                </c:pt>
                <c:pt idx="274">
                  <c:v>155.23837</c:v>
                </c:pt>
                <c:pt idx="275">
                  <c:v>153.84915000000001</c:v>
                </c:pt>
                <c:pt idx="276">
                  <c:v>154.55309</c:v>
                </c:pt>
                <c:pt idx="277">
                  <c:v>154.70593</c:v>
                </c:pt>
                <c:pt idx="278">
                  <c:v>154.47241</c:v>
                </c:pt>
                <c:pt idx="279">
                  <c:v>154.82454999999999</c:v>
                </c:pt>
                <c:pt idx="280">
                  <c:v>155.41081</c:v>
                </c:pt>
                <c:pt idx="281">
                  <c:v>155.89284000000001</c:v>
                </c:pt>
                <c:pt idx="282">
                  <c:v>156.26692</c:v>
                </c:pt>
                <c:pt idx="283">
                  <c:v>156.37963999999999</c:v>
                </c:pt>
                <c:pt idx="284">
                  <c:v>156.81801999999999</c:v>
                </c:pt>
                <c:pt idx="285">
                  <c:v>157.44484</c:v>
                </c:pt>
                <c:pt idx="286">
                  <c:v>157.67556999999999</c:v>
                </c:pt>
                <c:pt idx="287">
                  <c:v>158.02952999999999</c:v>
                </c:pt>
                <c:pt idx="288">
                  <c:v>158.20844</c:v>
                </c:pt>
                <c:pt idx="289">
                  <c:v>158.67734999999999</c:v>
                </c:pt>
                <c:pt idx="290">
                  <c:v>158.86357000000001</c:v>
                </c:pt>
                <c:pt idx="291">
                  <c:v>159.05661000000001</c:v>
                </c:pt>
                <c:pt idx="292">
                  <c:v>158.83023</c:v>
                </c:pt>
                <c:pt idx="293">
                  <c:v>159.19235</c:v>
                </c:pt>
                <c:pt idx="294">
                  <c:v>159.24295000000001</c:v>
                </c:pt>
                <c:pt idx="295">
                  <c:v>159.28666999999999</c:v>
                </c:pt>
                <c:pt idx="296">
                  <c:v>158.85302999999999</c:v>
                </c:pt>
                <c:pt idx="297">
                  <c:v>159.20598000000001</c:v>
                </c:pt>
                <c:pt idx="298">
                  <c:v>159.14702</c:v>
                </c:pt>
                <c:pt idx="299">
                  <c:v>159.63999999999999</c:v>
                </c:pt>
                <c:pt idx="300">
                  <c:v>159.90665000000001</c:v>
                </c:pt>
                <c:pt idx="301">
                  <c:v>160.14615000000001</c:v>
                </c:pt>
                <c:pt idx="302">
                  <c:v>160.22214</c:v>
                </c:pt>
                <c:pt idx="303">
                  <c:v>160.39789999999999</c:v>
                </c:pt>
                <c:pt idx="304">
                  <c:v>160.23179999999999</c:v>
                </c:pt>
                <c:pt idx="305">
                  <c:v>160.15503000000001</c:v>
                </c:pt>
                <c:pt idx="306">
                  <c:v>159.92471</c:v>
                </c:pt>
                <c:pt idx="307">
                  <c:v>160.1497</c:v>
                </c:pt>
                <c:pt idx="308">
                  <c:v>160.19561999999999</c:v>
                </c:pt>
                <c:pt idx="309">
                  <c:v>160.43243000000001</c:v>
                </c:pt>
                <c:pt idx="310">
                  <c:v>160.07982000000001</c:v>
                </c:pt>
                <c:pt idx="311">
                  <c:v>159.43657999999999</c:v>
                </c:pt>
                <c:pt idx="312">
                  <c:v>158.79057</c:v>
                </c:pt>
                <c:pt idx="313">
                  <c:v>158.63466</c:v>
                </c:pt>
                <c:pt idx="314">
                  <c:v>156.97237999999999</c:v>
                </c:pt>
                <c:pt idx="315">
                  <c:v>156.84907999999999</c:v>
                </c:pt>
                <c:pt idx="316">
                  <c:v>157.33215000000001</c:v>
                </c:pt>
                <c:pt idx="317">
                  <c:v>157.66408000000001</c:v>
                </c:pt>
                <c:pt idx="318">
                  <c:v>158.36153999999999</c:v>
                </c:pt>
                <c:pt idx="319">
                  <c:v>158.68897999999999</c:v>
                </c:pt>
                <c:pt idx="320">
                  <c:v>159.29745</c:v>
                </c:pt>
                <c:pt idx="321">
                  <c:v>159.40900999999999</c:v>
                </c:pt>
                <c:pt idx="322">
                  <c:v>159.63058000000001</c:v>
                </c:pt>
                <c:pt idx="323">
                  <c:v>159.19290000000001</c:v>
                </c:pt>
                <c:pt idx="324">
                  <c:v>159.55322000000001</c:v>
                </c:pt>
                <c:pt idx="325">
                  <c:v>159.85075000000001</c:v>
                </c:pt>
                <c:pt idx="326">
                  <c:v>159.90772999999999</c:v>
                </c:pt>
                <c:pt idx="327">
                  <c:v>160.08054000000001</c:v>
                </c:pt>
                <c:pt idx="328">
                  <c:v>160.37234000000001</c:v>
                </c:pt>
                <c:pt idx="329">
                  <c:v>160.61972</c:v>
                </c:pt>
                <c:pt idx="330">
                  <c:v>160.81923</c:v>
                </c:pt>
                <c:pt idx="331">
                  <c:v>160.84769</c:v>
                </c:pt>
                <c:pt idx="332">
                  <c:v>161.00310999999999</c:v>
                </c:pt>
                <c:pt idx="333">
                  <c:v>161.0958</c:v>
                </c:pt>
                <c:pt idx="334">
                  <c:v>160.959</c:v>
                </c:pt>
                <c:pt idx="335">
                  <c:v>160.8964</c:v>
                </c:pt>
                <c:pt idx="336">
                  <c:v>160.5942</c:v>
                </c:pt>
                <c:pt idx="337">
                  <c:v>160.36324999999999</c:v>
                </c:pt>
                <c:pt idx="338">
                  <c:v>159.53754000000001</c:v>
                </c:pt>
                <c:pt idx="339">
                  <c:v>160.04962</c:v>
                </c:pt>
                <c:pt idx="340">
                  <c:v>160.27260000000001</c:v>
                </c:pt>
                <c:pt idx="341">
                  <c:v>160.21181999999999</c:v>
                </c:pt>
                <c:pt idx="342">
                  <c:v>160.50342000000001</c:v>
                </c:pt>
                <c:pt idx="343">
                  <c:v>160.75752</c:v>
                </c:pt>
                <c:pt idx="344">
                  <c:v>160.77782999999999</c:v>
                </c:pt>
                <c:pt idx="345">
                  <c:v>160.76975999999999</c:v>
                </c:pt>
                <c:pt idx="346">
                  <c:v>161.08498</c:v>
                </c:pt>
              </c:numCache>
            </c:numRef>
          </c:val>
          <c:smooth val="0"/>
          <c:extLst>
            <c:ext xmlns:c16="http://schemas.microsoft.com/office/drawing/2014/chart" uri="{C3380CC4-5D6E-409C-BE32-E72D297353CC}">
              <c16:uniqueId val="{00000001-B3F6-DC4D-AA43-E6598E73E359}"/>
            </c:ext>
          </c:extLst>
        </c:ser>
        <c:dLbls>
          <c:showLegendKey val="0"/>
          <c:showVal val="0"/>
          <c:showCatName val="0"/>
          <c:showSerName val="0"/>
          <c:showPercent val="0"/>
          <c:showBubbleSize val="0"/>
        </c:dLbls>
        <c:smooth val="0"/>
        <c:axId val="1065107088"/>
        <c:axId val="1473788384"/>
      </c:lineChart>
      <c:dateAx>
        <c:axId val="1065107088"/>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Offset val="100"/>
        <c:baseTimeUnit val="days"/>
      </c:dateAx>
      <c:valAx>
        <c:axId val="1473788384"/>
        <c:scaling>
          <c:orientation val="minMax"/>
          <c:max val="200"/>
          <c:min val="50"/>
        </c:scaling>
        <c:delete val="0"/>
        <c:axPos val="l"/>
        <c:numFmt formatCode="#,##0_);\(#,##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30"/>
        <c:min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024592847728263E-2"/>
          <c:y val="0.10753924759617979"/>
          <c:w val="0.95403901905410082"/>
          <c:h val="0.83082455863877602"/>
        </c:manualLayout>
      </c:layout>
      <c:lineChart>
        <c:grouping val="standard"/>
        <c:varyColors val="0"/>
        <c:ser>
          <c:idx val="0"/>
          <c:order val="0"/>
          <c:tx>
            <c:strRef>
              <c:f>Sheet1!$B$1</c:f>
              <c:strCache>
                <c:ptCount val="1"/>
                <c:pt idx="0">
                  <c:v>AAL</c:v>
                </c:pt>
              </c:strCache>
            </c:strRef>
          </c:tx>
          <c:spPr>
            <a:ln w="22225" cap="rnd">
              <a:solidFill>
                <a:schemeClr val="accent4"/>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B$2:$B$140</c:f>
              <c:numCache>
                <c:formatCode>General</c:formatCode>
                <c:ptCount val="139"/>
                <c:pt idx="0">
                  <c:v>4.9568350526315781</c:v>
                </c:pt>
                <c:pt idx="1">
                  <c:v>6.1248425263157902</c:v>
                </c:pt>
                <c:pt idx="2">
                  <c:v>7.084497347826086</c:v>
                </c:pt>
                <c:pt idx="3">
                  <c:v>6.6804458095238104</c:v>
                </c:pt>
                <c:pt idx="4">
                  <c:v>6.8754135499999993</c:v>
                </c:pt>
                <c:pt idx="5">
                  <c:v>8.8407723181818199</c:v>
                </c:pt>
                <c:pt idx="6">
                  <c:v>8.965919904761904</c:v>
                </c:pt>
                <c:pt idx="7">
                  <c:v>8.8334874545454536</c:v>
                </c:pt>
                <c:pt idx="8">
                  <c:v>8.6628960476190482</c:v>
                </c:pt>
                <c:pt idx="9">
                  <c:v>9.6339199999999998</c:v>
                </c:pt>
                <c:pt idx="10">
                  <c:v>10.576212523809522</c:v>
                </c:pt>
                <c:pt idx="11">
                  <c:v>9.8670753636363671</c:v>
                </c:pt>
                <c:pt idx="12">
                  <c:v>10.011914349999998</c:v>
                </c:pt>
                <c:pt idx="13">
                  <c:v>8.9699365789473688</c:v>
                </c:pt>
                <c:pt idx="14">
                  <c:v>8.2543168695652156</c:v>
                </c:pt>
                <c:pt idx="15">
                  <c:v>7.9279845000000009</c:v>
                </c:pt>
                <c:pt idx="16">
                  <c:v>9.0372994285714281</c:v>
                </c:pt>
                <c:pt idx="17">
                  <c:v>8.1058626363636339</c:v>
                </c:pt>
                <c:pt idx="18">
                  <c:v>6.9409338999999992</c:v>
                </c:pt>
                <c:pt idx="19">
                  <c:v>5.1805691739130442</c:v>
                </c:pt>
                <c:pt idx="20">
                  <c:v>5.3269380476190475</c:v>
                </c:pt>
                <c:pt idx="21">
                  <c:v>5.3583626666666673</c:v>
                </c:pt>
                <c:pt idx="22">
                  <c:v>4.5004680952380953</c:v>
                </c:pt>
                <c:pt idx="23">
                  <c:v>5.1514089047619045</c:v>
                </c:pt>
                <c:pt idx="24">
                  <c:v>6.0486292500000003</c:v>
                </c:pt>
                <c:pt idx="25">
                  <c:v>7.9986900000000007</c:v>
                </c:pt>
                <c:pt idx="26">
                  <c:v>6.9171513636363633</c:v>
                </c:pt>
                <c:pt idx="27">
                  <c:v>8.0646820999999989</c:v>
                </c:pt>
                <c:pt idx="28">
                  <c:v>10.544134818181819</c:v>
                </c:pt>
                <c:pt idx="29">
                  <c:v>11.688198190476191</c:v>
                </c:pt>
                <c:pt idx="30">
                  <c:v>12.131735809523811</c:v>
                </c:pt>
                <c:pt idx="31">
                  <c:v>9.9676459999999967</c:v>
                </c:pt>
                <c:pt idx="32">
                  <c:v>10.308134210526319</c:v>
                </c:pt>
                <c:pt idx="33">
                  <c:v>10.942086523809524</c:v>
                </c:pt>
                <c:pt idx="34">
                  <c:v>11.822426952380951</c:v>
                </c:pt>
                <c:pt idx="35">
                  <c:v>12.200960299999997</c:v>
                </c:pt>
                <c:pt idx="36">
                  <c:v>13.80622419047619</c:v>
                </c:pt>
                <c:pt idx="37">
                  <c:v>13.205822736842103</c:v>
                </c:pt>
                <c:pt idx="38">
                  <c:v>14.873161499999998</c:v>
                </c:pt>
                <c:pt idx="39">
                  <c:v>15.186279409090911</c:v>
                </c:pt>
                <c:pt idx="40">
                  <c:v>16.791081454545449</c:v>
                </c:pt>
                <c:pt idx="41">
                  <c:v>15.874823399999997</c:v>
                </c:pt>
                <c:pt idx="42">
                  <c:v>16.902068454545457</c:v>
                </c:pt>
                <c:pt idx="43">
                  <c:v>16.058314590909092</c:v>
                </c:pt>
                <c:pt idx="44">
                  <c:v>17.142338949999996</c:v>
                </c:pt>
                <c:pt idx="45">
                  <c:v>19.854545391304349</c:v>
                </c:pt>
                <c:pt idx="46">
                  <c:v>22.136983200000003</c:v>
                </c:pt>
                <c:pt idx="47">
                  <c:v>23.535765333333334</c:v>
                </c:pt>
                <c:pt idx="48">
                  <c:v>28.014685571428565</c:v>
                </c:pt>
                <c:pt idx="49">
                  <c:v>33.323428368421055</c:v>
                </c:pt>
                <c:pt idx="50">
                  <c:v>35.050678999999995</c:v>
                </c:pt>
                <c:pt idx="51">
                  <c:v>33.808504666666671</c:v>
                </c:pt>
                <c:pt idx="52">
                  <c:v>36.193640476190481</c:v>
                </c:pt>
                <c:pt idx="53">
                  <c:v>40.315665285714289</c:v>
                </c:pt>
                <c:pt idx="54">
                  <c:v>39.449810181818172</c:v>
                </c:pt>
                <c:pt idx="55">
                  <c:v>36.689990714285713</c:v>
                </c:pt>
                <c:pt idx="56">
                  <c:v>35.210187047619051</c:v>
                </c:pt>
                <c:pt idx="57">
                  <c:v>33.606191000000003</c:v>
                </c:pt>
                <c:pt idx="58">
                  <c:v>41.555007473684221</c:v>
                </c:pt>
                <c:pt idx="59">
                  <c:v>47.633585045454538</c:v>
                </c:pt>
                <c:pt idx="60">
                  <c:v>49.5506423</c:v>
                </c:pt>
                <c:pt idx="61">
                  <c:v>46.407572736842098</c:v>
                </c:pt>
                <c:pt idx="62">
                  <c:v>48.423167818181817</c:v>
                </c:pt>
                <c:pt idx="63">
                  <c:v>46.834090142857136</c:v>
                </c:pt>
                <c:pt idx="64">
                  <c:v>44.148773149999997</c:v>
                </c:pt>
                <c:pt idx="65">
                  <c:v>39.294583863636362</c:v>
                </c:pt>
                <c:pt idx="66">
                  <c:v>38.69305677272726</c:v>
                </c:pt>
                <c:pt idx="67">
                  <c:v>39.354776238095234</c:v>
                </c:pt>
                <c:pt idx="68">
                  <c:v>39.327376333333326</c:v>
                </c:pt>
                <c:pt idx="69">
                  <c:v>41.304277772727268</c:v>
                </c:pt>
                <c:pt idx="70">
                  <c:v>41.546213900000005</c:v>
                </c:pt>
                <c:pt idx="71">
                  <c:v>41.304739272727268</c:v>
                </c:pt>
                <c:pt idx="72">
                  <c:v>38.184578684210521</c:v>
                </c:pt>
                <c:pt idx="73">
                  <c:v>37.079410699999997</c:v>
                </c:pt>
                <c:pt idx="74">
                  <c:v>40.134686227272731</c:v>
                </c:pt>
                <c:pt idx="75">
                  <c:v>37.260073380952385</c:v>
                </c:pt>
                <c:pt idx="76">
                  <c:v>31.261632095238092</c:v>
                </c:pt>
                <c:pt idx="77">
                  <c:v>28.973979818181817</c:v>
                </c:pt>
                <c:pt idx="78">
                  <c:v>32.567157649999999</c:v>
                </c:pt>
                <c:pt idx="79">
                  <c:v>34.252126695652173</c:v>
                </c:pt>
                <c:pt idx="80">
                  <c:v>35.140113285714285</c:v>
                </c:pt>
                <c:pt idx="81">
                  <c:v>37.634318571428572</c:v>
                </c:pt>
                <c:pt idx="82">
                  <c:v>42.293633476190486</c:v>
                </c:pt>
                <c:pt idx="83">
                  <c:v>46.212815095238092</c:v>
                </c:pt>
                <c:pt idx="84">
                  <c:v>45.551981100000006</c:v>
                </c:pt>
                <c:pt idx="85">
                  <c:v>44.526529789473685</c:v>
                </c:pt>
                <c:pt idx="86">
                  <c:v>41.609800043478252</c:v>
                </c:pt>
                <c:pt idx="87">
                  <c:v>42.338489473684206</c:v>
                </c:pt>
                <c:pt idx="88">
                  <c:v>44.570759181818183</c:v>
                </c:pt>
                <c:pt idx="89">
                  <c:v>47.955763136363636</c:v>
                </c:pt>
                <c:pt idx="90">
                  <c:v>50.495740250000004</c:v>
                </c:pt>
                <c:pt idx="91">
                  <c:v>46.012644304347816</c:v>
                </c:pt>
                <c:pt idx="92">
                  <c:v>44.634085900000002</c:v>
                </c:pt>
                <c:pt idx="93">
                  <c:v>49.362424681818176</c:v>
                </c:pt>
                <c:pt idx="94">
                  <c:v>46.348239619047618</c:v>
                </c:pt>
                <c:pt idx="95">
                  <c:v>49.854660750000008</c:v>
                </c:pt>
                <c:pt idx="96">
                  <c:v>53.511955428571419</c:v>
                </c:pt>
                <c:pt idx="97">
                  <c:v>50.612376684210524</c:v>
                </c:pt>
                <c:pt idx="98">
                  <c:v>52.542063238095224</c:v>
                </c:pt>
                <c:pt idx="99">
                  <c:v>46.070856142857139</c:v>
                </c:pt>
                <c:pt idx="100">
                  <c:v>42.148708045454562</c:v>
                </c:pt>
                <c:pt idx="101">
                  <c:v>41.135323809523811</c:v>
                </c:pt>
                <c:pt idx="102">
                  <c:v>37.333756238095241</c:v>
                </c:pt>
                <c:pt idx="103">
                  <c:v>37.993944652173916</c:v>
                </c:pt>
                <c:pt idx="104">
                  <c:v>39.787154368421056</c:v>
                </c:pt>
                <c:pt idx="105">
                  <c:v>33.251240304347832</c:v>
                </c:pt>
                <c:pt idx="106">
                  <c:v>36.567744904761902</c:v>
                </c:pt>
                <c:pt idx="107">
                  <c:v>32.768554947368422</c:v>
                </c:pt>
                <c:pt idx="108">
                  <c:v>32.775264904761904</c:v>
                </c:pt>
                <c:pt idx="109">
                  <c:v>35.457865526315786</c:v>
                </c:pt>
                <c:pt idx="110">
                  <c:v>31.33324433333334</c:v>
                </c:pt>
                <c:pt idx="111">
                  <c:v>33.368811714285712</c:v>
                </c:pt>
                <c:pt idx="112">
                  <c:v>31.339162545454545</c:v>
                </c:pt>
                <c:pt idx="113">
                  <c:v>31.049267750000002</c:v>
                </c:pt>
                <c:pt idx="114">
                  <c:v>32.349265863636361</c:v>
                </c:pt>
                <c:pt idx="115">
                  <c:v>26.755540454545461</c:v>
                </c:pt>
                <c:pt idx="116">
                  <c:v>27.837062299999996</c:v>
                </c:pt>
                <c:pt idx="117">
                  <c:v>27.855563956521742</c:v>
                </c:pt>
                <c:pt idx="118">
                  <c:v>29.389454399999998</c:v>
                </c:pt>
                <c:pt idx="119">
                  <c:v>27.974240238095241</c:v>
                </c:pt>
                <c:pt idx="120">
                  <c:v>27.462796523809523</c:v>
                </c:pt>
                <c:pt idx="121">
                  <c:v>27.025262999999995</c:v>
                </c:pt>
                <c:pt idx="122">
                  <c:v>14.570000136363637</c:v>
                </c:pt>
                <c:pt idx="123">
                  <c:v>10.997619047619047</c:v>
                </c:pt>
                <c:pt idx="124">
                  <c:v>9.9759999999999991</c:v>
                </c:pt>
                <c:pt idx="125">
                  <c:v>15.163181772727274</c:v>
                </c:pt>
                <c:pt idx="126">
                  <c:v>11.838636363636363</c:v>
                </c:pt>
                <c:pt idx="127">
                  <c:v>12.901428571428571</c:v>
                </c:pt>
                <c:pt idx="128">
                  <c:v>12.895238095238096</c:v>
                </c:pt>
                <c:pt idx="129">
                  <c:v>12.414999999999999</c:v>
                </c:pt>
                <c:pt idx="130">
                  <c:v>12.704499999999998</c:v>
                </c:pt>
                <c:pt idx="131">
                  <c:v>16.341363499999996</c:v>
                </c:pt>
                <c:pt idx="132">
                  <c:v>15.85684210526316</c:v>
                </c:pt>
                <c:pt idx="133">
                  <c:v>18.390526526315792</c:v>
                </c:pt>
                <c:pt idx="134">
                  <c:v>22.86217395652174</c:v>
                </c:pt>
                <c:pt idx="135">
                  <c:v>22.280952428571428</c:v>
                </c:pt>
                <c:pt idx="136">
                  <c:v>22.509499999999999</c:v>
                </c:pt>
                <c:pt idx="137">
                  <c:v>23.053181818181816</c:v>
                </c:pt>
                <c:pt idx="138">
                  <c:v>20.823333333333331</c:v>
                </c:pt>
              </c:numCache>
            </c:numRef>
          </c:val>
          <c:smooth val="0"/>
          <c:extLst>
            <c:ext xmlns:c16="http://schemas.microsoft.com/office/drawing/2014/chart" uri="{C3380CC4-5D6E-409C-BE32-E72D297353CC}">
              <c16:uniqueId val="{00000000-4F9B-4775-AE0F-6A85BAC351C6}"/>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1"/>
        <c:axPos val="b"/>
        <c:numFmt formatCode="General" sourceLinked="1"/>
        <c:majorTickMark val="none"/>
        <c:minorTickMark val="none"/>
        <c:tickLblPos val="nextTo"/>
        <c:crossAx val="1473788384"/>
        <c:crosses val="autoZero"/>
        <c:auto val="1"/>
        <c:lblAlgn val="ctr"/>
        <c:lblOffset val="100"/>
        <c:noMultiLvlLbl val="0"/>
      </c:catAx>
      <c:valAx>
        <c:axId val="1473788384"/>
        <c:scaling>
          <c:orientation val="minMax"/>
        </c:scaling>
        <c:delete val="1"/>
        <c:axPos val="l"/>
        <c:numFmt formatCode="General" sourceLinked="0"/>
        <c:majorTickMark val="none"/>
        <c:minorTickMark val="none"/>
        <c:tickLblPos val="nextTo"/>
        <c:crossAx val="106510708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401476828740125E-2"/>
          <c:y val="3.8911577756039352E-2"/>
          <c:w val="0.95403901905410082"/>
          <c:h val="0.83082455863877602"/>
        </c:manualLayout>
      </c:layout>
      <c:lineChart>
        <c:grouping val="standard"/>
        <c:varyColors val="0"/>
        <c:ser>
          <c:idx val="0"/>
          <c:order val="0"/>
          <c:tx>
            <c:strRef>
              <c:f>Sheet1!$B$1</c:f>
              <c:strCache>
                <c:ptCount val="1"/>
                <c:pt idx="0">
                  <c:v>BA</c:v>
                </c:pt>
              </c:strCache>
            </c:strRef>
          </c:tx>
          <c:spPr>
            <a:ln w="22225" cap="rnd">
              <a:solidFill>
                <a:schemeClr val="accent3"/>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B$2:$B$140</c:f>
              <c:numCache>
                <c:formatCode>General</c:formatCode>
                <c:ptCount val="139"/>
                <c:pt idx="0">
                  <c:v>60.6</c:v>
                </c:pt>
                <c:pt idx="1">
                  <c:v>63.16</c:v>
                </c:pt>
                <c:pt idx="2">
                  <c:v>72.61</c:v>
                </c:pt>
                <c:pt idx="3">
                  <c:v>72.430000000000007</c:v>
                </c:pt>
                <c:pt idx="4">
                  <c:v>64.180000000000007</c:v>
                </c:pt>
                <c:pt idx="5">
                  <c:v>62.75</c:v>
                </c:pt>
                <c:pt idx="6">
                  <c:v>68.14</c:v>
                </c:pt>
                <c:pt idx="7">
                  <c:v>61.13</c:v>
                </c:pt>
                <c:pt idx="8">
                  <c:v>66.540000000000006</c:v>
                </c:pt>
                <c:pt idx="9">
                  <c:v>70.64</c:v>
                </c:pt>
                <c:pt idx="10">
                  <c:v>63.77</c:v>
                </c:pt>
                <c:pt idx="11">
                  <c:v>65.260000000000005</c:v>
                </c:pt>
                <c:pt idx="12">
                  <c:v>69.48</c:v>
                </c:pt>
                <c:pt idx="13">
                  <c:v>72.010000000000005</c:v>
                </c:pt>
                <c:pt idx="14">
                  <c:v>73.930000000000007</c:v>
                </c:pt>
                <c:pt idx="15">
                  <c:v>79.78</c:v>
                </c:pt>
                <c:pt idx="16">
                  <c:v>78.03</c:v>
                </c:pt>
                <c:pt idx="17">
                  <c:v>73.930000000000007</c:v>
                </c:pt>
                <c:pt idx="18">
                  <c:v>70.47</c:v>
                </c:pt>
                <c:pt idx="19">
                  <c:v>66.86</c:v>
                </c:pt>
                <c:pt idx="20">
                  <c:v>60.51</c:v>
                </c:pt>
                <c:pt idx="21">
                  <c:v>65.790000000000006</c:v>
                </c:pt>
                <c:pt idx="22">
                  <c:v>68.69</c:v>
                </c:pt>
                <c:pt idx="23">
                  <c:v>73.349999999999994</c:v>
                </c:pt>
                <c:pt idx="24">
                  <c:v>74.180000000000007</c:v>
                </c:pt>
                <c:pt idx="25">
                  <c:v>74.95</c:v>
                </c:pt>
                <c:pt idx="26">
                  <c:v>74.37</c:v>
                </c:pt>
                <c:pt idx="27">
                  <c:v>76.8</c:v>
                </c:pt>
                <c:pt idx="28">
                  <c:v>69.61</c:v>
                </c:pt>
                <c:pt idx="29">
                  <c:v>74.3</c:v>
                </c:pt>
                <c:pt idx="30">
                  <c:v>73.91</c:v>
                </c:pt>
                <c:pt idx="31">
                  <c:v>71.400000000000006</c:v>
                </c:pt>
                <c:pt idx="32">
                  <c:v>69.59</c:v>
                </c:pt>
                <c:pt idx="33">
                  <c:v>70.44</c:v>
                </c:pt>
                <c:pt idx="34">
                  <c:v>74.28</c:v>
                </c:pt>
                <c:pt idx="35">
                  <c:v>75.36</c:v>
                </c:pt>
                <c:pt idx="36">
                  <c:v>73.87</c:v>
                </c:pt>
                <c:pt idx="37">
                  <c:v>76.900000000000006</c:v>
                </c:pt>
                <c:pt idx="38">
                  <c:v>85.85</c:v>
                </c:pt>
                <c:pt idx="39">
                  <c:v>91.41</c:v>
                </c:pt>
                <c:pt idx="40">
                  <c:v>99.02</c:v>
                </c:pt>
                <c:pt idx="41">
                  <c:v>102.44</c:v>
                </c:pt>
                <c:pt idx="42">
                  <c:v>105.1</c:v>
                </c:pt>
                <c:pt idx="43">
                  <c:v>103.92</c:v>
                </c:pt>
                <c:pt idx="44">
                  <c:v>117.5</c:v>
                </c:pt>
                <c:pt idx="45">
                  <c:v>130.5</c:v>
                </c:pt>
                <c:pt idx="46">
                  <c:v>134.25</c:v>
                </c:pt>
                <c:pt idx="47">
                  <c:v>136.49</c:v>
                </c:pt>
                <c:pt idx="48">
                  <c:v>125.26</c:v>
                </c:pt>
                <c:pt idx="49">
                  <c:v>128.91999999999999</c:v>
                </c:pt>
                <c:pt idx="50">
                  <c:v>125.49</c:v>
                </c:pt>
                <c:pt idx="51">
                  <c:v>129.02000000000001</c:v>
                </c:pt>
                <c:pt idx="52">
                  <c:v>135.25</c:v>
                </c:pt>
                <c:pt idx="53">
                  <c:v>127.23</c:v>
                </c:pt>
                <c:pt idx="54">
                  <c:v>120.48</c:v>
                </c:pt>
                <c:pt idx="55">
                  <c:v>126.8</c:v>
                </c:pt>
                <c:pt idx="56">
                  <c:v>127.38</c:v>
                </c:pt>
                <c:pt idx="57">
                  <c:v>124.91</c:v>
                </c:pt>
                <c:pt idx="58">
                  <c:v>134.36000000000001</c:v>
                </c:pt>
                <c:pt idx="59">
                  <c:v>129.97999999999999</c:v>
                </c:pt>
                <c:pt idx="60">
                  <c:v>145.37</c:v>
                </c:pt>
                <c:pt idx="61">
                  <c:v>150.85</c:v>
                </c:pt>
                <c:pt idx="62">
                  <c:v>150.08000000000001</c:v>
                </c:pt>
                <c:pt idx="63">
                  <c:v>143.34</c:v>
                </c:pt>
                <c:pt idx="64">
                  <c:v>140.52000000000001</c:v>
                </c:pt>
                <c:pt idx="65">
                  <c:v>138.72</c:v>
                </c:pt>
                <c:pt idx="66">
                  <c:v>144.16999999999999</c:v>
                </c:pt>
                <c:pt idx="67">
                  <c:v>130.68</c:v>
                </c:pt>
                <c:pt idx="68">
                  <c:v>130.94999999999999</c:v>
                </c:pt>
                <c:pt idx="69">
                  <c:v>148.07</c:v>
                </c:pt>
                <c:pt idx="70">
                  <c:v>145.44999999999999</c:v>
                </c:pt>
                <c:pt idx="71">
                  <c:v>144.59</c:v>
                </c:pt>
                <c:pt idx="72">
                  <c:v>120.13</c:v>
                </c:pt>
                <c:pt idx="73">
                  <c:v>118.18</c:v>
                </c:pt>
                <c:pt idx="74">
                  <c:v>126.94</c:v>
                </c:pt>
                <c:pt idx="75">
                  <c:v>134.80000000000001</c:v>
                </c:pt>
                <c:pt idx="76">
                  <c:v>126.15</c:v>
                </c:pt>
                <c:pt idx="77">
                  <c:v>129.87</c:v>
                </c:pt>
                <c:pt idx="78">
                  <c:v>133.66</c:v>
                </c:pt>
                <c:pt idx="79">
                  <c:v>129.44999999999999</c:v>
                </c:pt>
                <c:pt idx="80">
                  <c:v>131.74</c:v>
                </c:pt>
                <c:pt idx="81">
                  <c:v>142.43</c:v>
                </c:pt>
                <c:pt idx="82">
                  <c:v>150.56</c:v>
                </c:pt>
                <c:pt idx="83">
                  <c:v>155.68</c:v>
                </c:pt>
                <c:pt idx="84">
                  <c:v>163.41999999999999</c:v>
                </c:pt>
                <c:pt idx="85">
                  <c:v>180.23</c:v>
                </c:pt>
                <c:pt idx="86">
                  <c:v>176.86</c:v>
                </c:pt>
                <c:pt idx="87">
                  <c:v>184.83</c:v>
                </c:pt>
                <c:pt idx="88">
                  <c:v>187.63</c:v>
                </c:pt>
                <c:pt idx="89">
                  <c:v>197.75</c:v>
                </c:pt>
                <c:pt idx="90">
                  <c:v>242.46</c:v>
                </c:pt>
                <c:pt idx="91">
                  <c:v>239.66</c:v>
                </c:pt>
                <c:pt idx="92">
                  <c:v>254.21</c:v>
                </c:pt>
                <c:pt idx="93">
                  <c:v>257.98</c:v>
                </c:pt>
                <c:pt idx="94">
                  <c:v>276.8</c:v>
                </c:pt>
                <c:pt idx="95">
                  <c:v>294.91000000000003</c:v>
                </c:pt>
                <c:pt idx="96">
                  <c:v>354.37</c:v>
                </c:pt>
                <c:pt idx="97">
                  <c:v>362.21</c:v>
                </c:pt>
                <c:pt idx="98">
                  <c:v>327.88</c:v>
                </c:pt>
                <c:pt idx="99">
                  <c:v>333.56</c:v>
                </c:pt>
                <c:pt idx="100">
                  <c:v>352.16</c:v>
                </c:pt>
                <c:pt idx="101">
                  <c:v>335.51</c:v>
                </c:pt>
                <c:pt idx="102">
                  <c:v>356.3</c:v>
                </c:pt>
                <c:pt idx="103">
                  <c:v>342.79</c:v>
                </c:pt>
                <c:pt idx="104">
                  <c:v>371.9</c:v>
                </c:pt>
                <c:pt idx="105">
                  <c:v>354.86</c:v>
                </c:pt>
                <c:pt idx="106">
                  <c:v>346.76</c:v>
                </c:pt>
                <c:pt idx="107">
                  <c:v>322.5</c:v>
                </c:pt>
                <c:pt idx="108">
                  <c:v>385.62</c:v>
                </c:pt>
                <c:pt idx="109">
                  <c:v>439.96</c:v>
                </c:pt>
                <c:pt idx="110">
                  <c:v>381.42</c:v>
                </c:pt>
                <c:pt idx="111">
                  <c:v>377.69</c:v>
                </c:pt>
                <c:pt idx="112">
                  <c:v>341.61</c:v>
                </c:pt>
                <c:pt idx="113">
                  <c:v>364.01</c:v>
                </c:pt>
                <c:pt idx="114">
                  <c:v>341.18</c:v>
                </c:pt>
                <c:pt idx="115">
                  <c:v>364.09</c:v>
                </c:pt>
                <c:pt idx="116">
                  <c:v>380.47</c:v>
                </c:pt>
                <c:pt idx="117">
                  <c:v>339.91</c:v>
                </c:pt>
                <c:pt idx="118">
                  <c:v>366.18</c:v>
                </c:pt>
                <c:pt idx="119">
                  <c:v>325.76</c:v>
                </c:pt>
                <c:pt idx="120">
                  <c:v>318.27</c:v>
                </c:pt>
                <c:pt idx="121">
                  <c:v>275.11</c:v>
                </c:pt>
                <c:pt idx="122">
                  <c:v>149.13999999999999</c:v>
                </c:pt>
                <c:pt idx="123">
                  <c:v>141.02000000000001</c:v>
                </c:pt>
                <c:pt idx="124">
                  <c:v>145.85</c:v>
                </c:pt>
                <c:pt idx="125">
                  <c:v>183.3</c:v>
                </c:pt>
                <c:pt idx="126">
                  <c:v>158</c:v>
                </c:pt>
                <c:pt idx="127">
                  <c:v>171.82</c:v>
                </c:pt>
                <c:pt idx="128">
                  <c:v>165.26</c:v>
                </c:pt>
                <c:pt idx="129">
                  <c:v>144.38999999999999</c:v>
                </c:pt>
                <c:pt idx="130">
                  <c:v>210.71</c:v>
                </c:pt>
                <c:pt idx="131">
                  <c:v>214.06</c:v>
                </c:pt>
                <c:pt idx="132">
                  <c:v>194.19</c:v>
                </c:pt>
                <c:pt idx="133">
                  <c:v>212.01</c:v>
                </c:pt>
                <c:pt idx="134">
                  <c:v>254.72</c:v>
                </c:pt>
                <c:pt idx="135">
                  <c:v>234.31</c:v>
                </c:pt>
                <c:pt idx="136">
                  <c:v>247.02</c:v>
                </c:pt>
                <c:pt idx="137">
                  <c:v>239.56</c:v>
                </c:pt>
                <c:pt idx="138">
                  <c:v>226.48</c:v>
                </c:pt>
              </c:numCache>
            </c:numRef>
          </c:val>
          <c:smooth val="0"/>
          <c:extLst>
            <c:ext xmlns:c16="http://schemas.microsoft.com/office/drawing/2014/chart" uri="{C3380CC4-5D6E-409C-BE32-E72D297353CC}">
              <c16:uniqueId val="{00000000-07A4-42DB-B68A-DDA35BCF43D6}"/>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Algn val="ctr"/>
        <c:lblOffset val="100"/>
        <c:noMultiLvlLbl val="0"/>
      </c:catAx>
      <c:valAx>
        <c:axId val="1473788384"/>
        <c:scaling>
          <c:orientation val="minMax"/>
        </c:scaling>
        <c:delete val="1"/>
        <c:axPos val="l"/>
        <c:numFmt formatCode="General" sourceLinked="0"/>
        <c:majorTickMark val="none"/>
        <c:minorTickMark val="none"/>
        <c:tickLblPos val="nextTo"/>
        <c:crossAx val="106510708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66060448632366E-2"/>
          <c:y val="0.16192757292239957"/>
          <c:w val="0.95403901905410082"/>
          <c:h val="0.83082455863877602"/>
        </c:manualLayout>
      </c:layout>
      <c:lineChart>
        <c:grouping val="standard"/>
        <c:varyColors val="0"/>
        <c:ser>
          <c:idx val="0"/>
          <c:order val="0"/>
          <c:tx>
            <c:strRef>
              <c:f>Sheet1!$B$1</c:f>
              <c:strCache>
                <c:ptCount val="1"/>
                <c:pt idx="0">
                  <c:v>OIL</c:v>
                </c:pt>
              </c:strCache>
            </c:strRef>
          </c:tx>
          <c:spPr>
            <a:ln w="22225" cap="rnd">
              <a:solidFill>
                <a:srgbClr val="C00000"/>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B$2:$B$140</c:f>
              <c:numCache>
                <c:formatCode>General</c:formatCode>
                <c:ptCount val="139"/>
                <c:pt idx="0">
                  <c:v>72.67</c:v>
                </c:pt>
                <c:pt idx="1">
                  <c:v>79.63</c:v>
                </c:pt>
                <c:pt idx="2">
                  <c:v>83.38</c:v>
                </c:pt>
                <c:pt idx="3">
                  <c:v>86.19</c:v>
                </c:pt>
                <c:pt idx="4">
                  <c:v>74.19</c:v>
                </c:pt>
                <c:pt idx="5">
                  <c:v>75.349999999999994</c:v>
                </c:pt>
                <c:pt idx="6">
                  <c:v>78.97</c:v>
                </c:pt>
                <c:pt idx="7">
                  <c:v>71.66</c:v>
                </c:pt>
                <c:pt idx="8">
                  <c:v>79.8</c:v>
                </c:pt>
                <c:pt idx="9">
                  <c:v>81.430000000000007</c:v>
                </c:pt>
                <c:pt idx="10">
                  <c:v>83.6</c:v>
                </c:pt>
                <c:pt idx="11">
                  <c:v>91.4</c:v>
                </c:pt>
                <c:pt idx="12">
                  <c:v>92.22</c:v>
                </c:pt>
                <c:pt idx="13">
                  <c:v>96.88</c:v>
                </c:pt>
                <c:pt idx="14">
                  <c:v>106.78</c:v>
                </c:pt>
                <c:pt idx="15">
                  <c:v>113.73</c:v>
                </c:pt>
                <c:pt idx="16">
                  <c:v>102.58</c:v>
                </c:pt>
                <c:pt idx="17">
                  <c:v>95.11</c:v>
                </c:pt>
                <c:pt idx="18">
                  <c:v>95.94</c:v>
                </c:pt>
                <c:pt idx="19">
                  <c:v>88.73</c:v>
                </c:pt>
                <c:pt idx="20">
                  <c:v>78.75</c:v>
                </c:pt>
                <c:pt idx="21">
                  <c:v>92.59</c:v>
                </c:pt>
                <c:pt idx="22">
                  <c:v>100.51</c:v>
                </c:pt>
                <c:pt idx="23">
                  <c:v>99.06</c:v>
                </c:pt>
                <c:pt idx="24">
                  <c:v>98.28</c:v>
                </c:pt>
                <c:pt idx="25">
                  <c:v>106.91</c:v>
                </c:pt>
                <c:pt idx="26">
                  <c:v>102.93</c:v>
                </c:pt>
                <c:pt idx="27">
                  <c:v>104.88</c:v>
                </c:pt>
                <c:pt idx="28">
                  <c:v>86.5</c:v>
                </c:pt>
                <c:pt idx="29">
                  <c:v>84.88</c:v>
                </c:pt>
                <c:pt idx="30">
                  <c:v>87.84</c:v>
                </c:pt>
                <c:pt idx="31">
                  <c:v>96.54</c:v>
                </c:pt>
                <c:pt idx="32">
                  <c:v>92.09</c:v>
                </c:pt>
                <c:pt idx="33">
                  <c:v>86.06</c:v>
                </c:pt>
                <c:pt idx="34">
                  <c:v>88.83</c:v>
                </c:pt>
                <c:pt idx="35">
                  <c:v>91.77</c:v>
                </c:pt>
                <c:pt idx="36">
                  <c:v>97.42</c:v>
                </c:pt>
                <c:pt idx="37">
                  <c:v>91.84</c:v>
                </c:pt>
                <c:pt idx="38">
                  <c:v>97.19</c:v>
                </c:pt>
                <c:pt idx="39">
                  <c:v>93.06</c:v>
                </c:pt>
                <c:pt idx="40">
                  <c:v>91.67</c:v>
                </c:pt>
                <c:pt idx="41">
                  <c:v>96.49</c:v>
                </c:pt>
                <c:pt idx="42">
                  <c:v>105.35</c:v>
                </c:pt>
                <c:pt idx="43">
                  <c:v>107.77</c:v>
                </c:pt>
                <c:pt idx="44">
                  <c:v>102.31</c:v>
                </c:pt>
                <c:pt idx="45">
                  <c:v>96.27</c:v>
                </c:pt>
                <c:pt idx="46">
                  <c:v>92.79</c:v>
                </c:pt>
                <c:pt idx="47">
                  <c:v>98.69</c:v>
                </c:pt>
                <c:pt idx="48">
                  <c:v>97.47</c:v>
                </c:pt>
                <c:pt idx="49">
                  <c:v>102.71</c:v>
                </c:pt>
                <c:pt idx="50">
                  <c:v>101.53</c:v>
                </c:pt>
                <c:pt idx="51">
                  <c:v>99.7</c:v>
                </c:pt>
                <c:pt idx="52">
                  <c:v>102.89</c:v>
                </c:pt>
                <c:pt idx="53">
                  <c:v>105.53</c:v>
                </c:pt>
                <c:pt idx="54">
                  <c:v>97.64</c:v>
                </c:pt>
                <c:pt idx="55">
                  <c:v>95.86</c:v>
                </c:pt>
                <c:pt idx="56">
                  <c:v>91.35</c:v>
                </c:pt>
                <c:pt idx="57">
                  <c:v>80.650000000000006</c:v>
                </c:pt>
                <c:pt idx="58">
                  <c:v>66.05</c:v>
                </c:pt>
                <c:pt idx="59">
                  <c:v>53.78</c:v>
                </c:pt>
                <c:pt idx="60">
                  <c:v>47.77</c:v>
                </c:pt>
                <c:pt idx="61">
                  <c:v>49.41</c:v>
                </c:pt>
                <c:pt idx="62">
                  <c:v>47.52</c:v>
                </c:pt>
                <c:pt idx="63">
                  <c:v>59.74</c:v>
                </c:pt>
                <c:pt idx="64">
                  <c:v>60.3</c:v>
                </c:pt>
                <c:pt idx="65">
                  <c:v>59</c:v>
                </c:pt>
                <c:pt idx="66">
                  <c:v>46.77</c:v>
                </c:pt>
                <c:pt idx="67">
                  <c:v>48.16</c:v>
                </c:pt>
                <c:pt idx="68">
                  <c:v>45.41</c:v>
                </c:pt>
                <c:pt idx="69">
                  <c:v>46.42</c:v>
                </c:pt>
                <c:pt idx="70">
                  <c:v>41.69</c:v>
                </c:pt>
                <c:pt idx="71">
                  <c:v>37.11</c:v>
                </c:pt>
                <c:pt idx="72">
                  <c:v>33.75</c:v>
                </c:pt>
                <c:pt idx="73">
                  <c:v>33.909999999999997</c:v>
                </c:pt>
                <c:pt idx="74">
                  <c:v>38.119999999999997</c:v>
                </c:pt>
                <c:pt idx="75">
                  <c:v>46</c:v>
                </c:pt>
                <c:pt idx="76">
                  <c:v>48.87</c:v>
                </c:pt>
                <c:pt idx="77">
                  <c:v>48.38</c:v>
                </c:pt>
                <c:pt idx="78">
                  <c:v>41.38</c:v>
                </c:pt>
                <c:pt idx="79">
                  <c:v>44.84</c:v>
                </c:pt>
                <c:pt idx="80">
                  <c:v>48.05</c:v>
                </c:pt>
                <c:pt idx="81">
                  <c:v>46.72</c:v>
                </c:pt>
                <c:pt idx="82">
                  <c:v>49</c:v>
                </c:pt>
                <c:pt idx="83">
                  <c:v>53.89</c:v>
                </c:pt>
                <c:pt idx="84">
                  <c:v>52.8</c:v>
                </c:pt>
                <c:pt idx="85">
                  <c:v>53.99</c:v>
                </c:pt>
                <c:pt idx="86">
                  <c:v>50.79</c:v>
                </c:pt>
                <c:pt idx="87">
                  <c:v>49.2</c:v>
                </c:pt>
                <c:pt idx="88">
                  <c:v>48.63</c:v>
                </c:pt>
                <c:pt idx="89">
                  <c:v>46.34</c:v>
                </c:pt>
                <c:pt idx="90">
                  <c:v>50.19</c:v>
                </c:pt>
                <c:pt idx="91">
                  <c:v>47.08</c:v>
                </c:pt>
                <c:pt idx="92">
                  <c:v>51.34</c:v>
                </c:pt>
                <c:pt idx="93">
                  <c:v>54.43</c:v>
                </c:pt>
                <c:pt idx="94">
                  <c:v>57.24</c:v>
                </c:pt>
                <c:pt idx="95">
                  <c:v>60.23</c:v>
                </c:pt>
                <c:pt idx="96">
                  <c:v>64.930000000000007</c:v>
                </c:pt>
                <c:pt idx="97">
                  <c:v>61.52</c:v>
                </c:pt>
                <c:pt idx="98">
                  <c:v>64.86</c:v>
                </c:pt>
                <c:pt idx="99">
                  <c:v>68.53</c:v>
                </c:pt>
                <c:pt idx="100">
                  <c:v>67.02</c:v>
                </c:pt>
                <c:pt idx="101">
                  <c:v>74.39</c:v>
                </c:pt>
                <c:pt idx="102">
                  <c:v>69.28</c:v>
                </c:pt>
                <c:pt idx="103">
                  <c:v>70.489999999999995</c:v>
                </c:pt>
                <c:pt idx="104">
                  <c:v>73.75</c:v>
                </c:pt>
                <c:pt idx="105">
                  <c:v>64.95</c:v>
                </c:pt>
                <c:pt idx="106">
                  <c:v>50.6</c:v>
                </c:pt>
                <c:pt idx="107">
                  <c:v>45</c:v>
                </c:pt>
                <c:pt idx="108">
                  <c:v>53.71</c:v>
                </c:pt>
                <c:pt idx="109">
                  <c:v>56.94</c:v>
                </c:pt>
                <c:pt idx="110">
                  <c:v>60.17</c:v>
                </c:pt>
                <c:pt idx="111">
                  <c:v>63.48</c:v>
                </c:pt>
                <c:pt idx="112">
                  <c:v>53.25</c:v>
                </c:pt>
                <c:pt idx="113">
                  <c:v>59.38</c:v>
                </c:pt>
                <c:pt idx="114">
                  <c:v>57.54</c:v>
                </c:pt>
                <c:pt idx="115">
                  <c:v>55.17</c:v>
                </c:pt>
                <c:pt idx="116">
                  <c:v>54.26</c:v>
                </c:pt>
                <c:pt idx="117">
                  <c:v>53.97</c:v>
                </c:pt>
                <c:pt idx="118">
                  <c:v>55.36</c:v>
                </c:pt>
                <c:pt idx="119">
                  <c:v>61.22</c:v>
                </c:pt>
                <c:pt idx="120">
                  <c:v>51.57</c:v>
                </c:pt>
                <c:pt idx="121">
                  <c:v>45.13</c:v>
                </c:pt>
                <c:pt idx="122">
                  <c:v>20.05</c:v>
                </c:pt>
                <c:pt idx="123">
                  <c:v>8.6199999999999992</c:v>
                </c:pt>
                <c:pt idx="124">
                  <c:v>12.77</c:v>
                </c:pt>
                <c:pt idx="125">
                  <c:v>16.73</c:v>
                </c:pt>
                <c:pt idx="126">
                  <c:v>20.9</c:v>
                </c:pt>
                <c:pt idx="127">
                  <c:v>26.57</c:v>
                </c:pt>
                <c:pt idx="128">
                  <c:v>40.17</c:v>
                </c:pt>
                <c:pt idx="129">
                  <c:v>35.92</c:v>
                </c:pt>
                <c:pt idx="130">
                  <c:v>45.29</c:v>
                </c:pt>
                <c:pt idx="131">
                  <c:v>48.27</c:v>
                </c:pt>
                <c:pt idx="132">
                  <c:v>51.92</c:v>
                </c:pt>
                <c:pt idx="133">
                  <c:v>62.45</c:v>
                </c:pt>
                <c:pt idx="134">
                  <c:v>59.55</c:v>
                </c:pt>
                <c:pt idx="135">
                  <c:v>63.44</c:v>
                </c:pt>
                <c:pt idx="136">
                  <c:v>66.94</c:v>
                </c:pt>
                <c:pt idx="137">
                  <c:v>73.77</c:v>
                </c:pt>
                <c:pt idx="138">
                  <c:v>73.94</c:v>
                </c:pt>
              </c:numCache>
            </c:numRef>
          </c:val>
          <c:smooth val="0"/>
          <c:extLst>
            <c:ext xmlns:c16="http://schemas.microsoft.com/office/drawing/2014/chart" uri="{C3380CC4-5D6E-409C-BE32-E72D297353CC}">
              <c16:uniqueId val="{00000000-D20E-4F04-A819-36D32FC04452}"/>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1"/>
        <c:axPos val="b"/>
        <c:numFmt formatCode="General" sourceLinked="1"/>
        <c:majorTickMark val="out"/>
        <c:minorTickMark val="none"/>
        <c:tickLblPos val="nextTo"/>
        <c:crossAx val="1473788384"/>
        <c:crosses val="autoZero"/>
        <c:auto val="1"/>
        <c:lblAlgn val="ctr"/>
        <c:lblOffset val="100"/>
        <c:noMultiLvlLbl val="0"/>
      </c:catAx>
      <c:valAx>
        <c:axId val="1473788384"/>
        <c:scaling>
          <c:orientation val="minMax"/>
        </c:scaling>
        <c:delete val="1"/>
        <c:axPos val="l"/>
        <c:numFmt formatCode="General" sourceLinked="0"/>
        <c:majorTickMark val="out"/>
        <c:minorTickMark val="none"/>
        <c:tickLblPos val="nextTo"/>
        <c:crossAx val="106510708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401476828740125E-2"/>
          <c:y val="3.8911577756039352E-2"/>
          <c:w val="0.87037239841843572"/>
          <c:h val="0.83082455863877602"/>
        </c:manualLayout>
      </c:layout>
      <c:lineChart>
        <c:grouping val="standard"/>
        <c:varyColors val="0"/>
        <c:ser>
          <c:idx val="0"/>
          <c:order val="0"/>
          <c:tx>
            <c:strRef>
              <c:f>Sheet1!$B$1</c:f>
              <c:strCache>
                <c:ptCount val="1"/>
                <c:pt idx="0">
                  <c:v>oil vs ba</c:v>
                </c:pt>
              </c:strCache>
            </c:strRef>
          </c:tx>
          <c:spPr>
            <a:ln w="22225" cap="rnd">
              <a:solidFill>
                <a:srgbClr val="C00000"/>
              </a:solidFill>
              <a:round/>
            </a:ln>
            <a:effectLst/>
          </c:spPr>
          <c:marker>
            <c:symbol val="none"/>
          </c:marker>
          <c:cat>
            <c:strRef>
              <c:f>Sheet1!$A$2:$A$121</c:f>
              <c:strCache>
                <c:ptCount val="120"/>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strCache>
            </c:strRef>
          </c:cat>
          <c:val>
            <c:numRef>
              <c:f>Sheet1!$B$2:$B$121</c:f>
              <c:numCache>
                <c:formatCode>General</c:formatCode>
                <c:ptCount val="120"/>
                <c:pt idx="0">
                  <c:v>-0.42</c:v>
                </c:pt>
                <c:pt idx="1">
                  <c:v>-0.42</c:v>
                </c:pt>
                <c:pt idx="2">
                  <c:v>-0.42</c:v>
                </c:pt>
                <c:pt idx="3">
                  <c:v>-0.41</c:v>
                </c:pt>
                <c:pt idx="4">
                  <c:v>-0.41</c:v>
                </c:pt>
                <c:pt idx="5">
                  <c:v>-0.41</c:v>
                </c:pt>
                <c:pt idx="6">
                  <c:v>-0.41</c:v>
                </c:pt>
                <c:pt idx="7">
                  <c:v>-0.41</c:v>
                </c:pt>
                <c:pt idx="8">
                  <c:v>-0.41</c:v>
                </c:pt>
                <c:pt idx="9">
                  <c:v>-0.41</c:v>
                </c:pt>
                <c:pt idx="10">
                  <c:v>-0.41</c:v>
                </c:pt>
                <c:pt idx="11">
                  <c:v>-0.4</c:v>
                </c:pt>
                <c:pt idx="12">
                  <c:v>-0.4</c:v>
                </c:pt>
                <c:pt idx="13">
                  <c:v>-0.39</c:v>
                </c:pt>
                <c:pt idx="14">
                  <c:v>-0.39</c:v>
                </c:pt>
                <c:pt idx="15">
                  <c:v>-0.38</c:v>
                </c:pt>
                <c:pt idx="16">
                  <c:v>-0.37</c:v>
                </c:pt>
                <c:pt idx="17">
                  <c:v>-0.36</c:v>
                </c:pt>
                <c:pt idx="18">
                  <c:v>-0.35</c:v>
                </c:pt>
                <c:pt idx="19">
                  <c:v>-0.35</c:v>
                </c:pt>
                <c:pt idx="20">
                  <c:v>-0.34</c:v>
                </c:pt>
                <c:pt idx="21">
                  <c:v>-0.34</c:v>
                </c:pt>
                <c:pt idx="22">
                  <c:v>-0.33</c:v>
                </c:pt>
                <c:pt idx="23">
                  <c:v>-0.32</c:v>
                </c:pt>
                <c:pt idx="24">
                  <c:v>-0.31</c:v>
                </c:pt>
                <c:pt idx="25">
                  <c:v>-0.3</c:v>
                </c:pt>
                <c:pt idx="26">
                  <c:v>-0.28000000000000003</c:v>
                </c:pt>
                <c:pt idx="27">
                  <c:v>-0.27</c:v>
                </c:pt>
                <c:pt idx="28">
                  <c:v>-0.26</c:v>
                </c:pt>
                <c:pt idx="29">
                  <c:v>-0.25</c:v>
                </c:pt>
                <c:pt idx="30">
                  <c:v>-0.24</c:v>
                </c:pt>
                <c:pt idx="31">
                  <c:v>-0.23</c:v>
                </c:pt>
                <c:pt idx="32">
                  <c:v>-0.22</c:v>
                </c:pt>
                <c:pt idx="33">
                  <c:v>-0.2</c:v>
                </c:pt>
                <c:pt idx="34">
                  <c:v>-0.19</c:v>
                </c:pt>
                <c:pt idx="35">
                  <c:v>-0.18</c:v>
                </c:pt>
                <c:pt idx="36">
                  <c:v>-0.16</c:v>
                </c:pt>
                <c:pt idx="37">
                  <c:v>-0.15</c:v>
                </c:pt>
                <c:pt idx="38">
                  <c:v>-0.13</c:v>
                </c:pt>
                <c:pt idx="39">
                  <c:v>-0.11</c:v>
                </c:pt>
                <c:pt idx="40">
                  <c:v>-0.09</c:v>
                </c:pt>
                <c:pt idx="41">
                  <c:v>-0.08</c:v>
                </c:pt>
                <c:pt idx="42">
                  <c:v>-0.06</c:v>
                </c:pt>
                <c:pt idx="43">
                  <c:v>-0.03</c:v>
                </c:pt>
                <c:pt idx="44">
                  <c:v>0</c:v>
                </c:pt>
                <c:pt idx="45">
                  <c:v>0.02</c:v>
                </c:pt>
                <c:pt idx="46">
                  <c:v>0.04</c:v>
                </c:pt>
                <c:pt idx="47">
                  <c:v>0.06</c:v>
                </c:pt>
                <c:pt idx="48">
                  <c:v>0.08</c:v>
                </c:pt>
                <c:pt idx="49">
                  <c:v>0.11</c:v>
                </c:pt>
                <c:pt idx="50">
                  <c:v>0.14000000000000001</c:v>
                </c:pt>
                <c:pt idx="51">
                  <c:v>0.18</c:v>
                </c:pt>
                <c:pt idx="52">
                  <c:v>0.22</c:v>
                </c:pt>
                <c:pt idx="53">
                  <c:v>0.26</c:v>
                </c:pt>
                <c:pt idx="54">
                  <c:v>0.32</c:v>
                </c:pt>
                <c:pt idx="55">
                  <c:v>0.38</c:v>
                </c:pt>
                <c:pt idx="56">
                  <c:v>0.44</c:v>
                </c:pt>
                <c:pt idx="57">
                  <c:v>0.5</c:v>
                </c:pt>
                <c:pt idx="58">
                  <c:v>0.55000000000000004</c:v>
                </c:pt>
                <c:pt idx="59">
                  <c:v>0.56999999999999995</c:v>
                </c:pt>
                <c:pt idx="60">
                  <c:v>0.57999999999999996</c:v>
                </c:pt>
                <c:pt idx="61">
                  <c:v>0.57999999999999996</c:v>
                </c:pt>
                <c:pt idx="62">
                  <c:v>0.57999999999999996</c:v>
                </c:pt>
                <c:pt idx="63">
                  <c:v>0.57999999999999996</c:v>
                </c:pt>
                <c:pt idx="64">
                  <c:v>0.6</c:v>
                </c:pt>
                <c:pt idx="65">
                  <c:v>0.61</c:v>
                </c:pt>
                <c:pt idx="66">
                  <c:v>0.63</c:v>
                </c:pt>
                <c:pt idx="67">
                  <c:v>0.63</c:v>
                </c:pt>
                <c:pt idx="68">
                  <c:v>0.63</c:v>
                </c:pt>
                <c:pt idx="69">
                  <c:v>0.63</c:v>
                </c:pt>
                <c:pt idx="70">
                  <c:v>0.64</c:v>
                </c:pt>
                <c:pt idx="71">
                  <c:v>0.63</c:v>
                </c:pt>
                <c:pt idx="72">
                  <c:v>0.63</c:v>
                </c:pt>
                <c:pt idx="73">
                  <c:v>0.62</c:v>
                </c:pt>
                <c:pt idx="74">
                  <c:v>0.61</c:v>
                </c:pt>
                <c:pt idx="75">
                  <c:v>0.6</c:v>
                </c:pt>
                <c:pt idx="76">
                  <c:v>0.6</c:v>
                </c:pt>
                <c:pt idx="77">
                  <c:v>0.6</c:v>
                </c:pt>
                <c:pt idx="78">
                  <c:v>0.61</c:v>
                </c:pt>
                <c:pt idx="79">
                  <c:v>0.6</c:v>
                </c:pt>
                <c:pt idx="80">
                  <c:v>0.6</c:v>
                </c:pt>
                <c:pt idx="81">
                  <c:v>0.61</c:v>
                </c:pt>
                <c:pt idx="82">
                  <c:v>0.61</c:v>
                </c:pt>
                <c:pt idx="83">
                  <c:v>0.62</c:v>
                </c:pt>
                <c:pt idx="84">
                  <c:v>0.63</c:v>
                </c:pt>
                <c:pt idx="85">
                  <c:v>0.64</c:v>
                </c:pt>
                <c:pt idx="86">
                  <c:v>0.65</c:v>
                </c:pt>
                <c:pt idx="87">
                  <c:v>0.66</c:v>
                </c:pt>
                <c:pt idx="88">
                  <c:v>0.66</c:v>
                </c:pt>
                <c:pt idx="89">
                  <c:v>0.67</c:v>
                </c:pt>
                <c:pt idx="90">
                  <c:v>0.67</c:v>
                </c:pt>
                <c:pt idx="91">
                  <c:v>0.67</c:v>
                </c:pt>
                <c:pt idx="92">
                  <c:v>0.66</c:v>
                </c:pt>
                <c:pt idx="93">
                  <c:v>0.66</c:v>
                </c:pt>
                <c:pt idx="94">
                  <c:v>0.67</c:v>
                </c:pt>
                <c:pt idx="95">
                  <c:v>0.67</c:v>
                </c:pt>
                <c:pt idx="96">
                  <c:v>0.67</c:v>
                </c:pt>
                <c:pt idx="97">
                  <c:v>0.66</c:v>
                </c:pt>
                <c:pt idx="98">
                  <c:v>0.66</c:v>
                </c:pt>
                <c:pt idx="99">
                  <c:v>0.66</c:v>
                </c:pt>
                <c:pt idx="100">
                  <c:v>0.66</c:v>
                </c:pt>
                <c:pt idx="101">
                  <c:v>0.65</c:v>
                </c:pt>
                <c:pt idx="102">
                  <c:v>0.65</c:v>
                </c:pt>
                <c:pt idx="103">
                  <c:v>0.64</c:v>
                </c:pt>
                <c:pt idx="104">
                  <c:v>0.63</c:v>
                </c:pt>
                <c:pt idx="105">
                  <c:v>0.61</c:v>
                </c:pt>
                <c:pt idx="106">
                  <c:v>0.6</c:v>
                </c:pt>
                <c:pt idx="107">
                  <c:v>0.61</c:v>
                </c:pt>
                <c:pt idx="108">
                  <c:v>0.61</c:v>
                </c:pt>
                <c:pt idx="109">
                  <c:v>0.62</c:v>
                </c:pt>
                <c:pt idx="110">
                  <c:v>0.64</c:v>
                </c:pt>
                <c:pt idx="111">
                  <c:v>0.63</c:v>
                </c:pt>
                <c:pt idx="112">
                  <c:v>0.62</c:v>
                </c:pt>
                <c:pt idx="113">
                  <c:v>0.62</c:v>
                </c:pt>
                <c:pt idx="114">
                  <c:v>0.61</c:v>
                </c:pt>
                <c:pt idx="115">
                  <c:v>0.61</c:v>
                </c:pt>
                <c:pt idx="116">
                  <c:v>0.61</c:v>
                </c:pt>
                <c:pt idx="117">
                  <c:v>0.64</c:v>
                </c:pt>
                <c:pt idx="118">
                  <c:v>0.66</c:v>
                </c:pt>
                <c:pt idx="119">
                  <c:v>0.7</c:v>
                </c:pt>
              </c:numCache>
            </c:numRef>
          </c:val>
          <c:smooth val="0"/>
          <c:extLst>
            <c:ext xmlns:c16="http://schemas.microsoft.com/office/drawing/2014/chart" uri="{C3380CC4-5D6E-409C-BE32-E72D297353CC}">
              <c16:uniqueId val="{00000000-0ECB-43A3-A54D-0EF110225D1C}"/>
            </c:ext>
          </c:extLst>
        </c:ser>
        <c:ser>
          <c:idx val="1"/>
          <c:order val="1"/>
          <c:tx>
            <c:strRef>
              <c:f>Sheet1!$C$1</c:f>
              <c:strCache>
                <c:ptCount val="1"/>
                <c:pt idx="0">
                  <c:v>oil vs aal</c:v>
                </c:pt>
              </c:strCache>
            </c:strRef>
          </c:tx>
          <c:spPr>
            <a:ln w="28575" cap="rnd">
              <a:solidFill>
                <a:schemeClr val="accent4"/>
              </a:solidFill>
              <a:round/>
            </a:ln>
            <a:effectLst/>
          </c:spPr>
          <c:marker>
            <c:symbol val="none"/>
          </c:marker>
          <c:cat>
            <c:strRef>
              <c:f>Sheet1!$A$2:$A$121</c:f>
              <c:strCache>
                <c:ptCount val="120"/>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strCache>
            </c:strRef>
          </c:cat>
          <c:val>
            <c:numRef>
              <c:f>Sheet1!$C$2:$C$121</c:f>
              <c:numCache>
                <c:formatCode>General</c:formatCode>
                <c:ptCount val="120"/>
                <c:pt idx="0">
                  <c:v>-0.43</c:v>
                </c:pt>
                <c:pt idx="1">
                  <c:v>-0.43</c:v>
                </c:pt>
                <c:pt idx="2">
                  <c:v>-0.43</c:v>
                </c:pt>
                <c:pt idx="3">
                  <c:v>-0.43</c:v>
                </c:pt>
                <c:pt idx="4">
                  <c:v>-0.43</c:v>
                </c:pt>
                <c:pt idx="5">
                  <c:v>-0.43</c:v>
                </c:pt>
                <c:pt idx="6">
                  <c:v>-0.43</c:v>
                </c:pt>
                <c:pt idx="7">
                  <c:v>-0.42</c:v>
                </c:pt>
                <c:pt idx="8">
                  <c:v>-0.43</c:v>
                </c:pt>
                <c:pt idx="9">
                  <c:v>-0.42</c:v>
                </c:pt>
                <c:pt idx="10">
                  <c:v>-0.42</c:v>
                </c:pt>
                <c:pt idx="11">
                  <c:v>-0.42</c:v>
                </c:pt>
                <c:pt idx="12">
                  <c:v>-0.41</c:v>
                </c:pt>
                <c:pt idx="13">
                  <c:v>-0.41</c:v>
                </c:pt>
                <c:pt idx="14">
                  <c:v>-0.4</c:v>
                </c:pt>
                <c:pt idx="15">
                  <c:v>-0.39</c:v>
                </c:pt>
                <c:pt idx="16">
                  <c:v>-0.38</c:v>
                </c:pt>
                <c:pt idx="17">
                  <c:v>-0.36</c:v>
                </c:pt>
                <c:pt idx="18">
                  <c:v>-0.36</c:v>
                </c:pt>
                <c:pt idx="19">
                  <c:v>-0.34</c:v>
                </c:pt>
                <c:pt idx="20">
                  <c:v>-0.34</c:v>
                </c:pt>
                <c:pt idx="21">
                  <c:v>-0.33</c:v>
                </c:pt>
                <c:pt idx="22">
                  <c:v>-0.32</c:v>
                </c:pt>
                <c:pt idx="23">
                  <c:v>-0.3</c:v>
                </c:pt>
                <c:pt idx="24">
                  <c:v>-0.28999999999999998</c:v>
                </c:pt>
                <c:pt idx="25">
                  <c:v>-0.27</c:v>
                </c:pt>
                <c:pt idx="26">
                  <c:v>-0.25</c:v>
                </c:pt>
                <c:pt idx="27">
                  <c:v>-0.23</c:v>
                </c:pt>
                <c:pt idx="28">
                  <c:v>-0.21</c:v>
                </c:pt>
                <c:pt idx="29">
                  <c:v>-0.2</c:v>
                </c:pt>
                <c:pt idx="30">
                  <c:v>-0.19</c:v>
                </c:pt>
                <c:pt idx="31">
                  <c:v>-0.17</c:v>
                </c:pt>
                <c:pt idx="32">
                  <c:v>-0.15</c:v>
                </c:pt>
                <c:pt idx="33">
                  <c:v>-0.13</c:v>
                </c:pt>
                <c:pt idx="34">
                  <c:v>-0.12</c:v>
                </c:pt>
                <c:pt idx="35">
                  <c:v>-0.1</c:v>
                </c:pt>
                <c:pt idx="36">
                  <c:v>-0.08</c:v>
                </c:pt>
                <c:pt idx="37">
                  <c:v>-0.06</c:v>
                </c:pt>
                <c:pt idx="38">
                  <c:v>-0.03</c:v>
                </c:pt>
                <c:pt idx="39">
                  <c:v>-0.01</c:v>
                </c:pt>
                <c:pt idx="40">
                  <c:v>0.01</c:v>
                </c:pt>
                <c:pt idx="41">
                  <c:v>0.04</c:v>
                </c:pt>
                <c:pt idx="42">
                  <c:v>7.0000000000000007E-2</c:v>
                </c:pt>
                <c:pt idx="43">
                  <c:v>0.1</c:v>
                </c:pt>
                <c:pt idx="44">
                  <c:v>0.15</c:v>
                </c:pt>
                <c:pt idx="45">
                  <c:v>0.19</c:v>
                </c:pt>
                <c:pt idx="46">
                  <c:v>0.22</c:v>
                </c:pt>
                <c:pt idx="47">
                  <c:v>0.25</c:v>
                </c:pt>
                <c:pt idx="48">
                  <c:v>0.28000000000000003</c:v>
                </c:pt>
                <c:pt idx="49">
                  <c:v>0.3</c:v>
                </c:pt>
                <c:pt idx="50">
                  <c:v>0.32</c:v>
                </c:pt>
                <c:pt idx="51">
                  <c:v>0.33</c:v>
                </c:pt>
                <c:pt idx="52">
                  <c:v>0.34</c:v>
                </c:pt>
                <c:pt idx="53">
                  <c:v>0.36</c:v>
                </c:pt>
                <c:pt idx="54">
                  <c:v>0.36</c:v>
                </c:pt>
                <c:pt idx="55">
                  <c:v>0.36</c:v>
                </c:pt>
                <c:pt idx="56">
                  <c:v>0.38</c:v>
                </c:pt>
                <c:pt idx="57">
                  <c:v>0.39</c:v>
                </c:pt>
                <c:pt idx="58">
                  <c:v>0.41</c:v>
                </c:pt>
                <c:pt idx="59">
                  <c:v>0.4</c:v>
                </c:pt>
                <c:pt idx="60">
                  <c:v>0.4</c:v>
                </c:pt>
                <c:pt idx="61">
                  <c:v>0.41</c:v>
                </c:pt>
                <c:pt idx="62">
                  <c:v>0.42</c:v>
                </c:pt>
                <c:pt idx="63">
                  <c:v>0.43</c:v>
                </c:pt>
                <c:pt idx="64">
                  <c:v>0.42</c:v>
                </c:pt>
                <c:pt idx="65">
                  <c:v>0.42</c:v>
                </c:pt>
                <c:pt idx="66">
                  <c:v>0.41</c:v>
                </c:pt>
                <c:pt idx="67">
                  <c:v>0.42</c:v>
                </c:pt>
                <c:pt idx="68">
                  <c:v>0.42</c:v>
                </c:pt>
                <c:pt idx="69">
                  <c:v>0.42</c:v>
                </c:pt>
                <c:pt idx="70">
                  <c:v>0.43</c:v>
                </c:pt>
                <c:pt idx="71">
                  <c:v>0.44</c:v>
                </c:pt>
                <c:pt idx="72">
                  <c:v>0.45</c:v>
                </c:pt>
                <c:pt idx="73">
                  <c:v>0.47</c:v>
                </c:pt>
                <c:pt idx="74">
                  <c:v>0.48</c:v>
                </c:pt>
                <c:pt idx="75">
                  <c:v>0.5</c:v>
                </c:pt>
                <c:pt idx="76">
                  <c:v>0.5</c:v>
                </c:pt>
                <c:pt idx="77">
                  <c:v>0.5</c:v>
                </c:pt>
                <c:pt idx="78">
                  <c:v>0.5</c:v>
                </c:pt>
                <c:pt idx="79">
                  <c:v>0.5</c:v>
                </c:pt>
                <c:pt idx="80">
                  <c:v>0.5</c:v>
                </c:pt>
                <c:pt idx="81">
                  <c:v>0.51</c:v>
                </c:pt>
                <c:pt idx="82">
                  <c:v>0.51</c:v>
                </c:pt>
                <c:pt idx="83">
                  <c:v>0.52</c:v>
                </c:pt>
                <c:pt idx="84">
                  <c:v>0.52</c:v>
                </c:pt>
                <c:pt idx="85">
                  <c:v>0.53</c:v>
                </c:pt>
                <c:pt idx="86">
                  <c:v>0.53</c:v>
                </c:pt>
                <c:pt idx="87">
                  <c:v>0.54</c:v>
                </c:pt>
                <c:pt idx="88">
                  <c:v>0.55000000000000004</c:v>
                </c:pt>
                <c:pt idx="89">
                  <c:v>0.56000000000000005</c:v>
                </c:pt>
                <c:pt idx="90">
                  <c:v>0.57999999999999996</c:v>
                </c:pt>
                <c:pt idx="91">
                  <c:v>0.6</c:v>
                </c:pt>
                <c:pt idx="92">
                  <c:v>0.63</c:v>
                </c:pt>
                <c:pt idx="93">
                  <c:v>0.64</c:v>
                </c:pt>
                <c:pt idx="94">
                  <c:v>0.66</c:v>
                </c:pt>
                <c:pt idx="95">
                  <c:v>0.67</c:v>
                </c:pt>
                <c:pt idx="96">
                  <c:v>0.68</c:v>
                </c:pt>
                <c:pt idx="97">
                  <c:v>0.68</c:v>
                </c:pt>
                <c:pt idx="98">
                  <c:v>0.7</c:v>
                </c:pt>
                <c:pt idx="99">
                  <c:v>0.72</c:v>
                </c:pt>
                <c:pt idx="100">
                  <c:v>0.71</c:v>
                </c:pt>
                <c:pt idx="101">
                  <c:v>0.71</c:v>
                </c:pt>
                <c:pt idx="102">
                  <c:v>0.69</c:v>
                </c:pt>
                <c:pt idx="103">
                  <c:v>0.68</c:v>
                </c:pt>
                <c:pt idx="104">
                  <c:v>0.66</c:v>
                </c:pt>
                <c:pt idx="105">
                  <c:v>0.64</c:v>
                </c:pt>
                <c:pt idx="106">
                  <c:v>0.63</c:v>
                </c:pt>
                <c:pt idx="107">
                  <c:v>0.65</c:v>
                </c:pt>
                <c:pt idx="108">
                  <c:v>0.67</c:v>
                </c:pt>
                <c:pt idx="109">
                  <c:v>0.68</c:v>
                </c:pt>
                <c:pt idx="110">
                  <c:v>0.69</c:v>
                </c:pt>
                <c:pt idx="111">
                  <c:v>0.69</c:v>
                </c:pt>
                <c:pt idx="112">
                  <c:v>0.68</c:v>
                </c:pt>
                <c:pt idx="113">
                  <c:v>0.69</c:v>
                </c:pt>
                <c:pt idx="114">
                  <c:v>0.69</c:v>
                </c:pt>
                <c:pt idx="115">
                  <c:v>0.7</c:v>
                </c:pt>
                <c:pt idx="116">
                  <c:v>0.7</c:v>
                </c:pt>
                <c:pt idx="117">
                  <c:v>0.7</c:v>
                </c:pt>
                <c:pt idx="118">
                  <c:v>0.71</c:v>
                </c:pt>
                <c:pt idx="119">
                  <c:v>0.73</c:v>
                </c:pt>
              </c:numCache>
            </c:numRef>
          </c:val>
          <c:smooth val="0"/>
          <c:extLst>
            <c:ext xmlns:c16="http://schemas.microsoft.com/office/drawing/2014/chart" uri="{C3380CC4-5D6E-409C-BE32-E72D297353CC}">
              <c16:uniqueId val="{00000006-0ECB-43A3-A54D-0EF110225D1C}"/>
            </c:ext>
          </c:extLst>
        </c:ser>
        <c:ser>
          <c:idx val="2"/>
          <c:order val="2"/>
          <c:tx>
            <c:strRef>
              <c:f>Sheet1!$D$1</c:f>
              <c:strCache>
                <c:ptCount val="1"/>
                <c:pt idx="0">
                  <c:v>aal vs ba</c:v>
                </c:pt>
              </c:strCache>
            </c:strRef>
          </c:tx>
          <c:spPr>
            <a:ln w="28575" cap="rnd">
              <a:solidFill>
                <a:schemeClr val="accent3"/>
              </a:solidFill>
              <a:round/>
            </a:ln>
            <a:effectLst/>
          </c:spPr>
          <c:marker>
            <c:symbol val="none"/>
          </c:marker>
          <c:cat>
            <c:strRef>
              <c:f>Sheet1!$A$2:$A$121</c:f>
              <c:strCache>
                <c:ptCount val="120"/>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strCache>
            </c:strRef>
          </c:cat>
          <c:val>
            <c:numRef>
              <c:f>Sheet1!$D$2:$D$121</c:f>
              <c:numCache>
                <c:formatCode>General</c:formatCode>
                <c:ptCount val="120"/>
                <c:pt idx="0">
                  <c:v>0.55000000000000004</c:v>
                </c:pt>
                <c:pt idx="1">
                  <c:v>0.54</c:v>
                </c:pt>
                <c:pt idx="2">
                  <c:v>0.54</c:v>
                </c:pt>
                <c:pt idx="3">
                  <c:v>0.53</c:v>
                </c:pt>
                <c:pt idx="4">
                  <c:v>0.53</c:v>
                </c:pt>
                <c:pt idx="5">
                  <c:v>0.52</c:v>
                </c:pt>
                <c:pt idx="6">
                  <c:v>0.52</c:v>
                </c:pt>
                <c:pt idx="7">
                  <c:v>0.51</c:v>
                </c:pt>
                <c:pt idx="8">
                  <c:v>0.51</c:v>
                </c:pt>
                <c:pt idx="9">
                  <c:v>0.5</c:v>
                </c:pt>
                <c:pt idx="10">
                  <c:v>0.5</c:v>
                </c:pt>
                <c:pt idx="11">
                  <c:v>0.49</c:v>
                </c:pt>
                <c:pt idx="12">
                  <c:v>0.48</c:v>
                </c:pt>
                <c:pt idx="13">
                  <c:v>0.48</c:v>
                </c:pt>
                <c:pt idx="14">
                  <c:v>0.47</c:v>
                </c:pt>
                <c:pt idx="15">
                  <c:v>0.47</c:v>
                </c:pt>
                <c:pt idx="16">
                  <c:v>0.46</c:v>
                </c:pt>
                <c:pt idx="17">
                  <c:v>0.45</c:v>
                </c:pt>
                <c:pt idx="18">
                  <c:v>0.45</c:v>
                </c:pt>
                <c:pt idx="19">
                  <c:v>0.44</c:v>
                </c:pt>
                <c:pt idx="20">
                  <c:v>0.43</c:v>
                </c:pt>
                <c:pt idx="21">
                  <c:v>0.42</c:v>
                </c:pt>
                <c:pt idx="22">
                  <c:v>0.41</c:v>
                </c:pt>
                <c:pt idx="23">
                  <c:v>0.4</c:v>
                </c:pt>
                <c:pt idx="24">
                  <c:v>0.39</c:v>
                </c:pt>
                <c:pt idx="25">
                  <c:v>0.37</c:v>
                </c:pt>
                <c:pt idx="26">
                  <c:v>0.36</c:v>
                </c:pt>
                <c:pt idx="27">
                  <c:v>0.35</c:v>
                </c:pt>
                <c:pt idx="28">
                  <c:v>0.34</c:v>
                </c:pt>
                <c:pt idx="29">
                  <c:v>0.33</c:v>
                </c:pt>
                <c:pt idx="30">
                  <c:v>0.31</c:v>
                </c:pt>
                <c:pt idx="31">
                  <c:v>0.3</c:v>
                </c:pt>
                <c:pt idx="32">
                  <c:v>0.28999999999999998</c:v>
                </c:pt>
                <c:pt idx="33">
                  <c:v>0.27</c:v>
                </c:pt>
                <c:pt idx="34">
                  <c:v>0.25</c:v>
                </c:pt>
                <c:pt idx="35">
                  <c:v>0.24</c:v>
                </c:pt>
                <c:pt idx="36">
                  <c:v>0.22</c:v>
                </c:pt>
                <c:pt idx="37">
                  <c:v>0.2</c:v>
                </c:pt>
                <c:pt idx="38">
                  <c:v>0.19</c:v>
                </c:pt>
                <c:pt idx="39">
                  <c:v>0.17</c:v>
                </c:pt>
                <c:pt idx="40">
                  <c:v>0.15</c:v>
                </c:pt>
                <c:pt idx="41">
                  <c:v>0.14000000000000001</c:v>
                </c:pt>
                <c:pt idx="42">
                  <c:v>0.12</c:v>
                </c:pt>
                <c:pt idx="43">
                  <c:v>0.1</c:v>
                </c:pt>
                <c:pt idx="44">
                  <c:v>0.09</c:v>
                </c:pt>
                <c:pt idx="45">
                  <c:v>7.0000000000000007E-2</c:v>
                </c:pt>
                <c:pt idx="46">
                  <c:v>0.06</c:v>
                </c:pt>
                <c:pt idx="47">
                  <c:v>0.05</c:v>
                </c:pt>
                <c:pt idx="48">
                  <c:v>0.04</c:v>
                </c:pt>
                <c:pt idx="49">
                  <c:v>0.03</c:v>
                </c:pt>
                <c:pt idx="50">
                  <c:v>0.03</c:v>
                </c:pt>
                <c:pt idx="51">
                  <c:v>0.03</c:v>
                </c:pt>
                <c:pt idx="52">
                  <c:v>0.03</c:v>
                </c:pt>
                <c:pt idx="53">
                  <c:v>0.03</c:v>
                </c:pt>
                <c:pt idx="54">
                  <c:v>0.04</c:v>
                </c:pt>
                <c:pt idx="55">
                  <c:v>0.05</c:v>
                </c:pt>
                <c:pt idx="56">
                  <c:v>0.05</c:v>
                </c:pt>
                <c:pt idx="57">
                  <c:v>0.05</c:v>
                </c:pt>
                <c:pt idx="58">
                  <c:v>0.05</c:v>
                </c:pt>
                <c:pt idx="59">
                  <c:v>0.06</c:v>
                </c:pt>
                <c:pt idx="60">
                  <c:v>7.0000000000000007E-2</c:v>
                </c:pt>
                <c:pt idx="61">
                  <c:v>0.09</c:v>
                </c:pt>
                <c:pt idx="62">
                  <c:v>0.11</c:v>
                </c:pt>
                <c:pt idx="63">
                  <c:v>0.12</c:v>
                </c:pt>
                <c:pt idx="64">
                  <c:v>0.14000000000000001</c:v>
                </c:pt>
                <c:pt idx="65">
                  <c:v>0.15</c:v>
                </c:pt>
                <c:pt idx="66">
                  <c:v>0.16</c:v>
                </c:pt>
                <c:pt idx="67">
                  <c:v>0.17</c:v>
                </c:pt>
                <c:pt idx="68">
                  <c:v>0.18</c:v>
                </c:pt>
                <c:pt idx="69">
                  <c:v>0.19</c:v>
                </c:pt>
                <c:pt idx="70">
                  <c:v>0.21</c:v>
                </c:pt>
                <c:pt idx="71">
                  <c:v>0.22</c:v>
                </c:pt>
                <c:pt idx="72">
                  <c:v>0.24</c:v>
                </c:pt>
                <c:pt idx="73">
                  <c:v>0.25</c:v>
                </c:pt>
                <c:pt idx="74">
                  <c:v>0.26</c:v>
                </c:pt>
                <c:pt idx="75">
                  <c:v>0.28000000000000003</c:v>
                </c:pt>
                <c:pt idx="76">
                  <c:v>0.28999999999999998</c:v>
                </c:pt>
                <c:pt idx="77">
                  <c:v>0.3</c:v>
                </c:pt>
                <c:pt idx="78">
                  <c:v>0.3</c:v>
                </c:pt>
                <c:pt idx="79">
                  <c:v>0.3</c:v>
                </c:pt>
                <c:pt idx="80">
                  <c:v>0.31</c:v>
                </c:pt>
                <c:pt idx="81">
                  <c:v>0.32</c:v>
                </c:pt>
                <c:pt idx="82">
                  <c:v>0.34</c:v>
                </c:pt>
                <c:pt idx="83">
                  <c:v>0.37</c:v>
                </c:pt>
                <c:pt idx="84">
                  <c:v>0.41</c:v>
                </c:pt>
                <c:pt idx="85">
                  <c:v>0.45</c:v>
                </c:pt>
                <c:pt idx="86">
                  <c:v>0.48</c:v>
                </c:pt>
                <c:pt idx="87">
                  <c:v>0.51</c:v>
                </c:pt>
                <c:pt idx="88">
                  <c:v>0.55000000000000004</c:v>
                </c:pt>
                <c:pt idx="89">
                  <c:v>0.59</c:v>
                </c:pt>
                <c:pt idx="90">
                  <c:v>0.63</c:v>
                </c:pt>
                <c:pt idx="91">
                  <c:v>0.67</c:v>
                </c:pt>
                <c:pt idx="92">
                  <c:v>0.7</c:v>
                </c:pt>
                <c:pt idx="93">
                  <c:v>0.73</c:v>
                </c:pt>
                <c:pt idx="94">
                  <c:v>0.77</c:v>
                </c:pt>
                <c:pt idx="95">
                  <c:v>0.79</c:v>
                </c:pt>
                <c:pt idx="96">
                  <c:v>0.82</c:v>
                </c:pt>
                <c:pt idx="97">
                  <c:v>0.83</c:v>
                </c:pt>
                <c:pt idx="98">
                  <c:v>0.84</c:v>
                </c:pt>
                <c:pt idx="99">
                  <c:v>0.89</c:v>
                </c:pt>
                <c:pt idx="100">
                  <c:v>0.91</c:v>
                </c:pt>
                <c:pt idx="101">
                  <c:v>0.92</c:v>
                </c:pt>
                <c:pt idx="102">
                  <c:v>0.93</c:v>
                </c:pt>
                <c:pt idx="103">
                  <c:v>0.94</c:v>
                </c:pt>
                <c:pt idx="104">
                  <c:v>0.94</c:v>
                </c:pt>
                <c:pt idx="105">
                  <c:v>0.95</c:v>
                </c:pt>
                <c:pt idx="106">
                  <c:v>0.95</c:v>
                </c:pt>
                <c:pt idx="107">
                  <c:v>0.96</c:v>
                </c:pt>
                <c:pt idx="108">
                  <c:v>0.96</c:v>
                </c:pt>
                <c:pt idx="109">
                  <c:v>0.96</c:v>
                </c:pt>
                <c:pt idx="110">
                  <c:v>0.96</c:v>
                </c:pt>
                <c:pt idx="111">
                  <c:v>0.95</c:v>
                </c:pt>
                <c:pt idx="112">
                  <c:v>0.95</c:v>
                </c:pt>
                <c:pt idx="113">
                  <c:v>0.95</c:v>
                </c:pt>
                <c:pt idx="114">
                  <c:v>0.94</c:v>
                </c:pt>
                <c:pt idx="115">
                  <c:v>0.94</c:v>
                </c:pt>
                <c:pt idx="116">
                  <c:v>0.94</c:v>
                </c:pt>
                <c:pt idx="117">
                  <c:v>0.95</c:v>
                </c:pt>
                <c:pt idx="118">
                  <c:v>0.95</c:v>
                </c:pt>
                <c:pt idx="119">
                  <c:v>0.95</c:v>
                </c:pt>
              </c:numCache>
            </c:numRef>
          </c:val>
          <c:smooth val="0"/>
          <c:extLst>
            <c:ext xmlns:c16="http://schemas.microsoft.com/office/drawing/2014/chart" uri="{C3380CC4-5D6E-409C-BE32-E72D297353CC}">
              <c16:uniqueId val="{00000007-0ECB-43A3-A54D-0EF110225D1C}"/>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zh-CN"/>
          </a:p>
        </c:txPr>
        <c:crossAx val="1473788384"/>
        <c:crosses val="autoZero"/>
        <c:auto val="1"/>
        <c:lblAlgn val="ctr"/>
        <c:lblOffset val="100"/>
        <c:noMultiLvlLbl val="0"/>
      </c:catAx>
      <c:valAx>
        <c:axId val="1473788384"/>
        <c:scaling>
          <c:orientation val="minMax"/>
          <c:max val="1"/>
          <c:min val="-0.5"/>
        </c:scaling>
        <c:delete val="0"/>
        <c:axPos val="l"/>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zh-CN"/>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Media and Entertainment</c:v>
                </c:pt>
              </c:strCache>
            </c:strRef>
          </c:tx>
          <c:spPr>
            <a:solidFill>
              <a:srgbClr val="FFBB1E"/>
            </a:solidFill>
            <a:ln>
              <a:noFill/>
            </a:ln>
            <a:effectLst/>
          </c:spPr>
          <c:invertIfNegative val="0"/>
          <c:cat>
            <c:strRef>
              <c:f>Sheet1!$A$2:$A$4</c:f>
              <c:strCache>
                <c:ptCount val="3"/>
                <c:pt idx="0">
                  <c:v>2021H1</c:v>
                </c:pt>
                <c:pt idx="1">
                  <c:v>2020H1</c:v>
                </c:pt>
                <c:pt idx="2">
                  <c:v>2019H1</c:v>
                </c:pt>
              </c:strCache>
            </c:strRef>
          </c:cat>
          <c:val>
            <c:numRef>
              <c:f>Sheet1!$B$2:$B$4</c:f>
              <c:numCache>
                <c:formatCode>General</c:formatCode>
                <c:ptCount val="3"/>
                <c:pt idx="0">
                  <c:v>25101</c:v>
                </c:pt>
                <c:pt idx="1">
                  <c:v>25662</c:v>
                </c:pt>
                <c:pt idx="2">
                  <c:v>20585</c:v>
                </c:pt>
              </c:numCache>
            </c:numRef>
          </c:val>
          <c:extLst>
            <c:ext xmlns:c16="http://schemas.microsoft.com/office/drawing/2014/chart" uri="{C3380CC4-5D6E-409C-BE32-E72D297353CC}">
              <c16:uniqueId val="{00000000-546B-1C4B-A377-0A8542F5AE5A}"/>
            </c:ext>
          </c:extLst>
        </c:ser>
        <c:ser>
          <c:idx val="1"/>
          <c:order val="1"/>
          <c:tx>
            <c:strRef>
              <c:f>Sheet1!$C$1</c:f>
              <c:strCache>
                <c:ptCount val="1"/>
                <c:pt idx="0">
                  <c:v>Parks, Experiences and
Products</c:v>
                </c:pt>
              </c:strCache>
            </c:strRef>
          </c:tx>
          <c:spPr>
            <a:solidFill>
              <a:srgbClr val="77ACDD"/>
            </a:solidFill>
            <a:ln>
              <a:noFill/>
            </a:ln>
            <a:effectLst/>
          </c:spPr>
          <c:invertIfNegative val="0"/>
          <c:cat>
            <c:strRef>
              <c:f>Sheet1!$A$2:$A$4</c:f>
              <c:strCache>
                <c:ptCount val="3"/>
                <c:pt idx="0">
                  <c:v>2021H1</c:v>
                </c:pt>
                <c:pt idx="1">
                  <c:v>2020H1</c:v>
                </c:pt>
                <c:pt idx="2">
                  <c:v>2019H1</c:v>
                </c:pt>
              </c:strCache>
            </c:strRef>
          </c:cat>
          <c:val>
            <c:numRef>
              <c:f>Sheet1!$C$2:$C$4</c:f>
              <c:numCache>
                <c:formatCode>General</c:formatCode>
                <c:ptCount val="3"/>
                <c:pt idx="0">
                  <c:v>6761</c:v>
                </c:pt>
                <c:pt idx="1">
                  <c:v>13240</c:v>
                </c:pt>
                <c:pt idx="2">
                  <c:v>12995</c:v>
                </c:pt>
              </c:numCache>
            </c:numRef>
          </c:val>
          <c:extLst>
            <c:ext xmlns:c16="http://schemas.microsoft.com/office/drawing/2014/chart" uri="{C3380CC4-5D6E-409C-BE32-E72D297353CC}">
              <c16:uniqueId val="{00000001-546B-1C4B-A377-0A8542F5AE5A}"/>
            </c:ext>
          </c:extLst>
        </c:ser>
        <c:ser>
          <c:idx val="2"/>
          <c:order val="2"/>
          <c:tx>
            <c:strRef>
              <c:f>Sheet1!$D$1</c:f>
              <c:strCache>
                <c:ptCount val="1"/>
                <c:pt idx="0">
                  <c:v>Direct-to-Customer and International</c:v>
                </c:pt>
              </c:strCache>
            </c:strRef>
          </c:tx>
          <c:spPr>
            <a:solidFill>
              <a:srgbClr val="1E4E79"/>
            </a:solidFill>
            <a:ln>
              <a:noFill/>
            </a:ln>
            <a:effectLst/>
          </c:spPr>
          <c:invertIfNegative val="0"/>
          <c:cat>
            <c:strRef>
              <c:f>Sheet1!$A$2:$A$4</c:f>
              <c:strCache>
                <c:ptCount val="3"/>
                <c:pt idx="0">
                  <c:v>2021H1</c:v>
                </c:pt>
                <c:pt idx="1">
                  <c:v>2020H1</c:v>
                </c:pt>
                <c:pt idx="2">
                  <c:v>2019H1</c:v>
                </c:pt>
              </c:strCache>
            </c:strRef>
          </c:cat>
          <c:val>
            <c:numRef>
              <c:f>Sheet1!$D$2:$D$4</c:f>
              <c:numCache>
                <c:formatCode>General</c:formatCode>
                <c:ptCount val="3"/>
                <c:pt idx="0">
                  <c:v>7503</c:v>
                </c:pt>
                <c:pt idx="1">
                  <c:v>4540</c:v>
                </c:pt>
                <c:pt idx="2">
                  <c:v>2063</c:v>
                </c:pt>
              </c:numCache>
            </c:numRef>
          </c:val>
          <c:extLst>
            <c:ext xmlns:c16="http://schemas.microsoft.com/office/drawing/2014/chart" uri="{C3380CC4-5D6E-409C-BE32-E72D297353CC}">
              <c16:uniqueId val="{00000002-546B-1C4B-A377-0A8542F5AE5A}"/>
            </c:ext>
          </c:extLst>
        </c:ser>
        <c:dLbls>
          <c:showLegendKey val="0"/>
          <c:showVal val="0"/>
          <c:showCatName val="0"/>
          <c:showSerName val="0"/>
          <c:showPercent val="0"/>
          <c:showBubbleSize val="0"/>
        </c:dLbls>
        <c:gapWidth val="150"/>
        <c:overlap val="100"/>
        <c:axId val="1746078208"/>
        <c:axId val="1746079856"/>
      </c:barChart>
      <c:catAx>
        <c:axId val="1746078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746079856"/>
        <c:crosses val="autoZero"/>
        <c:auto val="1"/>
        <c:lblAlgn val="ctr"/>
        <c:lblOffset val="100"/>
        <c:noMultiLvlLbl val="0"/>
      </c:catAx>
      <c:valAx>
        <c:axId val="174607985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746078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148364574960128E-2"/>
          <c:y val="3.6249146791614784E-2"/>
          <c:w val="0.84904938130758822"/>
          <c:h val="0.84239961678002806"/>
        </c:manualLayout>
      </c:layout>
      <c:lineChart>
        <c:grouping val="standard"/>
        <c:varyColors val="0"/>
        <c:ser>
          <c:idx val="0"/>
          <c:order val="0"/>
          <c:tx>
            <c:strRef>
              <c:f>Sheet1!$B$1</c:f>
              <c:strCache>
                <c:ptCount val="1"/>
                <c:pt idx="0">
                  <c:v>AAL</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0.45255441800000001</c:v>
                </c:pt>
                <c:pt idx="1">
                  <c:v>-24.338023979999999</c:v>
                </c:pt>
                <c:pt idx="2">
                  <c:v>2.0113170889999998</c:v>
                </c:pt>
                <c:pt idx="3">
                  <c:v>-3.176017232</c:v>
                </c:pt>
                <c:pt idx="4">
                  <c:v>-0.62116433800000004</c:v>
                </c:pt>
                <c:pt idx="5">
                  <c:v>-0.97451177899999997</c:v>
                </c:pt>
                <c:pt idx="6">
                  <c:v>-1.0619965280000001</c:v>
                </c:pt>
                <c:pt idx="7">
                  <c:v>-0.14483357899999999</c:v>
                </c:pt>
                <c:pt idx="8">
                  <c:v>-0.14302406300000001</c:v>
                </c:pt>
                <c:pt idx="9">
                  <c:v>-1.7301690089999999</c:v>
                </c:pt>
                <c:pt idx="10">
                  <c:v>-1.4128853729999999</c:v>
                </c:pt>
                <c:pt idx="11">
                  <c:v>1.6056594580000001</c:v>
                </c:pt>
                <c:pt idx="12">
                  <c:v>-1.529173076</c:v>
                </c:pt>
                <c:pt idx="13">
                  <c:v>2.3887021310000001</c:v>
                </c:pt>
                <c:pt idx="14">
                  <c:v>2.0583079880000001</c:v>
                </c:pt>
                <c:pt idx="15">
                  <c:v>-0.72892497499999998</c:v>
                </c:pt>
                <c:pt idx="16">
                  <c:v>13.80069643</c:v>
                </c:pt>
                <c:pt idx="17">
                  <c:v>8.9574581250000005</c:v>
                </c:pt>
                <c:pt idx="18">
                  <c:v>6.7708325800000004</c:v>
                </c:pt>
                <c:pt idx="19">
                  <c:v>15.859590559999999</c:v>
                </c:pt>
                <c:pt idx="20">
                  <c:v>9.8596520929999993</c:v>
                </c:pt>
                <c:pt idx="21">
                  <c:v>4.0357622790000001</c:v>
                </c:pt>
                <c:pt idx="22">
                  <c:v>3.795093708</c:v>
                </c:pt>
                <c:pt idx="23">
                  <c:v>2.0218509899999999</c:v>
                </c:pt>
                <c:pt idx="24">
                  <c:v>8.8793236560000004</c:v>
                </c:pt>
                <c:pt idx="25">
                  <c:v>4.1943498520000002</c:v>
                </c:pt>
                <c:pt idx="26">
                  <c:v>6.5249130510000004</c:v>
                </c:pt>
                <c:pt idx="27">
                  <c:v>20.78314834</c:v>
                </c:pt>
                <c:pt idx="28">
                  <c:v>22.772493690000001</c:v>
                </c:pt>
                <c:pt idx="29">
                  <c:v>7.6892782569999998</c:v>
                </c:pt>
                <c:pt idx="30">
                  <c:v>9.2234868789999993</c:v>
                </c:pt>
                <c:pt idx="31">
                  <c:v>24.500944090000001</c:v>
                </c:pt>
                <c:pt idx="32">
                  <c:v>31.600731440000001</c:v>
                </c:pt>
                <c:pt idx="33">
                  <c:v>7.7719576930000001</c:v>
                </c:pt>
                <c:pt idx="34">
                  <c:v>13.373486310000001</c:v>
                </c:pt>
                <c:pt idx="35">
                  <c:v>11.626975829999999</c:v>
                </c:pt>
                <c:pt idx="36">
                  <c:v>19.757586409999998</c:v>
                </c:pt>
                <c:pt idx="37">
                  <c:v>5.5256282040000002</c:v>
                </c:pt>
                <c:pt idx="38">
                  <c:v>7.01085124</c:v>
                </c:pt>
                <c:pt idx="39">
                  <c:v>7.5263871010000001</c:v>
                </c:pt>
                <c:pt idx="40">
                  <c:v>-0.57892028900000003</c:v>
                </c:pt>
                <c:pt idx="41">
                  <c:v>-0.67785528399999995</c:v>
                </c:pt>
                <c:pt idx="42">
                  <c:v>-0.65196042200000004</c:v>
                </c:pt>
                <c:pt idx="43">
                  <c:v>-0.92145348100000002</c:v>
                </c:pt>
                <c:pt idx="44">
                  <c:v>-3.0334310200000001</c:v>
                </c:pt>
              </c:numCache>
            </c:numRef>
          </c:val>
          <c:smooth val="0"/>
          <c:extLst>
            <c:ext xmlns:c16="http://schemas.microsoft.com/office/drawing/2014/chart" uri="{C3380CC4-5D6E-409C-BE32-E72D297353CC}">
              <c16:uniqueId val="{00000000-1FB4-5E44-B450-E19150C7F4E0}"/>
            </c:ext>
          </c:extLst>
        </c:ser>
        <c:ser>
          <c:idx val="1"/>
          <c:order val="1"/>
          <c:tx>
            <c:strRef>
              <c:f>Sheet1!$C$1</c:f>
              <c:strCache>
                <c:ptCount val="1"/>
                <c:pt idx="0">
                  <c:v>PE Median</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6.1117610640993201</c:v>
                </c:pt>
                <c:pt idx="1">
                  <c:v>6.8456702218430001</c:v>
                </c:pt>
                <c:pt idx="2">
                  <c:v>7.1761873538860197</c:v>
                </c:pt>
                <c:pt idx="3">
                  <c:v>7.8722988425925902</c:v>
                </c:pt>
                <c:pt idx="4">
                  <c:v>3.5350032084938099</c:v>
                </c:pt>
                <c:pt idx="5">
                  <c:v>13.831677018633499</c:v>
                </c:pt>
                <c:pt idx="6">
                  <c:v>6.53272687096774</c:v>
                </c:pt>
                <c:pt idx="7">
                  <c:v>10.441029287562399</c:v>
                </c:pt>
                <c:pt idx="8">
                  <c:v>11.9211687324333</c:v>
                </c:pt>
                <c:pt idx="9">
                  <c:v>7.1981644230769204</c:v>
                </c:pt>
                <c:pt idx="10">
                  <c:v>7.6534755555555503</c:v>
                </c:pt>
                <c:pt idx="11">
                  <c:v>17.292415801354402</c:v>
                </c:pt>
                <c:pt idx="12">
                  <c:v>30.266293642824301</c:v>
                </c:pt>
                <c:pt idx="13">
                  <c:v>8.92504341225</c:v>
                </c:pt>
                <c:pt idx="14">
                  <c:v>7.1352591498067701</c:v>
                </c:pt>
                <c:pt idx="15">
                  <c:v>16.304836822660199</c:v>
                </c:pt>
                <c:pt idx="16">
                  <c:v>17.04073838475</c:v>
                </c:pt>
                <c:pt idx="17">
                  <c:v>9.8847683705272704</c:v>
                </c:pt>
                <c:pt idx="18">
                  <c:v>9.76458588607594</c:v>
                </c:pt>
                <c:pt idx="19">
                  <c:v>15.859590559541401</c:v>
                </c:pt>
                <c:pt idx="20">
                  <c:v>12.744581257114501</c:v>
                </c:pt>
                <c:pt idx="21">
                  <c:v>8.8960208119658102</c:v>
                </c:pt>
                <c:pt idx="22">
                  <c:v>8.7351138867722398</c:v>
                </c:pt>
                <c:pt idx="23">
                  <c:v>9.5799346438172002</c:v>
                </c:pt>
                <c:pt idx="24">
                  <c:v>10.3142700980966</c:v>
                </c:pt>
                <c:pt idx="25">
                  <c:v>7.4335995511111097</c:v>
                </c:pt>
                <c:pt idx="26">
                  <c:v>7.9205012335439404</c:v>
                </c:pt>
                <c:pt idx="27">
                  <c:v>14.7276245210727</c:v>
                </c:pt>
                <c:pt idx="28">
                  <c:v>22.772493692412301</c:v>
                </c:pt>
                <c:pt idx="29">
                  <c:v>8.9964736241159304</c:v>
                </c:pt>
                <c:pt idx="30">
                  <c:v>9.2234868788237101</c:v>
                </c:pt>
                <c:pt idx="31">
                  <c:v>6.1868489963145201</c:v>
                </c:pt>
                <c:pt idx="32">
                  <c:v>17.223315334773201</c:v>
                </c:pt>
                <c:pt idx="33">
                  <c:v>8.9020007648795794</c:v>
                </c:pt>
                <c:pt idx="34">
                  <c:v>9.6194222194101293</c:v>
                </c:pt>
                <c:pt idx="35">
                  <c:v>9.9498470948012194</c:v>
                </c:pt>
                <c:pt idx="36">
                  <c:v>18.297607772902399</c:v>
                </c:pt>
                <c:pt idx="37">
                  <c:v>7.50282505399045</c:v>
                </c:pt>
                <c:pt idx="38">
                  <c:v>7.01085124005</c:v>
                </c:pt>
                <c:pt idx="39">
                  <c:v>8.6309091272581906</c:v>
                </c:pt>
                <c:pt idx="40">
                  <c:v>-3.76791846679094</c:v>
                </c:pt>
                <c:pt idx="41">
                  <c:v>-2.45260233472733</c:v>
                </c:pt>
                <c:pt idx="42">
                  <c:v>-1.96329007633587</c:v>
                </c:pt>
                <c:pt idx="43">
                  <c:v>-3.7957933327887399</c:v>
                </c:pt>
                <c:pt idx="44">
                  <c:v>-4.9339144457887398</c:v>
                </c:pt>
              </c:numCache>
            </c:numRef>
          </c:val>
          <c:smooth val="0"/>
          <c:extLst>
            <c:ext xmlns:c16="http://schemas.microsoft.com/office/drawing/2014/chart" uri="{C3380CC4-5D6E-409C-BE32-E72D297353CC}">
              <c16:uniqueId val="{00000001-1FB4-5E44-B450-E19150C7F4E0}"/>
            </c:ext>
          </c:extLst>
        </c:ser>
        <c:dLbls>
          <c:showLegendKey val="0"/>
          <c:showVal val="0"/>
          <c:showCatName val="0"/>
          <c:showSerName val="0"/>
          <c:showPercent val="0"/>
          <c:showBubbleSize val="0"/>
        </c:dLbls>
        <c:smooth val="0"/>
        <c:axId val="1026893663"/>
        <c:axId val="1114218463"/>
      </c:lineChart>
      <c:catAx>
        <c:axId val="1026893663"/>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4218463"/>
        <c:crosses val="autoZero"/>
        <c:auto val="1"/>
        <c:lblAlgn val="ctr"/>
        <c:lblOffset val="100"/>
        <c:noMultiLvlLbl val="0"/>
      </c:catAx>
      <c:valAx>
        <c:axId val="1114218463"/>
        <c:scaling>
          <c:orientation val="minMax"/>
          <c:max val="32"/>
          <c:min val="-22"/>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26893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426477981025568E-2"/>
          <c:y val="3.8911487917385287E-2"/>
          <c:w val="0.95403901905410082"/>
          <c:h val="0.83082455863877602"/>
        </c:manualLayout>
      </c:layout>
      <c:lineChart>
        <c:grouping val="standard"/>
        <c:varyColors val="0"/>
        <c:ser>
          <c:idx val="0"/>
          <c:order val="0"/>
          <c:tx>
            <c:strRef>
              <c:f>Sheet1!$B$1</c:f>
              <c:strCache>
                <c:ptCount val="1"/>
                <c:pt idx="0">
                  <c:v>DIS</c:v>
                </c:pt>
              </c:strCache>
            </c:strRef>
          </c:tx>
          <c:spPr>
            <a:ln w="22225" cap="rnd">
              <a:solidFill>
                <a:schemeClr val="accent4"/>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B$2:$B$140</c:f>
              <c:numCache>
                <c:formatCode>0.00%</c:formatCode>
                <c:ptCount val="139"/>
                <c:pt idx="0">
                  <c:v>1</c:v>
                </c:pt>
                <c:pt idx="1">
                  <c:v>0.98868898290126261</c:v>
                </c:pt>
                <c:pt idx="2">
                  <c:v>1.0935168466800698</c:v>
                </c:pt>
                <c:pt idx="3">
                  <c:v>1.1751222743467085</c:v>
                </c:pt>
                <c:pt idx="4">
                  <c:v>1.1098347668261321</c:v>
                </c:pt>
                <c:pt idx="5">
                  <c:v>1.1004144258657436</c:v>
                </c:pt>
                <c:pt idx="6">
                  <c:v>1.0847805702568869</c:v>
                </c:pt>
                <c:pt idx="7">
                  <c:v>1.0922542316864485</c:v>
                </c:pt>
                <c:pt idx="8">
                  <c:v>1.1006259181780742</c:v>
                </c:pt>
                <c:pt idx="9">
                  <c:v>1.127539823023751</c:v>
                </c:pt>
                <c:pt idx="10">
                  <c:v>1.1946622885346514</c:v>
                </c:pt>
                <c:pt idx="11">
                  <c:v>1.2102448519291973</c:v>
                </c:pt>
                <c:pt idx="12">
                  <c:v>1.2763083612646868</c:v>
                </c:pt>
                <c:pt idx="13">
                  <c:v>1.3753652318575516</c:v>
                </c:pt>
                <c:pt idx="14">
                  <c:v>1.3808624883261105</c:v>
                </c:pt>
                <c:pt idx="15">
                  <c:v>1.36600543034495</c:v>
                </c:pt>
                <c:pt idx="16">
                  <c:v>1.3605360767848687</c:v>
                </c:pt>
                <c:pt idx="17">
                  <c:v>1.2560333401471684</c:v>
                </c:pt>
                <c:pt idx="18">
                  <c:v>1.2877355966041806</c:v>
                </c:pt>
                <c:pt idx="19">
                  <c:v>1.0932345540788091</c:v>
                </c:pt>
                <c:pt idx="20">
                  <c:v>1.0238880397892629</c:v>
                </c:pt>
                <c:pt idx="21">
                  <c:v>1.0878877913334839</c:v>
                </c:pt>
                <c:pt idx="22">
                  <c:v>1.1301832993264238</c:v>
                </c:pt>
                <c:pt idx="23">
                  <c:v>1.1849232030664905</c:v>
                </c:pt>
                <c:pt idx="24">
                  <c:v>1.2702701371323659</c:v>
                </c:pt>
                <c:pt idx="25">
                  <c:v>1.3359603263076516</c:v>
                </c:pt>
                <c:pt idx="26">
                  <c:v>1.3984012037544713</c:v>
                </c:pt>
                <c:pt idx="27">
                  <c:v>1.3790233617679926</c:v>
                </c:pt>
                <c:pt idx="28">
                  <c:v>1.445768613195322</c:v>
                </c:pt>
                <c:pt idx="29">
                  <c:v>1.5136253739159649</c:v>
                </c:pt>
                <c:pt idx="30">
                  <c:v>1.5750434985926862</c:v>
                </c:pt>
                <c:pt idx="31">
                  <c:v>1.6146431131173511</c:v>
                </c:pt>
                <c:pt idx="32">
                  <c:v>1.6884344056984486</c:v>
                </c:pt>
                <c:pt idx="33">
                  <c:v>1.6681059718420193</c:v>
                </c:pt>
                <c:pt idx="34">
                  <c:v>1.5854318678649628</c:v>
                </c:pt>
                <c:pt idx="35">
                  <c:v>1.6089796107472456</c:v>
                </c:pt>
                <c:pt idx="36">
                  <c:v>1.6964111805744295</c:v>
                </c:pt>
                <c:pt idx="37">
                  <c:v>1.7714559100194576</c:v>
                </c:pt>
                <c:pt idx="38">
                  <c:v>1.841338189241416</c:v>
                </c:pt>
                <c:pt idx="39">
                  <c:v>1.9536771573211891</c:v>
                </c:pt>
                <c:pt idx="40">
                  <c:v>2.1356801985742453</c:v>
                </c:pt>
                <c:pt idx="41">
                  <c:v>2.0645095355493717</c:v>
                </c:pt>
                <c:pt idx="42">
                  <c:v>2.1049725524801453</c:v>
                </c:pt>
                <c:pt idx="43">
                  <c:v>2.0521895969306829</c:v>
                </c:pt>
                <c:pt idx="44">
                  <c:v>2.0865523598115319</c:v>
                </c:pt>
                <c:pt idx="45">
                  <c:v>2.1654806617226745</c:v>
                </c:pt>
                <c:pt idx="46">
                  <c:v>2.2508995673760839</c:v>
                </c:pt>
                <c:pt idx="47">
                  <c:v>2.337985659512833</c:v>
                </c:pt>
                <c:pt idx="48">
                  <c:v>2.4108896984251169</c:v>
                </c:pt>
                <c:pt idx="49">
                  <c:v>2.5184957557418088</c:v>
                </c:pt>
                <c:pt idx="50">
                  <c:v>2.618827100638879</c:v>
                </c:pt>
                <c:pt idx="51">
                  <c:v>2.5737953862483161</c:v>
                </c:pt>
                <c:pt idx="52">
                  <c:v>2.6547535359341961</c:v>
                </c:pt>
                <c:pt idx="53">
                  <c:v>2.7259880884043346</c:v>
                </c:pt>
                <c:pt idx="54">
                  <c:v>2.8032803649019531</c:v>
                </c:pt>
                <c:pt idx="55">
                  <c:v>2.8756145406413305</c:v>
                </c:pt>
                <c:pt idx="56">
                  <c:v>2.914570942803608</c:v>
                </c:pt>
                <c:pt idx="57">
                  <c:v>2.8235752658279258</c:v>
                </c:pt>
                <c:pt idx="58">
                  <c:v>2.9405915288991689</c:v>
                </c:pt>
                <c:pt idx="59">
                  <c:v>3.0228969528432508</c:v>
                </c:pt>
                <c:pt idx="60">
                  <c:v>3.0465024585353677</c:v>
                </c:pt>
                <c:pt idx="61">
                  <c:v>3.3241580678177316</c:v>
                </c:pt>
                <c:pt idx="62">
                  <c:v>3.4406598605314218</c:v>
                </c:pt>
                <c:pt idx="63">
                  <c:v>3.4913881804134097</c:v>
                </c:pt>
                <c:pt idx="64">
                  <c:v>3.5728843040891056</c:v>
                </c:pt>
                <c:pt idx="65">
                  <c:v>3.6282112065106471</c:v>
                </c:pt>
                <c:pt idx="66">
                  <c:v>3.8288955904212503</c:v>
                </c:pt>
                <c:pt idx="67">
                  <c:v>3.4476704569561982</c:v>
                </c:pt>
                <c:pt idx="68">
                  <c:v>3.3145540365813027</c:v>
                </c:pt>
                <c:pt idx="69">
                  <c:v>3.5234863739631122</c:v>
                </c:pt>
                <c:pt idx="70">
                  <c:v>3.7779895874451457</c:v>
                </c:pt>
                <c:pt idx="71">
                  <c:v>3.5675041914632875</c:v>
                </c:pt>
                <c:pt idx="72">
                  <c:v>3.1584055234049044</c:v>
                </c:pt>
                <c:pt idx="73">
                  <c:v>3.0511610051731299</c:v>
                </c:pt>
                <c:pt idx="74">
                  <c:v>3.1882992658955249</c:v>
                </c:pt>
                <c:pt idx="75">
                  <c:v>3.2637252296191774</c:v>
                </c:pt>
                <c:pt idx="76">
                  <c:v>3.2990796956096489</c:v>
                </c:pt>
                <c:pt idx="77">
                  <c:v>3.1801242933777667</c:v>
                </c:pt>
                <c:pt idx="78">
                  <c:v>3.1941471624407631</c:v>
                </c:pt>
                <c:pt idx="79">
                  <c:v>3.1179500172402248</c:v>
                </c:pt>
                <c:pt idx="80">
                  <c:v>3.0168778127059892</c:v>
                </c:pt>
                <c:pt idx="81">
                  <c:v>2.9993165383196119</c:v>
                </c:pt>
                <c:pt idx="82">
                  <c:v>3.1362049270934289</c:v>
                </c:pt>
                <c:pt idx="83">
                  <c:v>3.3602814098717295</c:v>
                </c:pt>
                <c:pt idx="84">
                  <c:v>3.5137517931424749</c:v>
                </c:pt>
                <c:pt idx="85">
                  <c:v>3.5709330870506495</c:v>
                </c:pt>
                <c:pt idx="86">
                  <c:v>3.6300146488331522</c:v>
                </c:pt>
                <c:pt idx="87">
                  <c:v>3.6964819546654297</c:v>
                </c:pt>
                <c:pt idx="88">
                  <c:v>3.5536481069063286</c:v>
                </c:pt>
                <c:pt idx="89">
                  <c:v>3.4337539717422429</c:v>
                </c:pt>
                <c:pt idx="90">
                  <c:v>3.4460325512292349</c:v>
                </c:pt>
                <c:pt idx="91">
                  <c:v>3.3611874187673592</c:v>
                </c:pt>
                <c:pt idx="92">
                  <c:v>3.2077980700948339</c:v>
                </c:pt>
                <c:pt idx="93">
                  <c:v>3.2080725735631574</c:v>
                </c:pt>
                <c:pt idx="94">
                  <c:v>3.3282042172815172</c:v>
                </c:pt>
                <c:pt idx="95">
                  <c:v>3.5112033707136754</c:v>
                </c:pt>
                <c:pt idx="96">
                  <c:v>3.6012389932971876</c:v>
                </c:pt>
                <c:pt idx="97">
                  <c:v>3.4248124577551806</c:v>
                </c:pt>
                <c:pt idx="98">
                  <c:v>3.3204902652613248</c:v>
                </c:pt>
                <c:pt idx="99">
                  <c:v>3.2602933565922498</c:v>
                </c:pt>
                <c:pt idx="100">
                  <c:v>3.3064521896277941</c:v>
                </c:pt>
                <c:pt idx="101">
                  <c:v>3.3936571144182035</c:v>
                </c:pt>
                <c:pt idx="102">
                  <c:v>3.5523270627884616</c:v>
                </c:pt>
                <c:pt idx="103">
                  <c:v>3.6660775625192996</c:v>
                </c:pt>
                <c:pt idx="104">
                  <c:v>3.6169801899397531</c:v>
                </c:pt>
                <c:pt idx="105">
                  <c:v>3.7415061540448966</c:v>
                </c:pt>
                <c:pt idx="106">
                  <c:v>3.749566938215589</c:v>
                </c:pt>
                <c:pt idx="107">
                  <c:v>3.5653800807648421</c:v>
                </c:pt>
                <c:pt idx="108">
                  <c:v>3.6001723197183524</c:v>
                </c:pt>
                <c:pt idx="109">
                  <c:v>3.6413279267984753</c:v>
                </c:pt>
                <c:pt idx="110">
                  <c:v>3.6451576682884959</c:v>
                </c:pt>
                <c:pt idx="111">
                  <c:v>4.0843753529674318</c:v>
                </c:pt>
                <c:pt idx="112">
                  <c:v>4.3404931368908448</c:v>
                </c:pt>
                <c:pt idx="113">
                  <c:v>4.4988449978681793</c:v>
                </c:pt>
                <c:pt idx="114">
                  <c:v>4.6381848143063618</c:v>
                </c:pt>
                <c:pt idx="115">
                  <c:v>4.4326161814178127</c:v>
                </c:pt>
                <c:pt idx="116">
                  <c:v>4.38660194393493</c:v>
                </c:pt>
                <c:pt idx="117">
                  <c:v>4.2248333663658499</c:v>
                </c:pt>
                <c:pt idx="118">
                  <c:v>4.6385847252940193</c:v>
                </c:pt>
                <c:pt idx="119">
                  <c:v>4.7643033129926398</c:v>
                </c:pt>
                <c:pt idx="120">
                  <c:v>4.6377413961333973</c:v>
                </c:pt>
                <c:pt idx="121">
                  <c:v>4.4373707402143587</c:v>
                </c:pt>
                <c:pt idx="122">
                  <c:v>3.3076474495425972</c:v>
                </c:pt>
                <c:pt idx="123">
                  <c:v>3.3273076037557816</c:v>
                </c:pt>
                <c:pt idx="124">
                  <c:v>3.6019717207375339</c:v>
                </c:pt>
                <c:pt idx="125">
                  <c:v>3.8124866766426817</c:v>
                </c:pt>
                <c:pt idx="126">
                  <c:v>3.7949858554032256</c:v>
                </c:pt>
                <c:pt idx="127">
                  <c:v>4.1893256419746292</c:v>
                </c:pt>
                <c:pt idx="128">
                  <c:v>4.2017083042281866</c:v>
                </c:pt>
                <c:pt idx="129">
                  <c:v>4.0375630822563018</c:v>
                </c:pt>
                <c:pt idx="130">
                  <c:v>4.5085515900061459</c:v>
                </c:pt>
                <c:pt idx="131">
                  <c:v>5.4190684027388283</c:v>
                </c:pt>
                <c:pt idx="132">
                  <c:v>5.6436686737961326</c:v>
                </c:pt>
                <c:pt idx="133">
                  <c:v>6.045056093614722</c:v>
                </c:pt>
                <c:pt idx="134">
                  <c:v>6.2221382701689985</c:v>
                </c:pt>
                <c:pt idx="135">
                  <c:v>6.0372493726082901</c:v>
                </c:pt>
                <c:pt idx="136">
                  <c:v>5.7642292405582722</c:v>
                </c:pt>
                <c:pt idx="137">
                  <c:v>5.7160960509672893</c:v>
                </c:pt>
                <c:pt idx="138">
                  <c:v>5.7742010782555804</c:v>
                </c:pt>
              </c:numCache>
            </c:numRef>
          </c:val>
          <c:smooth val="0"/>
          <c:extLst>
            <c:ext xmlns:c16="http://schemas.microsoft.com/office/drawing/2014/chart" uri="{C3380CC4-5D6E-409C-BE32-E72D297353CC}">
              <c16:uniqueId val="{00000000-34D1-2C44-BE5D-DF1DE1557164}"/>
            </c:ext>
          </c:extLst>
        </c:ser>
        <c:ser>
          <c:idx val="1"/>
          <c:order val="1"/>
          <c:tx>
            <c:strRef>
              <c:f>Sheet1!$C$1</c:f>
              <c:strCache>
                <c:ptCount val="1"/>
                <c:pt idx="0">
                  <c:v>S&amp;P 500</c:v>
                </c:pt>
              </c:strCache>
            </c:strRef>
          </c:tx>
          <c:spPr>
            <a:ln w="22225" cap="rnd">
              <a:solidFill>
                <a:schemeClr val="accent2"/>
              </a:solidFill>
              <a:round/>
            </a:ln>
            <a:effectLst/>
          </c:spPr>
          <c:marker>
            <c:symbol val="none"/>
          </c:marker>
          <c:cat>
            <c:strRef>
              <c:f>Sheet1!$A$2:$A$140</c:f>
              <c:strCache>
                <c:ptCount val="139"/>
                <c:pt idx="0">
                  <c:v>2010-1</c:v>
                </c:pt>
                <c:pt idx="1">
                  <c:v>2010-2</c:v>
                </c:pt>
                <c:pt idx="2">
                  <c:v>2010-3</c:v>
                </c:pt>
                <c:pt idx="3">
                  <c:v>2010-4</c:v>
                </c:pt>
                <c:pt idx="4">
                  <c:v>2010-5</c:v>
                </c:pt>
                <c:pt idx="5">
                  <c:v>2010-6</c:v>
                </c:pt>
                <c:pt idx="6">
                  <c:v>2010-7</c:v>
                </c:pt>
                <c:pt idx="7">
                  <c:v>2010-8</c:v>
                </c:pt>
                <c:pt idx="8">
                  <c:v>2010-9</c:v>
                </c:pt>
                <c:pt idx="9">
                  <c:v>2010-10</c:v>
                </c:pt>
                <c:pt idx="10">
                  <c:v>2010-11</c:v>
                </c:pt>
                <c:pt idx="11">
                  <c:v>2010-12</c:v>
                </c:pt>
                <c:pt idx="12">
                  <c:v>2011-1</c:v>
                </c:pt>
                <c:pt idx="13">
                  <c:v>2011-2</c:v>
                </c:pt>
                <c:pt idx="14">
                  <c:v>2011-3</c:v>
                </c:pt>
                <c:pt idx="15">
                  <c:v>2011-4</c:v>
                </c:pt>
                <c:pt idx="16">
                  <c:v>2011-5</c:v>
                </c:pt>
                <c:pt idx="17">
                  <c:v>2011-6</c:v>
                </c:pt>
                <c:pt idx="18">
                  <c:v>2011-7</c:v>
                </c:pt>
                <c:pt idx="19">
                  <c:v>2011-8</c:v>
                </c:pt>
                <c:pt idx="20">
                  <c:v>2011-9</c:v>
                </c:pt>
                <c:pt idx="21">
                  <c:v>2011-10</c:v>
                </c:pt>
                <c:pt idx="22">
                  <c:v>2011-11</c:v>
                </c:pt>
                <c:pt idx="23">
                  <c:v>2011-12</c:v>
                </c:pt>
                <c:pt idx="24">
                  <c:v>2012-1</c:v>
                </c:pt>
                <c:pt idx="25">
                  <c:v>2012-2</c:v>
                </c:pt>
                <c:pt idx="26">
                  <c:v>2012-3</c:v>
                </c:pt>
                <c:pt idx="27">
                  <c:v>2012-4</c:v>
                </c:pt>
                <c:pt idx="28">
                  <c:v>2012-5</c:v>
                </c:pt>
                <c:pt idx="29">
                  <c:v>2012-6</c:v>
                </c:pt>
                <c:pt idx="30">
                  <c:v>2012-7</c:v>
                </c:pt>
                <c:pt idx="31">
                  <c:v>2012-8</c:v>
                </c:pt>
                <c:pt idx="32">
                  <c:v>2012-9</c:v>
                </c:pt>
                <c:pt idx="33">
                  <c:v>2012-10</c:v>
                </c:pt>
                <c:pt idx="34">
                  <c:v>2012-11</c:v>
                </c:pt>
                <c:pt idx="35">
                  <c:v>2012-12</c:v>
                </c:pt>
                <c:pt idx="36">
                  <c:v>2013-1</c:v>
                </c:pt>
                <c:pt idx="37">
                  <c:v>2013-2</c:v>
                </c:pt>
                <c:pt idx="38">
                  <c:v>2013-3</c:v>
                </c:pt>
                <c:pt idx="39">
                  <c:v>2013-4</c:v>
                </c:pt>
                <c:pt idx="40">
                  <c:v>2013-5</c:v>
                </c:pt>
                <c:pt idx="41">
                  <c:v>2013-6</c:v>
                </c:pt>
                <c:pt idx="42">
                  <c:v>2013-7</c:v>
                </c:pt>
                <c:pt idx="43">
                  <c:v>2013-8</c:v>
                </c:pt>
                <c:pt idx="44">
                  <c:v>2013-9</c:v>
                </c:pt>
                <c:pt idx="45">
                  <c:v>2013-10</c:v>
                </c:pt>
                <c:pt idx="46">
                  <c:v>2013-11</c:v>
                </c:pt>
                <c:pt idx="47">
                  <c:v>2013-12</c:v>
                </c:pt>
                <c:pt idx="48">
                  <c:v>2014-1</c:v>
                </c:pt>
                <c:pt idx="49">
                  <c:v>2014-2</c:v>
                </c:pt>
                <c:pt idx="50">
                  <c:v>2014-3</c:v>
                </c:pt>
                <c:pt idx="51">
                  <c:v>2014-4</c:v>
                </c:pt>
                <c:pt idx="52">
                  <c:v>2014-5</c:v>
                </c:pt>
                <c:pt idx="53">
                  <c:v>2014-6</c:v>
                </c:pt>
                <c:pt idx="54">
                  <c:v>2014-7</c:v>
                </c:pt>
                <c:pt idx="55">
                  <c:v>2014-8</c:v>
                </c:pt>
                <c:pt idx="56">
                  <c:v>2014-9</c:v>
                </c:pt>
                <c:pt idx="57">
                  <c:v>2014-10</c:v>
                </c:pt>
                <c:pt idx="58">
                  <c:v>2014-11</c:v>
                </c:pt>
                <c:pt idx="59">
                  <c:v>2014-12</c:v>
                </c:pt>
                <c:pt idx="60">
                  <c:v>2015-1</c:v>
                </c:pt>
                <c:pt idx="61">
                  <c:v>2015-2</c:v>
                </c:pt>
                <c:pt idx="62">
                  <c:v>2015-3</c:v>
                </c:pt>
                <c:pt idx="63">
                  <c:v>2015-4</c:v>
                </c:pt>
                <c:pt idx="64">
                  <c:v>2015-5</c:v>
                </c:pt>
                <c:pt idx="65">
                  <c:v>2015-6</c:v>
                </c:pt>
                <c:pt idx="66">
                  <c:v>2015-7</c:v>
                </c:pt>
                <c:pt idx="67">
                  <c:v>2015-8</c:v>
                </c:pt>
                <c:pt idx="68">
                  <c:v>2015-9</c:v>
                </c:pt>
                <c:pt idx="69">
                  <c:v>2015-10</c:v>
                </c:pt>
                <c:pt idx="70">
                  <c:v>2015-11</c:v>
                </c:pt>
                <c:pt idx="71">
                  <c:v>2015-12</c:v>
                </c:pt>
                <c:pt idx="72">
                  <c:v>2016-1</c:v>
                </c:pt>
                <c:pt idx="73">
                  <c:v>2016-2</c:v>
                </c:pt>
                <c:pt idx="74">
                  <c:v>2016-3</c:v>
                </c:pt>
                <c:pt idx="75">
                  <c:v>2016-4</c:v>
                </c:pt>
                <c:pt idx="76">
                  <c:v>2016-5</c:v>
                </c:pt>
                <c:pt idx="77">
                  <c:v>2016-6</c:v>
                </c:pt>
                <c:pt idx="78">
                  <c:v>2016-7</c:v>
                </c:pt>
                <c:pt idx="79">
                  <c:v>2016-8</c:v>
                </c:pt>
                <c:pt idx="80">
                  <c:v>2016-9</c:v>
                </c:pt>
                <c:pt idx="81">
                  <c:v>2016-10</c:v>
                </c:pt>
                <c:pt idx="82">
                  <c:v>2016-11</c:v>
                </c:pt>
                <c:pt idx="83">
                  <c:v>2016-12</c:v>
                </c:pt>
                <c:pt idx="84">
                  <c:v>2017-1</c:v>
                </c:pt>
                <c:pt idx="85">
                  <c:v>2017-2</c:v>
                </c:pt>
                <c:pt idx="86">
                  <c:v>2017-3</c:v>
                </c:pt>
                <c:pt idx="87">
                  <c:v>2017-4</c:v>
                </c:pt>
                <c:pt idx="88">
                  <c:v>2017-5</c:v>
                </c:pt>
                <c:pt idx="89">
                  <c:v>2017-6</c:v>
                </c:pt>
                <c:pt idx="90">
                  <c:v>2017-7</c:v>
                </c:pt>
                <c:pt idx="91">
                  <c:v>2017-8</c:v>
                </c:pt>
                <c:pt idx="92">
                  <c:v>2017-9</c:v>
                </c:pt>
                <c:pt idx="93">
                  <c:v>2017-10</c:v>
                </c:pt>
                <c:pt idx="94">
                  <c:v>2017-11</c:v>
                </c:pt>
                <c:pt idx="95">
                  <c:v>2017-12</c:v>
                </c:pt>
                <c:pt idx="96">
                  <c:v>2018-1</c:v>
                </c:pt>
                <c:pt idx="97">
                  <c:v>2018-2</c:v>
                </c:pt>
                <c:pt idx="98">
                  <c:v>2018-3</c:v>
                </c:pt>
                <c:pt idx="99">
                  <c:v>2018-4</c:v>
                </c:pt>
                <c:pt idx="100">
                  <c:v>2018-5</c:v>
                </c:pt>
                <c:pt idx="101">
                  <c:v>2018-6</c:v>
                </c:pt>
                <c:pt idx="102">
                  <c:v>2018-7</c:v>
                </c:pt>
                <c:pt idx="103">
                  <c:v>2018-8</c:v>
                </c:pt>
                <c:pt idx="104">
                  <c:v>2018-9</c:v>
                </c:pt>
                <c:pt idx="105">
                  <c:v>2018-10</c:v>
                </c:pt>
                <c:pt idx="106">
                  <c:v>2018-11</c:v>
                </c:pt>
                <c:pt idx="107">
                  <c:v>2018-12</c:v>
                </c:pt>
                <c:pt idx="108">
                  <c:v>2019-1</c:v>
                </c:pt>
                <c:pt idx="109">
                  <c:v>2019-2</c:v>
                </c:pt>
                <c:pt idx="110">
                  <c:v>2019-3</c:v>
                </c:pt>
                <c:pt idx="111">
                  <c:v>2019-4</c:v>
                </c:pt>
                <c:pt idx="112">
                  <c:v>2019-5</c:v>
                </c:pt>
                <c:pt idx="113">
                  <c:v>2019-6</c:v>
                </c:pt>
                <c:pt idx="114">
                  <c:v>2019-7</c:v>
                </c:pt>
                <c:pt idx="115">
                  <c:v>2019-8</c:v>
                </c:pt>
                <c:pt idx="116">
                  <c:v>2019-9</c:v>
                </c:pt>
                <c:pt idx="117">
                  <c:v>2019-10</c:v>
                </c:pt>
                <c:pt idx="118">
                  <c:v>2019-11</c:v>
                </c:pt>
                <c:pt idx="119">
                  <c:v>2019-12</c:v>
                </c:pt>
                <c:pt idx="120">
                  <c:v>2020-1</c:v>
                </c:pt>
                <c:pt idx="121">
                  <c:v>2020-2</c:v>
                </c:pt>
                <c:pt idx="122">
                  <c:v>2020-3</c:v>
                </c:pt>
                <c:pt idx="123">
                  <c:v>2020-4</c:v>
                </c:pt>
                <c:pt idx="124">
                  <c:v>2020-5</c:v>
                </c:pt>
                <c:pt idx="125">
                  <c:v>2020-6</c:v>
                </c:pt>
                <c:pt idx="126">
                  <c:v>2020-7</c:v>
                </c:pt>
                <c:pt idx="127">
                  <c:v>2020-8</c:v>
                </c:pt>
                <c:pt idx="128">
                  <c:v>2020-9</c:v>
                </c:pt>
                <c:pt idx="129">
                  <c:v>2020-10</c:v>
                </c:pt>
                <c:pt idx="130">
                  <c:v>2020-11</c:v>
                </c:pt>
                <c:pt idx="131">
                  <c:v>2020-12</c:v>
                </c:pt>
                <c:pt idx="132">
                  <c:v>2021-1</c:v>
                </c:pt>
                <c:pt idx="133">
                  <c:v>2021-2</c:v>
                </c:pt>
                <c:pt idx="134">
                  <c:v>2021-3</c:v>
                </c:pt>
                <c:pt idx="135">
                  <c:v>2021-4</c:v>
                </c:pt>
                <c:pt idx="136">
                  <c:v>2021-5</c:v>
                </c:pt>
                <c:pt idx="137">
                  <c:v>2021-6</c:v>
                </c:pt>
                <c:pt idx="138">
                  <c:v>2021-7</c:v>
                </c:pt>
              </c:strCache>
            </c:strRef>
          </c:cat>
          <c:val>
            <c:numRef>
              <c:f>Sheet1!$C$2:$C$140</c:f>
              <c:numCache>
                <c:formatCode>0.00%</c:formatCode>
                <c:ptCount val="139"/>
                <c:pt idx="0">
                  <c:v>1</c:v>
                </c:pt>
                <c:pt idx="1">
                  <c:v>1.0289999999999999</c:v>
                </c:pt>
                <c:pt idx="2">
                  <c:v>1.089</c:v>
                </c:pt>
                <c:pt idx="3">
                  <c:v>1.105</c:v>
                </c:pt>
                <c:pt idx="4">
                  <c:v>1.014</c:v>
                </c:pt>
                <c:pt idx="5">
                  <c:v>0.96</c:v>
                </c:pt>
                <c:pt idx="6">
                  <c:v>1.026</c:v>
                </c:pt>
                <c:pt idx="7">
                  <c:v>0.97699999999999998</c:v>
                </c:pt>
                <c:pt idx="8">
                  <c:v>1.0629999999999999</c:v>
                </c:pt>
                <c:pt idx="9">
                  <c:v>1.1020000000000001</c:v>
                </c:pt>
                <c:pt idx="10">
                  <c:v>1.099</c:v>
                </c:pt>
                <c:pt idx="11">
                  <c:v>1.171</c:v>
                </c:pt>
                <c:pt idx="12">
                  <c:v>1.198</c:v>
                </c:pt>
                <c:pt idx="13">
                  <c:v>1.236</c:v>
                </c:pt>
                <c:pt idx="14">
                  <c:v>1.2350000000000001</c:v>
                </c:pt>
                <c:pt idx="15">
                  <c:v>1.27</c:v>
                </c:pt>
                <c:pt idx="16">
                  <c:v>1.2529999999999999</c:v>
                </c:pt>
                <c:pt idx="17">
                  <c:v>1.23</c:v>
                </c:pt>
                <c:pt idx="18">
                  <c:v>1.2030000000000001</c:v>
                </c:pt>
                <c:pt idx="19">
                  <c:v>1.135</c:v>
                </c:pt>
                <c:pt idx="20">
                  <c:v>1.054</c:v>
                </c:pt>
                <c:pt idx="21">
                  <c:v>1.167</c:v>
                </c:pt>
                <c:pt idx="22">
                  <c:v>1.161</c:v>
                </c:pt>
                <c:pt idx="23">
                  <c:v>1.171</c:v>
                </c:pt>
                <c:pt idx="24">
                  <c:v>1.222</c:v>
                </c:pt>
                <c:pt idx="25">
                  <c:v>1.272</c:v>
                </c:pt>
                <c:pt idx="26">
                  <c:v>1.3120000000000001</c:v>
                </c:pt>
                <c:pt idx="27">
                  <c:v>1.302</c:v>
                </c:pt>
                <c:pt idx="28">
                  <c:v>1.22</c:v>
                </c:pt>
                <c:pt idx="29">
                  <c:v>1.268</c:v>
                </c:pt>
                <c:pt idx="30">
                  <c:v>1.284</c:v>
                </c:pt>
                <c:pt idx="31">
                  <c:v>1.31</c:v>
                </c:pt>
                <c:pt idx="32">
                  <c:v>1.3420000000000001</c:v>
                </c:pt>
                <c:pt idx="33">
                  <c:v>1.3149999999999999</c:v>
                </c:pt>
                <c:pt idx="34">
                  <c:v>1.319</c:v>
                </c:pt>
                <c:pt idx="35">
                  <c:v>1.3280000000000001</c:v>
                </c:pt>
                <c:pt idx="36">
                  <c:v>1.395</c:v>
                </c:pt>
                <c:pt idx="37">
                  <c:v>1.41</c:v>
                </c:pt>
                <c:pt idx="38">
                  <c:v>1.4610000000000001</c:v>
                </c:pt>
                <c:pt idx="39">
                  <c:v>1.488</c:v>
                </c:pt>
                <c:pt idx="40">
                  <c:v>1.5189999999999999</c:v>
                </c:pt>
                <c:pt idx="41">
                  <c:v>1.496</c:v>
                </c:pt>
                <c:pt idx="42">
                  <c:v>1.57</c:v>
                </c:pt>
                <c:pt idx="43">
                  <c:v>1.5209999999999999</c:v>
                </c:pt>
                <c:pt idx="44">
                  <c:v>1.5660000000000001</c:v>
                </c:pt>
                <c:pt idx="45">
                  <c:v>1.6359999999999999</c:v>
                </c:pt>
                <c:pt idx="46">
                  <c:v>1.6819999999999999</c:v>
                </c:pt>
                <c:pt idx="47">
                  <c:v>1.7210000000000001</c:v>
                </c:pt>
                <c:pt idx="48">
                  <c:v>1.66</c:v>
                </c:pt>
                <c:pt idx="49">
                  <c:v>1.732</c:v>
                </c:pt>
                <c:pt idx="50">
                  <c:v>1.744</c:v>
                </c:pt>
                <c:pt idx="51">
                  <c:v>1.754</c:v>
                </c:pt>
                <c:pt idx="52">
                  <c:v>1.7909999999999999</c:v>
                </c:pt>
                <c:pt idx="53">
                  <c:v>1.825</c:v>
                </c:pt>
                <c:pt idx="54">
                  <c:v>1.798</c:v>
                </c:pt>
                <c:pt idx="55">
                  <c:v>1.8660000000000001</c:v>
                </c:pt>
                <c:pt idx="56">
                  <c:v>1.837</c:v>
                </c:pt>
                <c:pt idx="57">
                  <c:v>1.879</c:v>
                </c:pt>
                <c:pt idx="58">
                  <c:v>1.925</c:v>
                </c:pt>
                <c:pt idx="59">
                  <c:v>1.917</c:v>
                </c:pt>
                <c:pt idx="60">
                  <c:v>1.8580000000000001</c:v>
                </c:pt>
                <c:pt idx="61">
                  <c:v>1.96</c:v>
                </c:pt>
                <c:pt idx="62">
                  <c:v>1.9259999999999999</c:v>
                </c:pt>
                <c:pt idx="63">
                  <c:v>1.9419999999999999</c:v>
                </c:pt>
                <c:pt idx="64">
                  <c:v>1.962</c:v>
                </c:pt>
                <c:pt idx="65">
                  <c:v>1.921</c:v>
                </c:pt>
                <c:pt idx="66">
                  <c:v>1.9590000000000001</c:v>
                </c:pt>
                <c:pt idx="67">
                  <c:v>1.837</c:v>
                </c:pt>
                <c:pt idx="68">
                  <c:v>1.788</c:v>
                </c:pt>
                <c:pt idx="69">
                  <c:v>1.9359999999999999</c:v>
                </c:pt>
                <c:pt idx="70">
                  <c:v>1.9370000000000001</c:v>
                </c:pt>
                <c:pt idx="71">
                  <c:v>1.903</c:v>
                </c:pt>
                <c:pt idx="72">
                  <c:v>1.8069999999999999</c:v>
                </c:pt>
                <c:pt idx="73">
                  <c:v>1.7989999999999999</c:v>
                </c:pt>
                <c:pt idx="74">
                  <c:v>1.9179999999999999</c:v>
                </c:pt>
                <c:pt idx="75">
                  <c:v>1.923</c:v>
                </c:pt>
                <c:pt idx="76">
                  <c:v>1.9530000000000001</c:v>
                </c:pt>
                <c:pt idx="77">
                  <c:v>1.954</c:v>
                </c:pt>
                <c:pt idx="78">
                  <c:v>2.024</c:v>
                </c:pt>
                <c:pt idx="79">
                  <c:v>2.0219999999999998</c:v>
                </c:pt>
                <c:pt idx="80">
                  <c:v>2.0190000000000001</c:v>
                </c:pt>
                <c:pt idx="81">
                  <c:v>1.98</c:v>
                </c:pt>
                <c:pt idx="82">
                  <c:v>2.048</c:v>
                </c:pt>
                <c:pt idx="83">
                  <c:v>2.085</c:v>
                </c:pt>
                <c:pt idx="84">
                  <c:v>2.1219999999999999</c:v>
                </c:pt>
                <c:pt idx="85">
                  <c:v>2.2010000000000001</c:v>
                </c:pt>
                <c:pt idx="86">
                  <c:v>2.2000000000000002</c:v>
                </c:pt>
                <c:pt idx="87">
                  <c:v>2.2200000000000002</c:v>
                </c:pt>
                <c:pt idx="88">
                  <c:v>2.246</c:v>
                </c:pt>
                <c:pt idx="89">
                  <c:v>2.2570000000000001</c:v>
                </c:pt>
                <c:pt idx="90">
                  <c:v>2.2999999999999998</c:v>
                </c:pt>
                <c:pt idx="91">
                  <c:v>2.302</c:v>
                </c:pt>
                <c:pt idx="92">
                  <c:v>2.3460000000000001</c:v>
                </c:pt>
                <c:pt idx="93">
                  <c:v>2.3980000000000001</c:v>
                </c:pt>
                <c:pt idx="94">
                  <c:v>2.4649999999999999</c:v>
                </c:pt>
                <c:pt idx="95">
                  <c:v>2.4900000000000002</c:v>
                </c:pt>
                <c:pt idx="96">
                  <c:v>2.63</c:v>
                </c:pt>
                <c:pt idx="97">
                  <c:v>2.5270000000000001</c:v>
                </c:pt>
                <c:pt idx="98">
                  <c:v>2.4590000000000001</c:v>
                </c:pt>
                <c:pt idx="99">
                  <c:v>2.4660000000000002</c:v>
                </c:pt>
                <c:pt idx="100">
                  <c:v>2.5190000000000001</c:v>
                </c:pt>
                <c:pt idx="101">
                  <c:v>2.5310000000000001</c:v>
                </c:pt>
                <c:pt idx="102">
                  <c:v>2.6230000000000002</c:v>
                </c:pt>
                <c:pt idx="103">
                  <c:v>2.702</c:v>
                </c:pt>
                <c:pt idx="104">
                  <c:v>2.714</c:v>
                </c:pt>
                <c:pt idx="105">
                  <c:v>2.5249999999999999</c:v>
                </c:pt>
                <c:pt idx="106">
                  <c:v>2.57</c:v>
                </c:pt>
                <c:pt idx="107">
                  <c:v>2.3340000000000001</c:v>
                </c:pt>
                <c:pt idx="108">
                  <c:v>2.5179999999999998</c:v>
                </c:pt>
                <c:pt idx="109">
                  <c:v>2.593</c:v>
                </c:pt>
                <c:pt idx="110">
                  <c:v>2.6389999999999998</c:v>
                </c:pt>
                <c:pt idx="111">
                  <c:v>2.7429999999999999</c:v>
                </c:pt>
                <c:pt idx="112">
                  <c:v>2.5630000000000002</c:v>
                </c:pt>
                <c:pt idx="113">
                  <c:v>2.7389999999999999</c:v>
                </c:pt>
                <c:pt idx="114">
                  <c:v>2.7749999999999999</c:v>
                </c:pt>
                <c:pt idx="115">
                  <c:v>2.7250000000000001</c:v>
                </c:pt>
                <c:pt idx="116">
                  <c:v>2.7719999999999998</c:v>
                </c:pt>
                <c:pt idx="117">
                  <c:v>2.8290000000000002</c:v>
                </c:pt>
                <c:pt idx="118">
                  <c:v>2.9249999999999998</c:v>
                </c:pt>
                <c:pt idx="119">
                  <c:v>3.0089999999999999</c:v>
                </c:pt>
                <c:pt idx="120">
                  <c:v>3.004</c:v>
                </c:pt>
                <c:pt idx="121">
                  <c:v>2.7509999999999999</c:v>
                </c:pt>
                <c:pt idx="122">
                  <c:v>2.407</c:v>
                </c:pt>
                <c:pt idx="123">
                  <c:v>2.7120000000000002</c:v>
                </c:pt>
                <c:pt idx="124">
                  <c:v>2.835</c:v>
                </c:pt>
                <c:pt idx="125">
                  <c:v>2.887</c:v>
                </c:pt>
                <c:pt idx="126">
                  <c:v>3.0459999999999998</c:v>
                </c:pt>
                <c:pt idx="127">
                  <c:v>3.26</c:v>
                </c:pt>
                <c:pt idx="128">
                  <c:v>3.1320000000000001</c:v>
                </c:pt>
                <c:pt idx="129">
                  <c:v>3.0449999999999999</c:v>
                </c:pt>
                <c:pt idx="130">
                  <c:v>3.3730000000000002</c:v>
                </c:pt>
                <c:pt idx="131">
                  <c:v>3.4980000000000002</c:v>
                </c:pt>
                <c:pt idx="132">
                  <c:v>3.4590000000000001</c:v>
                </c:pt>
                <c:pt idx="133">
                  <c:v>3.5489999999999999</c:v>
                </c:pt>
                <c:pt idx="134">
                  <c:v>3.7</c:v>
                </c:pt>
                <c:pt idx="135">
                  <c:v>3.8940000000000001</c:v>
                </c:pt>
                <c:pt idx="136">
                  <c:v>3.915</c:v>
                </c:pt>
                <c:pt idx="137">
                  <c:v>4.0019999999999998</c:v>
                </c:pt>
                <c:pt idx="138">
                  <c:v>4.093</c:v>
                </c:pt>
              </c:numCache>
            </c:numRef>
          </c:val>
          <c:smooth val="0"/>
          <c:extLst>
            <c:ext xmlns:c16="http://schemas.microsoft.com/office/drawing/2014/chart" uri="{C3380CC4-5D6E-409C-BE32-E72D297353CC}">
              <c16:uniqueId val="{00000001-34D1-2C44-BE5D-DF1DE1557164}"/>
            </c:ext>
          </c:extLst>
        </c:ser>
        <c:dLbls>
          <c:showLegendKey val="0"/>
          <c:showVal val="0"/>
          <c:showCatName val="0"/>
          <c:showSerName val="0"/>
          <c:showPercent val="0"/>
          <c:showBubbleSize val="0"/>
        </c:dLbls>
        <c:smooth val="0"/>
        <c:axId val="1065107088"/>
        <c:axId val="1473788384"/>
      </c:lineChart>
      <c:catAx>
        <c:axId val="1065107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473788384"/>
        <c:crosses val="autoZero"/>
        <c:auto val="1"/>
        <c:lblAlgn val="ctr"/>
        <c:lblOffset val="100"/>
        <c:noMultiLvlLbl val="0"/>
      </c:catAx>
      <c:valAx>
        <c:axId val="1473788384"/>
        <c:scaling>
          <c:orientation val="minMax"/>
          <c:max val="5"/>
          <c:min val="0.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65107088"/>
        <c:crosses val="autoZero"/>
        <c:crossBetween val="between"/>
        <c:majorUnit val="0.60000000000000009"/>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46527671480127E-2"/>
          <c:y val="3.2487373505722873E-2"/>
          <c:w val="0.8302156137985377"/>
          <c:h val="0.92750166401321388"/>
        </c:manualLayout>
      </c:layout>
      <c:lineChart>
        <c:grouping val="standard"/>
        <c:varyColors val="0"/>
        <c:ser>
          <c:idx val="0"/>
          <c:order val="0"/>
          <c:tx>
            <c:strRef>
              <c:f>Sheet1!$B$1</c:f>
              <c:strCache>
                <c:ptCount val="1"/>
                <c:pt idx="0">
                  <c:v>DIS</c:v>
                </c:pt>
              </c:strCache>
            </c:strRef>
          </c:tx>
          <c:spPr>
            <a:ln w="25400"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0.00_);[Red]\(0.00\)</c:formatCode>
                <c:ptCount val="45"/>
                <c:pt idx="0">
                  <c:v>1.54</c:v>
                </c:pt>
                <c:pt idx="1">
                  <c:v>1.34</c:v>
                </c:pt>
                <c:pt idx="2">
                  <c:v>1.39</c:v>
                </c:pt>
                <c:pt idx="3">
                  <c:v>1.56</c:v>
                </c:pt>
                <c:pt idx="4">
                  <c:v>1.75</c:v>
                </c:pt>
                <c:pt idx="5">
                  <c:v>1.53</c:v>
                </c:pt>
                <c:pt idx="6">
                  <c:v>1.21</c:v>
                </c:pt>
                <c:pt idx="7">
                  <c:v>1.57</c:v>
                </c:pt>
                <c:pt idx="8">
                  <c:v>1.79</c:v>
                </c:pt>
                <c:pt idx="9">
                  <c:v>1.87</c:v>
                </c:pt>
                <c:pt idx="10">
                  <c:v>2.0099999999999998</c:v>
                </c:pt>
                <c:pt idx="11">
                  <c:v>1.88</c:v>
                </c:pt>
                <c:pt idx="12">
                  <c:v>2.11</c:v>
                </c:pt>
                <c:pt idx="13">
                  <c:v>2.25</c:v>
                </c:pt>
                <c:pt idx="14">
                  <c:v>2.19</c:v>
                </c:pt>
                <c:pt idx="15">
                  <c:v>2.5299999999999998</c:v>
                </c:pt>
                <c:pt idx="16">
                  <c:v>2.63</c:v>
                </c:pt>
                <c:pt idx="17">
                  <c:v>2.76</c:v>
                </c:pt>
                <c:pt idx="18">
                  <c:v>2.89</c:v>
                </c:pt>
                <c:pt idx="19">
                  <c:v>3.12</c:v>
                </c:pt>
                <c:pt idx="20">
                  <c:v>3.34</c:v>
                </c:pt>
                <c:pt idx="21">
                  <c:v>3.37</c:v>
                </c:pt>
                <c:pt idx="22">
                  <c:v>3.15</c:v>
                </c:pt>
                <c:pt idx="23">
                  <c:v>3.5</c:v>
                </c:pt>
                <c:pt idx="24">
                  <c:v>3.32</c:v>
                </c:pt>
                <c:pt idx="25">
                  <c:v>3.26</c:v>
                </c:pt>
                <c:pt idx="26">
                  <c:v>2.98</c:v>
                </c:pt>
                <c:pt idx="27">
                  <c:v>3.38</c:v>
                </c:pt>
                <c:pt idx="28">
                  <c:v>3.67</c:v>
                </c:pt>
                <c:pt idx="29">
                  <c:v>3.53</c:v>
                </c:pt>
                <c:pt idx="30">
                  <c:v>3.17</c:v>
                </c:pt>
                <c:pt idx="31">
                  <c:v>3.33</c:v>
                </c:pt>
                <c:pt idx="32">
                  <c:v>3.01</c:v>
                </c:pt>
                <c:pt idx="33">
                  <c:v>3.05</c:v>
                </c:pt>
                <c:pt idx="34">
                  <c:v>3.25</c:v>
                </c:pt>
                <c:pt idx="35">
                  <c:v>2.99</c:v>
                </c:pt>
                <c:pt idx="36">
                  <c:v>1.87</c:v>
                </c:pt>
                <c:pt idx="37">
                  <c:v>2.5499999999999998</c:v>
                </c:pt>
                <c:pt idx="38">
                  <c:v>2.46</c:v>
                </c:pt>
                <c:pt idx="39">
                  <c:v>2.72</c:v>
                </c:pt>
                <c:pt idx="40">
                  <c:v>1.81</c:v>
                </c:pt>
                <c:pt idx="41">
                  <c:v>2.2000000000000002</c:v>
                </c:pt>
                <c:pt idx="42">
                  <c:v>2.5</c:v>
                </c:pt>
                <c:pt idx="43">
                  <c:v>3.64</c:v>
                </c:pt>
                <c:pt idx="44">
                  <c:v>3.66</c:v>
                </c:pt>
              </c:numCache>
            </c:numRef>
          </c:val>
          <c:smooth val="0"/>
          <c:extLst>
            <c:ext xmlns:c16="http://schemas.microsoft.com/office/drawing/2014/chart" uri="{C3380CC4-5D6E-409C-BE32-E72D297353CC}">
              <c16:uniqueId val="{00000000-4D6E-554E-8243-86C506291076}"/>
            </c:ext>
          </c:extLst>
        </c:ser>
        <c:ser>
          <c:idx val="1"/>
          <c:order val="1"/>
          <c:tx>
            <c:strRef>
              <c:f>Sheet1!$C$1</c:f>
              <c:strCache>
                <c:ptCount val="1"/>
                <c:pt idx="0">
                  <c:v>PB Median</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0.00_);[Red]\(0.00\)</c:formatCode>
                <c:ptCount val="45"/>
                <c:pt idx="0">
                  <c:v>2.81</c:v>
                </c:pt>
                <c:pt idx="1">
                  <c:v>2.8050000000000002</c:v>
                </c:pt>
                <c:pt idx="2">
                  <c:v>2.6749999999999998</c:v>
                </c:pt>
                <c:pt idx="3">
                  <c:v>3.08</c:v>
                </c:pt>
                <c:pt idx="4">
                  <c:v>3.0649999999999999</c:v>
                </c:pt>
                <c:pt idx="5">
                  <c:v>2.67</c:v>
                </c:pt>
                <c:pt idx="6">
                  <c:v>2.6549999999999998</c:v>
                </c:pt>
                <c:pt idx="7">
                  <c:v>2.9550000000000001</c:v>
                </c:pt>
                <c:pt idx="8">
                  <c:v>3.07</c:v>
                </c:pt>
                <c:pt idx="9">
                  <c:v>4.3</c:v>
                </c:pt>
                <c:pt idx="10">
                  <c:v>3.31</c:v>
                </c:pt>
                <c:pt idx="11">
                  <c:v>3.94</c:v>
                </c:pt>
                <c:pt idx="12">
                  <c:v>4.16</c:v>
                </c:pt>
                <c:pt idx="13">
                  <c:v>4.55</c:v>
                </c:pt>
                <c:pt idx="14">
                  <c:v>4.54</c:v>
                </c:pt>
                <c:pt idx="15">
                  <c:v>5.68</c:v>
                </c:pt>
                <c:pt idx="16">
                  <c:v>7.73</c:v>
                </c:pt>
                <c:pt idx="17">
                  <c:v>5.73</c:v>
                </c:pt>
                <c:pt idx="18">
                  <c:v>5.68</c:v>
                </c:pt>
                <c:pt idx="19">
                  <c:v>6</c:v>
                </c:pt>
                <c:pt idx="20">
                  <c:v>6.11</c:v>
                </c:pt>
                <c:pt idx="21">
                  <c:v>6.09</c:v>
                </c:pt>
                <c:pt idx="22">
                  <c:v>6.1</c:v>
                </c:pt>
                <c:pt idx="23">
                  <c:v>6.71</c:v>
                </c:pt>
                <c:pt idx="24">
                  <c:v>6.9</c:v>
                </c:pt>
                <c:pt idx="25">
                  <c:v>6.49</c:v>
                </c:pt>
                <c:pt idx="26">
                  <c:v>6.98</c:v>
                </c:pt>
                <c:pt idx="27">
                  <c:v>5.62</c:v>
                </c:pt>
                <c:pt idx="28">
                  <c:v>6.76</c:v>
                </c:pt>
                <c:pt idx="29">
                  <c:v>6.59</c:v>
                </c:pt>
                <c:pt idx="30">
                  <c:v>6.97</c:v>
                </c:pt>
                <c:pt idx="31">
                  <c:v>8.0299999999999994</c:v>
                </c:pt>
                <c:pt idx="32">
                  <c:v>9.42</c:v>
                </c:pt>
                <c:pt idx="33">
                  <c:v>9.73</c:v>
                </c:pt>
                <c:pt idx="34">
                  <c:v>11.2</c:v>
                </c:pt>
                <c:pt idx="35">
                  <c:v>12.54</c:v>
                </c:pt>
                <c:pt idx="36">
                  <c:v>11.71</c:v>
                </c:pt>
                <c:pt idx="37">
                  <c:v>12.72</c:v>
                </c:pt>
                <c:pt idx="38">
                  <c:v>12.25</c:v>
                </c:pt>
                <c:pt idx="39">
                  <c:v>12.33</c:v>
                </c:pt>
                <c:pt idx="40">
                  <c:v>8.59</c:v>
                </c:pt>
                <c:pt idx="41">
                  <c:v>9.64</c:v>
                </c:pt>
                <c:pt idx="42">
                  <c:v>8.18</c:v>
                </c:pt>
                <c:pt idx="43">
                  <c:v>9.58</c:v>
                </c:pt>
                <c:pt idx="44">
                  <c:v>11.57</c:v>
                </c:pt>
              </c:numCache>
            </c:numRef>
          </c:val>
          <c:smooth val="0"/>
          <c:extLst>
            <c:ext xmlns:c16="http://schemas.microsoft.com/office/drawing/2014/chart" uri="{C3380CC4-5D6E-409C-BE32-E72D297353CC}">
              <c16:uniqueId val="{00000001-4D6E-554E-8243-86C506291076}"/>
            </c:ext>
          </c:extLst>
        </c:ser>
        <c:dLbls>
          <c:showLegendKey val="0"/>
          <c:showVal val="0"/>
          <c:showCatName val="0"/>
          <c:showSerName val="0"/>
          <c:showPercent val="0"/>
          <c:showBubbleSize val="0"/>
        </c:dLbls>
        <c:smooth val="0"/>
        <c:axId val="1026893663"/>
        <c:axId val="1114218463"/>
      </c:lineChart>
      <c:catAx>
        <c:axId val="1026893663"/>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4218463"/>
        <c:crosses val="autoZero"/>
        <c:auto val="1"/>
        <c:lblAlgn val="ctr"/>
        <c:lblOffset val="100"/>
        <c:noMultiLvlLbl val="1"/>
      </c:catAx>
      <c:valAx>
        <c:axId val="1114218463"/>
        <c:scaling>
          <c:orientation val="minMax"/>
          <c:max val="15"/>
          <c:min val="0"/>
        </c:scaling>
        <c:delete val="0"/>
        <c:axPos val="l"/>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26893663"/>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148364574960128E-2"/>
          <c:y val="3.6249146791614784E-2"/>
          <c:w val="0.84117356893975481"/>
          <c:h val="0.84239961678002806"/>
        </c:manualLayout>
      </c:layout>
      <c:lineChart>
        <c:grouping val="standard"/>
        <c:varyColors val="0"/>
        <c:ser>
          <c:idx val="0"/>
          <c:order val="0"/>
          <c:tx>
            <c:strRef>
              <c:f>Sheet1!$B$1</c:f>
              <c:strCache>
                <c:ptCount val="1"/>
                <c:pt idx="0">
                  <c:v>DIS</c:v>
                </c:pt>
              </c:strCache>
            </c:strRef>
          </c:tx>
          <c:spPr>
            <a:ln w="25400"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16.010000000000002</c:v>
                </c:pt>
                <c:pt idx="1">
                  <c:v>13.32</c:v>
                </c:pt>
                <c:pt idx="2">
                  <c:v>14.27</c:v>
                </c:pt>
                <c:pt idx="3">
                  <c:v>14.62</c:v>
                </c:pt>
                <c:pt idx="4">
                  <c:v>16.72</c:v>
                </c:pt>
                <c:pt idx="5">
                  <c:v>14.51</c:v>
                </c:pt>
                <c:pt idx="6">
                  <c:v>10.54</c:v>
                </c:pt>
                <c:pt idx="7">
                  <c:v>12.72</c:v>
                </c:pt>
                <c:pt idx="8">
                  <c:v>14.1</c:v>
                </c:pt>
                <c:pt idx="9">
                  <c:v>14.38</c:v>
                </c:pt>
                <c:pt idx="10">
                  <c:v>15.01</c:v>
                </c:pt>
                <c:pt idx="11">
                  <c:v>14.65</c:v>
                </c:pt>
                <c:pt idx="12">
                  <c:v>15.7</c:v>
                </c:pt>
                <c:pt idx="13">
                  <c:v>17.45</c:v>
                </c:pt>
                <c:pt idx="14">
                  <c:v>17.350000000000001</c:v>
                </c:pt>
                <c:pt idx="15">
                  <c:v>19.32</c:v>
                </c:pt>
                <c:pt idx="16">
                  <c:v>18.95</c:v>
                </c:pt>
                <c:pt idx="17">
                  <c:v>18.97</c:v>
                </c:pt>
                <c:pt idx="18">
                  <c:v>19.28</c:v>
                </c:pt>
                <c:pt idx="19">
                  <c:v>19.55</c:v>
                </c:pt>
                <c:pt idx="20">
                  <c:v>21.07</c:v>
                </c:pt>
                <c:pt idx="21">
                  <c:v>22.12</c:v>
                </c:pt>
                <c:pt idx="22">
                  <c:v>19.55</c:v>
                </c:pt>
                <c:pt idx="23">
                  <c:v>18.5</c:v>
                </c:pt>
                <c:pt idx="24">
                  <c:v>17.25</c:v>
                </c:pt>
                <c:pt idx="25">
                  <c:v>16.57</c:v>
                </c:pt>
                <c:pt idx="26">
                  <c:v>15.43</c:v>
                </c:pt>
                <c:pt idx="27">
                  <c:v>18.010000000000002</c:v>
                </c:pt>
                <c:pt idx="28">
                  <c:v>18.91</c:v>
                </c:pt>
                <c:pt idx="29">
                  <c:v>17.97</c:v>
                </c:pt>
                <c:pt idx="30">
                  <c:v>16.71</c:v>
                </c:pt>
                <c:pt idx="31">
                  <c:v>14.83</c:v>
                </c:pt>
                <c:pt idx="32">
                  <c:v>13.02</c:v>
                </c:pt>
                <c:pt idx="33">
                  <c:v>12.84</c:v>
                </c:pt>
                <c:pt idx="34">
                  <c:v>13.71</c:v>
                </c:pt>
                <c:pt idx="35">
                  <c:v>14.82</c:v>
                </c:pt>
                <c:pt idx="36">
                  <c:v>12.31</c:v>
                </c:pt>
                <c:pt idx="37">
                  <c:v>17.399999999999999</c:v>
                </c:pt>
                <c:pt idx="38">
                  <c:v>18.61</c:v>
                </c:pt>
                <c:pt idx="39">
                  <c:v>23.1</c:v>
                </c:pt>
                <c:pt idx="40">
                  <c:v>32.64</c:v>
                </c:pt>
                <c:pt idx="41">
                  <c:v>0</c:v>
                </c:pt>
                <c:pt idx="42">
                  <c:v>0</c:v>
                </c:pt>
                <c:pt idx="43">
                  <c:v>0</c:v>
                </c:pt>
                <c:pt idx="44">
                  <c:v>0</c:v>
                </c:pt>
              </c:numCache>
            </c:numRef>
          </c:val>
          <c:smooth val="0"/>
          <c:extLst>
            <c:ext xmlns:c16="http://schemas.microsoft.com/office/drawing/2014/chart" uri="{C3380CC4-5D6E-409C-BE32-E72D297353CC}">
              <c16:uniqueId val="{00000000-4209-E44F-A336-9537347F9536}"/>
            </c:ext>
          </c:extLst>
        </c:ser>
        <c:ser>
          <c:idx val="1"/>
          <c:order val="1"/>
          <c:tx>
            <c:strRef>
              <c:f>Sheet1!$C$1</c:f>
              <c:strCache>
                <c:ptCount val="1"/>
                <c:pt idx="0">
                  <c:v>PE Median</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13.055</c:v>
                </c:pt>
                <c:pt idx="1">
                  <c:v>15.475</c:v>
                </c:pt>
                <c:pt idx="2">
                  <c:v>14.475000000000001</c:v>
                </c:pt>
                <c:pt idx="3">
                  <c:v>14.620000000000001</c:v>
                </c:pt>
                <c:pt idx="4">
                  <c:v>17.04</c:v>
                </c:pt>
                <c:pt idx="5">
                  <c:v>15.1</c:v>
                </c:pt>
                <c:pt idx="6">
                  <c:v>13.855</c:v>
                </c:pt>
                <c:pt idx="7">
                  <c:v>15.685</c:v>
                </c:pt>
                <c:pt idx="8">
                  <c:v>16.745000000000001</c:v>
                </c:pt>
                <c:pt idx="9">
                  <c:v>17.270000000000003</c:v>
                </c:pt>
                <c:pt idx="10">
                  <c:v>18.36</c:v>
                </c:pt>
                <c:pt idx="11">
                  <c:v>16.035</c:v>
                </c:pt>
                <c:pt idx="12">
                  <c:v>19.309999999999999</c:v>
                </c:pt>
                <c:pt idx="13">
                  <c:v>20.77</c:v>
                </c:pt>
                <c:pt idx="14">
                  <c:v>19.47</c:v>
                </c:pt>
                <c:pt idx="15">
                  <c:v>23.2</c:v>
                </c:pt>
                <c:pt idx="16">
                  <c:v>17.73</c:v>
                </c:pt>
                <c:pt idx="17">
                  <c:v>17.91</c:v>
                </c:pt>
                <c:pt idx="18">
                  <c:v>16.07</c:v>
                </c:pt>
                <c:pt idx="19">
                  <c:v>19.22</c:v>
                </c:pt>
                <c:pt idx="20">
                  <c:v>19.309999999999999</c:v>
                </c:pt>
                <c:pt idx="21">
                  <c:v>25.74</c:v>
                </c:pt>
                <c:pt idx="22">
                  <c:v>26.51</c:v>
                </c:pt>
                <c:pt idx="23">
                  <c:v>30.23</c:v>
                </c:pt>
                <c:pt idx="24">
                  <c:v>26.85</c:v>
                </c:pt>
                <c:pt idx="25">
                  <c:v>24.13</c:v>
                </c:pt>
                <c:pt idx="26">
                  <c:v>24.58</c:v>
                </c:pt>
                <c:pt idx="27">
                  <c:v>20.94</c:v>
                </c:pt>
                <c:pt idx="28">
                  <c:v>22.69</c:v>
                </c:pt>
                <c:pt idx="29">
                  <c:v>21.2</c:v>
                </c:pt>
                <c:pt idx="30">
                  <c:v>21.62</c:v>
                </c:pt>
                <c:pt idx="31">
                  <c:v>25.17</c:v>
                </c:pt>
                <c:pt idx="32">
                  <c:v>26.46</c:v>
                </c:pt>
                <c:pt idx="33">
                  <c:v>30.08</c:v>
                </c:pt>
                <c:pt idx="34">
                  <c:v>24.81</c:v>
                </c:pt>
                <c:pt idx="35">
                  <c:v>29.81</c:v>
                </c:pt>
                <c:pt idx="36">
                  <c:v>24.77</c:v>
                </c:pt>
                <c:pt idx="37">
                  <c:v>30.41</c:v>
                </c:pt>
                <c:pt idx="38">
                  <c:v>28.45</c:v>
                </c:pt>
                <c:pt idx="39">
                  <c:v>31.87</c:v>
                </c:pt>
                <c:pt idx="40">
                  <c:v>22.85</c:v>
                </c:pt>
                <c:pt idx="41">
                  <c:v>27.73</c:v>
                </c:pt>
                <c:pt idx="42">
                  <c:v>29.83</c:v>
                </c:pt>
                <c:pt idx="43">
                  <c:v>30.68</c:v>
                </c:pt>
                <c:pt idx="44">
                  <c:v>30.77</c:v>
                </c:pt>
              </c:numCache>
            </c:numRef>
          </c:val>
          <c:smooth val="0"/>
          <c:extLst>
            <c:ext xmlns:c16="http://schemas.microsoft.com/office/drawing/2014/chart" uri="{C3380CC4-5D6E-409C-BE32-E72D297353CC}">
              <c16:uniqueId val="{00000001-4209-E44F-A336-9537347F9536}"/>
            </c:ext>
          </c:extLst>
        </c:ser>
        <c:dLbls>
          <c:showLegendKey val="0"/>
          <c:showVal val="0"/>
          <c:showCatName val="0"/>
          <c:showSerName val="0"/>
          <c:showPercent val="0"/>
          <c:showBubbleSize val="0"/>
        </c:dLbls>
        <c:smooth val="0"/>
        <c:axId val="1026893663"/>
        <c:axId val="1114218463"/>
      </c:lineChart>
      <c:catAx>
        <c:axId val="1026893663"/>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0" spcFirstLastPara="1" vertOverflow="ellipsis" wrap="square" anchor="ctr" anchorCtr="1"/>
          <a:lstStyle/>
          <a:p>
            <a:pPr>
              <a:defRPr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4218463"/>
        <c:crosses val="autoZero"/>
        <c:auto val="1"/>
        <c:lblAlgn val="ctr"/>
        <c:lblOffset val="100"/>
        <c:noMultiLvlLbl val="0"/>
      </c:catAx>
      <c:valAx>
        <c:axId val="1114218463"/>
        <c:scaling>
          <c:orientation val="minMax"/>
          <c:max val="45"/>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026893663"/>
        <c:crosses val="autoZero"/>
        <c:crossBetween val="between"/>
        <c:majorUnit val="1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96911906934928E-2"/>
          <c:y val="6.3059395801331297E-2"/>
          <c:w val="0.91412982031092271"/>
          <c:h val="0.78908282130056329"/>
        </c:manualLayout>
      </c:layout>
      <c:lineChart>
        <c:grouping val="standard"/>
        <c:varyColors val="0"/>
        <c:ser>
          <c:idx val="0"/>
          <c:order val="0"/>
          <c:tx>
            <c:strRef>
              <c:f>Sheet1!$B$1</c:f>
              <c:strCache>
                <c:ptCount val="1"/>
                <c:pt idx="0">
                  <c:v>Stock Price</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31.42</c:v>
                </c:pt>
                <c:pt idx="1">
                  <c:v>31.09</c:v>
                </c:pt>
                <c:pt idx="2">
                  <c:v>30.215</c:v>
                </c:pt>
                <c:pt idx="3">
                  <c:v>33.28</c:v>
                </c:pt>
                <c:pt idx="4">
                  <c:v>38.06</c:v>
                </c:pt>
                <c:pt idx="5">
                  <c:v>38.39</c:v>
                </c:pt>
                <c:pt idx="6">
                  <c:v>32.57</c:v>
                </c:pt>
                <c:pt idx="7">
                  <c:v>32.03</c:v>
                </c:pt>
                <c:pt idx="8">
                  <c:v>43.78</c:v>
                </c:pt>
                <c:pt idx="9">
                  <c:v>48.5</c:v>
                </c:pt>
                <c:pt idx="10">
                  <c:v>49.44</c:v>
                </c:pt>
                <c:pt idx="11">
                  <c:v>47.24</c:v>
                </c:pt>
                <c:pt idx="12">
                  <c:v>54.12</c:v>
                </c:pt>
                <c:pt idx="13">
                  <c:v>60.67</c:v>
                </c:pt>
                <c:pt idx="14">
                  <c:v>61.88</c:v>
                </c:pt>
                <c:pt idx="15">
                  <c:v>72.415000000000006</c:v>
                </c:pt>
                <c:pt idx="16">
                  <c:v>76.385000000000005</c:v>
                </c:pt>
                <c:pt idx="17">
                  <c:v>82.12</c:v>
                </c:pt>
                <c:pt idx="18">
                  <c:v>85.35</c:v>
                </c:pt>
                <c:pt idx="19">
                  <c:v>91.38</c:v>
                </c:pt>
                <c:pt idx="20">
                  <c:v>101.6</c:v>
                </c:pt>
                <c:pt idx="21">
                  <c:v>110.66</c:v>
                </c:pt>
                <c:pt idx="22">
                  <c:v>99.38</c:v>
                </c:pt>
                <c:pt idx="23">
                  <c:v>101.12</c:v>
                </c:pt>
                <c:pt idx="24">
                  <c:v>96.39</c:v>
                </c:pt>
                <c:pt idx="25">
                  <c:v>95.16</c:v>
                </c:pt>
                <c:pt idx="26">
                  <c:v>90.55</c:v>
                </c:pt>
                <c:pt idx="27">
                  <c:v>104.22</c:v>
                </c:pt>
                <c:pt idx="28">
                  <c:v>110.99</c:v>
                </c:pt>
                <c:pt idx="29">
                  <c:v>104</c:v>
                </c:pt>
                <c:pt idx="30">
                  <c:v>98.57</c:v>
                </c:pt>
                <c:pt idx="31">
                  <c:v>108.175</c:v>
                </c:pt>
                <c:pt idx="32">
                  <c:v>98.66</c:v>
                </c:pt>
                <c:pt idx="33">
                  <c:v>104.81</c:v>
                </c:pt>
                <c:pt idx="34">
                  <c:v>115.44</c:v>
                </c:pt>
                <c:pt idx="35">
                  <c:v>107.825</c:v>
                </c:pt>
                <c:pt idx="36">
                  <c:v>111.1</c:v>
                </c:pt>
                <c:pt idx="37">
                  <c:v>139.63999999999999</c:v>
                </c:pt>
                <c:pt idx="38">
                  <c:v>129.96</c:v>
                </c:pt>
                <c:pt idx="39">
                  <c:v>145.75</c:v>
                </c:pt>
                <c:pt idx="40">
                  <c:v>96.4</c:v>
                </c:pt>
                <c:pt idx="41">
                  <c:v>109.1</c:v>
                </c:pt>
                <c:pt idx="42">
                  <c:v>122.55</c:v>
                </c:pt>
                <c:pt idx="43">
                  <c:v>177.68</c:v>
                </c:pt>
                <c:pt idx="44">
                  <c:v>188.5</c:v>
                </c:pt>
              </c:numCache>
            </c:numRef>
          </c:val>
          <c:smooth val="0"/>
          <c:extLst>
            <c:ext xmlns:c16="http://schemas.microsoft.com/office/drawing/2014/chart" uri="{C3380CC4-5D6E-409C-BE32-E72D297353CC}">
              <c16:uniqueId val="{00000000-4AC2-944A-8ADA-533BF0A6F487}"/>
            </c:ext>
          </c:extLst>
        </c:ser>
        <c:ser>
          <c:idx val="2"/>
          <c:order val="1"/>
          <c:tx>
            <c:strRef>
              <c:f>Sheet1!$C$1</c:f>
              <c:strCache>
                <c:ptCount val="1"/>
                <c:pt idx="0">
                  <c:v>DCF</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32.365000000000002</c:v>
                </c:pt>
                <c:pt idx="1">
                  <c:v>32.06</c:v>
                </c:pt>
                <c:pt idx="2">
                  <c:v>31.22</c:v>
                </c:pt>
                <c:pt idx="3">
                  <c:v>34.18</c:v>
                </c:pt>
                <c:pt idx="4">
                  <c:v>38.93</c:v>
                </c:pt>
                <c:pt idx="5">
                  <c:v>39.07</c:v>
                </c:pt>
                <c:pt idx="6">
                  <c:v>33.31</c:v>
                </c:pt>
                <c:pt idx="7">
                  <c:v>33.11</c:v>
                </c:pt>
                <c:pt idx="8">
                  <c:v>45.86</c:v>
                </c:pt>
                <c:pt idx="9">
                  <c:v>50.94</c:v>
                </c:pt>
                <c:pt idx="10">
                  <c:v>50.32</c:v>
                </c:pt>
                <c:pt idx="11">
                  <c:v>47.69</c:v>
                </c:pt>
                <c:pt idx="12">
                  <c:v>55.32</c:v>
                </c:pt>
                <c:pt idx="13">
                  <c:v>62.23</c:v>
                </c:pt>
                <c:pt idx="14">
                  <c:v>63.645000000000003</c:v>
                </c:pt>
                <c:pt idx="15">
                  <c:v>73.86</c:v>
                </c:pt>
                <c:pt idx="16">
                  <c:v>77.375</c:v>
                </c:pt>
                <c:pt idx="17">
                  <c:v>83.6</c:v>
                </c:pt>
                <c:pt idx="18">
                  <c:v>86.71</c:v>
                </c:pt>
                <c:pt idx="19">
                  <c:v>93.08</c:v>
                </c:pt>
                <c:pt idx="20">
                  <c:v>102.99</c:v>
                </c:pt>
                <c:pt idx="21">
                  <c:v>112.37</c:v>
                </c:pt>
                <c:pt idx="22">
                  <c:v>100.56</c:v>
                </c:pt>
                <c:pt idx="23">
                  <c:v>101.93</c:v>
                </c:pt>
                <c:pt idx="24">
                  <c:v>97.7</c:v>
                </c:pt>
                <c:pt idx="25">
                  <c:v>96.74</c:v>
                </c:pt>
                <c:pt idx="26">
                  <c:v>92.28</c:v>
                </c:pt>
                <c:pt idx="27">
                  <c:v>106.57</c:v>
                </c:pt>
                <c:pt idx="28">
                  <c:v>111.86</c:v>
                </c:pt>
                <c:pt idx="29">
                  <c:v>105.71</c:v>
                </c:pt>
                <c:pt idx="30">
                  <c:v>101.18</c:v>
                </c:pt>
                <c:pt idx="31">
                  <c:v>109.29</c:v>
                </c:pt>
                <c:pt idx="32">
                  <c:v>101.44</c:v>
                </c:pt>
                <c:pt idx="33">
                  <c:v>107.71</c:v>
                </c:pt>
                <c:pt idx="34">
                  <c:v>116.96</c:v>
                </c:pt>
                <c:pt idx="35">
                  <c:v>109.65</c:v>
                </c:pt>
                <c:pt idx="36">
                  <c:v>111.5</c:v>
                </c:pt>
                <c:pt idx="37">
                  <c:v>131.26</c:v>
                </c:pt>
                <c:pt idx="38">
                  <c:v>128.07</c:v>
                </c:pt>
                <c:pt idx="39">
                  <c:v>143.97999999999999</c:v>
                </c:pt>
                <c:pt idx="40">
                  <c:v>97.3</c:v>
                </c:pt>
                <c:pt idx="41">
                  <c:v>116.21</c:v>
                </c:pt>
                <c:pt idx="42">
                  <c:v>132.44999999999999</c:v>
                </c:pt>
                <c:pt idx="43">
                  <c:v>187.1</c:v>
                </c:pt>
                <c:pt idx="44">
                  <c:v>197.25</c:v>
                </c:pt>
              </c:numCache>
            </c:numRef>
          </c:val>
          <c:smooth val="0"/>
          <c:extLst>
            <c:ext xmlns:c16="http://schemas.microsoft.com/office/drawing/2014/chart" uri="{C3380CC4-5D6E-409C-BE32-E72D297353CC}">
              <c16:uniqueId val="{00000001-4AC2-944A-8ADA-533BF0A6F487}"/>
            </c:ext>
          </c:extLst>
        </c:ser>
        <c:dLbls>
          <c:showLegendKey val="0"/>
          <c:showVal val="0"/>
          <c:showCatName val="0"/>
          <c:showSerName val="0"/>
          <c:showPercent val="0"/>
          <c:showBubbleSize val="0"/>
        </c:dLbls>
        <c:smooth val="0"/>
        <c:axId val="1111285247"/>
        <c:axId val="725402879"/>
      </c:lineChart>
      <c:catAx>
        <c:axId val="11112852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725402879"/>
        <c:crosses val="autoZero"/>
        <c:auto val="1"/>
        <c:lblAlgn val="ctr"/>
        <c:lblOffset val="100"/>
        <c:noMultiLvlLbl val="0"/>
      </c:catAx>
      <c:valAx>
        <c:axId val="72540287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b"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1285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96911906934928E-2"/>
          <c:y val="6.3059395801331297E-2"/>
          <c:w val="0.91412982031092271"/>
          <c:h val="0.78908282130056329"/>
        </c:manualLayout>
      </c:layout>
      <c:lineChart>
        <c:grouping val="standard"/>
        <c:varyColors val="0"/>
        <c:ser>
          <c:idx val="0"/>
          <c:order val="0"/>
          <c:tx>
            <c:strRef>
              <c:f>Sheet1!$B$1</c:f>
              <c:strCache>
                <c:ptCount val="1"/>
                <c:pt idx="0">
                  <c:v>Stock Price</c:v>
                </c:pt>
              </c:strCache>
            </c:strRef>
          </c:tx>
          <c:spPr>
            <a:ln w="22225" cap="rnd">
              <a:solidFill>
                <a:schemeClr val="accent4"/>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B$2:$B$46</c:f>
              <c:numCache>
                <c:formatCode>General</c:formatCode>
                <c:ptCount val="45"/>
                <c:pt idx="0">
                  <c:v>66.120002999999997</c:v>
                </c:pt>
                <c:pt idx="1">
                  <c:v>63.740001999999997</c:v>
                </c:pt>
                <c:pt idx="2">
                  <c:v>66.870002999999997</c:v>
                </c:pt>
                <c:pt idx="3">
                  <c:v>66.180000000000007</c:v>
                </c:pt>
                <c:pt idx="4">
                  <c:v>67.150002000000001</c:v>
                </c:pt>
                <c:pt idx="5">
                  <c:v>69.300003000000004</c:v>
                </c:pt>
                <c:pt idx="6">
                  <c:v>60.290000999999997</c:v>
                </c:pt>
                <c:pt idx="7">
                  <c:v>65.410004000000001</c:v>
                </c:pt>
                <c:pt idx="8">
                  <c:v>66.180000000000007</c:v>
                </c:pt>
                <c:pt idx="9">
                  <c:v>70.349997999999999</c:v>
                </c:pt>
                <c:pt idx="10">
                  <c:v>71.190002000000007</c:v>
                </c:pt>
                <c:pt idx="11">
                  <c:v>72.610000999999997</c:v>
                </c:pt>
                <c:pt idx="12">
                  <c:v>83.379997000000003</c:v>
                </c:pt>
                <c:pt idx="13">
                  <c:v>84.720000999999996</c:v>
                </c:pt>
                <c:pt idx="14">
                  <c:v>79.059997999999993</c:v>
                </c:pt>
                <c:pt idx="15">
                  <c:v>82.059997999999993</c:v>
                </c:pt>
                <c:pt idx="16">
                  <c:v>85.910004000000001</c:v>
                </c:pt>
                <c:pt idx="17">
                  <c:v>91.080001999999993</c:v>
                </c:pt>
                <c:pt idx="18">
                  <c:v>93.370002999999997</c:v>
                </c:pt>
                <c:pt idx="19">
                  <c:v>98.690002000000007</c:v>
                </c:pt>
                <c:pt idx="20">
                  <c:v>96.5</c:v>
                </c:pt>
                <c:pt idx="21">
                  <c:v>97.220000999999996</c:v>
                </c:pt>
                <c:pt idx="22">
                  <c:v>95.809997999999993</c:v>
                </c:pt>
                <c:pt idx="23">
                  <c:v>95.940002000000007</c:v>
                </c:pt>
                <c:pt idx="24">
                  <c:v>103.720001</c:v>
                </c:pt>
                <c:pt idx="25">
                  <c:v>108.910004</c:v>
                </c:pt>
                <c:pt idx="26">
                  <c:v>108.25</c:v>
                </c:pt>
                <c:pt idx="27">
                  <c:v>103.69000200000001</c:v>
                </c:pt>
                <c:pt idx="28">
                  <c:v>114.32</c:v>
                </c:pt>
                <c:pt idx="29">
                  <c:v>114.93</c:v>
                </c:pt>
                <c:pt idx="30">
                  <c:v>110.010002</c:v>
                </c:pt>
                <c:pt idx="31">
                  <c:v>119.66999800000001</c:v>
                </c:pt>
                <c:pt idx="32">
                  <c:v>102.58000199999999</c:v>
                </c:pt>
                <c:pt idx="33">
                  <c:v>112.959999</c:v>
                </c:pt>
                <c:pt idx="34">
                  <c:v>108.19000200000001</c:v>
                </c:pt>
                <c:pt idx="35">
                  <c:v>108.82</c:v>
                </c:pt>
                <c:pt idx="36">
                  <c:v>126.44000200000001</c:v>
                </c:pt>
                <c:pt idx="37">
                  <c:v>134.14999399999999</c:v>
                </c:pt>
                <c:pt idx="38">
                  <c:v>138.33999600000001</c:v>
                </c:pt>
                <c:pt idx="39">
                  <c:v>142.13999899999999</c:v>
                </c:pt>
                <c:pt idx="40">
                  <c:v>134.550003</c:v>
                </c:pt>
                <c:pt idx="41">
                  <c:v>134.91000399999999</c:v>
                </c:pt>
                <c:pt idx="42">
                  <c:v>137.929993</c:v>
                </c:pt>
                <c:pt idx="43">
                  <c:v>140.179993</c:v>
                </c:pt>
                <c:pt idx="44">
                  <c:v>144.75</c:v>
                </c:pt>
              </c:numCache>
            </c:numRef>
          </c:val>
          <c:smooth val="0"/>
          <c:extLst>
            <c:ext xmlns:c16="http://schemas.microsoft.com/office/drawing/2014/chart" uri="{C3380CC4-5D6E-409C-BE32-E72D297353CC}">
              <c16:uniqueId val="{00000000-649A-5B48-94BD-941C5188E4A8}"/>
            </c:ext>
          </c:extLst>
        </c:ser>
        <c:ser>
          <c:idx val="2"/>
          <c:order val="1"/>
          <c:tx>
            <c:strRef>
              <c:f>Sheet1!$C$1</c:f>
              <c:strCache>
                <c:ptCount val="1"/>
                <c:pt idx="0">
                  <c:v>DCF</c:v>
                </c:pt>
              </c:strCache>
            </c:strRef>
          </c:tx>
          <c:spPr>
            <a:ln w="22225" cap="rnd">
              <a:solidFill>
                <a:schemeClr val="accent2"/>
              </a:solidFill>
              <a:round/>
            </a:ln>
            <a:effectLst/>
          </c:spPr>
          <c:marker>
            <c:symbol val="none"/>
          </c:marker>
          <c:cat>
            <c:strRef>
              <c:f>Sheet1!$A$2:$A$46</c:f>
              <c:strCache>
                <c:ptCount val="45"/>
                <c:pt idx="0">
                  <c:v>2010-Q1</c:v>
                </c:pt>
                <c:pt idx="1">
                  <c:v>2010-Q2</c:v>
                </c:pt>
                <c:pt idx="2">
                  <c:v>2010-Q3</c:v>
                </c:pt>
                <c:pt idx="3">
                  <c:v>2010-Q4</c:v>
                </c:pt>
                <c:pt idx="4">
                  <c:v>2011-Q1</c:v>
                </c:pt>
                <c:pt idx="5">
                  <c:v>2011-Q2</c:v>
                </c:pt>
                <c:pt idx="6">
                  <c:v>2011-Q3</c:v>
                </c:pt>
                <c:pt idx="7">
                  <c:v>2011-Q4</c:v>
                </c:pt>
                <c:pt idx="8">
                  <c:v>2012-Q1</c:v>
                </c:pt>
                <c:pt idx="9">
                  <c:v>2012-Q2</c:v>
                </c:pt>
                <c:pt idx="10">
                  <c:v>2012-Q3</c:v>
                </c:pt>
                <c:pt idx="11">
                  <c:v>2012-Q4</c:v>
                </c:pt>
                <c:pt idx="12">
                  <c:v>2013-Q1</c:v>
                </c:pt>
                <c:pt idx="13">
                  <c:v>2013-Q2</c:v>
                </c:pt>
                <c:pt idx="14">
                  <c:v>2013-Q3</c:v>
                </c:pt>
                <c:pt idx="15">
                  <c:v>2013-Q4</c:v>
                </c:pt>
                <c:pt idx="16">
                  <c:v>2014-Q1</c:v>
                </c:pt>
                <c:pt idx="17">
                  <c:v>2014-Q2</c:v>
                </c:pt>
                <c:pt idx="18">
                  <c:v>2014-Q3</c:v>
                </c:pt>
                <c:pt idx="19">
                  <c:v>2014-Q4</c:v>
                </c:pt>
                <c:pt idx="20">
                  <c:v>2015-Q1</c:v>
                </c:pt>
                <c:pt idx="21">
                  <c:v>2015-Q2</c:v>
                </c:pt>
                <c:pt idx="22">
                  <c:v>2015-Q3</c:v>
                </c:pt>
                <c:pt idx="23">
                  <c:v>2015-Q4</c:v>
                </c:pt>
                <c:pt idx="24">
                  <c:v>2016-Q1</c:v>
                </c:pt>
                <c:pt idx="25">
                  <c:v>2016-Q2</c:v>
                </c:pt>
                <c:pt idx="26">
                  <c:v>2016-Q3</c:v>
                </c:pt>
                <c:pt idx="27">
                  <c:v>2016-Q4</c:v>
                </c:pt>
                <c:pt idx="28">
                  <c:v>2017-Q1</c:v>
                </c:pt>
                <c:pt idx="29">
                  <c:v>2017-Q2</c:v>
                </c:pt>
                <c:pt idx="30">
                  <c:v>2017-Q3</c:v>
                </c:pt>
                <c:pt idx="31">
                  <c:v>2017-Q4</c:v>
                </c:pt>
                <c:pt idx="32">
                  <c:v>2018-Q1</c:v>
                </c:pt>
                <c:pt idx="33">
                  <c:v>2018-Q2</c:v>
                </c:pt>
                <c:pt idx="34">
                  <c:v>2018-Q3</c:v>
                </c:pt>
                <c:pt idx="35">
                  <c:v>2018-Q4</c:v>
                </c:pt>
                <c:pt idx="36">
                  <c:v>2019-Q1</c:v>
                </c:pt>
                <c:pt idx="37">
                  <c:v>2019-Q2</c:v>
                </c:pt>
                <c:pt idx="38">
                  <c:v>2019-Q3</c:v>
                </c:pt>
                <c:pt idx="39">
                  <c:v>2019-Q4</c:v>
                </c:pt>
                <c:pt idx="40">
                  <c:v>2020-Q1</c:v>
                </c:pt>
                <c:pt idx="41">
                  <c:v>2020-Q2</c:v>
                </c:pt>
                <c:pt idx="42">
                  <c:v>2020-Q3</c:v>
                </c:pt>
                <c:pt idx="43">
                  <c:v>2020-Q4</c:v>
                </c:pt>
                <c:pt idx="44">
                  <c:v>2021-Q1</c:v>
                </c:pt>
              </c:strCache>
            </c:strRef>
          </c:cat>
          <c:val>
            <c:numRef>
              <c:f>Sheet1!$C$2:$C$46</c:f>
              <c:numCache>
                <c:formatCode>General</c:formatCode>
                <c:ptCount val="45"/>
                <c:pt idx="0">
                  <c:v>67.349766000000002</c:v>
                </c:pt>
                <c:pt idx="1">
                  <c:v>63.762034</c:v>
                </c:pt>
                <c:pt idx="2">
                  <c:v>66.758960999999999</c:v>
                </c:pt>
                <c:pt idx="3">
                  <c:v>66.830280000000002</c:v>
                </c:pt>
                <c:pt idx="4">
                  <c:v>65.533803000000006</c:v>
                </c:pt>
                <c:pt idx="5">
                  <c:v>67.554209</c:v>
                </c:pt>
                <c:pt idx="6">
                  <c:v>59.047348999999997</c:v>
                </c:pt>
                <c:pt idx="7">
                  <c:v>67.990588000000002</c:v>
                </c:pt>
                <c:pt idx="8">
                  <c:v>64.809419000000005</c:v>
                </c:pt>
                <c:pt idx="9">
                  <c:v>68.341774999999998</c:v>
                </c:pt>
                <c:pt idx="10">
                  <c:v>71.887145000000004</c:v>
                </c:pt>
                <c:pt idx="11">
                  <c:v>73.560001</c:v>
                </c:pt>
                <c:pt idx="12">
                  <c:v>83.725486000000004</c:v>
                </c:pt>
                <c:pt idx="13">
                  <c:v>85.674053000000001</c:v>
                </c:pt>
                <c:pt idx="14">
                  <c:v>81.589146</c:v>
                </c:pt>
                <c:pt idx="15">
                  <c:v>88.116200000000006</c:v>
                </c:pt>
                <c:pt idx="16">
                  <c:v>87.213251</c:v>
                </c:pt>
                <c:pt idx="17">
                  <c:v>91.318252999999999</c:v>
                </c:pt>
                <c:pt idx="18">
                  <c:v>92.077544000000003</c:v>
                </c:pt>
                <c:pt idx="19">
                  <c:v>102.74688</c:v>
                </c:pt>
                <c:pt idx="20">
                  <c:v>95.467399</c:v>
                </c:pt>
                <c:pt idx="21">
                  <c:v>96.669364000000002</c:v>
                </c:pt>
                <c:pt idx="22">
                  <c:v>97.949579999999997</c:v>
                </c:pt>
                <c:pt idx="23">
                  <c:v>99.372378999999995</c:v>
                </c:pt>
                <c:pt idx="24">
                  <c:v>106.534257</c:v>
                </c:pt>
                <c:pt idx="25">
                  <c:v>112.256158</c:v>
                </c:pt>
                <c:pt idx="26">
                  <c:v>110.98553699999999</c:v>
                </c:pt>
                <c:pt idx="27">
                  <c:v>110.103167</c:v>
                </c:pt>
                <c:pt idx="28">
                  <c:v>120.936667</c:v>
                </c:pt>
                <c:pt idx="29">
                  <c:v>122.06532300000001</c:v>
                </c:pt>
                <c:pt idx="30">
                  <c:v>117.13309</c:v>
                </c:pt>
                <c:pt idx="31">
                  <c:v>127.14709499999999</c:v>
                </c:pt>
                <c:pt idx="32">
                  <c:v>111.980701</c:v>
                </c:pt>
                <c:pt idx="33">
                  <c:v>122.67809200000001</c:v>
                </c:pt>
                <c:pt idx="34">
                  <c:v>116.610648</c:v>
                </c:pt>
                <c:pt idx="35">
                  <c:v>114.96587700000001</c:v>
                </c:pt>
                <c:pt idx="36">
                  <c:v>130.029528</c:v>
                </c:pt>
                <c:pt idx="37">
                  <c:v>136.48711299999999</c:v>
                </c:pt>
                <c:pt idx="38">
                  <c:v>142.250316</c:v>
                </c:pt>
                <c:pt idx="39">
                  <c:v>146.07219000000001</c:v>
                </c:pt>
                <c:pt idx="40">
                  <c:v>142.493413</c:v>
                </c:pt>
                <c:pt idx="41">
                  <c:v>141.31847500000001</c:v>
                </c:pt>
                <c:pt idx="42">
                  <c:v>144.50555299999999</c:v>
                </c:pt>
                <c:pt idx="43">
                  <c:v>146.111152</c:v>
                </c:pt>
                <c:pt idx="44">
                  <c:v>148.85217399999999</c:v>
                </c:pt>
              </c:numCache>
            </c:numRef>
          </c:val>
          <c:smooth val="0"/>
          <c:extLst>
            <c:ext xmlns:c16="http://schemas.microsoft.com/office/drawing/2014/chart" uri="{C3380CC4-5D6E-409C-BE32-E72D297353CC}">
              <c16:uniqueId val="{00000002-649A-5B48-94BD-941C5188E4A8}"/>
            </c:ext>
          </c:extLst>
        </c:ser>
        <c:dLbls>
          <c:showLegendKey val="0"/>
          <c:showVal val="0"/>
          <c:showCatName val="0"/>
          <c:showSerName val="0"/>
          <c:showPercent val="0"/>
          <c:showBubbleSize val="0"/>
        </c:dLbls>
        <c:smooth val="0"/>
        <c:axId val="1111285247"/>
        <c:axId val="725402879"/>
      </c:lineChart>
      <c:catAx>
        <c:axId val="11112852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725402879"/>
        <c:crosses val="autoZero"/>
        <c:auto val="1"/>
        <c:lblAlgn val="ctr"/>
        <c:lblOffset val="100"/>
        <c:noMultiLvlLbl val="0"/>
      </c:catAx>
      <c:valAx>
        <c:axId val="725402879"/>
        <c:scaling>
          <c:orientation val="minMax"/>
          <c:max val="160"/>
          <c:min val="6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b" anchorCtr="1"/>
          <a:lstStyle/>
          <a:p>
            <a:pPr>
              <a:defRPr sz="9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crossAx val="1111285247"/>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838" cy="4905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250" y="0"/>
            <a:ext cx="2890838" cy="490538"/>
          </a:xfrm>
          <a:prstGeom prst="rect">
            <a:avLst/>
          </a:prstGeom>
        </p:spPr>
        <p:txBody>
          <a:bodyPr vert="horz" lIns="91440" tIns="45720" rIns="91440" bIns="45720" rtlCol="0"/>
          <a:lstStyle>
            <a:lvl1pPr algn="r">
              <a:defRPr sz="1200"/>
            </a:lvl1pPr>
          </a:lstStyle>
          <a:p>
            <a:fld id="{A49FD7BD-031A-433A-AA3E-C2F02F4BF7DE}" type="datetimeFigureOut">
              <a:rPr lang="en-US" smtClean="0"/>
              <a:t>8/10/21</a:t>
            </a:fld>
            <a:endParaRPr lang="en-US"/>
          </a:p>
        </p:txBody>
      </p:sp>
      <p:sp>
        <p:nvSpPr>
          <p:cNvPr id="4" name="Footer Placeholder 3"/>
          <p:cNvSpPr>
            <a:spLocks noGrp="1"/>
          </p:cNvSpPr>
          <p:nvPr>
            <p:ph type="ftr" sz="quarter" idx="2"/>
          </p:nvPr>
        </p:nvSpPr>
        <p:spPr>
          <a:xfrm>
            <a:off x="0" y="9310688"/>
            <a:ext cx="2890838" cy="49053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250" y="9310688"/>
            <a:ext cx="2890838" cy="490537"/>
          </a:xfrm>
          <a:prstGeom prst="rect">
            <a:avLst/>
          </a:prstGeom>
        </p:spPr>
        <p:txBody>
          <a:bodyPr vert="horz" lIns="91440" tIns="45720" rIns="91440" bIns="45720" rtlCol="0" anchor="b"/>
          <a:lstStyle>
            <a:lvl1pPr algn="r">
              <a:defRPr sz="1200"/>
            </a:lvl1pPr>
          </a:lstStyle>
          <a:p>
            <a:fld id="{B5EC1EDF-0746-42F5-9547-F6827E99C060}" type="slidenum">
              <a:rPr lang="en-US" smtClean="0"/>
              <a:t>‹#›</a:t>
            </a:fld>
            <a:endParaRPr lang="en-US"/>
          </a:p>
        </p:txBody>
      </p:sp>
    </p:spTree>
    <p:extLst>
      <p:ext uri="{BB962C8B-B14F-4D97-AF65-F5344CB8AC3E}">
        <p14:creationId xmlns:p14="http://schemas.microsoft.com/office/powerpoint/2010/main" val="5014162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0141"/>
          </a:xfrm>
          <a:prstGeom prst="rect">
            <a:avLst/>
          </a:prstGeom>
        </p:spPr>
        <p:txBody>
          <a:bodyPr vert="horz" lIns="89950" tIns="44975" rIns="89950" bIns="44975" rtlCol="0"/>
          <a:lstStyle>
            <a:lvl1pPr algn="l">
              <a:defRPr sz="1200"/>
            </a:lvl1pPr>
          </a:lstStyle>
          <a:p>
            <a:endParaRPr lang="en-US"/>
          </a:p>
        </p:txBody>
      </p:sp>
      <p:sp>
        <p:nvSpPr>
          <p:cNvPr id="3" name="Date Placeholder 2"/>
          <p:cNvSpPr>
            <a:spLocks noGrp="1"/>
          </p:cNvSpPr>
          <p:nvPr>
            <p:ph type="dt" idx="1"/>
          </p:nvPr>
        </p:nvSpPr>
        <p:spPr>
          <a:xfrm>
            <a:off x="3778506" y="0"/>
            <a:ext cx="2890626" cy="490141"/>
          </a:xfrm>
          <a:prstGeom prst="rect">
            <a:avLst/>
          </a:prstGeom>
        </p:spPr>
        <p:txBody>
          <a:bodyPr vert="horz" lIns="89950" tIns="44975" rIns="89950" bIns="44975" rtlCol="0"/>
          <a:lstStyle>
            <a:lvl1pPr algn="r">
              <a:defRPr sz="1200"/>
            </a:lvl1pPr>
          </a:lstStyle>
          <a:p>
            <a:fld id="{EE1D7CB0-D291-4EDF-9CFF-36D7E4ACF989}" type="datetimeFigureOut">
              <a:rPr lang="en-US" smtClean="0"/>
              <a:pPr/>
              <a:t>8/10/21</a:t>
            </a:fld>
            <a:endParaRPr lang="en-US"/>
          </a:p>
        </p:txBody>
      </p:sp>
      <p:sp>
        <p:nvSpPr>
          <p:cNvPr id="4" name="Slide Image Placeholder 3"/>
          <p:cNvSpPr>
            <a:spLocks noGrp="1" noRot="1" noChangeAspect="1"/>
          </p:cNvSpPr>
          <p:nvPr>
            <p:ph type="sldImg" idx="2"/>
          </p:nvPr>
        </p:nvSpPr>
        <p:spPr>
          <a:xfrm>
            <a:off x="71438" y="736600"/>
            <a:ext cx="6527800" cy="3673475"/>
          </a:xfrm>
          <a:prstGeom prst="rect">
            <a:avLst/>
          </a:prstGeom>
          <a:noFill/>
          <a:ln w="12700">
            <a:solidFill>
              <a:prstClr val="black"/>
            </a:solidFill>
          </a:ln>
        </p:spPr>
        <p:txBody>
          <a:bodyPr vert="horz" lIns="89950" tIns="44975" rIns="89950" bIns="44975" rtlCol="0" anchor="ctr"/>
          <a:lstStyle/>
          <a:p>
            <a:endParaRPr lang="en-US"/>
          </a:p>
        </p:txBody>
      </p:sp>
      <p:sp>
        <p:nvSpPr>
          <p:cNvPr id="5" name="Notes Placeholder 4"/>
          <p:cNvSpPr>
            <a:spLocks noGrp="1"/>
          </p:cNvSpPr>
          <p:nvPr>
            <p:ph type="body" sz="quarter" idx="3"/>
          </p:nvPr>
        </p:nvSpPr>
        <p:spPr>
          <a:xfrm>
            <a:off x="667068" y="4656336"/>
            <a:ext cx="5336540" cy="4411266"/>
          </a:xfrm>
          <a:prstGeom prst="rect">
            <a:avLst/>
          </a:prstGeom>
        </p:spPr>
        <p:txBody>
          <a:bodyPr vert="horz" lIns="89950" tIns="44975" rIns="89950" bIns="4497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10971"/>
            <a:ext cx="2890626" cy="490141"/>
          </a:xfrm>
          <a:prstGeom prst="rect">
            <a:avLst/>
          </a:prstGeom>
        </p:spPr>
        <p:txBody>
          <a:bodyPr vert="horz" lIns="89950" tIns="44975" rIns="89950" bIns="44975" rtlCol="0" anchor="b"/>
          <a:lstStyle>
            <a:lvl1pPr algn="l">
              <a:defRPr sz="1200"/>
            </a:lvl1pPr>
          </a:lstStyle>
          <a:p>
            <a:endParaRPr lang="en-US"/>
          </a:p>
        </p:txBody>
      </p:sp>
      <p:sp>
        <p:nvSpPr>
          <p:cNvPr id="7" name="Slide Number Placeholder 6"/>
          <p:cNvSpPr>
            <a:spLocks noGrp="1"/>
          </p:cNvSpPr>
          <p:nvPr>
            <p:ph type="sldNum" sz="quarter" idx="5"/>
          </p:nvPr>
        </p:nvSpPr>
        <p:spPr>
          <a:xfrm>
            <a:off x="3778506" y="9310971"/>
            <a:ext cx="2890626" cy="490141"/>
          </a:xfrm>
          <a:prstGeom prst="rect">
            <a:avLst/>
          </a:prstGeom>
        </p:spPr>
        <p:txBody>
          <a:bodyPr vert="horz" lIns="89950" tIns="44975" rIns="89950" bIns="44975" rtlCol="0" anchor="b"/>
          <a:lstStyle>
            <a:lvl1pPr algn="r">
              <a:defRPr sz="1200"/>
            </a:lvl1pPr>
          </a:lstStyle>
          <a:p>
            <a:fld id="{17BC008F-D113-4DC6-BB6D-562E63685260}" type="slidenum">
              <a:rPr lang="en-US" smtClean="0"/>
              <a:pPr/>
              <a:t>‹#›</a:t>
            </a:fld>
            <a:endParaRPr lang="en-US"/>
          </a:p>
        </p:txBody>
      </p:sp>
    </p:spTree>
    <p:extLst>
      <p:ext uri="{BB962C8B-B14F-4D97-AF65-F5344CB8AC3E}">
        <p14:creationId xmlns:p14="http://schemas.microsoft.com/office/powerpoint/2010/main" val="4265898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1</a:t>
            </a:fld>
            <a:endParaRPr lang="en-US"/>
          </a:p>
        </p:txBody>
      </p:sp>
    </p:spTree>
    <p:extLst>
      <p:ext uri="{BB962C8B-B14F-4D97-AF65-F5344CB8AC3E}">
        <p14:creationId xmlns:p14="http://schemas.microsoft.com/office/powerpoint/2010/main" val="3465606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17BC008F-D113-4DC6-BB6D-562E63685260}" type="slidenum">
              <a:rPr lang="en-US" smtClean="0"/>
              <a:pPr/>
              <a:t>15</a:t>
            </a:fld>
            <a:endParaRPr lang="en-US"/>
          </a:p>
        </p:txBody>
      </p:sp>
    </p:spTree>
    <p:extLst>
      <p:ext uri="{BB962C8B-B14F-4D97-AF65-F5344CB8AC3E}">
        <p14:creationId xmlns:p14="http://schemas.microsoft.com/office/powerpoint/2010/main" val="4058676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Final 1</a:t>
            </a:r>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3</a:t>
            </a:fld>
            <a:endParaRPr lang="en-US"/>
          </a:p>
        </p:txBody>
      </p:sp>
    </p:spTree>
    <p:extLst>
      <p:ext uri="{BB962C8B-B14F-4D97-AF65-F5344CB8AC3E}">
        <p14:creationId xmlns:p14="http://schemas.microsoft.com/office/powerpoint/2010/main" val="3461815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1" i="0" u="none" strike="noStrike" kern="1200" dirty="0">
                <a:solidFill>
                  <a:schemeClr val="tx1"/>
                </a:solidFill>
                <a:effectLst/>
                <a:latin typeface="+mn-lt"/>
                <a:ea typeface="+mn-ea"/>
                <a:cs typeface="+mn-cs"/>
              </a:rPr>
              <a:t>Industry: COKE, KDP, MNST, FIZZ, KO</a:t>
            </a:r>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4</a:t>
            </a:fld>
            <a:endParaRPr lang="en-US"/>
          </a:p>
        </p:txBody>
      </p:sp>
    </p:spTree>
    <p:extLst>
      <p:ext uri="{BB962C8B-B14F-4D97-AF65-F5344CB8AC3E}">
        <p14:creationId xmlns:p14="http://schemas.microsoft.com/office/powerpoint/2010/main" val="1090780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1" i="0" u="none" strike="noStrike" kern="1200" dirty="0">
                <a:solidFill>
                  <a:schemeClr val="tx1"/>
                </a:solidFill>
                <a:effectLst/>
                <a:latin typeface="+mn-lt"/>
                <a:ea typeface="+mn-ea"/>
                <a:cs typeface="+mn-cs"/>
              </a:rPr>
              <a:t>Industry: COKE, KDP, MNST, FIZZ, KO</a:t>
            </a:r>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5</a:t>
            </a:fld>
            <a:endParaRPr lang="en-US"/>
          </a:p>
        </p:txBody>
      </p:sp>
    </p:spTree>
    <p:extLst>
      <p:ext uri="{BB962C8B-B14F-4D97-AF65-F5344CB8AC3E}">
        <p14:creationId xmlns:p14="http://schemas.microsoft.com/office/powerpoint/2010/main" val="2756907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17BC008F-D113-4DC6-BB6D-562E63685260}" type="slidenum">
              <a:rPr lang="en-US" smtClean="0"/>
              <a:pPr/>
              <a:t>6</a:t>
            </a:fld>
            <a:endParaRPr lang="en-US"/>
          </a:p>
        </p:txBody>
      </p:sp>
    </p:spTree>
    <p:extLst>
      <p:ext uri="{BB962C8B-B14F-4D97-AF65-F5344CB8AC3E}">
        <p14:creationId xmlns:p14="http://schemas.microsoft.com/office/powerpoint/2010/main" val="4234821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7</a:t>
            </a:fld>
            <a:endParaRPr lang="en-US"/>
          </a:p>
        </p:txBody>
      </p:sp>
    </p:spTree>
    <p:extLst>
      <p:ext uri="{BB962C8B-B14F-4D97-AF65-F5344CB8AC3E}">
        <p14:creationId xmlns:p14="http://schemas.microsoft.com/office/powerpoint/2010/main" val="2204098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8</a:t>
            </a:fld>
            <a:endParaRPr lang="en-US"/>
          </a:p>
        </p:txBody>
      </p:sp>
    </p:spTree>
    <p:extLst>
      <p:ext uri="{BB962C8B-B14F-4D97-AF65-F5344CB8AC3E}">
        <p14:creationId xmlns:p14="http://schemas.microsoft.com/office/powerpoint/2010/main" val="1581105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9</a:t>
            </a:fld>
            <a:endParaRPr lang="en-US"/>
          </a:p>
        </p:txBody>
      </p:sp>
    </p:spTree>
    <p:extLst>
      <p:ext uri="{BB962C8B-B14F-4D97-AF65-F5344CB8AC3E}">
        <p14:creationId xmlns:p14="http://schemas.microsoft.com/office/powerpoint/2010/main" val="1630646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inal 3</a:t>
            </a:r>
            <a:endParaRPr lang="zh-CN" altLang="en-US" dirty="0"/>
          </a:p>
        </p:txBody>
      </p:sp>
      <p:sp>
        <p:nvSpPr>
          <p:cNvPr id="4" name="灯片编号占位符 3"/>
          <p:cNvSpPr>
            <a:spLocks noGrp="1"/>
          </p:cNvSpPr>
          <p:nvPr>
            <p:ph type="sldNum" sz="quarter" idx="5"/>
          </p:nvPr>
        </p:nvSpPr>
        <p:spPr/>
        <p:txBody>
          <a:bodyPr/>
          <a:lstStyle/>
          <a:p>
            <a:fld id="{17BC008F-D113-4DC6-BB6D-562E63685260}" type="slidenum">
              <a:rPr lang="en-US" smtClean="0"/>
              <a:pPr/>
              <a:t>10</a:t>
            </a:fld>
            <a:endParaRPr lang="en-US"/>
          </a:p>
        </p:txBody>
      </p:sp>
    </p:spTree>
    <p:extLst>
      <p:ext uri="{BB962C8B-B14F-4D97-AF65-F5344CB8AC3E}">
        <p14:creationId xmlns:p14="http://schemas.microsoft.com/office/powerpoint/2010/main" val="27218450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90636687"/>
              </p:ext>
            </p:extLst>
          </p:nvPr>
        </p:nvGraphicFramePr>
        <p:xfrm>
          <a:off x="1969" y="1589"/>
          <a:ext cx="1967" cy="1587"/>
        </p:xfrm>
        <a:graphic>
          <a:graphicData uri="http://schemas.openxmlformats.org/presentationml/2006/ole">
            <mc:AlternateContent xmlns:mc="http://schemas.openxmlformats.org/markup-compatibility/2006">
              <mc:Choice xmlns:v="urn:schemas-microsoft-com:vml" Requires="v">
                <p:oleObj spid="_x0000_s285556" name="think-cell Slide" r:id="rId4" imgW="526" imgH="526" progId="TCLayout.ActiveDocument.1">
                  <p:embed/>
                </p:oleObj>
              </mc:Choice>
              <mc:Fallback>
                <p:oleObj name="think-cell Slide" r:id="rId4" imgW="526" imgH="526" progId="TCLayout.ActiveDocument.1">
                  <p:embed/>
                  <p:pic>
                    <p:nvPicPr>
                      <p:cNvPr id="0" name=""/>
                      <p:cNvPicPr/>
                      <p:nvPr/>
                    </p:nvPicPr>
                    <p:blipFill>
                      <a:blip r:embed="rId5"/>
                      <a:stretch>
                        <a:fillRect/>
                      </a:stretch>
                    </p:blipFill>
                    <p:spPr>
                      <a:xfrm>
                        <a:off x="1969" y="1589"/>
                        <a:ext cx="1967" cy="1587"/>
                      </a:xfrm>
                      <a:prstGeom prst="rect">
                        <a:avLst/>
                      </a:prstGeom>
                    </p:spPr>
                  </p:pic>
                </p:oleObj>
              </mc:Fallback>
            </mc:AlternateContent>
          </a:graphicData>
        </a:graphic>
      </p:graphicFrame>
      <p:sp>
        <p:nvSpPr>
          <p:cNvPr id="2" name="Title 1"/>
          <p:cNvSpPr>
            <a:spLocks noGrp="1"/>
          </p:cNvSpPr>
          <p:nvPr>
            <p:ph type="title"/>
          </p:nvPr>
        </p:nvSpPr>
        <p:spPr>
          <a:xfrm>
            <a:off x="588004" y="394564"/>
            <a:ext cx="11675762" cy="878857"/>
          </a:xfrm>
          <a:prstGeom prst="rect">
            <a:avLst/>
          </a:prstGeom>
        </p:spPr>
        <p:txBody>
          <a:bodyPr/>
          <a:lstStyle/>
          <a:p>
            <a:r>
              <a:rPr lang="en-US" dirty="0"/>
              <a:t>Click to edit Master title style</a:t>
            </a:r>
            <a:endParaRPr lang="fr-FR" dirty="0"/>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74941361"/>
              </p:ext>
            </p:extLst>
          </p:nvPr>
        </p:nvGraphicFramePr>
        <p:xfrm>
          <a:off x="1969" y="1589"/>
          <a:ext cx="1967" cy="1587"/>
        </p:xfrm>
        <a:graphic>
          <a:graphicData uri="http://schemas.openxmlformats.org/presentationml/2006/ole">
            <mc:AlternateContent xmlns:mc="http://schemas.openxmlformats.org/markup-compatibility/2006">
              <mc:Choice xmlns:v="urn:schemas-microsoft-com:vml" Requires="v">
                <p:oleObj spid="_x0000_s322348" name="think-cell Slide" r:id="rId4" imgW="526" imgH="526" progId="TCLayout.ActiveDocument.1">
                  <p:embed/>
                </p:oleObj>
              </mc:Choice>
              <mc:Fallback>
                <p:oleObj name="think-cell Slide" r:id="rId4" imgW="526" imgH="526" progId="TCLayout.ActiveDocument.1">
                  <p:embed/>
                  <p:pic>
                    <p:nvPicPr>
                      <p:cNvPr id="6" name="Object 5" hidden="1"/>
                      <p:cNvPicPr/>
                      <p:nvPr/>
                    </p:nvPicPr>
                    <p:blipFill>
                      <a:blip r:embed="rId5"/>
                      <a:stretch>
                        <a:fillRect/>
                      </a:stretch>
                    </p:blipFill>
                    <p:spPr>
                      <a:xfrm>
                        <a:off x="1969" y="1589"/>
                        <a:ext cx="196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1CB89B0D-3460-42F0-88A1-983223D20A7D}" type="datetimeFigureOut">
              <a:rPr lang="zh-CN" altLang="en-US" smtClean="0"/>
              <a:t>2021/8/10</a:t>
            </a:fld>
            <a:endParaRPr lang="zh-CN" altLang="en-US" dirty="0"/>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lvl1pPr>
              <a:defRPr>
                <a:latin typeface="Calibri" panose="020F0502020204030204" pitchFamily="34" charset="0"/>
                <a:cs typeface="Calibri" panose="020F0502020204030204" pitchFamily="34" charset="0"/>
              </a:defRPr>
            </a:lvl1pPr>
          </a:lstStyle>
          <a:p>
            <a:fld id="{5B121BCB-3626-40A7-AA70-AEFC6421C22A}" type="slidenum">
              <a:rPr lang="zh-CN" altLang="en-US" smtClean="0"/>
              <a:pPr/>
              <a:t>‹#›</a:t>
            </a:fld>
            <a:endParaRPr lang="zh-CN"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6525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theme" Target="../theme/theme1.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customXml" Target="../../customXml/item1.xml"/><Relationship Id="rId5" Type="http://schemas.openxmlformats.org/officeDocument/2006/relationships/customXml" Target="../../customXml/item2.xml"/><Relationship Id="rId10" Type="http://schemas.openxmlformats.org/officeDocument/2006/relationships/image" Target="../media/image1.emf"/><Relationship Id="rId4" Type="http://schemas.openxmlformats.org/officeDocument/2006/relationships/vmlDrawing" Target="../drawings/vmlDrawing1.v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ext uri="{D42A27DB-BD31-4B8C-83A1-F6EECF244321}">
                <p14:modId xmlns:p14="http://schemas.microsoft.com/office/powerpoint/2010/main" val="4169611550"/>
              </p:ext>
            </p:extLst>
          </p:nvPr>
        </p:nvGraphicFramePr>
        <p:xfrm>
          <a:off x="1969" y="1589"/>
          <a:ext cx="1967" cy="1587"/>
        </p:xfrm>
        <a:graphic>
          <a:graphicData uri="http://schemas.openxmlformats.org/presentationml/2006/ole">
            <mc:AlternateContent xmlns:mc="http://schemas.openxmlformats.org/markup-compatibility/2006">
              <mc:Choice xmlns:v="urn:schemas-microsoft-com:vml" Requires="v">
                <p:oleObj spid="_x0000_s281477" name="think-cell Slide" r:id="rId9" imgW="526" imgH="526" progId="TCLayout.ActiveDocument.1">
                  <p:embed/>
                </p:oleObj>
              </mc:Choice>
              <mc:Fallback>
                <p:oleObj name="think-cell Slide" r:id="rId9" imgW="526" imgH="526" progId="TCLayout.ActiveDocument.1">
                  <p:embed/>
                  <p:pic>
                    <p:nvPicPr>
                      <p:cNvPr id="0" name=""/>
                      <p:cNvPicPr/>
                      <p:nvPr/>
                    </p:nvPicPr>
                    <p:blipFill>
                      <a:blip r:embed="rId10"/>
                      <a:stretch>
                        <a:fillRect/>
                      </a:stretch>
                    </p:blipFill>
                    <p:spPr>
                      <a:xfrm>
                        <a:off x="1969" y="1589"/>
                        <a:ext cx="1967" cy="1587"/>
                      </a:xfrm>
                      <a:prstGeom prst="rect">
                        <a:avLst/>
                      </a:prstGeom>
                    </p:spPr>
                  </p:pic>
                </p:oleObj>
              </mc:Fallback>
            </mc:AlternateContent>
          </a:graphicData>
        </a:graphic>
      </p:graphicFrame>
      <p:sp>
        <p:nvSpPr>
          <p:cNvPr id="2" name="Rectangle 1"/>
          <p:cNvSpPr/>
          <p:nvPr userDrawn="1"/>
        </p:nvSpPr>
        <p:spPr>
          <a:xfrm>
            <a:off x="-1" y="386638"/>
            <a:ext cx="12841288" cy="900545"/>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479">
              <a:solidFill>
                <a:schemeClr val="tx1"/>
              </a:solidFill>
              <a:latin typeface="Calibri" panose="020F0502020204030204" pitchFamily="34" charset="0"/>
              <a:cs typeface="Calibri" panose="020F0502020204030204" pitchFamily="34" charset="0"/>
            </a:endParaRPr>
          </a:p>
        </p:txBody>
      </p:sp>
      <p:sp>
        <p:nvSpPr>
          <p:cNvPr id="22" name="Rectangle 2"/>
          <p:cNvSpPr>
            <a:spLocks noGrp="1" noChangeArrowheads="1"/>
          </p:cNvSpPr>
          <p:nvPr>
            <p:ph type="title"/>
          </p:nvPr>
        </p:nvSpPr>
        <p:spPr bwMode="gray">
          <a:xfrm>
            <a:off x="672960" y="401613"/>
            <a:ext cx="11581952" cy="878857"/>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endParaRPr lang="en-CA" noProof="1"/>
          </a:p>
        </p:txBody>
      </p:sp>
      <p:sp>
        <p:nvSpPr>
          <p:cNvPr id="15" name="SlideNumber"/>
          <p:cNvSpPr/>
          <p:nvPr userDrawn="1"/>
        </p:nvSpPr>
        <p:spPr>
          <a:xfrm>
            <a:off x="11959557" y="6900342"/>
            <a:ext cx="422386" cy="274232"/>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fr-FR" sz="1240" b="1" dirty="0">
              <a:solidFill>
                <a:srgbClr val="080808"/>
              </a:solidFill>
              <a:latin typeface="Calibri" panose="020F0502020204030204" pitchFamily="34" charset="0"/>
              <a:cs typeface="Calibri" panose="020F0502020204030204" pitchFamily="34" charset="0"/>
            </a:endParaRPr>
          </a:p>
        </p:txBody>
      </p:sp>
      <p:cxnSp>
        <p:nvCxnSpPr>
          <p:cNvPr id="28" name="Straight Connector 27"/>
          <p:cNvCxnSpPr/>
          <p:nvPr userDrawn="1"/>
        </p:nvCxnSpPr>
        <p:spPr>
          <a:xfrm>
            <a:off x="1" y="6904727"/>
            <a:ext cx="1284128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VCT_Marker_ID_10" hidden="1"/>
          <p:cNvSpPr/>
          <p:nvPr>
            <p:custDataLst>
              <p:tags r:id="rId8"/>
            </p:custDataLst>
          </p:nvPr>
        </p:nvSpPr>
        <p:spPr>
          <a:xfrm>
            <a:off x="1574170" y="127000"/>
            <a:ext cx="157417" cy="127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79" dirty="0">
              <a:solidFill>
                <a:schemeClr val="tx1"/>
              </a:solidFill>
            </a:endParaRPr>
          </a:p>
        </p:txBody>
      </p:sp>
    </p:spTree>
    <p:custDataLst>
      <p:custData r:id="rId5"/>
      <p:custData r:id="rId6"/>
    </p:custDataLst>
  </p:cSld>
  <p:clrMap bg1="lt1" tx1="dk1" bg2="lt2" tx2="dk2" accent1="accent1" accent2="accent2" accent3="accent3" accent4="accent4" accent5="accent5" accent6="accent6" hlink="hlink" folHlink="folHlink"/>
  <p:sldLayoutIdLst>
    <p:sldLayoutId id="2147483753" r:id="rId1"/>
    <p:sldLayoutId id="2147483766" r:id="rId2"/>
  </p:sldLayoutIdLst>
  <p:hf sldNum="0" hdr="0" dt="0"/>
  <p:txStyles>
    <p:title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p:titleStyle>
    <p:bodyStyle>
      <a:lvl1pPr marL="336478" marR="0" indent="-336478" algn="l" defTabSz="1216042"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2479" b="0" i="0" u="none" strike="noStrike" kern="1200" cap="none" spc="0" normalizeH="0" baseline="0" noProof="1">
          <a:ln>
            <a:noFill/>
          </a:ln>
          <a:solidFill>
            <a:schemeClr val="tx1"/>
          </a:solidFill>
          <a:effectLst/>
          <a:uLnTx/>
          <a:uFillTx/>
          <a:latin typeface="+mn-lt"/>
          <a:ea typeface="+mn-ea"/>
          <a:cs typeface="+mn-cs"/>
        </a:defRPr>
      </a:lvl1pPr>
      <a:lvl2pPr marL="712310" marR="0" indent="-147579" algn="l" defTabSz="1216042" rtl="0" eaLnBrk="1" fontAlgn="base" latinLnBrk="0" hangingPunct="1">
        <a:lnSpc>
          <a:spcPct val="100000"/>
        </a:lnSpc>
        <a:spcBef>
          <a:spcPct val="20000"/>
        </a:spcBef>
        <a:spcAft>
          <a:spcPct val="0"/>
        </a:spcAft>
        <a:buClr>
          <a:schemeClr val="tx1"/>
        </a:buClr>
        <a:buSzPts val="2200"/>
        <a:buFont typeface="Verdana"/>
        <a:buChar char="-"/>
        <a:tabLst/>
        <a:defRPr lang="en-CA" altLang="zh-CN" sz="2231" kern="1200" baseline="0" noProof="1">
          <a:solidFill>
            <a:schemeClr val="tx1"/>
          </a:solidFill>
          <a:latin typeface="+mn-lt"/>
          <a:ea typeface="+mn-ea"/>
          <a:cs typeface="+mn-cs"/>
        </a:defRPr>
      </a:lvl2pPr>
      <a:lvl3pPr marL="1304590" marR="0" indent="-356155" algn="l" defTabSz="1216042"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2231" kern="1200" noProof="1">
          <a:solidFill>
            <a:schemeClr val="tx1"/>
          </a:solidFill>
          <a:latin typeface="+mn-lt"/>
          <a:ea typeface="+mn-ea"/>
          <a:cs typeface="+mn-cs"/>
        </a:defRPr>
      </a:lvl3pPr>
      <a:lvl4pPr marL="1802104" marR="0" indent="-260682" algn="l" defTabSz="1216363"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2231" kern="1200">
          <a:solidFill>
            <a:schemeClr val="tx1"/>
          </a:solidFill>
          <a:latin typeface="+mn-lt"/>
          <a:ea typeface="+mn-ea"/>
          <a:cs typeface="+mn-cs"/>
        </a:defRPr>
      </a:lvl4pPr>
      <a:lvl5pPr marL="2736818" indent="-304091" algn="l" defTabSz="1216363" rtl="0" eaLnBrk="1" latinLnBrk="0" hangingPunct="1">
        <a:spcBef>
          <a:spcPct val="20000"/>
        </a:spcBef>
        <a:buFont typeface="Arial" pitchFamily="34" charset="0"/>
        <a:buChar char="»"/>
        <a:defRPr sz="2975" kern="1200">
          <a:solidFill>
            <a:schemeClr val="tx1"/>
          </a:solidFill>
          <a:latin typeface="Verdana" pitchFamily="34" charset="0"/>
          <a:ea typeface="+mn-ea"/>
          <a:cs typeface="+mn-cs"/>
        </a:defRPr>
      </a:lvl5pPr>
      <a:lvl6pPr marL="3345000" indent="-304091" algn="l" defTabSz="1216363" rtl="0" eaLnBrk="1" latinLnBrk="0" hangingPunct="1">
        <a:spcBef>
          <a:spcPct val="20000"/>
        </a:spcBef>
        <a:buFont typeface="Arial" pitchFamily="34" charset="0"/>
        <a:buChar char="•"/>
        <a:defRPr sz="2603" kern="1200">
          <a:solidFill>
            <a:schemeClr val="tx1"/>
          </a:solidFill>
          <a:latin typeface="+mn-lt"/>
          <a:ea typeface="+mn-ea"/>
          <a:cs typeface="+mn-cs"/>
        </a:defRPr>
      </a:lvl6pPr>
      <a:lvl7pPr marL="3953182" indent="-304091" algn="l" defTabSz="1216363" rtl="0" eaLnBrk="1" latinLnBrk="0" hangingPunct="1">
        <a:spcBef>
          <a:spcPct val="20000"/>
        </a:spcBef>
        <a:buFont typeface="Arial" pitchFamily="34" charset="0"/>
        <a:buChar char="•"/>
        <a:defRPr sz="2603" kern="1200">
          <a:solidFill>
            <a:schemeClr val="tx1"/>
          </a:solidFill>
          <a:latin typeface="+mn-lt"/>
          <a:ea typeface="+mn-ea"/>
          <a:cs typeface="+mn-cs"/>
        </a:defRPr>
      </a:lvl7pPr>
      <a:lvl8pPr marL="4561364" indent="-304091" algn="l" defTabSz="1216363" rtl="0" eaLnBrk="1" latinLnBrk="0" hangingPunct="1">
        <a:spcBef>
          <a:spcPct val="20000"/>
        </a:spcBef>
        <a:buFont typeface="Arial" pitchFamily="34" charset="0"/>
        <a:buChar char="•"/>
        <a:defRPr sz="2603" kern="1200">
          <a:solidFill>
            <a:schemeClr val="tx1"/>
          </a:solidFill>
          <a:latin typeface="+mn-lt"/>
          <a:ea typeface="+mn-ea"/>
          <a:cs typeface="+mn-cs"/>
        </a:defRPr>
      </a:lvl8pPr>
      <a:lvl9pPr marL="5169545" indent="-304091" algn="l" defTabSz="1216363" rtl="0" eaLnBrk="1" latinLnBrk="0" hangingPunct="1">
        <a:spcBef>
          <a:spcPct val="20000"/>
        </a:spcBef>
        <a:buFont typeface="Arial" pitchFamily="34" charset="0"/>
        <a:buChar char="•"/>
        <a:defRPr sz="2603" kern="1200">
          <a:solidFill>
            <a:schemeClr val="tx1"/>
          </a:solidFill>
          <a:latin typeface="+mn-lt"/>
          <a:ea typeface="+mn-ea"/>
          <a:cs typeface="+mn-cs"/>
        </a:defRPr>
      </a:lvl9pPr>
    </p:bodyStyle>
    <p:otherStyle>
      <a:defPPr>
        <a:defRPr lang="en-US"/>
      </a:defPPr>
      <a:lvl1pPr marL="0" algn="l" defTabSz="1216363" rtl="0" eaLnBrk="1" latinLnBrk="0" hangingPunct="1">
        <a:defRPr sz="2231" kern="1200">
          <a:solidFill>
            <a:schemeClr val="tx1"/>
          </a:solidFill>
          <a:latin typeface="+mn-lt"/>
          <a:ea typeface="+mn-ea"/>
          <a:cs typeface="+mn-cs"/>
        </a:defRPr>
      </a:lvl1pPr>
      <a:lvl2pPr marL="608182" algn="l" defTabSz="1216363" rtl="0" eaLnBrk="1" latinLnBrk="0" hangingPunct="1">
        <a:defRPr sz="2355" kern="1200">
          <a:solidFill>
            <a:schemeClr val="tx1"/>
          </a:solidFill>
          <a:latin typeface="+mn-lt"/>
          <a:ea typeface="+mn-ea"/>
          <a:cs typeface="+mn-cs"/>
        </a:defRPr>
      </a:lvl2pPr>
      <a:lvl3pPr marL="1216363" algn="l" defTabSz="1216363" rtl="0" eaLnBrk="1" latinLnBrk="0" hangingPunct="1">
        <a:defRPr sz="2355" kern="1200">
          <a:solidFill>
            <a:schemeClr val="tx1"/>
          </a:solidFill>
          <a:latin typeface="+mn-lt"/>
          <a:ea typeface="+mn-ea"/>
          <a:cs typeface="+mn-cs"/>
        </a:defRPr>
      </a:lvl3pPr>
      <a:lvl4pPr marL="1824545" algn="l" defTabSz="1216363" rtl="0" eaLnBrk="1" latinLnBrk="0" hangingPunct="1">
        <a:defRPr sz="2355" kern="1200">
          <a:solidFill>
            <a:schemeClr val="tx1"/>
          </a:solidFill>
          <a:latin typeface="+mn-lt"/>
          <a:ea typeface="+mn-ea"/>
          <a:cs typeface="+mn-cs"/>
        </a:defRPr>
      </a:lvl4pPr>
      <a:lvl5pPr marL="2432727" algn="l" defTabSz="1216363" rtl="0" eaLnBrk="1" latinLnBrk="0" hangingPunct="1">
        <a:defRPr sz="2355" kern="1200">
          <a:solidFill>
            <a:schemeClr val="tx1"/>
          </a:solidFill>
          <a:latin typeface="+mn-lt"/>
          <a:ea typeface="+mn-ea"/>
          <a:cs typeface="+mn-cs"/>
        </a:defRPr>
      </a:lvl5pPr>
      <a:lvl6pPr marL="3040909" algn="l" defTabSz="1216363" rtl="0" eaLnBrk="1" latinLnBrk="0" hangingPunct="1">
        <a:defRPr sz="2355" kern="1200">
          <a:solidFill>
            <a:schemeClr val="tx1"/>
          </a:solidFill>
          <a:latin typeface="+mn-lt"/>
          <a:ea typeface="+mn-ea"/>
          <a:cs typeface="+mn-cs"/>
        </a:defRPr>
      </a:lvl6pPr>
      <a:lvl7pPr marL="3649090" algn="l" defTabSz="1216363" rtl="0" eaLnBrk="1" latinLnBrk="0" hangingPunct="1">
        <a:defRPr sz="2355" kern="1200">
          <a:solidFill>
            <a:schemeClr val="tx1"/>
          </a:solidFill>
          <a:latin typeface="+mn-lt"/>
          <a:ea typeface="+mn-ea"/>
          <a:cs typeface="+mn-cs"/>
        </a:defRPr>
      </a:lvl7pPr>
      <a:lvl8pPr marL="4257272" algn="l" defTabSz="1216363" rtl="0" eaLnBrk="1" latinLnBrk="0" hangingPunct="1">
        <a:defRPr sz="2355" kern="1200">
          <a:solidFill>
            <a:schemeClr val="tx1"/>
          </a:solidFill>
          <a:latin typeface="+mn-lt"/>
          <a:ea typeface="+mn-ea"/>
          <a:cs typeface="+mn-cs"/>
        </a:defRPr>
      </a:lvl8pPr>
      <a:lvl9pPr marL="4865454" algn="l" defTabSz="1216363" rtl="0" eaLnBrk="1" latinLnBrk="0" hangingPunct="1">
        <a:defRPr sz="235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5" userDrawn="1">
          <p15:clr>
            <a:srgbClr val="F26B43"/>
          </p15:clr>
        </p15:guide>
        <p15:guide id="2" pos="4045" userDrawn="1">
          <p15:clr>
            <a:srgbClr val="F26B43"/>
          </p15:clr>
        </p15:guide>
        <p15:guide id="3" orient="horz" pos="21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83503" y="6694489"/>
            <a:ext cx="2888601" cy="384175"/>
          </a:xfrm>
          <a:prstGeom prst="rect">
            <a:avLst/>
          </a:prstGeom>
        </p:spPr>
        <p:txBody>
          <a:bodyPr vert="horz" lIns="91440" tIns="45720" rIns="91440" bIns="45720" rtlCol="0" anchor="ctr"/>
          <a:lstStyle>
            <a:lvl1pPr algn="l">
              <a:defRPr sz="1487">
                <a:solidFill>
                  <a:schemeClr val="tx1">
                    <a:tint val="75000"/>
                  </a:schemeClr>
                </a:solidFill>
              </a:defRPr>
            </a:lvl1pPr>
          </a:lstStyle>
          <a:p>
            <a:fld id="{A2E9A5DD-72E2-446C-94C4-685CD6C1824A}" type="datetimeFigureOut">
              <a:rPr lang="zh-CN" altLang="en-US" smtClean="0"/>
              <a:t>2021/8/10</a:t>
            </a:fld>
            <a:endParaRPr lang="zh-CN" altLang="en-US"/>
          </a:p>
        </p:txBody>
      </p:sp>
      <p:sp>
        <p:nvSpPr>
          <p:cNvPr id="5" name="Footer Placeholder 4"/>
          <p:cNvSpPr>
            <a:spLocks noGrp="1"/>
          </p:cNvSpPr>
          <p:nvPr>
            <p:ph type="ftr" sz="quarter" idx="3"/>
          </p:nvPr>
        </p:nvSpPr>
        <p:spPr>
          <a:xfrm>
            <a:off x="4254194" y="6694489"/>
            <a:ext cx="4332902" cy="384175"/>
          </a:xfrm>
          <a:prstGeom prst="rect">
            <a:avLst/>
          </a:prstGeom>
        </p:spPr>
        <p:txBody>
          <a:bodyPr vert="horz" lIns="91440" tIns="45720" rIns="91440" bIns="45720" rtlCol="0" anchor="ctr"/>
          <a:lstStyle>
            <a:lvl1pPr algn="ctr">
              <a:defRPr sz="1487">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9069185" y="6694489"/>
            <a:ext cx="2888601" cy="384175"/>
          </a:xfrm>
          <a:prstGeom prst="rect">
            <a:avLst/>
          </a:prstGeom>
        </p:spPr>
        <p:txBody>
          <a:bodyPr vert="horz" lIns="91440" tIns="45720" rIns="91440" bIns="45720" rtlCol="0" anchor="ctr"/>
          <a:lstStyle>
            <a:lvl1pPr algn="r">
              <a:defRPr sz="1487">
                <a:solidFill>
                  <a:schemeClr val="tx1">
                    <a:tint val="75000"/>
                  </a:schemeClr>
                </a:solidFill>
              </a:defRPr>
            </a:lvl1pPr>
          </a:lstStyle>
          <a:p>
            <a:fld id="{F5493509-4A63-4C5D-8732-B90787A56D84}" type="slidenum">
              <a:rPr lang="zh-CN" altLang="en-US" smtClean="0"/>
              <a:t>‹#›</a:t>
            </a:fld>
            <a:endParaRPr lang="zh-CN" altLang="en-US"/>
          </a:p>
        </p:txBody>
      </p:sp>
    </p:spTree>
    <p:extLst>
      <p:ext uri="{BB962C8B-B14F-4D97-AF65-F5344CB8AC3E}">
        <p14:creationId xmlns:p14="http://schemas.microsoft.com/office/powerpoint/2010/main" val="2234508160"/>
      </p:ext>
    </p:extLst>
  </p:cSld>
  <p:clrMap bg1="lt1" tx1="dk1" bg2="lt2" tx2="dk2" accent1="accent1" accent2="accent2" accent3="accent3" accent4="accent4" accent5="accent5" accent6="accent6" hlink="hlink" folHlink="folHlink"/>
  <p:txStyles>
    <p:titleStyle>
      <a:lvl1pPr algn="l" defTabSz="1133399" rtl="0" eaLnBrk="1" latinLnBrk="0" hangingPunct="1">
        <a:lnSpc>
          <a:spcPct val="90000"/>
        </a:lnSpc>
        <a:spcBef>
          <a:spcPct val="0"/>
        </a:spcBef>
        <a:buNone/>
        <a:defRPr sz="5454" kern="1200">
          <a:solidFill>
            <a:schemeClr val="tx1"/>
          </a:solidFill>
          <a:latin typeface="+mj-lt"/>
          <a:ea typeface="+mj-ea"/>
          <a:cs typeface="+mj-cs"/>
        </a:defRPr>
      </a:lvl1pPr>
    </p:titleStyle>
    <p:bodyStyle>
      <a:lvl1pPr marL="283350" indent="-283350" algn="l" defTabSz="1133399" rtl="0" eaLnBrk="1" latinLnBrk="0" hangingPunct="1">
        <a:lnSpc>
          <a:spcPct val="90000"/>
        </a:lnSpc>
        <a:spcBef>
          <a:spcPts val="1240"/>
        </a:spcBef>
        <a:buFont typeface="Arial" panose="020B0604020202020204" pitchFamily="34" charset="0"/>
        <a:buChar char="•"/>
        <a:defRPr sz="3471" kern="1200">
          <a:solidFill>
            <a:schemeClr val="tx1"/>
          </a:solidFill>
          <a:latin typeface="+mn-lt"/>
          <a:ea typeface="+mn-ea"/>
          <a:cs typeface="+mn-cs"/>
        </a:defRPr>
      </a:lvl1pPr>
      <a:lvl2pPr marL="850049" indent="-283350" algn="l" defTabSz="1133399" rtl="0" eaLnBrk="1" latinLnBrk="0" hangingPunct="1">
        <a:lnSpc>
          <a:spcPct val="90000"/>
        </a:lnSpc>
        <a:spcBef>
          <a:spcPts val="620"/>
        </a:spcBef>
        <a:buFont typeface="Arial" panose="020B0604020202020204" pitchFamily="34" charset="0"/>
        <a:buChar char="•"/>
        <a:defRPr sz="2975" kern="1200">
          <a:solidFill>
            <a:schemeClr val="tx1"/>
          </a:solidFill>
          <a:latin typeface="+mn-lt"/>
          <a:ea typeface="+mn-ea"/>
          <a:cs typeface="+mn-cs"/>
        </a:defRPr>
      </a:lvl2pPr>
      <a:lvl3pPr marL="1416749" indent="-283350" algn="l" defTabSz="1133399" rtl="0" eaLnBrk="1" latinLnBrk="0" hangingPunct="1">
        <a:lnSpc>
          <a:spcPct val="90000"/>
        </a:lnSpc>
        <a:spcBef>
          <a:spcPts val="620"/>
        </a:spcBef>
        <a:buFont typeface="Arial" panose="020B0604020202020204" pitchFamily="34" charset="0"/>
        <a:buChar char="•"/>
        <a:defRPr sz="2479" kern="1200">
          <a:solidFill>
            <a:schemeClr val="tx1"/>
          </a:solidFill>
          <a:latin typeface="+mn-lt"/>
          <a:ea typeface="+mn-ea"/>
          <a:cs typeface="+mn-cs"/>
        </a:defRPr>
      </a:lvl3pPr>
      <a:lvl4pPr marL="1983448" indent="-283350" algn="l" defTabSz="1133399" rtl="0" eaLnBrk="1" latinLnBrk="0" hangingPunct="1">
        <a:lnSpc>
          <a:spcPct val="90000"/>
        </a:lnSpc>
        <a:spcBef>
          <a:spcPts val="620"/>
        </a:spcBef>
        <a:buFont typeface="Arial" panose="020B0604020202020204" pitchFamily="34" charset="0"/>
        <a:buChar char="•"/>
        <a:defRPr sz="2231" kern="1200">
          <a:solidFill>
            <a:schemeClr val="tx1"/>
          </a:solidFill>
          <a:latin typeface="+mn-lt"/>
          <a:ea typeface="+mn-ea"/>
          <a:cs typeface="+mn-cs"/>
        </a:defRPr>
      </a:lvl4pPr>
      <a:lvl5pPr marL="2550147" indent="-283350" algn="l" defTabSz="1133399" rtl="0" eaLnBrk="1" latinLnBrk="0" hangingPunct="1">
        <a:lnSpc>
          <a:spcPct val="90000"/>
        </a:lnSpc>
        <a:spcBef>
          <a:spcPts val="620"/>
        </a:spcBef>
        <a:buFont typeface="Arial" panose="020B0604020202020204" pitchFamily="34" charset="0"/>
        <a:buChar char="•"/>
        <a:defRPr sz="2231" kern="1200">
          <a:solidFill>
            <a:schemeClr val="tx1"/>
          </a:solidFill>
          <a:latin typeface="+mn-lt"/>
          <a:ea typeface="+mn-ea"/>
          <a:cs typeface="+mn-cs"/>
        </a:defRPr>
      </a:lvl5pPr>
      <a:lvl6pPr marL="3116847" indent="-283350" algn="l" defTabSz="1133399" rtl="0" eaLnBrk="1" latinLnBrk="0" hangingPunct="1">
        <a:lnSpc>
          <a:spcPct val="90000"/>
        </a:lnSpc>
        <a:spcBef>
          <a:spcPts val="620"/>
        </a:spcBef>
        <a:buFont typeface="Arial" panose="020B0604020202020204" pitchFamily="34" charset="0"/>
        <a:buChar char="•"/>
        <a:defRPr sz="2231" kern="1200">
          <a:solidFill>
            <a:schemeClr val="tx1"/>
          </a:solidFill>
          <a:latin typeface="+mn-lt"/>
          <a:ea typeface="+mn-ea"/>
          <a:cs typeface="+mn-cs"/>
        </a:defRPr>
      </a:lvl6pPr>
      <a:lvl7pPr marL="3683546" indent="-283350" algn="l" defTabSz="1133399" rtl="0" eaLnBrk="1" latinLnBrk="0" hangingPunct="1">
        <a:lnSpc>
          <a:spcPct val="90000"/>
        </a:lnSpc>
        <a:spcBef>
          <a:spcPts val="620"/>
        </a:spcBef>
        <a:buFont typeface="Arial" panose="020B0604020202020204" pitchFamily="34" charset="0"/>
        <a:buChar char="•"/>
        <a:defRPr sz="2231" kern="1200">
          <a:solidFill>
            <a:schemeClr val="tx1"/>
          </a:solidFill>
          <a:latin typeface="+mn-lt"/>
          <a:ea typeface="+mn-ea"/>
          <a:cs typeface="+mn-cs"/>
        </a:defRPr>
      </a:lvl7pPr>
      <a:lvl8pPr marL="4250246" indent="-283350" algn="l" defTabSz="1133399" rtl="0" eaLnBrk="1" latinLnBrk="0" hangingPunct="1">
        <a:lnSpc>
          <a:spcPct val="90000"/>
        </a:lnSpc>
        <a:spcBef>
          <a:spcPts val="620"/>
        </a:spcBef>
        <a:buFont typeface="Arial" panose="020B0604020202020204" pitchFamily="34" charset="0"/>
        <a:buChar char="•"/>
        <a:defRPr sz="2231" kern="1200">
          <a:solidFill>
            <a:schemeClr val="tx1"/>
          </a:solidFill>
          <a:latin typeface="+mn-lt"/>
          <a:ea typeface="+mn-ea"/>
          <a:cs typeface="+mn-cs"/>
        </a:defRPr>
      </a:lvl8pPr>
      <a:lvl9pPr marL="4816945" indent="-283350" algn="l" defTabSz="1133399" rtl="0" eaLnBrk="1" latinLnBrk="0" hangingPunct="1">
        <a:lnSpc>
          <a:spcPct val="90000"/>
        </a:lnSpc>
        <a:spcBef>
          <a:spcPts val="620"/>
        </a:spcBef>
        <a:buFont typeface="Arial" panose="020B0604020202020204" pitchFamily="34" charset="0"/>
        <a:buChar char="•"/>
        <a:defRPr sz="2231" kern="1200">
          <a:solidFill>
            <a:schemeClr val="tx1"/>
          </a:solidFill>
          <a:latin typeface="+mn-lt"/>
          <a:ea typeface="+mn-ea"/>
          <a:cs typeface="+mn-cs"/>
        </a:defRPr>
      </a:lvl9pPr>
    </p:bodyStyle>
    <p:otherStyle>
      <a:defPPr>
        <a:defRPr lang="zh-CN"/>
      </a:defPPr>
      <a:lvl1pPr marL="0" algn="l" defTabSz="1133399" rtl="0" eaLnBrk="1" latinLnBrk="0" hangingPunct="1">
        <a:defRPr sz="2231" kern="1200">
          <a:solidFill>
            <a:schemeClr val="tx1"/>
          </a:solidFill>
          <a:latin typeface="+mn-lt"/>
          <a:ea typeface="+mn-ea"/>
          <a:cs typeface="+mn-cs"/>
        </a:defRPr>
      </a:lvl1pPr>
      <a:lvl2pPr marL="566699" algn="l" defTabSz="1133399" rtl="0" eaLnBrk="1" latinLnBrk="0" hangingPunct="1">
        <a:defRPr sz="2231" kern="1200">
          <a:solidFill>
            <a:schemeClr val="tx1"/>
          </a:solidFill>
          <a:latin typeface="+mn-lt"/>
          <a:ea typeface="+mn-ea"/>
          <a:cs typeface="+mn-cs"/>
        </a:defRPr>
      </a:lvl2pPr>
      <a:lvl3pPr marL="1133399" algn="l" defTabSz="1133399" rtl="0" eaLnBrk="1" latinLnBrk="0" hangingPunct="1">
        <a:defRPr sz="2231" kern="1200">
          <a:solidFill>
            <a:schemeClr val="tx1"/>
          </a:solidFill>
          <a:latin typeface="+mn-lt"/>
          <a:ea typeface="+mn-ea"/>
          <a:cs typeface="+mn-cs"/>
        </a:defRPr>
      </a:lvl3pPr>
      <a:lvl4pPr marL="1700098" algn="l" defTabSz="1133399" rtl="0" eaLnBrk="1" latinLnBrk="0" hangingPunct="1">
        <a:defRPr sz="2231" kern="1200">
          <a:solidFill>
            <a:schemeClr val="tx1"/>
          </a:solidFill>
          <a:latin typeface="+mn-lt"/>
          <a:ea typeface="+mn-ea"/>
          <a:cs typeface="+mn-cs"/>
        </a:defRPr>
      </a:lvl4pPr>
      <a:lvl5pPr marL="2266798" algn="l" defTabSz="1133399" rtl="0" eaLnBrk="1" latinLnBrk="0" hangingPunct="1">
        <a:defRPr sz="2231" kern="1200">
          <a:solidFill>
            <a:schemeClr val="tx1"/>
          </a:solidFill>
          <a:latin typeface="+mn-lt"/>
          <a:ea typeface="+mn-ea"/>
          <a:cs typeface="+mn-cs"/>
        </a:defRPr>
      </a:lvl5pPr>
      <a:lvl6pPr marL="2833497" algn="l" defTabSz="1133399" rtl="0" eaLnBrk="1" latinLnBrk="0" hangingPunct="1">
        <a:defRPr sz="2231" kern="1200">
          <a:solidFill>
            <a:schemeClr val="tx1"/>
          </a:solidFill>
          <a:latin typeface="+mn-lt"/>
          <a:ea typeface="+mn-ea"/>
          <a:cs typeface="+mn-cs"/>
        </a:defRPr>
      </a:lvl6pPr>
      <a:lvl7pPr marL="3400196" algn="l" defTabSz="1133399" rtl="0" eaLnBrk="1" latinLnBrk="0" hangingPunct="1">
        <a:defRPr sz="2231" kern="1200">
          <a:solidFill>
            <a:schemeClr val="tx1"/>
          </a:solidFill>
          <a:latin typeface="+mn-lt"/>
          <a:ea typeface="+mn-ea"/>
          <a:cs typeface="+mn-cs"/>
        </a:defRPr>
      </a:lvl7pPr>
      <a:lvl8pPr marL="3966896" algn="l" defTabSz="1133399" rtl="0" eaLnBrk="1" latinLnBrk="0" hangingPunct="1">
        <a:defRPr sz="2231" kern="1200">
          <a:solidFill>
            <a:schemeClr val="tx1"/>
          </a:solidFill>
          <a:latin typeface="+mn-lt"/>
          <a:ea typeface="+mn-ea"/>
          <a:cs typeface="+mn-cs"/>
        </a:defRPr>
      </a:lvl8pPr>
      <a:lvl9pPr marL="4533595" algn="l" defTabSz="1133399" rtl="0" eaLnBrk="1" latinLnBrk="0" hangingPunct="1">
        <a:defRPr sz="223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3.png"/><Relationship Id="rId12"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microsoft.com/office/2007/relationships/hdphoto" Target="../media/hdphoto1.wdp"/><Relationship Id="rId11" Type="http://schemas.openxmlformats.org/officeDocument/2006/relationships/oleObject" Target="../embeddings/oleObject4.bin"/><Relationship Id="rId5" Type="http://schemas.openxmlformats.org/officeDocument/2006/relationships/image" Target="../media/image2.png"/><Relationship Id="rId10" Type="http://schemas.microsoft.com/office/2007/relationships/hdphoto" Target="../media/hdphoto3.wdp"/><Relationship Id="rId4" Type="http://schemas.openxmlformats.org/officeDocument/2006/relationships/notesSlide" Target="../notesSlides/notesSlide1.xml"/><Relationship Id="rId9" Type="http://schemas.openxmlformats.org/officeDocument/2006/relationships/image" Target="../media/image4.png"/><Relationship Id="rId14" Type="http://schemas.microsoft.com/office/2007/relationships/hdphoto" Target="../media/hdphoto4.wdp"/></Relationships>
</file>

<file path=ppt/slides/_rels/slide10.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chart" Target="../charts/chart28.xml"/><Relationship Id="rId7" Type="http://schemas.openxmlformats.org/officeDocument/2006/relationships/chart" Target="../charts/chart3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chart" Target="../charts/char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3" Type="http://schemas.openxmlformats.org/officeDocument/2006/relationships/chart" Target="../charts/chart35.xml"/><Relationship Id="rId7" Type="http://schemas.openxmlformats.org/officeDocument/2006/relationships/image" Target="../media/image9.svg"/><Relationship Id="rId12" Type="http://schemas.openxmlformats.org/officeDocument/2006/relationships/image" Target="../media/image14.png"/><Relationship Id="rId2" Type="http://schemas.openxmlformats.org/officeDocument/2006/relationships/chart" Target="../charts/chart34.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chart" Target="../charts/chart37.xml"/><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chart" Target="../charts/chart36.xml"/><Relationship Id="rId9" Type="http://schemas.openxmlformats.org/officeDocument/2006/relationships/image" Target="../media/image11.svg"/><Relationship Id="rId14"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chart" Target="../charts/chart38.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slideLayout" Target="../slideLayouts/slideLayout2.xml"/><Relationship Id="rId2" Type="http://schemas.openxmlformats.org/officeDocument/2006/relationships/tags" Target="../tags/tag14.xml"/><Relationship Id="rId16" Type="http://schemas.openxmlformats.org/officeDocument/2006/relationships/tags" Target="../tags/tag28.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chart" Target="../charts/chart1.xml"/><Relationship Id="rId11" Type="http://schemas.openxmlformats.org/officeDocument/2006/relationships/chart" Target="../charts/chart4.xml"/><Relationship Id="rId5" Type="http://schemas.openxmlformats.org/officeDocument/2006/relationships/notesSlide" Target="../notesSlides/notesSlide2.xml"/><Relationship Id="rId10" Type="http://schemas.openxmlformats.org/officeDocument/2006/relationships/chart" Target="../charts/chart3.xml"/><Relationship Id="rId4" Type="http://schemas.openxmlformats.org/officeDocument/2006/relationships/slideLayout" Target="../slideLayouts/slideLayout1.xml"/><Relationship Id="rId9"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chart" Target="../charts/chart8.xml"/><Relationship Id="rId5" Type="http://schemas.openxmlformats.org/officeDocument/2006/relationships/notesSlide" Target="../notesSlides/notesSlide3.xml"/><Relationship Id="rId10" Type="http://schemas.openxmlformats.org/officeDocument/2006/relationships/chart" Target="../charts/chart7.xml"/><Relationship Id="rId4" Type="http://schemas.openxmlformats.org/officeDocument/2006/relationships/slideLayout" Target="../slideLayouts/slideLayout1.xml"/><Relationship Id="rId9" Type="http://schemas.openxmlformats.org/officeDocument/2006/relationships/chart" Target="../charts/chart6.xml"/></Relationships>
</file>

<file path=ppt/slides/_rels/slide5.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chart" Target="../charts/chart12.xml"/><Relationship Id="rId5" Type="http://schemas.openxmlformats.org/officeDocument/2006/relationships/notesSlide" Target="../notesSlides/notesSlide4.xml"/><Relationship Id="rId10" Type="http://schemas.openxmlformats.org/officeDocument/2006/relationships/chart" Target="../charts/chart11.xml"/><Relationship Id="rId4" Type="http://schemas.openxmlformats.org/officeDocument/2006/relationships/slideLayout" Target="../slideLayouts/slideLayout1.xml"/><Relationship Id="rId9"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chart" Target="../charts/chart13.xml"/><Relationship Id="rId7" Type="http://schemas.openxmlformats.org/officeDocument/2006/relationships/chart" Target="../charts/chart17.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8.xml.rels><?xml version="1.0" encoding="UTF-8" standalone="yes"?>
<Relationships xmlns="http://schemas.openxmlformats.org/package/2006/relationships"><Relationship Id="rId3" Type="http://schemas.openxmlformats.org/officeDocument/2006/relationships/chart" Target="../charts/chart18.xml"/><Relationship Id="rId7" Type="http://schemas.openxmlformats.org/officeDocument/2006/relationships/chart" Target="../charts/chart2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chart" Target="../charts/chart19.xml"/></Relationships>
</file>

<file path=ppt/slides/_rels/slide9.xml.rels><?xml version="1.0" encoding="UTF-8" standalone="yes"?>
<Relationships xmlns="http://schemas.openxmlformats.org/package/2006/relationships"><Relationship Id="rId3" Type="http://schemas.openxmlformats.org/officeDocument/2006/relationships/chart" Target="../charts/chart23.xml"/><Relationship Id="rId7" Type="http://schemas.openxmlformats.org/officeDocument/2006/relationships/chart" Target="../charts/chart27.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3CA30C-462D-304F-B4EA-5CA7FEBAEFE5}"/>
              </a:ext>
            </a:extLst>
          </p:cNvPr>
          <p:cNvSpPr/>
          <p:nvPr/>
        </p:nvSpPr>
        <p:spPr>
          <a:xfrm>
            <a:off x="-8986" y="0"/>
            <a:ext cx="12859259" cy="7223126"/>
          </a:xfrm>
          <a:prstGeom prst="rect">
            <a:avLst/>
          </a:prstGeom>
          <a:solidFill>
            <a:schemeClr val="accent2"/>
          </a:solid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en-CN" sz="1200" dirty="0">
              <a:solidFill>
                <a:schemeClr val="tx1"/>
              </a:solidFill>
              <a:latin typeface="Calibri" panose="020F0502020204030204" pitchFamily="34" charset="0"/>
              <a:cs typeface="Calibri" panose="020F0502020204030204" pitchFamily="34" charset="0"/>
            </a:endParaRPr>
          </a:p>
        </p:txBody>
      </p:sp>
      <p:pic>
        <p:nvPicPr>
          <p:cNvPr id="3" name="图片 2">
            <a:extLst>
              <a:ext uri="{FF2B5EF4-FFF2-40B4-BE49-F238E27FC236}">
                <a16:creationId xmlns:a16="http://schemas.microsoft.com/office/drawing/2014/main" id="{F75B9024-93BD-EA40-8D70-64294EB6E64B}"/>
              </a:ext>
            </a:extLst>
          </p:cNvPr>
          <p:cNvPicPr>
            <a:picLocks/>
          </p:cNvPicPr>
          <p:nvPr/>
        </p:nvPicPr>
        <p:blipFill rotWithShape="1">
          <a:blip r:embed="rId5">
            <a:alphaModFix amt="70000"/>
            <a:extLst>
              <a:ext uri="{BEBA8EAE-BF5A-486C-A8C5-ECC9F3942E4B}">
                <a14:imgProps xmlns:a14="http://schemas.microsoft.com/office/drawing/2010/main">
                  <a14:imgLayer r:embed="rId6">
                    <a14:imgEffect>
                      <a14:sharpenSoften amount="50000"/>
                    </a14:imgEffect>
                    <a14:imgEffect>
                      <a14:brightnessContrast bright="20000" contrast="40000"/>
                    </a14:imgEffect>
                  </a14:imgLayer>
                </a14:imgProps>
              </a:ext>
            </a:extLst>
          </a:blip>
          <a:srcRect l="33481" t="45884" r="27118" b="27873"/>
          <a:stretch/>
        </p:blipFill>
        <p:spPr>
          <a:xfrm>
            <a:off x="4295775" y="2901088"/>
            <a:ext cx="4285680" cy="2038541"/>
          </a:xfrm>
          <a:prstGeom prst="rect">
            <a:avLst/>
          </a:prstGeom>
        </p:spPr>
      </p:pic>
      <p:pic>
        <p:nvPicPr>
          <p:cNvPr id="19" name="Picture 2" descr="Pepsi Can Soda - Free photo on Pixabay">
            <a:extLst>
              <a:ext uri="{FF2B5EF4-FFF2-40B4-BE49-F238E27FC236}">
                <a16:creationId xmlns:a16="http://schemas.microsoft.com/office/drawing/2014/main" id="{F005AFEA-EBA8-9F45-8B59-AE1E360DDFCE}"/>
              </a:ext>
            </a:extLst>
          </p:cNvPr>
          <p:cNvPicPr>
            <a:picLocks noChangeArrowheads="1"/>
          </p:cNvPicPr>
          <p:nvPr/>
        </p:nvPicPr>
        <p:blipFill rotWithShape="1">
          <a:blip r:embed="rId7">
            <a:alphaModFix amt="70000"/>
            <a:extLst>
              <a:ext uri="{BEBA8EAE-BF5A-486C-A8C5-ECC9F3942E4B}">
                <a14:imgProps xmlns:a14="http://schemas.microsoft.com/office/drawing/2010/main">
                  <a14:imgLayer r:embed="rId8">
                    <a14:imgEffect>
                      <a14:sharpenSoften amount="25000"/>
                    </a14:imgEffect>
                    <a14:imgEffect>
                      <a14:brightnessContrast bright="40000"/>
                    </a14:imgEffect>
                  </a14:imgLayer>
                </a14:imgProps>
              </a:ext>
              <a:ext uri="{28A0092B-C50C-407E-A947-70E740481C1C}">
                <a14:useLocalDpi xmlns:a14="http://schemas.microsoft.com/office/drawing/2010/main" val="0"/>
              </a:ext>
            </a:extLst>
          </a:blip>
          <a:srcRect l="26102" t="33994" r="37132" b="50066"/>
          <a:stretch/>
        </p:blipFill>
        <p:spPr bwMode="auto">
          <a:xfrm>
            <a:off x="8581455" y="2850483"/>
            <a:ext cx="4259833" cy="2038541"/>
          </a:xfrm>
          <a:prstGeom prst="rect">
            <a:avLst/>
          </a:prstGeom>
          <a:noFill/>
          <a:extLst>
            <a:ext uri="{909E8E84-426E-40DD-AFC4-6F175D3DCCD1}">
              <a14:hiddenFill xmlns:a14="http://schemas.microsoft.com/office/drawing/2010/main">
                <a:solidFill>
                  <a:srgbClr val="FFFFFF"/>
                </a:solidFill>
              </a14:hiddenFill>
            </a:ext>
          </a:extLst>
        </p:spPr>
      </p:pic>
      <p:pic>
        <p:nvPicPr>
          <p:cNvPr id="281826" name="Picture 226">
            <a:extLst>
              <a:ext uri="{FF2B5EF4-FFF2-40B4-BE49-F238E27FC236}">
                <a16:creationId xmlns:a16="http://schemas.microsoft.com/office/drawing/2014/main" id="{19A70022-43CB-B642-9469-72310066B412}"/>
              </a:ext>
            </a:extLst>
          </p:cNvPr>
          <p:cNvPicPr>
            <a:picLocks noChangeArrowheads="1"/>
          </p:cNvPicPr>
          <p:nvPr/>
        </p:nvPicPr>
        <p:blipFill rotWithShape="1">
          <a:blip r:embed="rId9">
            <a:alphaModFix amt="70000"/>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rcRect l="3194" t="34120" r="66645" b="40833"/>
          <a:stretch/>
        </p:blipFill>
        <p:spPr bwMode="auto">
          <a:xfrm>
            <a:off x="-17972" y="2850483"/>
            <a:ext cx="4313747" cy="208914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Object 12" hidden="1"/>
          <p:cNvGraphicFramePr>
            <a:graphicFrameLocks noChangeAspect="1"/>
          </p:cNvGraphicFramePr>
          <p:nvPr>
            <p:custDataLst>
              <p:tags r:id="rId2"/>
            </p:custDataLst>
          </p:nvPr>
        </p:nvGraphicFramePr>
        <p:xfrm>
          <a:off x="1970" y="-863013"/>
          <a:ext cx="1967" cy="1967"/>
        </p:xfrm>
        <a:graphic>
          <a:graphicData uri="http://schemas.openxmlformats.org/presentationml/2006/ole">
            <mc:AlternateContent xmlns:mc="http://schemas.openxmlformats.org/markup-compatibility/2006">
              <mc:Choice xmlns:v="urn:schemas-microsoft-com:vml" Requires="v">
                <p:oleObj spid="_x0000_s420885" name="think-cell Slide" r:id="rId11" imgW="526" imgH="526" progId="TCLayout.ActiveDocument.1">
                  <p:embed/>
                </p:oleObj>
              </mc:Choice>
              <mc:Fallback>
                <p:oleObj name="think-cell Slide" r:id="rId11" imgW="526" imgH="526" progId="TCLayout.ActiveDocument.1">
                  <p:embed/>
                  <p:pic>
                    <p:nvPicPr>
                      <p:cNvPr id="13" name="Object 12" hidden="1"/>
                      <p:cNvPicPr/>
                      <p:nvPr/>
                    </p:nvPicPr>
                    <p:blipFill>
                      <a:blip r:embed="rId12"/>
                      <a:stretch>
                        <a:fillRect/>
                      </a:stretch>
                    </p:blipFill>
                    <p:spPr>
                      <a:xfrm>
                        <a:off x="1970" y="-863013"/>
                        <a:ext cx="1967" cy="1967"/>
                      </a:xfrm>
                      <a:prstGeom prst="rect">
                        <a:avLst/>
                      </a:prstGeom>
                    </p:spPr>
                  </p:pic>
                </p:oleObj>
              </mc:Fallback>
            </mc:AlternateContent>
          </a:graphicData>
        </a:graphic>
      </p:graphicFrame>
      <p:sp>
        <p:nvSpPr>
          <p:cNvPr id="8" name="Rectangle 7"/>
          <p:cNvSpPr/>
          <p:nvPr/>
        </p:nvSpPr>
        <p:spPr>
          <a:xfrm>
            <a:off x="-328042" y="5103137"/>
            <a:ext cx="12841288" cy="1921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sz="3471" b="1" dirty="0">
                <a:solidFill>
                  <a:schemeClr val="bg1"/>
                </a:solidFill>
                <a:latin typeface="Calibri" panose="020F0502020204030204" pitchFamily="34" charset="0"/>
                <a:cs typeface="Calibri" panose="020F0502020204030204" pitchFamily="34" charset="0"/>
              </a:rPr>
              <a:t>		</a:t>
            </a:r>
            <a:r>
              <a:rPr lang="en-US" altLang="zh-CN" sz="2400" b="1" dirty="0">
                <a:solidFill>
                  <a:schemeClr val="bg1"/>
                </a:solidFill>
                <a:latin typeface="Calibri" panose="020F0502020204030204" pitchFamily="34" charset="0"/>
                <a:cs typeface="Calibri" panose="020F0502020204030204" pitchFamily="34" charset="0"/>
              </a:rPr>
              <a:t>	by Team </a:t>
            </a:r>
            <a:r>
              <a:rPr lang="en-US" altLang="zh-CN" sz="2400" b="1" dirty="0" err="1">
                <a:solidFill>
                  <a:schemeClr val="bg1"/>
                </a:solidFill>
                <a:latin typeface="Calibri" panose="020F0502020204030204" pitchFamily="34" charset="0"/>
                <a:cs typeface="Calibri" panose="020F0502020204030204" pitchFamily="34" charset="0"/>
              </a:rPr>
              <a:t>D’accord</a:t>
            </a:r>
            <a:endParaRPr lang="en-US" altLang="zh-CN" sz="2400" b="1" dirty="0">
              <a:solidFill>
                <a:schemeClr val="bg1"/>
              </a:solidFill>
              <a:latin typeface="Calibri" panose="020F0502020204030204" pitchFamily="34" charset="0"/>
              <a:cs typeface="Calibri" panose="020F0502020204030204" pitchFamily="34" charset="0"/>
            </a:endParaRPr>
          </a:p>
          <a:p>
            <a:pPr algn="r"/>
            <a:r>
              <a:rPr lang="en-US" altLang="zh-CN" sz="2400" b="1" dirty="0">
                <a:solidFill>
                  <a:schemeClr val="bg1"/>
                </a:solidFill>
                <a:latin typeface="Calibri" panose="020F0502020204030204" pitchFamily="34" charset="0"/>
                <a:cs typeface="Calibri" panose="020F0502020204030204" pitchFamily="34" charset="0"/>
              </a:rPr>
              <a:t>	from Columbia University IEOR</a:t>
            </a:r>
          </a:p>
          <a:p>
            <a:pPr algn="r"/>
            <a:r>
              <a:rPr lang="en-US" altLang="zh-CN" sz="2400" b="1" dirty="0">
                <a:solidFill>
                  <a:schemeClr val="bg1"/>
                </a:solidFill>
                <a:latin typeface="Calibri" panose="020F0502020204030204" pitchFamily="34" charset="0"/>
                <a:cs typeface="Calibri" panose="020F0502020204030204" pitchFamily="34" charset="0"/>
              </a:rPr>
              <a:t>August 2021</a:t>
            </a:r>
            <a:endParaRPr lang="zh-CN" altLang="en-US" sz="2400" b="1" dirty="0">
              <a:solidFill>
                <a:schemeClr val="bg1"/>
              </a:solidFill>
              <a:latin typeface="Calibri" panose="020F0502020204030204" pitchFamily="34" charset="0"/>
              <a:cs typeface="Calibri" panose="020F0502020204030204" pitchFamily="34" charset="0"/>
            </a:endParaRPr>
          </a:p>
        </p:txBody>
      </p:sp>
      <p:sp>
        <p:nvSpPr>
          <p:cNvPr id="2" name="矩形 1">
            <a:extLst>
              <a:ext uri="{FF2B5EF4-FFF2-40B4-BE49-F238E27FC236}">
                <a16:creationId xmlns:a16="http://schemas.microsoft.com/office/drawing/2014/main" id="{20E04E15-9033-3B48-A311-A4E3272322CE}"/>
              </a:ext>
            </a:extLst>
          </p:cNvPr>
          <p:cNvSpPr/>
          <p:nvPr/>
        </p:nvSpPr>
        <p:spPr>
          <a:xfrm>
            <a:off x="363375" y="44818"/>
            <a:ext cx="9659139" cy="17578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2479" dirty="0">
              <a:solidFill>
                <a:schemeClr val="tx1"/>
              </a:solidFill>
            </a:endParaRPr>
          </a:p>
        </p:txBody>
      </p:sp>
      <p:sp>
        <p:nvSpPr>
          <p:cNvPr id="9" name="Rectangle 8"/>
          <p:cNvSpPr/>
          <p:nvPr/>
        </p:nvSpPr>
        <p:spPr>
          <a:xfrm>
            <a:off x="363376" y="615612"/>
            <a:ext cx="10387752" cy="1294650"/>
          </a:xfrm>
          <a:prstGeom prst="rect">
            <a:avLst/>
          </a:prstGeom>
          <a:noFill/>
          <a:ln>
            <a:noFill/>
          </a:ln>
          <a:effectLst/>
          <a:scene3d>
            <a:camera prst="orthographicFront"/>
            <a:lightRig rig="flood" dir="t"/>
          </a:scene3d>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harsh" dir="t"/>
            </a:scene3d>
            <a:sp3d extrusionH="57150" prstMaterial="matte">
              <a:bevelT w="63500" h="12700" prst="angle"/>
              <a:contourClr>
                <a:schemeClr val="bg1">
                  <a:lumMod val="65000"/>
                </a:schemeClr>
              </a:contourClr>
            </a:sp3d>
          </a:bodyPr>
          <a:lstStyle/>
          <a:p>
            <a:endParaRPr lang="en-US" altLang="zh-CN" sz="3600" b="1" dirty="0">
              <a:ln w="6600">
                <a:solidFill>
                  <a:schemeClr val="accent2"/>
                </a:solidFill>
                <a:prstDash val="solid"/>
              </a:ln>
              <a:solidFill>
                <a:srgbClr val="FFFFFF"/>
              </a:solidFill>
              <a:effectLst>
                <a:outerShdw dist="38100" dir="2700000" algn="tl" rotWithShape="0">
                  <a:schemeClr val="accent2"/>
                </a:outerShdw>
              </a:effectLst>
              <a:latin typeface="Calibri" panose="020F0502020204030204" pitchFamily="34" charset="0"/>
              <a:cs typeface="Calibri" panose="020F0502020204030204" pitchFamily="34" charset="0"/>
            </a:endParaRPr>
          </a:p>
        </p:txBody>
      </p:sp>
      <p:cxnSp>
        <p:nvCxnSpPr>
          <p:cNvPr id="7" name="直线连接符 6">
            <a:extLst>
              <a:ext uri="{FF2B5EF4-FFF2-40B4-BE49-F238E27FC236}">
                <a16:creationId xmlns:a16="http://schemas.microsoft.com/office/drawing/2014/main" id="{0C846D1F-164F-B742-8979-8199B435398D}"/>
              </a:ext>
            </a:extLst>
          </p:cNvPr>
          <p:cNvCxnSpPr>
            <a:cxnSpLocks/>
          </p:cNvCxnSpPr>
          <p:nvPr/>
        </p:nvCxnSpPr>
        <p:spPr>
          <a:xfrm flipV="1">
            <a:off x="0" y="2850483"/>
            <a:ext cx="12841288" cy="32528"/>
          </a:xfrm>
          <a:prstGeom prst="line">
            <a:avLst/>
          </a:prstGeom>
          <a:ln w="476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直线连接符 16">
            <a:extLst>
              <a:ext uri="{FF2B5EF4-FFF2-40B4-BE49-F238E27FC236}">
                <a16:creationId xmlns:a16="http://schemas.microsoft.com/office/drawing/2014/main" id="{A63702D0-FC24-474D-BDD5-097EBF87AA84}"/>
              </a:ext>
            </a:extLst>
          </p:cNvPr>
          <p:cNvCxnSpPr>
            <a:cxnSpLocks/>
          </p:cNvCxnSpPr>
          <p:nvPr/>
        </p:nvCxnSpPr>
        <p:spPr>
          <a:xfrm flipV="1">
            <a:off x="17971" y="4949800"/>
            <a:ext cx="12841288" cy="32528"/>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17F758F-00AE-C841-962D-A12E8EABF817}"/>
              </a:ext>
            </a:extLst>
          </p:cNvPr>
          <p:cNvSpPr/>
          <p:nvPr/>
        </p:nvSpPr>
        <p:spPr>
          <a:xfrm>
            <a:off x="363376" y="675805"/>
            <a:ext cx="10387752" cy="1294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3200" b="1" dirty="0">
                <a:solidFill>
                  <a:schemeClr val="bg1"/>
                </a:solidFill>
                <a:latin typeface="Arial" panose="020B0604020202020204" pitchFamily="34" charset="0"/>
                <a:cs typeface="Arial" panose="020B0604020202020204" pitchFamily="34" charset="0"/>
              </a:rPr>
              <a:t>Equity Research on </a:t>
            </a:r>
          </a:p>
          <a:p>
            <a:r>
              <a:rPr lang="en-US" altLang="zh-CN" sz="3200" b="1" dirty="0">
                <a:solidFill>
                  <a:schemeClr val="bg1"/>
                </a:solidFill>
                <a:latin typeface="Arial" panose="020B0604020202020204" pitchFamily="34" charset="0"/>
                <a:cs typeface="Arial" panose="020B0604020202020204" pitchFamily="34" charset="0"/>
              </a:rPr>
              <a:t>American Airlines, Disney, and PepsiCo</a:t>
            </a:r>
          </a:p>
        </p:txBody>
      </p:sp>
      <p:sp>
        <p:nvSpPr>
          <p:cNvPr id="6" name="Rectangle 5">
            <a:extLst>
              <a:ext uri="{FF2B5EF4-FFF2-40B4-BE49-F238E27FC236}">
                <a16:creationId xmlns:a16="http://schemas.microsoft.com/office/drawing/2014/main" id="{DBF9BC7E-F7B1-0946-AF25-34B2E3BEBD8E}"/>
              </a:ext>
            </a:extLst>
          </p:cNvPr>
          <p:cNvSpPr/>
          <p:nvPr/>
        </p:nvSpPr>
        <p:spPr>
          <a:xfrm>
            <a:off x="363375" y="1957708"/>
            <a:ext cx="10161556" cy="45719"/>
          </a:xfrm>
          <a:prstGeom prst="rect">
            <a:avLst/>
          </a:prstGeom>
          <a:gradFill flip="none" rotWithShape="1">
            <a:gsLst>
              <a:gs pos="70000">
                <a:schemeClr val="bg1">
                  <a:lumMod val="85000"/>
                </a:schemeClr>
              </a:gs>
              <a:gs pos="28000">
                <a:schemeClr val="tx2"/>
              </a:gs>
              <a:gs pos="0">
                <a:schemeClr val="bg1"/>
              </a:gs>
              <a:gs pos="100000">
                <a:schemeClr val="accent2"/>
              </a:gs>
            </a:gsLst>
            <a:lin ang="0" scaled="1"/>
            <a:tileRect/>
          </a:gra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en-CN" sz="1200" dirty="0">
              <a:solidFill>
                <a:schemeClr val="tx1"/>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FF6D1F86-B4DA-8C4B-B43A-635F032E24E1}"/>
              </a:ext>
            </a:extLst>
          </p:cNvPr>
          <p:cNvSpPr/>
          <p:nvPr/>
        </p:nvSpPr>
        <p:spPr>
          <a:xfrm>
            <a:off x="6293326" y="5279309"/>
            <a:ext cx="6224413" cy="50304"/>
          </a:xfrm>
          <a:prstGeom prst="rect">
            <a:avLst/>
          </a:prstGeom>
          <a:gradFill flip="none" rotWithShape="1">
            <a:gsLst>
              <a:gs pos="69000">
                <a:srgbClr val="FFFFFF"/>
              </a:gs>
              <a:gs pos="38000">
                <a:schemeClr val="bg1">
                  <a:lumMod val="75000"/>
                </a:schemeClr>
              </a:gs>
              <a:gs pos="100000">
                <a:schemeClr val="bg1"/>
              </a:gs>
              <a:gs pos="0">
                <a:schemeClr val="accent2"/>
              </a:gs>
            </a:gsLst>
            <a:lin ang="0" scaled="1"/>
            <a:tileRect/>
          </a:gra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en-CN" sz="1200" dirty="0">
              <a:solidFill>
                <a:schemeClr val="tx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0430B6C4-163D-1840-A426-8B4279D41F95}"/>
              </a:ext>
            </a:extLst>
          </p:cNvPr>
          <p:cNvSpPr txBox="1"/>
          <p:nvPr/>
        </p:nvSpPr>
        <p:spPr>
          <a:xfrm>
            <a:off x="363374" y="2048711"/>
            <a:ext cx="10161557" cy="688256"/>
          </a:xfrm>
          <a:prstGeom prst="rect">
            <a:avLst/>
          </a:prstGeom>
          <a:noFill/>
        </p:spPr>
        <p:txBody>
          <a:bodyPr wrap="square" lIns="36000" tIns="36000" rIns="36000" bIns="36000" rtlCol="0">
            <a:spAutoFit/>
          </a:bodyPr>
          <a:lstStyle/>
          <a:p>
            <a:r>
              <a:rPr lang="en-US" altLang="zh-CN" sz="2000" b="1" dirty="0">
                <a:solidFill>
                  <a:schemeClr val="bg1"/>
                </a:solidFill>
                <a:latin typeface="Calibri" panose="020F0502020204030204" pitchFamily="34" charset="0"/>
                <a:cs typeface="Calibri" panose="020F0502020204030204" pitchFamily="34" charset="0"/>
              </a:rPr>
              <a:t>Morgan Stanley &amp; Columbia University 2</a:t>
            </a:r>
            <a:r>
              <a:rPr lang="en-US" altLang="zh-CN" sz="2000" b="1" baseline="30000" dirty="0">
                <a:solidFill>
                  <a:schemeClr val="bg1"/>
                </a:solidFill>
                <a:latin typeface="Calibri" panose="020F0502020204030204" pitchFamily="34" charset="0"/>
                <a:cs typeface="Calibri" panose="020F0502020204030204" pitchFamily="34" charset="0"/>
              </a:rPr>
              <a:t>nd</a:t>
            </a:r>
            <a:r>
              <a:rPr lang="en-US" altLang="zh-CN" sz="2000" b="1" dirty="0">
                <a:solidFill>
                  <a:schemeClr val="bg1"/>
                </a:solidFill>
                <a:latin typeface="Calibri" panose="020F0502020204030204" pitchFamily="34" charset="0"/>
                <a:cs typeface="Calibri" panose="020F0502020204030204" pitchFamily="34" charset="0"/>
              </a:rPr>
              <a:t> Annual Summer Data Challenge</a:t>
            </a:r>
          </a:p>
          <a:p>
            <a:endParaRPr lang="en-CN" sz="2000" dirty="0" err="1"/>
          </a:p>
        </p:txBody>
      </p:sp>
      <p:pic>
        <p:nvPicPr>
          <p:cNvPr id="282504" name="Picture 904">
            <a:extLst>
              <a:ext uri="{FF2B5EF4-FFF2-40B4-BE49-F238E27FC236}">
                <a16:creationId xmlns:a16="http://schemas.microsoft.com/office/drawing/2014/main" id="{39CF3010-5940-7C40-B3A2-A57953405417}"/>
              </a:ext>
            </a:extLst>
          </p:cNvPr>
          <p:cNvPicPr>
            <a:picLocks noChangeAspect="1" noChangeArrowheads="1"/>
          </p:cNvPicPr>
          <p:nvPr/>
        </p:nvPicPr>
        <p:blipFill>
          <a:blip r:embed="rId13">
            <a:lum bright="70000" contrast="-70000"/>
            <a:extLst>
              <a:ext uri="{BEBA8EAE-BF5A-486C-A8C5-ECC9F3942E4B}">
                <a14:imgProps xmlns:a14="http://schemas.microsoft.com/office/drawing/2010/main">
                  <a14:imgLayer r:embed="rId14">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328042" y="6129989"/>
            <a:ext cx="3932401" cy="47836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F0A81F2-55EC-D249-94ED-443DFE2BD7EB}"/>
              </a:ext>
            </a:extLst>
          </p:cNvPr>
          <p:cNvSpPr txBox="1"/>
          <p:nvPr/>
        </p:nvSpPr>
        <p:spPr>
          <a:xfrm>
            <a:off x="4414128" y="6105285"/>
            <a:ext cx="3356948" cy="442035"/>
          </a:xfrm>
          <a:prstGeom prst="rect">
            <a:avLst/>
          </a:prstGeom>
          <a:noFill/>
        </p:spPr>
        <p:txBody>
          <a:bodyPr wrap="square" lIns="36000" tIns="36000" rIns="36000" bIns="36000" rtlCol="0">
            <a:spAutoFit/>
          </a:bodyPr>
          <a:lstStyle/>
          <a:p>
            <a:r>
              <a:rPr lang="en-CN" sz="2000" dirty="0">
                <a:solidFill>
                  <a:srgbClr val="D7DFEE"/>
                </a:solidFill>
              </a:rPr>
              <a:t>&amp;  </a:t>
            </a:r>
            <a:r>
              <a:rPr lang="en-CN" sz="2400" dirty="0">
                <a:solidFill>
                  <a:srgbClr val="D7DFEE"/>
                </a:solidFill>
                <a:latin typeface="Baskerville Old Face" panose="02020602080505020303" pitchFamily="18" charset="77"/>
              </a:rPr>
              <a:t>Morgan Stanley</a:t>
            </a:r>
            <a:endParaRPr lang="en-CN" sz="2000" dirty="0">
              <a:solidFill>
                <a:srgbClr val="D7DFEE"/>
              </a:solidFill>
              <a:latin typeface="Baskerville Old Face" panose="02020602080505020303" pitchFamily="18" charset="77"/>
            </a:endParaRPr>
          </a:p>
        </p:txBody>
      </p:sp>
    </p:spTree>
    <p:extLst>
      <p:ext uri="{BB962C8B-B14F-4D97-AF65-F5344CB8AC3E}">
        <p14:creationId xmlns:p14="http://schemas.microsoft.com/office/powerpoint/2010/main" val="2633372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 name="图表 34">
            <a:extLst>
              <a:ext uri="{FF2B5EF4-FFF2-40B4-BE49-F238E27FC236}">
                <a16:creationId xmlns:a16="http://schemas.microsoft.com/office/drawing/2014/main" id="{7B6A20BE-C01C-A048-AB41-6237426B00BE}"/>
              </a:ext>
            </a:extLst>
          </p:cNvPr>
          <p:cNvGraphicFramePr/>
          <p:nvPr>
            <p:extLst>
              <p:ext uri="{D42A27DB-BD31-4B8C-83A1-F6EECF244321}">
                <p14:modId xmlns:p14="http://schemas.microsoft.com/office/powerpoint/2010/main" val="1645117823"/>
              </p:ext>
            </p:extLst>
          </p:nvPr>
        </p:nvGraphicFramePr>
        <p:xfrm>
          <a:off x="6542263" y="2604566"/>
          <a:ext cx="3437161" cy="12221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5" name="图表 31">
            <a:extLst>
              <a:ext uri="{FF2B5EF4-FFF2-40B4-BE49-F238E27FC236}">
                <a16:creationId xmlns:a16="http://schemas.microsoft.com/office/drawing/2014/main" id="{ED91FE3E-7DB9-DC48-B769-632EEBDD2F8D}"/>
              </a:ext>
            </a:extLst>
          </p:cNvPr>
          <p:cNvGraphicFramePr/>
          <p:nvPr>
            <p:extLst>
              <p:ext uri="{D42A27DB-BD31-4B8C-83A1-F6EECF244321}">
                <p14:modId xmlns:p14="http://schemas.microsoft.com/office/powerpoint/2010/main" val="3858773373"/>
              </p:ext>
            </p:extLst>
          </p:nvPr>
        </p:nvGraphicFramePr>
        <p:xfrm>
          <a:off x="378404" y="4159838"/>
          <a:ext cx="3259417" cy="10793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3" name="图表 31">
            <a:extLst>
              <a:ext uri="{FF2B5EF4-FFF2-40B4-BE49-F238E27FC236}">
                <a16:creationId xmlns:a16="http://schemas.microsoft.com/office/drawing/2014/main" id="{9CF818E1-7022-D84B-A685-5395E9B28B93}"/>
              </a:ext>
            </a:extLst>
          </p:cNvPr>
          <p:cNvGraphicFramePr/>
          <p:nvPr>
            <p:extLst>
              <p:ext uri="{D42A27DB-BD31-4B8C-83A1-F6EECF244321}">
                <p14:modId xmlns:p14="http://schemas.microsoft.com/office/powerpoint/2010/main" val="840280987"/>
              </p:ext>
            </p:extLst>
          </p:nvPr>
        </p:nvGraphicFramePr>
        <p:xfrm>
          <a:off x="384632" y="2592143"/>
          <a:ext cx="3256859" cy="1177314"/>
        </p:xfrm>
        <a:graphic>
          <a:graphicData uri="http://schemas.openxmlformats.org/drawingml/2006/chart">
            <c:chart xmlns:c="http://schemas.openxmlformats.org/drawingml/2006/chart" xmlns:r="http://schemas.openxmlformats.org/officeDocument/2006/relationships" r:id="rId5"/>
          </a:graphicData>
        </a:graphic>
      </p:graphicFrame>
      <p:sp>
        <p:nvSpPr>
          <p:cNvPr id="2" name="页脚占位符 1">
            <a:extLst>
              <a:ext uri="{FF2B5EF4-FFF2-40B4-BE49-F238E27FC236}">
                <a16:creationId xmlns:a16="http://schemas.microsoft.com/office/drawing/2014/main" id="{6D9E3012-998C-6A48-A480-7F0F7C673822}"/>
              </a:ext>
            </a:extLst>
          </p:cNvPr>
          <p:cNvSpPr>
            <a:spLocks noGrp="1"/>
          </p:cNvSpPr>
          <p:nvPr>
            <p:ph type="ftr" sz="quarter" idx="11"/>
          </p:nvPr>
        </p:nvSpPr>
        <p:spPr/>
        <p:txBody>
          <a:bodyPr/>
          <a:lstStyle/>
          <a:p>
            <a:endParaRPr lang="zh-CN" altLang="en-US" dirty="0"/>
          </a:p>
        </p:txBody>
      </p:sp>
      <p:sp>
        <p:nvSpPr>
          <p:cNvPr id="4" name="TextBox 58">
            <a:extLst>
              <a:ext uri="{FF2B5EF4-FFF2-40B4-BE49-F238E27FC236}">
                <a16:creationId xmlns:a16="http://schemas.microsoft.com/office/drawing/2014/main" id="{0489CA46-4D67-654E-8868-8E94383B4FC7}"/>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odeling: </a:t>
            </a:r>
            <a:r>
              <a:rPr lang="en-US" altLang="zh-CN" sz="1600" dirty="0">
                <a:solidFill>
                  <a:srgbClr val="FFFFFF">
                    <a:lumMod val="65000"/>
                  </a:srgbClr>
                </a:solidFill>
                <a:latin typeface="Calibri" panose="020F0502020204030204" pitchFamily="34" charset="0"/>
                <a:cs typeface="Calibri" panose="020F0502020204030204" pitchFamily="34" charset="0"/>
              </a:rPr>
              <a:t>Results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Testing and Evaluation </a:t>
            </a:r>
            <a:r>
              <a:rPr lang="en-US" altLang="zh-CN" sz="1600" b="1" dirty="0">
                <a:latin typeface="Calibri" panose="020F0502020204030204" pitchFamily="34" charset="0"/>
                <a:cs typeface="Calibri" panose="020F0502020204030204" pitchFamily="34" charset="0"/>
                <a:sym typeface="Wingdings" pitchFamily="2" charset="2"/>
              </a:rPr>
              <a:t> Applications</a:t>
            </a:r>
            <a:endParaRPr lang="zh-CN" altLang="en-US" sz="1600" b="1" dirty="0">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D01E9FCE-6DA3-5348-A550-409F2CD783DF}"/>
              </a:ext>
            </a:extLst>
          </p:cNvPr>
          <p:cNvSpPr txBox="1">
            <a:spLocks/>
          </p:cNvSpPr>
          <p:nvPr/>
        </p:nvSpPr>
        <p:spPr>
          <a:xfrm>
            <a:off x="359405" y="373063"/>
            <a:ext cx="11801407" cy="862012"/>
          </a:xfrm>
          <a:prstGeom prst="rect">
            <a:avLst/>
          </a:prstGeom>
        </p:spPr>
        <p:txBody>
          <a:bodyPr anchor="ctr"/>
          <a:lst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a:lstStyle>
          <a:p>
            <a:r>
              <a:rPr lang="en-US" altLang="zh-CN" sz="2800" dirty="0"/>
              <a:t>Evaluate Impacts of the Model</a:t>
            </a:r>
            <a:endParaRPr lang="zh-CN" altLang="en-US" sz="2800" dirty="0"/>
          </a:p>
        </p:txBody>
      </p:sp>
      <p:sp>
        <p:nvSpPr>
          <p:cNvPr id="8" name="矩形 7">
            <a:extLst>
              <a:ext uri="{FF2B5EF4-FFF2-40B4-BE49-F238E27FC236}">
                <a16:creationId xmlns:a16="http://schemas.microsoft.com/office/drawing/2014/main" id="{2952753F-FC59-4446-8F77-96C2DEED2F84}"/>
              </a:ext>
            </a:extLst>
          </p:cNvPr>
          <p:cNvSpPr/>
          <p:nvPr/>
        </p:nvSpPr>
        <p:spPr>
          <a:xfrm>
            <a:off x="359406" y="1371093"/>
            <a:ext cx="5998532" cy="306099"/>
          </a:xfrm>
          <a:prstGeom prst="rect">
            <a:avLst/>
          </a:prstGeom>
          <a:no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a:solidFill>
                  <a:schemeClr val="accent2"/>
                </a:solidFill>
                <a:latin typeface="Calibri" panose="020F0502020204030204" pitchFamily="34" charset="0"/>
                <a:cs typeface="Calibri" panose="020F0502020204030204" pitchFamily="34" charset="0"/>
              </a:rPr>
              <a:t>Applying the Models to Competitors</a:t>
            </a:r>
            <a:endParaRPr kumimoji="1" lang="zh-CN" altLang="en-US" b="1" dirty="0">
              <a:solidFill>
                <a:schemeClr val="accent2"/>
              </a:solidFill>
              <a:latin typeface="Calibri" panose="020F0502020204030204" pitchFamily="34" charset="0"/>
              <a:cs typeface="Calibri" panose="020F0502020204030204" pitchFamily="34" charset="0"/>
            </a:endParaRPr>
          </a:p>
        </p:txBody>
      </p:sp>
      <p:sp>
        <p:nvSpPr>
          <p:cNvPr id="9" name="矩形 8">
            <a:extLst>
              <a:ext uri="{FF2B5EF4-FFF2-40B4-BE49-F238E27FC236}">
                <a16:creationId xmlns:a16="http://schemas.microsoft.com/office/drawing/2014/main" id="{6F6C193E-3E5D-0543-8608-472BC31CE79C}"/>
              </a:ext>
            </a:extLst>
          </p:cNvPr>
          <p:cNvSpPr/>
          <p:nvPr/>
        </p:nvSpPr>
        <p:spPr>
          <a:xfrm>
            <a:off x="6506207" y="1371090"/>
            <a:ext cx="5998532" cy="306099"/>
          </a:xfrm>
          <a:prstGeom prst="rect">
            <a:avLst/>
          </a:prstGeom>
          <a:no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a:solidFill>
                  <a:schemeClr val="accent2"/>
                </a:solidFill>
                <a:latin typeface="Calibri" panose="020F0502020204030204" pitchFamily="34" charset="0"/>
                <a:cs typeface="Calibri" panose="020F0502020204030204" pitchFamily="34" charset="0"/>
              </a:rPr>
              <a:t>Analyzing Impacts of COVID-19 with the Models </a:t>
            </a:r>
            <a:endParaRPr kumimoji="1" lang="zh-CN" altLang="en-US" b="1" dirty="0">
              <a:solidFill>
                <a:schemeClr val="accent2"/>
              </a:solidFill>
              <a:latin typeface="Calibri" panose="020F0502020204030204" pitchFamily="34" charset="0"/>
              <a:cs typeface="Calibri" panose="020F0502020204030204" pitchFamily="34" charset="0"/>
            </a:endParaRPr>
          </a:p>
        </p:txBody>
      </p:sp>
      <p:sp>
        <p:nvSpPr>
          <p:cNvPr id="10" name="矩形 9">
            <a:extLst>
              <a:ext uri="{FF2B5EF4-FFF2-40B4-BE49-F238E27FC236}">
                <a16:creationId xmlns:a16="http://schemas.microsoft.com/office/drawing/2014/main" id="{92E61D5F-C7C4-7E4F-A54F-C4DBE9462E9B}"/>
              </a:ext>
            </a:extLst>
          </p:cNvPr>
          <p:cNvSpPr/>
          <p:nvPr/>
        </p:nvSpPr>
        <p:spPr>
          <a:xfrm>
            <a:off x="326066" y="1726828"/>
            <a:ext cx="6025702" cy="523792"/>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50" dirty="0">
                <a:solidFill>
                  <a:schemeClr val="accent2"/>
                </a:solidFill>
                <a:latin typeface="Calibri" panose="020F0502020204030204" pitchFamily="34" charset="0"/>
                <a:cs typeface="Calibri" panose="020F0502020204030204" pitchFamily="34" charset="0"/>
              </a:rPr>
              <a:t>The model is trained with target stock and used to predict the competitor’s  stock to analyze the</a:t>
            </a:r>
            <a:r>
              <a:rPr kumimoji="1" lang="zh-CN" altLang="en-US" sz="1050" dirty="0">
                <a:solidFill>
                  <a:schemeClr val="accent2"/>
                </a:solidFill>
                <a:latin typeface="Calibri" panose="020F0502020204030204" pitchFamily="34" charset="0"/>
                <a:cs typeface="Calibri" panose="020F0502020204030204" pitchFamily="34" charset="0"/>
              </a:rPr>
              <a:t> </a:t>
            </a:r>
            <a:r>
              <a:rPr kumimoji="1" lang="en-US" altLang="zh-CN" sz="1050" dirty="0">
                <a:solidFill>
                  <a:schemeClr val="accent2"/>
                </a:solidFill>
                <a:latin typeface="Calibri" panose="020F0502020204030204" pitchFamily="34" charset="0"/>
                <a:cs typeface="Calibri" panose="020F0502020204030204" pitchFamily="34" charset="0"/>
              </a:rPr>
              <a:t>relative under/over/neural share price performance compared with competitors.</a:t>
            </a:r>
          </a:p>
          <a:p>
            <a:pPr marL="171450" indent="-171450" algn="l">
              <a:buFont typeface="Arial" panose="020B0604020202020204" pitchFamily="34" charset="0"/>
              <a:buChar char="•"/>
            </a:pPr>
            <a:r>
              <a:rPr kumimoji="1" lang="en-US" altLang="zh-CN" sz="1050" dirty="0">
                <a:solidFill>
                  <a:schemeClr val="accent2"/>
                </a:solidFill>
                <a:latin typeface="Calibri" panose="020F0502020204030204" pitchFamily="34" charset="0"/>
                <a:cs typeface="Calibri" panose="020F0502020204030204" pitchFamily="34" charset="0"/>
              </a:rPr>
              <a:t>Higher prediction value indicates higher performance over the competitor.</a:t>
            </a:r>
          </a:p>
        </p:txBody>
      </p:sp>
      <p:sp>
        <p:nvSpPr>
          <p:cNvPr id="11" name="矩形 10">
            <a:extLst>
              <a:ext uri="{FF2B5EF4-FFF2-40B4-BE49-F238E27FC236}">
                <a16:creationId xmlns:a16="http://schemas.microsoft.com/office/drawing/2014/main" id="{0570BADD-0F32-E141-AED7-D7558B71DE45}"/>
              </a:ext>
            </a:extLst>
          </p:cNvPr>
          <p:cNvSpPr/>
          <p:nvPr/>
        </p:nvSpPr>
        <p:spPr>
          <a:xfrm>
            <a:off x="6499648" y="1721570"/>
            <a:ext cx="6001316" cy="526688"/>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50" dirty="0">
                <a:solidFill>
                  <a:schemeClr val="accent2"/>
                </a:solidFill>
                <a:latin typeface="Calibri" panose="020F0502020204030204" pitchFamily="34" charset="0"/>
                <a:cs typeface="Calibri" panose="020F0502020204030204" pitchFamily="34" charset="0"/>
              </a:rPr>
              <a:t>The model is</a:t>
            </a:r>
            <a:r>
              <a:rPr kumimoji="1" lang="zh-CN" altLang="en-US" sz="1050" dirty="0">
                <a:solidFill>
                  <a:schemeClr val="accent2"/>
                </a:solidFill>
                <a:latin typeface="Calibri" panose="020F0502020204030204" pitchFamily="34" charset="0"/>
                <a:cs typeface="Calibri" panose="020F0502020204030204" pitchFamily="34" charset="0"/>
              </a:rPr>
              <a:t> </a:t>
            </a:r>
            <a:r>
              <a:rPr kumimoji="1" lang="en-US" altLang="zh-CN" sz="1050" dirty="0">
                <a:solidFill>
                  <a:schemeClr val="accent2"/>
                </a:solidFill>
                <a:latin typeface="Calibri" panose="020F0502020204030204" pitchFamily="34" charset="0"/>
                <a:cs typeface="Calibri" panose="020F0502020204030204" pitchFamily="34" charset="0"/>
              </a:rPr>
              <a:t>trained</a:t>
            </a:r>
            <a:r>
              <a:rPr kumimoji="1" lang="zh-CN" altLang="en-US" sz="1050" dirty="0">
                <a:solidFill>
                  <a:schemeClr val="accent2"/>
                </a:solidFill>
                <a:latin typeface="Calibri" panose="020F0502020204030204" pitchFamily="34" charset="0"/>
                <a:cs typeface="Calibri" panose="020F0502020204030204" pitchFamily="34" charset="0"/>
              </a:rPr>
              <a:t> </a:t>
            </a:r>
            <a:r>
              <a:rPr kumimoji="1" lang="en-US" altLang="zh-CN" sz="1050" dirty="0">
                <a:solidFill>
                  <a:schemeClr val="accent2"/>
                </a:solidFill>
                <a:latin typeface="Calibri" panose="020F0502020204030204" pitchFamily="34" charset="0"/>
                <a:cs typeface="Calibri" panose="020F0502020204030204" pitchFamily="34" charset="0"/>
              </a:rPr>
              <a:t>with data before the COVID-19 and used</a:t>
            </a:r>
            <a:r>
              <a:rPr kumimoji="1" lang="zh-CN" altLang="en-US" sz="1050" dirty="0">
                <a:solidFill>
                  <a:schemeClr val="accent2"/>
                </a:solidFill>
                <a:latin typeface="Calibri" panose="020F0502020204030204" pitchFamily="34" charset="0"/>
                <a:cs typeface="Calibri" panose="020F0502020204030204" pitchFamily="34" charset="0"/>
              </a:rPr>
              <a:t> </a:t>
            </a:r>
            <a:r>
              <a:rPr kumimoji="1" lang="en-US" altLang="zh-CN" sz="1050" dirty="0">
                <a:solidFill>
                  <a:schemeClr val="accent2"/>
                </a:solidFill>
                <a:latin typeface="Calibri" panose="020F0502020204030204" pitchFamily="34" charset="0"/>
                <a:cs typeface="Calibri" panose="020F0502020204030204" pitchFamily="34" charset="0"/>
              </a:rPr>
              <a:t>to predict the price after the COVID-19 to analyze the relative relative under/over/neural share price performance compared to S&amp;P 500.</a:t>
            </a:r>
          </a:p>
          <a:p>
            <a:pPr marL="171450" indent="-171450">
              <a:buFont typeface="Arial" panose="020B0604020202020204" pitchFamily="34" charset="0"/>
              <a:buChar char="•"/>
            </a:pPr>
            <a:r>
              <a:rPr kumimoji="1" lang="en-US" altLang="zh-CN" sz="1050" dirty="0">
                <a:solidFill>
                  <a:schemeClr val="accent2"/>
                </a:solidFill>
                <a:latin typeface="Calibri" panose="020F0502020204030204" pitchFamily="34" charset="0"/>
                <a:cs typeface="Calibri" panose="020F0502020204030204" pitchFamily="34" charset="0"/>
              </a:rPr>
              <a:t>Higher prediction value indicates higher performance over S&amp;P 500 compared with time before the COVID-19.</a:t>
            </a:r>
          </a:p>
        </p:txBody>
      </p:sp>
      <p:grpSp>
        <p:nvGrpSpPr>
          <p:cNvPr id="43" name="组合 42">
            <a:extLst>
              <a:ext uri="{FF2B5EF4-FFF2-40B4-BE49-F238E27FC236}">
                <a16:creationId xmlns:a16="http://schemas.microsoft.com/office/drawing/2014/main" id="{546791FD-2AB2-43A8-936D-035CF2ECF734}"/>
              </a:ext>
            </a:extLst>
          </p:cNvPr>
          <p:cNvGrpSpPr/>
          <p:nvPr/>
        </p:nvGrpSpPr>
        <p:grpSpPr>
          <a:xfrm>
            <a:off x="329425" y="2236971"/>
            <a:ext cx="2881579" cy="396875"/>
            <a:chOff x="438854" y="1766596"/>
            <a:chExt cx="2881579" cy="396875"/>
          </a:xfrm>
        </p:grpSpPr>
        <p:sp>
          <p:nvSpPr>
            <p:cNvPr id="44" name="Rectangle 4">
              <a:extLst>
                <a:ext uri="{FF2B5EF4-FFF2-40B4-BE49-F238E27FC236}">
                  <a16:creationId xmlns:a16="http://schemas.microsoft.com/office/drawing/2014/main" id="{697A615D-8119-42C3-B8A6-7124055A2251}"/>
                </a:ext>
              </a:extLst>
            </p:cNvPr>
            <p:cNvSpPr/>
            <p:nvPr/>
          </p:nvSpPr>
          <p:spPr>
            <a:xfrm>
              <a:off x="946930" y="1766596"/>
              <a:ext cx="2373503"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400" b="1" dirty="0">
                  <a:solidFill>
                    <a:prstClr val="black"/>
                  </a:solidFill>
                  <a:latin typeface="Calibri" panose="020F0502020204030204" pitchFamily="34" charset="0"/>
                  <a:cs typeface="Calibri" panose="020F0502020204030204" pitchFamily="34" charset="0"/>
                </a:rPr>
                <a:t>AAL vs. UAL (United Airlines)</a:t>
              </a:r>
            </a:p>
          </p:txBody>
        </p:sp>
        <p:cxnSp>
          <p:nvCxnSpPr>
            <p:cNvPr id="45" name="Straight Connector 6">
              <a:extLst>
                <a:ext uri="{FF2B5EF4-FFF2-40B4-BE49-F238E27FC236}">
                  <a16:creationId xmlns:a16="http://schemas.microsoft.com/office/drawing/2014/main" id="{0A541843-F4D2-4C03-BC94-29A591534CD3}"/>
                </a:ext>
              </a:extLst>
            </p:cNvPr>
            <p:cNvCxnSpPr>
              <a:cxnSpLocks/>
            </p:cNvCxnSpPr>
            <p:nvPr/>
          </p:nvCxnSpPr>
          <p:spPr>
            <a:xfrm flipV="1">
              <a:off x="457853" y="2103431"/>
              <a:ext cx="2731998" cy="334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34">
              <a:extLst>
                <a:ext uri="{FF2B5EF4-FFF2-40B4-BE49-F238E27FC236}">
                  <a16:creationId xmlns:a16="http://schemas.microsoft.com/office/drawing/2014/main" id="{A6CD99A2-D60A-420B-A89A-35D0064D41D0}"/>
                </a:ext>
              </a:extLst>
            </p:cNvPr>
            <p:cNvSpPr/>
            <p:nvPr/>
          </p:nvSpPr>
          <p:spPr>
            <a:xfrm>
              <a:off x="438854" y="1815282"/>
              <a:ext cx="417081" cy="30254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400" b="1" dirty="0">
                  <a:solidFill>
                    <a:srgbClr val="FFFFFF"/>
                  </a:solidFill>
                  <a:latin typeface="Calibri" panose="020F0502020204030204" pitchFamily="34" charset="0"/>
                  <a:cs typeface="Calibri" panose="020F0502020204030204" pitchFamily="34" charset="0"/>
                </a:rPr>
                <a:t>AAL</a:t>
              </a:r>
              <a:endParaRPr lang="zh-CN" altLang="en-US" sz="1400" b="1" dirty="0">
                <a:solidFill>
                  <a:srgbClr val="FFFFFF"/>
                </a:solidFill>
                <a:latin typeface="Calibri" panose="020F0502020204030204" pitchFamily="34" charset="0"/>
                <a:cs typeface="Calibri" panose="020F0502020204030204" pitchFamily="34" charset="0"/>
              </a:endParaRPr>
            </a:p>
          </p:txBody>
        </p:sp>
      </p:grpSp>
      <p:grpSp>
        <p:nvGrpSpPr>
          <p:cNvPr id="48" name="组合 47">
            <a:extLst>
              <a:ext uri="{FF2B5EF4-FFF2-40B4-BE49-F238E27FC236}">
                <a16:creationId xmlns:a16="http://schemas.microsoft.com/office/drawing/2014/main" id="{6623DD25-6802-4B67-9254-81C3CCCC9088}"/>
              </a:ext>
            </a:extLst>
          </p:cNvPr>
          <p:cNvGrpSpPr/>
          <p:nvPr/>
        </p:nvGrpSpPr>
        <p:grpSpPr>
          <a:xfrm>
            <a:off x="6506812" y="2240859"/>
            <a:ext cx="3448945" cy="396875"/>
            <a:chOff x="438854" y="1766596"/>
            <a:chExt cx="3448945" cy="396875"/>
          </a:xfrm>
        </p:grpSpPr>
        <p:sp>
          <p:nvSpPr>
            <p:cNvPr id="49" name="Rectangle 4">
              <a:extLst>
                <a:ext uri="{FF2B5EF4-FFF2-40B4-BE49-F238E27FC236}">
                  <a16:creationId xmlns:a16="http://schemas.microsoft.com/office/drawing/2014/main" id="{75072D0E-D3CD-4D0D-AB14-B11AECBA849D}"/>
                </a:ext>
              </a:extLst>
            </p:cNvPr>
            <p:cNvSpPr/>
            <p:nvPr/>
          </p:nvSpPr>
          <p:spPr>
            <a:xfrm>
              <a:off x="946930" y="1766596"/>
              <a:ext cx="2940869"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400" b="1" dirty="0">
                  <a:solidFill>
                    <a:prstClr val="black"/>
                  </a:solidFill>
                  <a:latin typeface="Calibri" panose="020F0502020204030204" pitchFamily="34" charset="0"/>
                  <a:cs typeface="Calibri" panose="020F0502020204030204" pitchFamily="34" charset="0"/>
                </a:rPr>
                <a:t>AAL undervalued after COVID-19</a:t>
              </a:r>
            </a:p>
          </p:txBody>
        </p:sp>
        <p:cxnSp>
          <p:nvCxnSpPr>
            <p:cNvPr id="50" name="Straight Connector 6">
              <a:extLst>
                <a:ext uri="{FF2B5EF4-FFF2-40B4-BE49-F238E27FC236}">
                  <a16:creationId xmlns:a16="http://schemas.microsoft.com/office/drawing/2014/main" id="{88A76B2D-B233-4DDF-AFEB-2566946D3EC6}"/>
                </a:ext>
              </a:extLst>
            </p:cNvPr>
            <p:cNvCxnSpPr>
              <a:cxnSpLocks/>
            </p:cNvCxnSpPr>
            <p:nvPr/>
          </p:nvCxnSpPr>
          <p:spPr>
            <a:xfrm>
              <a:off x="457853" y="2106777"/>
              <a:ext cx="342994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Rectangle 34">
              <a:extLst>
                <a:ext uri="{FF2B5EF4-FFF2-40B4-BE49-F238E27FC236}">
                  <a16:creationId xmlns:a16="http://schemas.microsoft.com/office/drawing/2014/main" id="{3E67BACC-C0E4-4E65-ACA6-54065E5848B3}"/>
                </a:ext>
              </a:extLst>
            </p:cNvPr>
            <p:cNvSpPr/>
            <p:nvPr/>
          </p:nvSpPr>
          <p:spPr>
            <a:xfrm>
              <a:off x="438854" y="1815282"/>
              <a:ext cx="417081" cy="30254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400" b="1" dirty="0">
                  <a:solidFill>
                    <a:srgbClr val="FFFFFF"/>
                  </a:solidFill>
                  <a:latin typeface="Calibri" panose="020F0502020204030204" pitchFamily="34" charset="0"/>
                  <a:cs typeface="Calibri" panose="020F0502020204030204" pitchFamily="34" charset="0"/>
                </a:rPr>
                <a:t>AAL</a:t>
              </a:r>
              <a:endParaRPr lang="zh-CN" altLang="en-US" sz="1400" b="1" dirty="0">
                <a:solidFill>
                  <a:srgbClr val="FFFFFF"/>
                </a:solidFill>
                <a:latin typeface="Calibri" panose="020F0502020204030204" pitchFamily="34" charset="0"/>
                <a:cs typeface="Calibri" panose="020F0502020204030204" pitchFamily="34" charset="0"/>
              </a:endParaRPr>
            </a:p>
          </p:txBody>
        </p:sp>
      </p:grpSp>
      <p:grpSp>
        <p:nvGrpSpPr>
          <p:cNvPr id="52" name="组合 51">
            <a:extLst>
              <a:ext uri="{FF2B5EF4-FFF2-40B4-BE49-F238E27FC236}">
                <a16:creationId xmlns:a16="http://schemas.microsoft.com/office/drawing/2014/main" id="{1F6EBBED-B5F8-4F50-8DC9-58F9ECA9ABA7}"/>
              </a:ext>
            </a:extLst>
          </p:cNvPr>
          <p:cNvGrpSpPr/>
          <p:nvPr/>
        </p:nvGrpSpPr>
        <p:grpSpPr>
          <a:xfrm>
            <a:off x="333434" y="3778033"/>
            <a:ext cx="3136745" cy="396875"/>
            <a:chOff x="438854" y="1766596"/>
            <a:chExt cx="3136745" cy="396875"/>
          </a:xfrm>
        </p:grpSpPr>
        <p:sp>
          <p:nvSpPr>
            <p:cNvPr id="53" name="Rectangle 4">
              <a:extLst>
                <a:ext uri="{FF2B5EF4-FFF2-40B4-BE49-F238E27FC236}">
                  <a16:creationId xmlns:a16="http://schemas.microsoft.com/office/drawing/2014/main" id="{7FF49135-1DC5-4917-B0AF-936BD4A1BEB2}"/>
                </a:ext>
              </a:extLst>
            </p:cNvPr>
            <p:cNvSpPr/>
            <p:nvPr/>
          </p:nvSpPr>
          <p:spPr>
            <a:xfrm>
              <a:off x="946930" y="1766596"/>
              <a:ext cx="2628669"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400" b="1" dirty="0">
                  <a:solidFill>
                    <a:prstClr val="black"/>
                  </a:solidFill>
                  <a:latin typeface="Calibri" panose="020F0502020204030204" pitchFamily="34" charset="0"/>
                  <a:cs typeface="Calibri" panose="020F0502020204030204" pitchFamily="34" charset="0"/>
                </a:rPr>
                <a:t>DIS vs. CMSCA (Comcast Operation)</a:t>
              </a:r>
            </a:p>
          </p:txBody>
        </p:sp>
        <p:cxnSp>
          <p:nvCxnSpPr>
            <p:cNvPr id="54" name="Straight Connector 6">
              <a:extLst>
                <a:ext uri="{FF2B5EF4-FFF2-40B4-BE49-F238E27FC236}">
                  <a16:creationId xmlns:a16="http://schemas.microsoft.com/office/drawing/2014/main" id="{E6B0D72B-9C5F-4A25-B36B-2F13EBE19175}"/>
                </a:ext>
              </a:extLst>
            </p:cNvPr>
            <p:cNvCxnSpPr>
              <a:cxnSpLocks/>
            </p:cNvCxnSpPr>
            <p:nvPr/>
          </p:nvCxnSpPr>
          <p:spPr>
            <a:xfrm flipV="1">
              <a:off x="457853" y="2103431"/>
              <a:ext cx="2712999" cy="334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34">
              <a:extLst>
                <a:ext uri="{FF2B5EF4-FFF2-40B4-BE49-F238E27FC236}">
                  <a16:creationId xmlns:a16="http://schemas.microsoft.com/office/drawing/2014/main" id="{92C7CE7B-F6A8-4F98-B8C9-93F64F754659}"/>
                </a:ext>
              </a:extLst>
            </p:cNvPr>
            <p:cNvSpPr/>
            <p:nvPr/>
          </p:nvSpPr>
          <p:spPr>
            <a:xfrm>
              <a:off x="438854" y="1815282"/>
              <a:ext cx="417081" cy="30254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400" b="1" dirty="0">
                  <a:solidFill>
                    <a:srgbClr val="FFFFFF"/>
                  </a:solidFill>
                  <a:latin typeface="Calibri" panose="020F0502020204030204" pitchFamily="34" charset="0"/>
                  <a:cs typeface="Calibri" panose="020F0502020204030204" pitchFamily="34" charset="0"/>
                </a:rPr>
                <a:t>DIS</a:t>
              </a:r>
              <a:endParaRPr lang="zh-CN" altLang="en-US" sz="1400" b="1" dirty="0">
                <a:solidFill>
                  <a:srgbClr val="FFFFFF"/>
                </a:solidFill>
                <a:latin typeface="Calibri" panose="020F0502020204030204" pitchFamily="34" charset="0"/>
                <a:cs typeface="Calibri" panose="020F0502020204030204" pitchFamily="34" charset="0"/>
              </a:endParaRPr>
            </a:p>
          </p:txBody>
        </p:sp>
      </p:grpSp>
      <p:grpSp>
        <p:nvGrpSpPr>
          <p:cNvPr id="56" name="组合 55">
            <a:extLst>
              <a:ext uri="{FF2B5EF4-FFF2-40B4-BE49-F238E27FC236}">
                <a16:creationId xmlns:a16="http://schemas.microsoft.com/office/drawing/2014/main" id="{04A7535D-EA4B-479D-A385-716C24BCF80B}"/>
              </a:ext>
            </a:extLst>
          </p:cNvPr>
          <p:cNvGrpSpPr/>
          <p:nvPr/>
        </p:nvGrpSpPr>
        <p:grpSpPr>
          <a:xfrm>
            <a:off x="6514150" y="3772270"/>
            <a:ext cx="3448945" cy="396875"/>
            <a:chOff x="438854" y="1766596"/>
            <a:chExt cx="3448945" cy="396875"/>
          </a:xfrm>
        </p:grpSpPr>
        <p:sp>
          <p:nvSpPr>
            <p:cNvPr id="57" name="Rectangle 4">
              <a:extLst>
                <a:ext uri="{FF2B5EF4-FFF2-40B4-BE49-F238E27FC236}">
                  <a16:creationId xmlns:a16="http://schemas.microsoft.com/office/drawing/2014/main" id="{4B71B8D8-2E5C-4D2B-A1C2-B8E33D5C258E}"/>
                </a:ext>
              </a:extLst>
            </p:cNvPr>
            <p:cNvSpPr/>
            <p:nvPr/>
          </p:nvSpPr>
          <p:spPr>
            <a:xfrm>
              <a:off x="946931" y="1766596"/>
              <a:ext cx="2940868"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400" b="1" dirty="0">
                  <a:solidFill>
                    <a:prstClr val="black"/>
                  </a:solidFill>
                  <a:latin typeface="Calibri" panose="020F0502020204030204" pitchFamily="34" charset="0"/>
                  <a:cs typeface="Calibri" panose="020F0502020204030204" pitchFamily="34" charset="0"/>
                </a:rPr>
                <a:t>DIS overvalued after COVID-19</a:t>
              </a:r>
            </a:p>
          </p:txBody>
        </p:sp>
        <p:cxnSp>
          <p:nvCxnSpPr>
            <p:cNvPr id="58" name="Straight Connector 6">
              <a:extLst>
                <a:ext uri="{FF2B5EF4-FFF2-40B4-BE49-F238E27FC236}">
                  <a16:creationId xmlns:a16="http://schemas.microsoft.com/office/drawing/2014/main" id="{1643C808-9F29-4667-8FF1-40002D581847}"/>
                </a:ext>
              </a:extLst>
            </p:cNvPr>
            <p:cNvCxnSpPr>
              <a:cxnSpLocks/>
            </p:cNvCxnSpPr>
            <p:nvPr/>
          </p:nvCxnSpPr>
          <p:spPr>
            <a:xfrm>
              <a:off x="457853" y="2106777"/>
              <a:ext cx="212528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Rectangle 34">
              <a:extLst>
                <a:ext uri="{FF2B5EF4-FFF2-40B4-BE49-F238E27FC236}">
                  <a16:creationId xmlns:a16="http://schemas.microsoft.com/office/drawing/2014/main" id="{11A6471F-1B1B-4FCC-B3CC-29B74FF6320D}"/>
                </a:ext>
              </a:extLst>
            </p:cNvPr>
            <p:cNvSpPr/>
            <p:nvPr/>
          </p:nvSpPr>
          <p:spPr>
            <a:xfrm>
              <a:off x="438854" y="1815282"/>
              <a:ext cx="417081" cy="30254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400" b="1" dirty="0">
                  <a:solidFill>
                    <a:srgbClr val="FFFFFF"/>
                  </a:solidFill>
                  <a:latin typeface="Calibri" panose="020F0502020204030204" pitchFamily="34" charset="0"/>
                  <a:cs typeface="Calibri" panose="020F0502020204030204" pitchFamily="34" charset="0"/>
                </a:rPr>
                <a:t>DIS</a:t>
              </a:r>
              <a:endParaRPr lang="zh-CN" altLang="en-US" sz="1400" b="1" dirty="0">
                <a:solidFill>
                  <a:srgbClr val="FFFFFF"/>
                </a:solidFill>
                <a:latin typeface="Calibri" panose="020F0502020204030204" pitchFamily="34" charset="0"/>
                <a:cs typeface="Calibri" panose="020F0502020204030204" pitchFamily="34" charset="0"/>
              </a:endParaRPr>
            </a:p>
          </p:txBody>
        </p:sp>
      </p:grpSp>
      <p:grpSp>
        <p:nvGrpSpPr>
          <p:cNvPr id="60" name="组合 59">
            <a:extLst>
              <a:ext uri="{FF2B5EF4-FFF2-40B4-BE49-F238E27FC236}">
                <a16:creationId xmlns:a16="http://schemas.microsoft.com/office/drawing/2014/main" id="{36C4099A-9D8A-4AC6-9171-6504C5759191}"/>
              </a:ext>
            </a:extLst>
          </p:cNvPr>
          <p:cNvGrpSpPr/>
          <p:nvPr/>
        </p:nvGrpSpPr>
        <p:grpSpPr>
          <a:xfrm>
            <a:off x="333565" y="5298932"/>
            <a:ext cx="2716877" cy="396875"/>
            <a:chOff x="438854" y="1766596"/>
            <a:chExt cx="2716877" cy="396875"/>
          </a:xfrm>
        </p:grpSpPr>
        <p:sp>
          <p:nvSpPr>
            <p:cNvPr id="61" name="Rectangle 4">
              <a:extLst>
                <a:ext uri="{FF2B5EF4-FFF2-40B4-BE49-F238E27FC236}">
                  <a16:creationId xmlns:a16="http://schemas.microsoft.com/office/drawing/2014/main" id="{74E28049-BF24-49E1-894B-980AA6C9588A}"/>
                </a:ext>
              </a:extLst>
            </p:cNvPr>
            <p:cNvSpPr/>
            <p:nvPr/>
          </p:nvSpPr>
          <p:spPr>
            <a:xfrm>
              <a:off x="946930" y="1766596"/>
              <a:ext cx="2208801"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400" b="1" dirty="0">
                  <a:solidFill>
                    <a:prstClr val="black"/>
                  </a:solidFill>
                  <a:latin typeface="Calibri" panose="020F0502020204030204" pitchFamily="34" charset="0"/>
                  <a:cs typeface="Calibri" panose="020F0502020204030204" pitchFamily="34" charset="0"/>
                </a:rPr>
                <a:t>PEP vs. KO (Coca-Cola Co)</a:t>
              </a:r>
            </a:p>
          </p:txBody>
        </p:sp>
        <p:cxnSp>
          <p:nvCxnSpPr>
            <p:cNvPr id="62" name="Straight Connector 6">
              <a:extLst>
                <a:ext uri="{FF2B5EF4-FFF2-40B4-BE49-F238E27FC236}">
                  <a16:creationId xmlns:a16="http://schemas.microsoft.com/office/drawing/2014/main" id="{A1B7CDB1-9F55-4273-92E9-167741C340A0}"/>
                </a:ext>
              </a:extLst>
            </p:cNvPr>
            <p:cNvCxnSpPr>
              <a:cxnSpLocks/>
            </p:cNvCxnSpPr>
            <p:nvPr/>
          </p:nvCxnSpPr>
          <p:spPr>
            <a:xfrm flipV="1">
              <a:off x="457853" y="2103431"/>
              <a:ext cx="2697878" cy="334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Rectangle 34">
              <a:extLst>
                <a:ext uri="{FF2B5EF4-FFF2-40B4-BE49-F238E27FC236}">
                  <a16:creationId xmlns:a16="http://schemas.microsoft.com/office/drawing/2014/main" id="{745A632B-5242-4402-BF5C-1F5D819B6EEB}"/>
                </a:ext>
              </a:extLst>
            </p:cNvPr>
            <p:cNvSpPr/>
            <p:nvPr/>
          </p:nvSpPr>
          <p:spPr>
            <a:xfrm>
              <a:off x="438854" y="1815282"/>
              <a:ext cx="417081" cy="30254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400" b="1" dirty="0">
                  <a:solidFill>
                    <a:srgbClr val="FFFFFF"/>
                  </a:solidFill>
                  <a:latin typeface="Calibri" panose="020F0502020204030204" pitchFamily="34" charset="0"/>
                  <a:cs typeface="Calibri" panose="020F0502020204030204" pitchFamily="34" charset="0"/>
                </a:rPr>
                <a:t>PEP</a:t>
              </a:r>
              <a:endParaRPr lang="zh-CN" altLang="en-US" sz="1400" b="1" dirty="0">
                <a:solidFill>
                  <a:srgbClr val="FFFFFF"/>
                </a:solidFill>
                <a:latin typeface="Calibri" panose="020F0502020204030204" pitchFamily="34" charset="0"/>
                <a:cs typeface="Calibri" panose="020F0502020204030204" pitchFamily="34" charset="0"/>
              </a:endParaRPr>
            </a:p>
          </p:txBody>
        </p:sp>
      </p:grpSp>
      <p:grpSp>
        <p:nvGrpSpPr>
          <p:cNvPr id="64" name="组合 63">
            <a:extLst>
              <a:ext uri="{FF2B5EF4-FFF2-40B4-BE49-F238E27FC236}">
                <a16:creationId xmlns:a16="http://schemas.microsoft.com/office/drawing/2014/main" id="{5223B5B8-B882-4F3E-B8E1-12C14F440958}"/>
              </a:ext>
            </a:extLst>
          </p:cNvPr>
          <p:cNvGrpSpPr/>
          <p:nvPr/>
        </p:nvGrpSpPr>
        <p:grpSpPr>
          <a:xfrm>
            <a:off x="6512942" y="5287552"/>
            <a:ext cx="3066033" cy="396875"/>
            <a:chOff x="438854" y="1766596"/>
            <a:chExt cx="3066033" cy="396875"/>
          </a:xfrm>
        </p:grpSpPr>
        <p:sp>
          <p:nvSpPr>
            <p:cNvPr id="65" name="Rectangle 4">
              <a:extLst>
                <a:ext uri="{FF2B5EF4-FFF2-40B4-BE49-F238E27FC236}">
                  <a16:creationId xmlns:a16="http://schemas.microsoft.com/office/drawing/2014/main" id="{F220B616-0287-4370-B609-E47943C3C8D2}"/>
                </a:ext>
              </a:extLst>
            </p:cNvPr>
            <p:cNvSpPr/>
            <p:nvPr/>
          </p:nvSpPr>
          <p:spPr>
            <a:xfrm>
              <a:off x="946930" y="1766596"/>
              <a:ext cx="2557957"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400" b="1" dirty="0">
                  <a:solidFill>
                    <a:prstClr val="black"/>
                  </a:solidFill>
                  <a:latin typeface="Calibri" panose="020F0502020204030204" pitchFamily="34" charset="0"/>
                  <a:cs typeface="Calibri" panose="020F0502020204030204" pitchFamily="34" charset="0"/>
                </a:rPr>
                <a:t>PEP </a:t>
              </a:r>
              <a:r>
                <a:rPr lang="en-US" altLang="zh-CN" sz="1400" b="1" dirty="0" err="1">
                  <a:solidFill>
                    <a:prstClr val="black"/>
                  </a:solidFill>
                  <a:latin typeface="Calibri" panose="020F0502020204030204" pitchFamily="34" charset="0"/>
                  <a:cs typeface="Calibri" panose="020F0502020204030204" pitchFamily="34" charset="0"/>
                </a:rPr>
                <a:t>neutralvalued</a:t>
              </a:r>
              <a:r>
                <a:rPr lang="en-US" altLang="zh-CN" sz="1400" b="1" dirty="0">
                  <a:solidFill>
                    <a:prstClr val="black"/>
                  </a:solidFill>
                  <a:latin typeface="Calibri" panose="020F0502020204030204" pitchFamily="34" charset="0"/>
                  <a:cs typeface="Calibri" panose="020F0502020204030204" pitchFamily="34" charset="0"/>
                </a:rPr>
                <a:t> after COVID-19</a:t>
              </a:r>
            </a:p>
          </p:txBody>
        </p:sp>
        <p:cxnSp>
          <p:nvCxnSpPr>
            <p:cNvPr id="66" name="Straight Connector 6">
              <a:extLst>
                <a:ext uri="{FF2B5EF4-FFF2-40B4-BE49-F238E27FC236}">
                  <a16:creationId xmlns:a16="http://schemas.microsoft.com/office/drawing/2014/main" id="{D7D32A7D-D772-4D69-98B2-59BA121BF747}"/>
                </a:ext>
              </a:extLst>
            </p:cNvPr>
            <p:cNvCxnSpPr>
              <a:cxnSpLocks/>
            </p:cNvCxnSpPr>
            <p:nvPr/>
          </p:nvCxnSpPr>
          <p:spPr>
            <a:xfrm>
              <a:off x="457853" y="2106777"/>
              <a:ext cx="212528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34">
              <a:extLst>
                <a:ext uri="{FF2B5EF4-FFF2-40B4-BE49-F238E27FC236}">
                  <a16:creationId xmlns:a16="http://schemas.microsoft.com/office/drawing/2014/main" id="{6BAD7339-4523-4856-BD6D-DEFBAED674B5}"/>
                </a:ext>
              </a:extLst>
            </p:cNvPr>
            <p:cNvSpPr/>
            <p:nvPr/>
          </p:nvSpPr>
          <p:spPr>
            <a:xfrm>
              <a:off x="438854" y="1815282"/>
              <a:ext cx="417081" cy="30254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400" b="1" dirty="0">
                  <a:solidFill>
                    <a:srgbClr val="FFFFFF"/>
                  </a:solidFill>
                  <a:latin typeface="Calibri" panose="020F0502020204030204" pitchFamily="34" charset="0"/>
                  <a:cs typeface="Calibri" panose="020F0502020204030204" pitchFamily="34" charset="0"/>
                </a:rPr>
                <a:t>PEP</a:t>
              </a:r>
              <a:endParaRPr lang="zh-CN" altLang="en-US" sz="1400" b="1" dirty="0">
                <a:solidFill>
                  <a:srgbClr val="FFFFFF"/>
                </a:solidFill>
                <a:latin typeface="Calibri" panose="020F0502020204030204" pitchFamily="34" charset="0"/>
                <a:cs typeface="Calibri" panose="020F0502020204030204" pitchFamily="34" charset="0"/>
              </a:endParaRPr>
            </a:p>
          </p:txBody>
        </p:sp>
      </p:grpSp>
      <p:sp>
        <p:nvSpPr>
          <p:cNvPr id="69" name="矩形 68">
            <a:extLst>
              <a:ext uri="{FF2B5EF4-FFF2-40B4-BE49-F238E27FC236}">
                <a16:creationId xmlns:a16="http://schemas.microsoft.com/office/drawing/2014/main" id="{09257504-7E61-4AE6-BA60-7EA3B74EFBC5}"/>
              </a:ext>
            </a:extLst>
          </p:cNvPr>
          <p:cNvSpPr/>
          <p:nvPr/>
        </p:nvSpPr>
        <p:spPr>
          <a:xfrm>
            <a:off x="3708604" y="2560107"/>
            <a:ext cx="2649099" cy="1267355"/>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①</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before 2017, AAL is slightly overvalued compared to its competitor UAL .</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②</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after 2017 and before 2020, AAL is seriously undervalued compared to its competitor UAL.</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③</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after 2020, AAL is still undervalued than UAL but the gap narrows.</a:t>
            </a:r>
          </a:p>
        </p:txBody>
      </p:sp>
      <p:sp>
        <p:nvSpPr>
          <p:cNvPr id="70" name="矩形 69">
            <a:extLst>
              <a:ext uri="{FF2B5EF4-FFF2-40B4-BE49-F238E27FC236}">
                <a16:creationId xmlns:a16="http://schemas.microsoft.com/office/drawing/2014/main" id="{3D82FAB2-9BAF-413D-86C3-010E0A952F22}"/>
              </a:ext>
            </a:extLst>
          </p:cNvPr>
          <p:cNvSpPr/>
          <p:nvPr/>
        </p:nvSpPr>
        <p:spPr>
          <a:xfrm>
            <a:off x="10023077" y="2567122"/>
            <a:ext cx="2477888" cy="1260342"/>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Airline industry is hardly damaged by the pandemic and AAL is seriously undervalued relative to S&amp;P 500 before COVID-19 than before COVID-19.</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However, the gap has been decreasing as time goes by.</a:t>
            </a:r>
            <a:endParaRPr kumimoji="1" lang="zh-CN" altLang="en-US" sz="1000" dirty="0">
              <a:solidFill>
                <a:schemeClr val="tx1"/>
              </a:solidFill>
              <a:latin typeface="Calibri" panose="020F0502020204030204" pitchFamily="34" charset="0"/>
              <a:cs typeface="Calibri" panose="020F0502020204030204" pitchFamily="34" charset="0"/>
            </a:endParaRPr>
          </a:p>
        </p:txBody>
      </p:sp>
      <p:sp>
        <p:nvSpPr>
          <p:cNvPr id="71" name="矩形 108">
            <a:extLst>
              <a:ext uri="{FF2B5EF4-FFF2-40B4-BE49-F238E27FC236}">
                <a16:creationId xmlns:a16="http://schemas.microsoft.com/office/drawing/2014/main" id="{AD6AB25C-480B-3B49-8F2A-8928F55A8EC2}"/>
              </a:ext>
            </a:extLst>
          </p:cNvPr>
          <p:cNvSpPr/>
          <p:nvPr/>
        </p:nvSpPr>
        <p:spPr>
          <a:xfrm>
            <a:off x="728014" y="2837577"/>
            <a:ext cx="1253186" cy="60933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75" name="矩形 108">
            <a:extLst>
              <a:ext uri="{FF2B5EF4-FFF2-40B4-BE49-F238E27FC236}">
                <a16:creationId xmlns:a16="http://schemas.microsoft.com/office/drawing/2014/main" id="{D3DE23B5-F061-B041-9EE2-4892B41AA299}"/>
              </a:ext>
            </a:extLst>
          </p:cNvPr>
          <p:cNvSpPr/>
          <p:nvPr/>
        </p:nvSpPr>
        <p:spPr>
          <a:xfrm>
            <a:off x="2453003" y="2719094"/>
            <a:ext cx="724728" cy="544326"/>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76" name="矩形 108">
            <a:extLst>
              <a:ext uri="{FF2B5EF4-FFF2-40B4-BE49-F238E27FC236}">
                <a16:creationId xmlns:a16="http://schemas.microsoft.com/office/drawing/2014/main" id="{80CDDAF2-F852-B34A-863D-184E2852760C}"/>
              </a:ext>
            </a:extLst>
          </p:cNvPr>
          <p:cNvSpPr/>
          <p:nvPr/>
        </p:nvSpPr>
        <p:spPr>
          <a:xfrm>
            <a:off x="3240984" y="2922572"/>
            <a:ext cx="397000" cy="60933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79" name="椭圆 99">
            <a:extLst>
              <a:ext uri="{FF2B5EF4-FFF2-40B4-BE49-F238E27FC236}">
                <a16:creationId xmlns:a16="http://schemas.microsoft.com/office/drawing/2014/main" id="{35C8B14D-9FBE-FB4E-9E5B-09D0895F1C13}"/>
              </a:ext>
            </a:extLst>
          </p:cNvPr>
          <p:cNvSpPr/>
          <p:nvPr/>
        </p:nvSpPr>
        <p:spPr>
          <a:xfrm>
            <a:off x="1270257" y="3380104"/>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80" name="椭圆 99">
            <a:extLst>
              <a:ext uri="{FF2B5EF4-FFF2-40B4-BE49-F238E27FC236}">
                <a16:creationId xmlns:a16="http://schemas.microsoft.com/office/drawing/2014/main" id="{B1ACB0DC-9999-3040-A600-25D491CCB561}"/>
              </a:ext>
            </a:extLst>
          </p:cNvPr>
          <p:cNvSpPr/>
          <p:nvPr/>
        </p:nvSpPr>
        <p:spPr>
          <a:xfrm>
            <a:off x="2740368" y="3201960"/>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2</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85" name="椭圆 99">
            <a:extLst>
              <a:ext uri="{FF2B5EF4-FFF2-40B4-BE49-F238E27FC236}">
                <a16:creationId xmlns:a16="http://schemas.microsoft.com/office/drawing/2014/main" id="{71C28896-05EC-2746-BED4-CFDC6D67E451}"/>
              </a:ext>
            </a:extLst>
          </p:cNvPr>
          <p:cNvSpPr/>
          <p:nvPr/>
        </p:nvSpPr>
        <p:spPr>
          <a:xfrm>
            <a:off x="3365151" y="2831288"/>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3</a:t>
            </a:r>
            <a:endParaRPr lang="zh-CN" altLang="en-US" sz="800" dirty="0">
              <a:solidFill>
                <a:schemeClr val="bg1"/>
              </a:solidFill>
              <a:latin typeface="Calibri" panose="020F0502020204030204" pitchFamily="34" charset="0"/>
              <a:cs typeface="Calibri" panose="020F0502020204030204" pitchFamily="34" charset="0"/>
            </a:endParaRPr>
          </a:p>
        </p:txBody>
      </p:sp>
      <p:graphicFrame>
        <p:nvGraphicFramePr>
          <p:cNvPr id="73" name="图表 79">
            <a:extLst>
              <a:ext uri="{FF2B5EF4-FFF2-40B4-BE49-F238E27FC236}">
                <a16:creationId xmlns:a16="http://schemas.microsoft.com/office/drawing/2014/main" id="{60F265B3-F56F-724A-AAED-7D2A38EEB0ED}"/>
              </a:ext>
            </a:extLst>
          </p:cNvPr>
          <p:cNvGraphicFramePr/>
          <p:nvPr>
            <p:extLst>
              <p:ext uri="{D42A27DB-BD31-4B8C-83A1-F6EECF244321}">
                <p14:modId xmlns:p14="http://schemas.microsoft.com/office/powerpoint/2010/main" val="2992128705"/>
              </p:ext>
            </p:extLst>
          </p:nvPr>
        </p:nvGraphicFramePr>
        <p:xfrm>
          <a:off x="339428" y="5650167"/>
          <a:ext cx="3298556" cy="1190715"/>
        </p:xfrm>
        <a:graphic>
          <a:graphicData uri="http://schemas.openxmlformats.org/drawingml/2006/chart">
            <c:chart xmlns:c="http://schemas.openxmlformats.org/drawingml/2006/chart" xmlns:r="http://schemas.openxmlformats.org/officeDocument/2006/relationships" r:id="rId6"/>
          </a:graphicData>
        </a:graphic>
      </p:graphicFrame>
      <p:sp>
        <p:nvSpPr>
          <p:cNvPr id="98" name="矩形 108">
            <a:extLst>
              <a:ext uri="{FF2B5EF4-FFF2-40B4-BE49-F238E27FC236}">
                <a16:creationId xmlns:a16="http://schemas.microsoft.com/office/drawing/2014/main" id="{B9449D96-1FD0-034E-BB83-715EAC31799E}"/>
              </a:ext>
            </a:extLst>
          </p:cNvPr>
          <p:cNvSpPr/>
          <p:nvPr/>
        </p:nvSpPr>
        <p:spPr>
          <a:xfrm>
            <a:off x="967883" y="6056880"/>
            <a:ext cx="1922484" cy="468783"/>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99" name="矩形 108">
            <a:extLst>
              <a:ext uri="{FF2B5EF4-FFF2-40B4-BE49-F238E27FC236}">
                <a16:creationId xmlns:a16="http://schemas.microsoft.com/office/drawing/2014/main" id="{ADBD8431-99F4-1A4D-8ADB-53E23D463ECF}"/>
              </a:ext>
            </a:extLst>
          </p:cNvPr>
          <p:cNvSpPr/>
          <p:nvPr/>
        </p:nvSpPr>
        <p:spPr>
          <a:xfrm>
            <a:off x="3201400" y="5685448"/>
            <a:ext cx="421528" cy="60933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00" name="椭圆 99">
            <a:extLst>
              <a:ext uri="{FF2B5EF4-FFF2-40B4-BE49-F238E27FC236}">
                <a16:creationId xmlns:a16="http://schemas.microsoft.com/office/drawing/2014/main" id="{A45A09BA-DAB4-1947-86DC-B4EC35865287}"/>
              </a:ext>
            </a:extLst>
          </p:cNvPr>
          <p:cNvSpPr/>
          <p:nvPr/>
        </p:nvSpPr>
        <p:spPr>
          <a:xfrm>
            <a:off x="1838708" y="5987100"/>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01" name="椭圆 99">
            <a:extLst>
              <a:ext uri="{FF2B5EF4-FFF2-40B4-BE49-F238E27FC236}">
                <a16:creationId xmlns:a16="http://schemas.microsoft.com/office/drawing/2014/main" id="{5B0C266D-CA9A-F641-A5EE-D7DAD7A125E3}"/>
              </a:ext>
            </a:extLst>
          </p:cNvPr>
          <p:cNvSpPr/>
          <p:nvPr/>
        </p:nvSpPr>
        <p:spPr>
          <a:xfrm>
            <a:off x="3367564" y="6208872"/>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2</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02" name="矩形 68">
            <a:extLst>
              <a:ext uri="{FF2B5EF4-FFF2-40B4-BE49-F238E27FC236}">
                <a16:creationId xmlns:a16="http://schemas.microsoft.com/office/drawing/2014/main" id="{55F99370-FD96-484E-A148-FEE1737D63F5}"/>
              </a:ext>
            </a:extLst>
          </p:cNvPr>
          <p:cNvSpPr/>
          <p:nvPr/>
        </p:nvSpPr>
        <p:spPr>
          <a:xfrm>
            <a:off x="3702669" y="5556250"/>
            <a:ext cx="2649099" cy="1306685"/>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①</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before 2020, PEP is almost at the same level of performance as KO.</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②</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after 2020, PEP became overvalued compared to its competitor KO.</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Generally, PEP shows higher performance than KO.</a:t>
            </a:r>
          </a:p>
        </p:txBody>
      </p:sp>
      <p:sp>
        <p:nvSpPr>
          <p:cNvPr id="103" name="矩形 68">
            <a:extLst>
              <a:ext uri="{FF2B5EF4-FFF2-40B4-BE49-F238E27FC236}">
                <a16:creationId xmlns:a16="http://schemas.microsoft.com/office/drawing/2014/main" id="{76295113-37F8-2640-ADA7-2EF262E1EB41}"/>
              </a:ext>
            </a:extLst>
          </p:cNvPr>
          <p:cNvSpPr/>
          <p:nvPr/>
        </p:nvSpPr>
        <p:spPr>
          <a:xfrm>
            <a:off x="3708882" y="3940928"/>
            <a:ext cx="2649099" cy="1493284"/>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①</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before 2017, DIS is overvalued compared to its competitor CMSCA .</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②</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after 2017 and before 2020, DIS is is almost at the same level of performance as CMSCA.</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③</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shows after 2020, DIS is obviously undervalued in terms of CMSCA price.</a:t>
            </a:r>
          </a:p>
        </p:txBody>
      </p:sp>
      <p:sp>
        <p:nvSpPr>
          <p:cNvPr id="106" name="矩形 108">
            <a:extLst>
              <a:ext uri="{FF2B5EF4-FFF2-40B4-BE49-F238E27FC236}">
                <a16:creationId xmlns:a16="http://schemas.microsoft.com/office/drawing/2014/main" id="{12A6F4BF-DAAC-4647-9EE9-EAB2D4BF975F}"/>
              </a:ext>
            </a:extLst>
          </p:cNvPr>
          <p:cNvSpPr/>
          <p:nvPr/>
        </p:nvSpPr>
        <p:spPr>
          <a:xfrm>
            <a:off x="628787" y="4576859"/>
            <a:ext cx="1253186" cy="421785"/>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07" name="矩形 108">
            <a:extLst>
              <a:ext uri="{FF2B5EF4-FFF2-40B4-BE49-F238E27FC236}">
                <a16:creationId xmlns:a16="http://schemas.microsoft.com/office/drawing/2014/main" id="{58B2C75C-46CE-D049-AA54-0DED9E393699}"/>
              </a:ext>
            </a:extLst>
          </p:cNvPr>
          <p:cNvSpPr/>
          <p:nvPr/>
        </p:nvSpPr>
        <p:spPr>
          <a:xfrm>
            <a:off x="1965714" y="4359304"/>
            <a:ext cx="1253186" cy="448292"/>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08" name="矩形 108">
            <a:extLst>
              <a:ext uri="{FF2B5EF4-FFF2-40B4-BE49-F238E27FC236}">
                <a16:creationId xmlns:a16="http://schemas.microsoft.com/office/drawing/2014/main" id="{AD731806-82FB-FB4B-99E6-8911D2123AFB}"/>
              </a:ext>
            </a:extLst>
          </p:cNvPr>
          <p:cNvSpPr/>
          <p:nvPr/>
        </p:nvSpPr>
        <p:spPr>
          <a:xfrm>
            <a:off x="3365151" y="4175427"/>
            <a:ext cx="260898" cy="448292"/>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09" name="椭圆 99">
            <a:extLst>
              <a:ext uri="{FF2B5EF4-FFF2-40B4-BE49-F238E27FC236}">
                <a16:creationId xmlns:a16="http://schemas.microsoft.com/office/drawing/2014/main" id="{80FE0BEE-9C66-054D-AD90-9ECEAD0785C2}"/>
              </a:ext>
            </a:extLst>
          </p:cNvPr>
          <p:cNvSpPr/>
          <p:nvPr/>
        </p:nvSpPr>
        <p:spPr>
          <a:xfrm>
            <a:off x="1177725" y="4903767"/>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10" name="椭圆 99">
            <a:extLst>
              <a:ext uri="{FF2B5EF4-FFF2-40B4-BE49-F238E27FC236}">
                <a16:creationId xmlns:a16="http://schemas.microsoft.com/office/drawing/2014/main" id="{FC4EE5DE-7068-3D4F-8063-13D258C6E906}"/>
              </a:ext>
            </a:extLst>
          </p:cNvPr>
          <p:cNvSpPr/>
          <p:nvPr/>
        </p:nvSpPr>
        <p:spPr>
          <a:xfrm>
            <a:off x="3432953" y="4568465"/>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3</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11" name="椭圆 99">
            <a:extLst>
              <a:ext uri="{FF2B5EF4-FFF2-40B4-BE49-F238E27FC236}">
                <a16:creationId xmlns:a16="http://schemas.microsoft.com/office/drawing/2014/main" id="{3810F393-72EC-BD42-839C-CA069ECAB7CE}"/>
              </a:ext>
            </a:extLst>
          </p:cNvPr>
          <p:cNvSpPr/>
          <p:nvPr/>
        </p:nvSpPr>
        <p:spPr>
          <a:xfrm>
            <a:off x="2545766" y="4736295"/>
            <a:ext cx="1499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2</a:t>
            </a:r>
            <a:endParaRPr lang="zh-CN" altLang="en-US" sz="800" dirty="0">
              <a:solidFill>
                <a:schemeClr val="bg1"/>
              </a:solidFill>
              <a:latin typeface="Calibri" panose="020F0502020204030204" pitchFamily="34" charset="0"/>
              <a:cs typeface="Calibri" panose="020F0502020204030204" pitchFamily="34" charset="0"/>
            </a:endParaRPr>
          </a:p>
        </p:txBody>
      </p:sp>
      <p:graphicFrame>
        <p:nvGraphicFramePr>
          <p:cNvPr id="112" name="图表 86">
            <a:extLst>
              <a:ext uri="{FF2B5EF4-FFF2-40B4-BE49-F238E27FC236}">
                <a16:creationId xmlns:a16="http://schemas.microsoft.com/office/drawing/2014/main" id="{AB6E9670-24C9-A14B-9418-AB827DE38D64}"/>
              </a:ext>
            </a:extLst>
          </p:cNvPr>
          <p:cNvGraphicFramePr/>
          <p:nvPr>
            <p:extLst>
              <p:ext uri="{D42A27DB-BD31-4B8C-83A1-F6EECF244321}">
                <p14:modId xmlns:p14="http://schemas.microsoft.com/office/powerpoint/2010/main" val="3407391079"/>
              </p:ext>
            </p:extLst>
          </p:nvPr>
        </p:nvGraphicFramePr>
        <p:xfrm>
          <a:off x="6512943" y="5616680"/>
          <a:ext cx="3442814" cy="1246255"/>
        </p:xfrm>
        <a:graphic>
          <a:graphicData uri="http://schemas.openxmlformats.org/drawingml/2006/chart">
            <c:chart xmlns:c="http://schemas.openxmlformats.org/drawingml/2006/chart" xmlns:r="http://schemas.openxmlformats.org/officeDocument/2006/relationships" r:id="rId7"/>
          </a:graphicData>
        </a:graphic>
      </p:graphicFrame>
      <p:sp>
        <p:nvSpPr>
          <p:cNvPr id="114" name="矩形 69">
            <a:extLst>
              <a:ext uri="{FF2B5EF4-FFF2-40B4-BE49-F238E27FC236}">
                <a16:creationId xmlns:a16="http://schemas.microsoft.com/office/drawing/2014/main" id="{158BBBCD-6502-244D-8F76-CF4EDD64A420}"/>
              </a:ext>
            </a:extLst>
          </p:cNvPr>
          <p:cNvSpPr/>
          <p:nvPr/>
        </p:nvSpPr>
        <p:spPr>
          <a:xfrm>
            <a:off x="10018428" y="5556249"/>
            <a:ext cx="2486311" cy="1306685"/>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PEP overperformed during COVID-19 because of its strong snack business</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and countercyclically industrial character</a:t>
            </a:r>
            <a:r>
              <a:rPr kumimoji="1" lang="zh-CN" altLang="en-US" sz="1000" dirty="0">
                <a:solidFill>
                  <a:schemeClr val="tx1"/>
                </a:solidFill>
                <a:latin typeface="Calibri" panose="020F0502020204030204" pitchFamily="34" charset="0"/>
                <a:cs typeface="Calibri" panose="020F0502020204030204" pitchFamily="34" charset="0"/>
              </a:rPr>
              <a:t> </a:t>
            </a:r>
            <a:endParaRPr kumimoji="1" lang="en-US" altLang="zh-CN" sz="1000"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With recovery of the epidemic, its advantages is no longer obvious, so PEP returned to it previous state.</a:t>
            </a:r>
          </a:p>
        </p:txBody>
      </p:sp>
      <p:graphicFrame>
        <p:nvGraphicFramePr>
          <p:cNvPr id="124" name="图表 34">
            <a:extLst>
              <a:ext uri="{FF2B5EF4-FFF2-40B4-BE49-F238E27FC236}">
                <a16:creationId xmlns:a16="http://schemas.microsoft.com/office/drawing/2014/main" id="{DD722B02-665D-E043-84B5-DB4AC0EBB387}"/>
              </a:ext>
            </a:extLst>
          </p:cNvPr>
          <p:cNvGraphicFramePr/>
          <p:nvPr>
            <p:extLst>
              <p:ext uri="{D42A27DB-BD31-4B8C-83A1-F6EECF244321}">
                <p14:modId xmlns:p14="http://schemas.microsoft.com/office/powerpoint/2010/main" val="1923002650"/>
              </p:ext>
            </p:extLst>
          </p:nvPr>
        </p:nvGraphicFramePr>
        <p:xfrm>
          <a:off x="6506207" y="4134558"/>
          <a:ext cx="3473217" cy="1205792"/>
        </p:xfrm>
        <a:graphic>
          <a:graphicData uri="http://schemas.openxmlformats.org/drawingml/2006/chart">
            <c:chart xmlns:c="http://schemas.openxmlformats.org/drawingml/2006/chart" xmlns:r="http://schemas.openxmlformats.org/officeDocument/2006/relationships" r:id="rId8"/>
          </a:graphicData>
        </a:graphic>
      </p:graphicFrame>
      <p:sp>
        <p:nvSpPr>
          <p:cNvPr id="125" name="矩形 69">
            <a:extLst>
              <a:ext uri="{FF2B5EF4-FFF2-40B4-BE49-F238E27FC236}">
                <a16:creationId xmlns:a16="http://schemas.microsoft.com/office/drawing/2014/main" id="{ED0F11CC-5790-1E4E-8565-E0387F6A0829}"/>
              </a:ext>
            </a:extLst>
          </p:cNvPr>
          <p:cNvSpPr/>
          <p:nvPr/>
        </p:nvSpPr>
        <p:spPr>
          <a:xfrm>
            <a:off x="10018428" y="3940928"/>
            <a:ext cx="2477887" cy="1493283"/>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During the COVID-19, Disney’s stock price was first undervalued and then overvalued after 2020/11 relative to S&amp;P 500.</a:t>
            </a:r>
          </a:p>
          <a:p>
            <a:pPr marL="171450" indent="-171450">
              <a:buFont typeface="Arial" panose="020B0604020202020204" pitchFamily="34" charset="0"/>
              <a:buChar char="•"/>
            </a:pPr>
            <a:r>
              <a:rPr kumimoji="1" lang="en-US" altLang="zh-CN" sz="1000" dirty="0">
                <a:solidFill>
                  <a:schemeClr val="tx1"/>
                </a:solidFill>
                <a:latin typeface="Calibri" panose="020F0502020204030204" pitchFamily="34" charset="0"/>
                <a:cs typeface="Calibri" panose="020F0502020204030204" pitchFamily="34" charset="0"/>
              </a:rPr>
              <a:t>2020/11 is the time when DIS’s price and </a:t>
            </a:r>
            <a:r>
              <a:rPr kumimoji="1" lang="en-US" altLang="zh-CN" sz="1000" dirty="0" err="1">
                <a:solidFill>
                  <a:schemeClr val="tx1"/>
                </a:solidFill>
                <a:latin typeface="Calibri" panose="020F0502020204030204" pitchFamily="34" charset="0"/>
                <a:cs typeface="Calibri" panose="020F0502020204030204" pitchFamily="34" charset="0"/>
              </a:rPr>
              <a:t>Disney+’s</a:t>
            </a:r>
            <a:r>
              <a:rPr kumimoji="1" lang="en-US" altLang="zh-CN" sz="1000" dirty="0">
                <a:solidFill>
                  <a:schemeClr val="tx1"/>
                </a:solidFill>
                <a:latin typeface="Calibri" panose="020F0502020204030204" pitchFamily="34" charset="0"/>
                <a:cs typeface="Calibri" panose="020F0502020204030204" pitchFamily="34" charset="0"/>
              </a:rPr>
              <a:t> subscriber come</a:t>
            </a:r>
            <a:r>
              <a:rPr kumimoji="1" lang="zh-CN" altLang="en-US" sz="1000" dirty="0">
                <a:solidFill>
                  <a:schemeClr val="tx1"/>
                </a:solidFill>
                <a:latin typeface="Calibri" panose="020F0502020204030204" pitchFamily="34" charset="0"/>
                <a:cs typeface="Calibri" panose="020F0502020204030204" pitchFamily="34" charset="0"/>
              </a:rPr>
              <a:t> </a:t>
            </a:r>
            <a:r>
              <a:rPr kumimoji="1" lang="en-US" altLang="zh-CN" sz="1000" dirty="0">
                <a:solidFill>
                  <a:schemeClr val="tx1"/>
                </a:solidFill>
                <a:latin typeface="Calibri" panose="020F0502020204030204" pitchFamily="34" charset="0"/>
                <a:cs typeface="Calibri" panose="020F0502020204030204" pitchFamily="34" charset="0"/>
              </a:rPr>
              <a:t>to a rapid growth period.</a:t>
            </a:r>
          </a:p>
        </p:txBody>
      </p:sp>
      <p:sp>
        <p:nvSpPr>
          <p:cNvPr id="104" name="文本框 103">
            <a:extLst>
              <a:ext uri="{FF2B5EF4-FFF2-40B4-BE49-F238E27FC236}">
                <a16:creationId xmlns:a16="http://schemas.microsoft.com/office/drawing/2014/main" id="{05542BA6-E117-D644-8C20-0B632365677E}"/>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9</a:t>
            </a:r>
            <a:endParaRPr kumimoji="1" lang="zh-CN" altLang="en-US" sz="1000" dirty="0" err="1">
              <a:latin typeface="Calibri" panose="020F0502020204030204" pitchFamily="34" charset="0"/>
              <a:cs typeface="Calibri" panose="020F0502020204030204" pitchFamily="34" charset="0"/>
            </a:endParaRPr>
          </a:p>
        </p:txBody>
      </p:sp>
      <p:grpSp>
        <p:nvGrpSpPr>
          <p:cNvPr id="121" name="组合 120">
            <a:extLst>
              <a:ext uri="{FF2B5EF4-FFF2-40B4-BE49-F238E27FC236}">
                <a16:creationId xmlns:a16="http://schemas.microsoft.com/office/drawing/2014/main" id="{F32B3D07-1698-3E4A-AB13-7A55CF00909A}"/>
              </a:ext>
            </a:extLst>
          </p:cNvPr>
          <p:cNvGrpSpPr/>
          <p:nvPr/>
        </p:nvGrpSpPr>
        <p:grpSpPr>
          <a:xfrm>
            <a:off x="4477266" y="2280124"/>
            <a:ext cx="1864375" cy="233700"/>
            <a:chOff x="4498328" y="1290936"/>
            <a:chExt cx="1864375" cy="233700"/>
          </a:xfrm>
        </p:grpSpPr>
        <p:cxnSp>
          <p:nvCxnSpPr>
            <p:cNvPr id="122" name="直线连接符 41">
              <a:extLst>
                <a:ext uri="{FF2B5EF4-FFF2-40B4-BE49-F238E27FC236}">
                  <a16:creationId xmlns:a16="http://schemas.microsoft.com/office/drawing/2014/main" id="{452AD69C-8080-7642-9B1E-03530368F190}"/>
                </a:ext>
              </a:extLst>
            </p:cNvPr>
            <p:cNvCxnSpPr/>
            <p:nvPr/>
          </p:nvCxnSpPr>
          <p:spPr>
            <a:xfrm>
              <a:off x="4498328" y="1411925"/>
              <a:ext cx="2880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3" name="直线连接符 42">
              <a:extLst>
                <a:ext uri="{FF2B5EF4-FFF2-40B4-BE49-F238E27FC236}">
                  <a16:creationId xmlns:a16="http://schemas.microsoft.com/office/drawing/2014/main" id="{E8D032F1-EFBE-EA43-9738-A9F5B452C4A6}"/>
                </a:ext>
              </a:extLst>
            </p:cNvPr>
            <p:cNvCxnSpPr/>
            <p:nvPr/>
          </p:nvCxnSpPr>
          <p:spPr>
            <a:xfrm>
              <a:off x="5379968" y="1420425"/>
              <a:ext cx="28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文本框 130">
              <a:extLst>
                <a:ext uri="{FF2B5EF4-FFF2-40B4-BE49-F238E27FC236}">
                  <a16:creationId xmlns:a16="http://schemas.microsoft.com/office/drawing/2014/main" id="{8B5C8263-E00C-0444-BDB6-2CD48279E428}"/>
                </a:ext>
              </a:extLst>
            </p:cNvPr>
            <p:cNvSpPr txBox="1"/>
            <p:nvPr/>
          </p:nvSpPr>
          <p:spPr>
            <a:xfrm>
              <a:off x="4878984" y="1290936"/>
              <a:ext cx="563961"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Actual</a:t>
              </a:r>
              <a:endParaRPr kumimoji="1" lang="zh-CN" altLang="en-US" sz="1000" dirty="0" err="1">
                <a:latin typeface="Calibri" panose="020F0502020204030204" pitchFamily="34" charset="0"/>
                <a:cs typeface="Calibri" panose="020F0502020204030204" pitchFamily="34" charset="0"/>
              </a:endParaRPr>
            </a:p>
          </p:txBody>
        </p:sp>
        <p:sp>
          <p:nvSpPr>
            <p:cNvPr id="132" name="文本框 131">
              <a:extLst>
                <a:ext uri="{FF2B5EF4-FFF2-40B4-BE49-F238E27FC236}">
                  <a16:creationId xmlns:a16="http://schemas.microsoft.com/office/drawing/2014/main" id="{F01F7657-010D-FC44-B646-D663148B5D99}"/>
                </a:ext>
              </a:extLst>
            </p:cNvPr>
            <p:cNvSpPr txBox="1"/>
            <p:nvPr/>
          </p:nvSpPr>
          <p:spPr>
            <a:xfrm>
              <a:off x="5747373" y="1298045"/>
              <a:ext cx="615330"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Prediction</a:t>
              </a:r>
              <a:endParaRPr kumimoji="1" lang="zh-CN" altLang="en-US" sz="1000" dirty="0" err="1">
                <a:latin typeface="Calibri" panose="020F0502020204030204" pitchFamily="34" charset="0"/>
                <a:cs typeface="Calibri" panose="020F0502020204030204" pitchFamily="34" charset="0"/>
              </a:endParaRPr>
            </a:p>
          </p:txBody>
        </p:sp>
      </p:grpSp>
      <p:grpSp>
        <p:nvGrpSpPr>
          <p:cNvPr id="133" name="组合 132">
            <a:extLst>
              <a:ext uri="{FF2B5EF4-FFF2-40B4-BE49-F238E27FC236}">
                <a16:creationId xmlns:a16="http://schemas.microsoft.com/office/drawing/2014/main" id="{4A3CA6DB-D517-024E-A7AF-8ACFE58EA710}"/>
              </a:ext>
            </a:extLst>
          </p:cNvPr>
          <p:cNvGrpSpPr/>
          <p:nvPr/>
        </p:nvGrpSpPr>
        <p:grpSpPr>
          <a:xfrm>
            <a:off x="10635717" y="2301477"/>
            <a:ext cx="1864375" cy="233700"/>
            <a:chOff x="4498328" y="1290936"/>
            <a:chExt cx="1864375" cy="233700"/>
          </a:xfrm>
        </p:grpSpPr>
        <p:cxnSp>
          <p:nvCxnSpPr>
            <p:cNvPr id="134" name="直线连接符 41">
              <a:extLst>
                <a:ext uri="{FF2B5EF4-FFF2-40B4-BE49-F238E27FC236}">
                  <a16:creationId xmlns:a16="http://schemas.microsoft.com/office/drawing/2014/main" id="{D3A72DE1-51DF-1944-BE4F-EE5A450631AE}"/>
                </a:ext>
              </a:extLst>
            </p:cNvPr>
            <p:cNvCxnSpPr/>
            <p:nvPr/>
          </p:nvCxnSpPr>
          <p:spPr>
            <a:xfrm>
              <a:off x="4498328" y="1411925"/>
              <a:ext cx="2880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5" name="直线连接符 42">
              <a:extLst>
                <a:ext uri="{FF2B5EF4-FFF2-40B4-BE49-F238E27FC236}">
                  <a16:creationId xmlns:a16="http://schemas.microsoft.com/office/drawing/2014/main" id="{325C8083-11DC-B348-B87E-AD68DF563EF4}"/>
                </a:ext>
              </a:extLst>
            </p:cNvPr>
            <p:cNvCxnSpPr/>
            <p:nvPr/>
          </p:nvCxnSpPr>
          <p:spPr>
            <a:xfrm>
              <a:off x="5379968" y="1420425"/>
              <a:ext cx="28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6" name="文本框 135">
              <a:extLst>
                <a:ext uri="{FF2B5EF4-FFF2-40B4-BE49-F238E27FC236}">
                  <a16:creationId xmlns:a16="http://schemas.microsoft.com/office/drawing/2014/main" id="{41C19DAD-D65E-1C48-AFEF-9E6D6FD31CCF}"/>
                </a:ext>
              </a:extLst>
            </p:cNvPr>
            <p:cNvSpPr txBox="1"/>
            <p:nvPr/>
          </p:nvSpPr>
          <p:spPr>
            <a:xfrm>
              <a:off x="4878984" y="1290936"/>
              <a:ext cx="563961"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Actual</a:t>
              </a:r>
              <a:endParaRPr kumimoji="1" lang="zh-CN" altLang="en-US" sz="1000" dirty="0" err="1">
                <a:latin typeface="Calibri" panose="020F0502020204030204" pitchFamily="34" charset="0"/>
                <a:cs typeface="Calibri" panose="020F0502020204030204" pitchFamily="34" charset="0"/>
              </a:endParaRPr>
            </a:p>
          </p:txBody>
        </p:sp>
        <p:sp>
          <p:nvSpPr>
            <p:cNvPr id="137" name="文本框 136">
              <a:extLst>
                <a:ext uri="{FF2B5EF4-FFF2-40B4-BE49-F238E27FC236}">
                  <a16:creationId xmlns:a16="http://schemas.microsoft.com/office/drawing/2014/main" id="{CDE673BF-6B85-7546-9A64-6C201C4CD983}"/>
                </a:ext>
              </a:extLst>
            </p:cNvPr>
            <p:cNvSpPr txBox="1"/>
            <p:nvPr/>
          </p:nvSpPr>
          <p:spPr>
            <a:xfrm>
              <a:off x="5747373" y="1298045"/>
              <a:ext cx="615330"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Prediction</a:t>
              </a:r>
              <a:endParaRPr kumimoji="1" lang="zh-CN" altLang="en-US" sz="1000" dirty="0" err="1">
                <a:latin typeface="Calibri" panose="020F0502020204030204" pitchFamily="34" charset="0"/>
                <a:cs typeface="Calibri" panose="020F0502020204030204" pitchFamily="34" charset="0"/>
              </a:endParaRPr>
            </a:p>
          </p:txBody>
        </p:sp>
      </p:grpSp>
      <p:sp>
        <p:nvSpPr>
          <p:cNvPr id="77" name="矩形 76">
            <a:extLst>
              <a:ext uri="{FF2B5EF4-FFF2-40B4-BE49-F238E27FC236}">
                <a16:creationId xmlns:a16="http://schemas.microsoft.com/office/drawing/2014/main" id="{CC508BE7-DD16-6943-88B3-C1DD4CD42E7F}"/>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Tree>
    <p:extLst>
      <p:ext uri="{BB962C8B-B14F-4D97-AF65-F5344CB8AC3E}">
        <p14:creationId xmlns:p14="http://schemas.microsoft.com/office/powerpoint/2010/main" val="7817481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9666520-A8D2-AF43-886B-FC9C16CE249A}"/>
              </a:ext>
            </a:extLst>
          </p:cNvPr>
          <p:cNvSpPr>
            <a:spLocks noGrp="1"/>
          </p:cNvSpPr>
          <p:nvPr>
            <p:ph type="title"/>
          </p:nvPr>
        </p:nvSpPr>
        <p:spPr/>
        <p:txBody>
          <a:bodyPr/>
          <a:lstStyle/>
          <a:p>
            <a:r>
              <a:rPr kumimoji="1" lang="en-US" altLang="zh-CN" sz="2800" dirty="0"/>
              <a:t>Recommendations</a:t>
            </a:r>
            <a:endParaRPr kumimoji="1" lang="zh-CN" altLang="en-US" sz="2800" dirty="0"/>
          </a:p>
        </p:txBody>
      </p:sp>
      <p:sp>
        <p:nvSpPr>
          <p:cNvPr id="3" name="矩形 2">
            <a:extLst>
              <a:ext uri="{FF2B5EF4-FFF2-40B4-BE49-F238E27FC236}">
                <a16:creationId xmlns:a16="http://schemas.microsoft.com/office/drawing/2014/main" id="{E4D4AC75-C8D2-1F42-9E95-0B80A6E4F5F2}"/>
              </a:ext>
            </a:extLst>
          </p:cNvPr>
          <p:cNvSpPr/>
          <p:nvPr/>
        </p:nvSpPr>
        <p:spPr>
          <a:xfrm>
            <a:off x="1377038" y="1629556"/>
            <a:ext cx="3684815" cy="506437"/>
          </a:xfrm>
          <a:prstGeom prst="rect">
            <a:avLst/>
          </a:prstGeom>
          <a:solidFill>
            <a:schemeClr val="accent2"/>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2000" b="1" dirty="0">
                <a:solidFill>
                  <a:schemeClr val="bg1"/>
                </a:solidFill>
                <a:latin typeface="Calibri" panose="020F0502020204030204" pitchFamily="34" charset="0"/>
                <a:cs typeface="Calibri" panose="020F0502020204030204" pitchFamily="34" charset="0"/>
              </a:rPr>
              <a:t>Findings</a:t>
            </a:r>
            <a:endParaRPr kumimoji="1" lang="zh-CN" altLang="en-US" sz="2000" b="1" dirty="0">
              <a:solidFill>
                <a:schemeClr val="bg1"/>
              </a:solidFill>
              <a:latin typeface="Calibri" panose="020F0502020204030204" pitchFamily="34" charset="0"/>
              <a:cs typeface="Calibri" panose="020F0502020204030204" pitchFamily="34" charset="0"/>
            </a:endParaRPr>
          </a:p>
        </p:txBody>
      </p:sp>
      <p:sp>
        <p:nvSpPr>
          <p:cNvPr id="4" name="矩形 3">
            <a:extLst>
              <a:ext uri="{FF2B5EF4-FFF2-40B4-BE49-F238E27FC236}">
                <a16:creationId xmlns:a16="http://schemas.microsoft.com/office/drawing/2014/main" id="{7159EA20-E1A3-9945-BCA3-856876D1A140}"/>
              </a:ext>
            </a:extLst>
          </p:cNvPr>
          <p:cNvSpPr/>
          <p:nvPr/>
        </p:nvSpPr>
        <p:spPr>
          <a:xfrm>
            <a:off x="5898080" y="1629556"/>
            <a:ext cx="5662464" cy="506437"/>
          </a:xfrm>
          <a:prstGeom prst="rect">
            <a:avLst/>
          </a:prstGeom>
          <a:solidFill>
            <a:schemeClr val="accent4">
              <a:lumMod val="7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2000" b="1" dirty="0">
                <a:solidFill>
                  <a:schemeClr val="bg1"/>
                </a:solidFill>
                <a:latin typeface="Calibri" panose="020F0502020204030204" pitchFamily="34" charset="0"/>
                <a:cs typeface="Calibri" panose="020F0502020204030204" pitchFamily="34" charset="0"/>
              </a:rPr>
              <a:t>Recommendations</a:t>
            </a:r>
            <a:endParaRPr kumimoji="1" lang="zh-CN" altLang="en-US" sz="2000" b="1" dirty="0">
              <a:solidFill>
                <a:schemeClr val="bg1"/>
              </a:solidFill>
              <a:latin typeface="Calibri" panose="020F0502020204030204" pitchFamily="34" charset="0"/>
              <a:cs typeface="Calibri" panose="020F0502020204030204" pitchFamily="34" charset="0"/>
            </a:endParaRPr>
          </a:p>
        </p:txBody>
      </p:sp>
      <p:sp>
        <p:nvSpPr>
          <p:cNvPr id="5" name="矩形 4">
            <a:extLst>
              <a:ext uri="{FF2B5EF4-FFF2-40B4-BE49-F238E27FC236}">
                <a16:creationId xmlns:a16="http://schemas.microsoft.com/office/drawing/2014/main" id="{C363E6EE-BDE3-9145-ACE1-591AEB474FB4}"/>
              </a:ext>
            </a:extLst>
          </p:cNvPr>
          <p:cNvSpPr/>
          <p:nvPr/>
        </p:nvSpPr>
        <p:spPr>
          <a:xfrm>
            <a:off x="1377039" y="2328839"/>
            <a:ext cx="3684814" cy="4336433"/>
          </a:xfrm>
          <a:prstGeom prst="rect">
            <a:avLst/>
          </a:prstGeom>
          <a:noFill/>
          <a:ln w="285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9" name="三角形 8">
            <a:extLst>
              <a:ext uri="{FF2B5EF4-FFF2-40B4-BE49-F238E27FC236}">
                <a16:creationId xmlns:a16="http://schemas.microsoft.com/office/drawing/2014/main" id="{7C68D7FA-3363-D349-AB85-9745A658B9A9}"/>
              </a:ext>
            </a:extLst>
          </p:cNvPr>
          <p:cNvSpPr/>
          <p:nvPr/>
        </p:nvSpPr>
        <p:spPr>
          <a:xfrm rot="5400000">
            <a:off x="3319914" y="4286516"/>
            <a:ext cx="4336432" cy="421078"/>
          </a:xfrm>
          <a:prstGeom prst="triangle">
            <a:avLst>
              <a:gd name="adj" fmla="val 50304"/>
            </a:avLst>
          </a:prstGeom>
          <a:solidFill>
            <a:schemeClr val="accent6">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rgbClr val="B2B2B2"/>
              </a:solidFill>
              <a:latin typeface="Calibri" panose="020F0502020204030204" pitchFamily="34" charset="0"/>
              <a:cs typeface="Calibri" panose="020F0502020204030204" pitchFamily="34" charset="0"/>
            </a:endParaRPr>
          </a:p>
        </p:txBody>
      </p:sp>
      <p:sp>
        <p:nvSpPr>
          <p:cNvPr id="11" name="矩形 10">
            <a:extLst>
              <a:ext uri="{FF2B5EF4-FFF2-40B4-BE49-F238E27FC236}">
                <a16:creationId xmlns:a16="http://schemas.microsoft.com/office/drawing/2014/main" id="{65B285DE-DF14-E143-9075-18D89BFC9407}"/>
              </a:ext>
            </a:extLst>
          </p:cNvPr>
          <p:cNvSpPr/>
          <p:nvPr/>
        </p:nvSpPr>
        <p:spPr>
          <a:xfrm>
            <a:off x="5898079" y="2328838"/>
            <a:ext cx="5662465" cy="4336433"/>
          </a:xfrm>
          <a:prstGeom prst="rect">
            <a:avLst/>
          </a:prstGeom>
          <a:noFill/>
          <a:ln w="28575">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225A0836-63C0-A648-9E09-EB8F1F53A8D6}"/>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10</a:t>
            </a:r>
            <a:endParaRPr kumimoji="1" lang="zh-CN" altLang="en-US" sz="1000" dirty="0" err="1">
              <a:latin typeface="Calibri" panose="020F0502020204030204" pitchFamily="34" charset="0"/>
              <a:cs typeface="Calibri" panose="020F0502020204030204" pitchFamily="34" charset="0"/>
            </a:endParaRPr>
          </a:p>
        </p:txBody>
      </p:sp>
      <p:sp>
        <p:nvSpPr>
          <p:cNvPr id="12" name="矩形 11">
            <a:extLst>
              <a:ext uri="{FF2B5EF4-FFF2-40B4-BE49-F238E27FC236}">
                <a16:creationId xmlns:a16="http://schemas.microsoft.com/office/drawing/2014/main" id="{D47B19F7-71DE-BC4F-AB36-719BA46684D0}"/>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14" name="TextBox 58">
            <a:extLst>
              <a:ext uri="{FF2B5EF4-FFF2-40B4-BE49-F238E27FC236}">
                <a16:creationId xmlns:a16="http://schemas.microsoft.com/office/drawing/2014/main" id="{AD85E503-4A75-AF44-82BC-B898848D960F}"/>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dirty="0">
                <a:solidFill>
                  <a:srgbClr val="B2B2B2"/>
                </a:solidFill>
                <a:latin typeface="Calibri" panose="020F0502020204030204" pitchFamily="34" charset="0"/>
                <a:cs typeface="Calibri" panose="020F0502020204030204" pitchFamily="34" charset="0"/>
              </a:rPr>
              <a:t>Market Research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Modelling  </a:t>
            </a:r>
            <a:r>
              <a:rPr lang="en-US" altLang="zh-CN" sz="1600" b="1" dirty="0">
                <a:latin typeface="Calibri" panose="020F0502020204030204" pitchFamily="34" charset="0"/>
                <a:cs typeface="Calibri" panose="020F0502020204030204" pitchFamily="34" charset="0"/>
              </a:rPr>
              <a:t>Recommendations</a:t>
            </a:r>
            <a:endParaRPr lang="zh-CN" altLang="en-US" sz="1600" b="1" dirty="0">
              <a:latin typeface="Calibri" panose="020F0502020204030204" pitchFamily="34" charset="0"/>
              <a:cs typeface="Calibri" panose="020F0502020204030204" pitchFamily="34" charset="0"/>
            </a:endParaRPr>
          </a:p>
        </p:txBody>
      </p:sp>
      <p:sp>
        <p:nvSpPr>
          <p:cNvPr id="13" name="Rectangle 2">
            <a:extLst>
              <a:ext uri="{FF2B5EF4-FFF2-40B4-BE49-F238E27FC236}">
                <a16:creationId xmlns:a16="http://schemas.microsoft.com/office/drawing/2014/main" id="{26C5CC6F-5A2A-964D-8B7C-68252F902B5B}"/>
              </a:ext>
            </a:extLst>
          </p:cNvPr>
          <p:cNvSpPr>
            <a:spLocks/>
          </p:cNvSpPr>
          <p:nvPr/>
        </p:nvSpPr>
        <p:spPr>
          <a:xfrm>
            <a:off x="1475802" y="2429626"/>
            <a:ext cx="805304" cy="1478284"/>
          </a:xfrm>
          <a:prstGeom prst="rect">
            <a:avLst/>
          </a:prstGeom>
          <a:solidFill>
            <a:schemeClr val="accent3"/>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latin typeface="Calibri" panose="020F0502020204030204" pitchFamily="34" charset="0"/>
                <a:cs typeface="Calibri" panose="020F0502020204030204" pitchFamily="34" charset="0"/>
              </a:rPr>
              <a:t>Stocks</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15" name="Rectangle 2">
            <a:extLst>
              <a:ext uri="{FF2B5EF4-FFF2-40B4-BE49-F238E27FC236}">
                <a16:creationId xmlns:a16="http://schemas.microsoft.com/office/drawing/2014/main" id="{5E8CA3F3-7FDE-DF44-B1F9-A3A6B7483A84}"/>
              </a:ext>
            </a:extLst>
          </p:cNvPr>
          <p:cNvSpPr/>
          <p:nvPr/>
        </p:nvSpPr>
        <p:spPr>
          <a:xfrm>
            <a:off x="2331907" y="2429625"/>
            <a:ext cx="2684522" cy="1480943"/>
          </a:xfrm>
          <a:prstGeom prst="rect">
            <a:avLst/>
          </a:prstGeom>
          <a:solidFill>
            <a:srgbClr val="E3F4FF"/>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AAL: </a:t>
            </a:r>
            <a:r>
              <a:rPr kumimoji="1" lang="en-US" altLang="zh-CN" sz="1300" dirty="0">
                <a:solidFill>
                  <a:schemeClr val="tx1"/>
                </a:solidFill>
                <a:latin typeface="Calibri" panose="020F0502020204030204" pitchFamily="34" charset="0"/>
                <a:cs typeface="Calibri" panose="020F0502020204030204" pitchFamily="34" charset="0"/>
              </a:rPr>
              <a:t>Strongly affected by suppliers and competitions, neutrally valued after merger in 2013. </a:t>
            </a: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DIS:</a:t>
            </a:r>
            <a:r>
              <a:rPr kumimoji="1" lang="zh-CN" altLang="en-US" sz="1300" b="1" dirty="0">
                <a:solidFill>
                  <a:schemeClr val="accent2"/>
                </a:solidFill>
                <a:latin typeface="Calibri" panose="020F0502020204030204" pitchFamily="34" charset="0"/>
                <a:cs typeface="Calibri" panose="020F0502020204030204" pitchFamily="34" charset="0"/>
              </a:rPr>
              <a:t> </a:t>
            </a:r>
            <a:r>
              <a:rPr kumimoji="1" lang="en-US" altLang="zh-CN" sz="1300" dirty="0">
                <a:solidFill>
                  <a:schemeClr val="tx1"/>
                </a:solidFill>
                <a:latin typeface="Calibri" panose="020F0502020204030204" pitchFamily="34" charset="0"/>
                <a:cs typeface="Calibri" panose="020F0502020204030204" pitchFamily="34" charset="0"/>
              </a:rPr>
              <a:t>Outperformed the market, high intrinsic value.</a:t>
            </a: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PEP: </a:t>
            </a:r>
            <a:r>
              <a:rPr kumimoji="1" lang="en-US" altLang="zh-CN" sz="1300" dirty="0">
                <a:solidFill>
                  <a:schemeClr val="tx1"/>
                </a:solidFill>
                <a:latin typeface="Calibri" panose="020F0502020204030204" pitchFamily="34" charset="0"/>
                <a:cs typeface="Calibri" panose="020F0502020204030204" pitchFamily="34" charset="0"/>
              </a:rPr>
              <a:t>Underperformed the market, strong financial performance.</a:t>
            </a:r>
          </a:p>
        </p:txBody>
      </p:sp>
      <p:sp>
        <p:nvSpPr>
          <p:cNvPr id="16" name="Rectangle 2">
            <a:extLst>
              <a:ext uri="{FF2B5EF4-FFF2-40B4-BE49-F238E27FC236}">
                <a16:creationId xmlns:a16="http://schemas.microsoft.com/office/drawing/2014/main" id="{8C6D42EE-4634-674B-87C3-A326F1B2BBD7}"/>
              </a:ext>
            </a:extLst>
          </p:cNvPr>
          <p:cNvSpPr/>
          <p:nvPr/>
        </p:nvSpPr>
        <p:spPr>
          <a:xfrm>
            <a:off x="1475802" y="3983181"/>
            <a:ext cx="805305" cy="2577691"/>
          </a:xfrm>
          <a:prstGeom prst="rect">
            <a:avLst/>
          </a:prstGeom>
          <a:solidFill>
            <a:schemeClr val="accent3"/>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latin typeface="Calibri" panose="020F0502020204030204" pitchFamily="34" charset="0"/>
                <a:cs typeface="Calibri" panose="020F0502020204030204" pitchFamily="34" charset="0"/>
              </a:rPr>
              <a:t>Modelling</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17" name="Rectangle 2">
            <a:extLst>
              <a:ext uri="{FF2B5EF4-FFF2-40B4-BE49-F238E27FC236}">
                <a16:creationId xmlns:a16="http://schemas.microsoft.com/office/drawing/2014/main" id="{19D3620A-8EA4-1844-BF7E-E6B5FFF0140C}"/>
              </a:ext>
            </a:extLst>
          </p:cNvPr>
          <p:cNvSpPr/>
          <p:nvPr/>
        </p:nvSpPr>
        <p:spPr>
          <a:xfrm>
            <a:off x="2331907" y="3983182"/>
            <a:ext cx="2684522" cy="2577692"/>
          </a:xfrm>
          <a:prstGeom prst="rect">
            <a:avLst/>
          </a:prstGeom>
          <a:solidFill>
            <a:srgbClr val="E3F4FF"/>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300" b="1" dirty="0">
                <a:solidFill>
                  <a:schemeClr val="accent2"/>
                </a:solidFill>
                <a:latin typeface="Calibri" panose="020F0502020204030204" pitchFamily="34" charset="0"/>
                <a:cs typeface="Calibri" panose="020F0502020204030204" pitchFamily="34" charset="0"/>
              </a:rPr>
              <a:t>Stock market, financial statements, news and Twitter with smaller time granularity support better  fits.</a:t>
            </a: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AAL: </a:t>
            </a:r>
            <a:r>
              <a:rPr kumimoji="1" lang="en-US" altLang="zh-CN" sz="1300" dirty="0">
                <a:solidFill>
                  <a:schemeClr val="tx1"/>
                </a:solidFill>
                <a:latin typeface="Calibri" panose="020F0502020204030204" pitchFamily="34" charset="0"/>
                <a:cs typeface="Calibri" panose="020F0502020204030204" pitchFamily="34" charset="0"/>
              </a:rPr>
              <a:t>News and Twitter capture turning points as supplementary of numbers</a:t>
            </a: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DIS: </a:t>
            </a:r>
            <a:r>
              <a:rPr kumimoji="1" lang="en-US" altLang="zh-CN" sz="1300" dirty="0">
                <a:solidFill>
                  <a:schemeClr val="tx1"/>
                </a:solidFill>
                <a:latin typeface="Calibri" panose="020F0502020204030204" pitchFamily="34" charset="0"/>
                <a:cs typeface="Calibri" panose="020F0502020204030204" pitchFamily="34" charset="0"/>
              </a:rPr>
              <a:t>Financial data fills in details, and news and Twitter have stronger impact to stock price</a:t>
            </a: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PEP: </a:t>
            </a:r>
            <a:r>
              <a:rPr kumimoji="1" lang="en-US" altLang="zh-CN" sz="1300" dirty="0">
                <a:solidFill>
                  <a:schemeClr val="tx1"/>
                </a:solidFill>
                <a:latin typeface="Calibri" panose="020F0502020204030204" pitchFamily="34" charset="0"/>
                <a:cs typeface="Calibri" panose="020F0502020204030204" pitchFamily="34" charset="0"/>
              </a:rPr>
              <a:t>Stock market gives enough information, but Twitter makes little improvements</a:t>
            </a:r>
          </a:p>
        </p:txBody>
      </p:sp>
      <p:sp>
        <p:nvSpPr>
          <p:cNvPr id="18" name="Rectangle 2">
            <a:extLst>
              <a:ext uri="{FF2B5EF4-FFF2-40B4-BE49-F238E27FC236}">
                <a16:creationId xmlns:a16="http://schemas.microsoft.com/office/drawing/2014/main" id="{FED56403-28A8-3C49-A748-3023C5933BBD}"/>
              </a:ext>
            </a:extLst>
          </p:cNvPr>
          <p:cNvSpPr>
            <a:spLocks/>
          </p:cNvSpPr>
          <p:nvPr/>
        </p:nvSpPr>
        <p:spPr>
          <a:xfrm>
            <a:off x="5989221" y="2430037"/>
            <a:ext cx="772396" cy="2012404"/>
          </a:xfrm>
          <a:prstGeom prst="rect">
            <a:avLst/>
          </a:prstGeom>
          <a:solidFill>
            <a:schemeClr val="accent4">
              <a:lumMod val="60000"/>
              <a:lumOff val="4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latin typeface="Calibri" panose="020F0502020204030204" pitchFamily="34" charset="0"/>
                <a:cs typeface="Calibri" panose="020F0502020204030204" pitchFamily="34" charset="0"/>
              </a:rPr>
              <a:t>Stocks</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19" name="Rectangle 2">
            <a:extLst>
              <a:ext uri="{FF2B5EF4-FFF2-40B4-BE49-F238E27FC236}">
                <a16:creationId xmlns:a16="http://schemas.microsoft.com/office/drawing/2014/main" id="{6AB31CCC-B1D3-0845-A7AB-C8D1CC4AF390}"/>
              </a:ext>
            </a:extLst>
          </p:cNvPr>
          <p:cNvSpPr>
            <a:spLocks/>
          </p:cNvSpPr>
          <p:nvPr/>
        </p:nvSpPr>
        <p:spPr>
          <a:xfrm>
            <a:off x="5989220" y="4543640"/>
            <a:ext cx="772397" cy="2017233"/>
          </a:xfrm>
          <a:prstGeom prst="rect">
            <a:avLst/>
          </a:prstGeom>
          <a:solidFill>
            <a:schemeClr val="accent4">
              <a:lumMod val="60000"/>
              <a:lumOff val="4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latin typeface="Calibri" panose="020F0502020204030204" pitchFamily="34" charset="0"/>
                <a:cs typeface="Calibri" panose="020F0502020204030204" pitchFamily="34" charset="0"/>
              </a:rPr>
              <a:t>Modelling</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20" name="Rectangle 2">
            <a:extLst>
              <a:ext uri="{FF2B5EF4-FFF2-40B4-BE49-F238E27FC236}">
                <a16:creationId xmlns:a16="http://schemas.microsoft.com/office/drawing/2014/main" id="{6F0D7E44-E193-2C41-9E94-ED71BFE523F2}"/>
              </a:ext>
            </a:extLst>
          </p:cNvPr>
          <p:cNvSpPr/>
          <p:nvPr/>
        </p:nvSpPr>
        <p:spPr>
          <a:xfrm>
            <a:off x="6829350" y="2429209"/>
            <a:ext cx="4677232" cy="2013232"/>
          </a:xfrm>
          <a:prstGeom prst="rect">
            <a:avLst/>
          </a:prstGeom>
          <a:solidFill>
            <a:schemeClr val="accent4">
              <a:lumMod val="20000"/>
              <a:lumOff val="8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AAL: </a:t>
            </a:r>
            <a:r>
              <a:rPr lang="en-US" altLang="zh-CN" sz="1300" dirty="0">
                <a:solidFill>
                  <a:schemeClr val="tx1"/>
                </a:solidFill>
                <a:latin typeface="Calibri" panose="020F0502020204030204" pitchFamily="34" charset="0"/>
                <a:cs typeface="Calibri" panose="020F0502020204030204" pitchFamily="34" charset="0"/>
              </a:rPr>
              <a:t>AAL’s higher volatility is a projection of airline industry, which is constrained by suppliers and customers. AAL would rebound in post-COVID recovery, but not in long-term period. </a:t>
            </a:r>
            <a:endParaRPr kumimoji="1" lang="en-US" altLang="zh-CN" sz="1300"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DIS: </a:t>
            </a:r>
            <a:r>
              <a:rPr kumimoji="1" lang="en-US" altLang="zh-CN" sz="1300" dirty="0">
                <a:solidFill>
                  <a:schemeClr val="tx1"/>
                </a:solidFill>
                <a:latin typeface="Calibri" panose="020F0502020204030204" pitchFamily="34" charset="0"/>
                <a:cs typeface="Calibri" panose="020F0502020204030204" pitchFamily="34" charset="0"/>
              </a:rPr>
              <a:t>A</a:t>
            </a:r>
            <a:r>
              <a:rPr lang="en-US" altLang="zh-CN" sz="1300" dirty="0">
                <a:solidFill>
                  <a:schemeClr val="tx1"/>
                </a:solidFill>
                <a:latin typeface="Calibri" panose="020F0502020204030204" pitchFamily="34" charset="0"/>
                <a:cs typeface="Calibri" panose="020F0502020204030204" pitchFamily="34" charset="0"/>
              </a:rPr>
              <a:t>ll parks are now open, Disney cruises are set to resume soon. And Disney+ continues to offer hit shows. With direct-to-consumer revenue up 59% to $4 billion, DIS is now a compelling stock for investors' watchlists.</a:t>
            </a:r>
            <a:endParaRPr kumimoji="1" lang="en-US" altLang="zh-CN" sz="1300"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kumimoji="1" lang="en-US" altLang="zh-CN" sz="1300" b="1" dirty="0">
                <a:solidFill>
                  <a:schemeClr val="accent2"/>
                </a:solidFill>
                <a:latin typeface="Calibri" panose="020F0502020204030204" pitchFamily="34" charset="0"/>
                <a:cs typeface="Calibri" panose="020F0502020204030204" pitchFamily="34" charset="0"/>
              </a:rPr>
              <a:t>PEP:</a:t>
            </a:r>
            <a:r>
              <a:rPr kumimoji="1" lang="zh-CN" altLang="en-US" sz="1300" b="1" dirty="0">
                <a:solidFill>
                  <a:schemeClr val="accent2"/>
                </a:solidFill>
                <a:latin typeface="Calibri" panose="020F0502020204030204" pitchFamily="34" charset="0"/>
                <a:cs typeface="Calibri" panose="020F0502020204030204" pitchFamily="34" charset="0"/>
              </a:rPr>
              <a:t> </a:t>
            </a:r>
            <a:r>
              <a:rPr kumimoji="1" lang="en-US" altLang="zh-CN" sz="1300" dirty="0">
                <a:solidFill>
                  <a:schemeClr val="tx1"/>
                </a:solidFill>
                <a:latin typeface="Calibri" panose="020F0502020204030204" pitchFamily="34" charset="0"/>
                <a:cs typeface="Calibri" panose="020F0502020204030204" pitchFamily="34" charset="0"/>
              </a:rPr>
              <a:t>PEP</a:t>
            </a:r>
            <a:r>
              <a:rPr kumimoji="1" lang="zh-CN" altLang="en-US" sz="1300" dirty="0">
                <a:solidFill>
                  <a:schemeClr val="tx1"/>
                </a:solidFill>
                <a:latin typeface="Calibri" panose="020F0502020204030204" pitchFamily="34" charset="0"/>
                <a:cs typeface="Calibri" panose="020F0502020204030204" pitchFamily="34" charset="0"/>
              </a:rPr>
              <a:t> </a:t>
            </a:r>
            <a:r>
              <a:rPr kumimoji="1" lang="en-US" altLang="zh-CN" sz="1300" dirty="0">
                <a:solidFill>
                  <a:schemeClr val="tx1"/>
                </a:solidFill>
                <a:latin typeface="Calibri" panose="020F0502020204030204" pitchFamily="34" charset="0"/>
                <a:cs typeface="Calibri" panose="020F0502020204030204" pitchFamily="34" charset="0"/>
              </a:rPr>
              <a:t>is financially stable and countercyclical, but it usually underperforms the market because of its low risk. Thus, PEP can be considered in economic recessions.</a:t>
            </a:r>
          </a:p>
        </p:txBody>
      </p:sp>
      <p:sp>
        <p:nvSpPr>
          <p:cNvPr id="22" name="Rectangle 2">
            <a:extLst>
              <a:ext uri="{FF2B5EF4-FFF2-40B4-BE49-F238E27FC236}">
                <a16:creationId xmlns:a16="http://schemas.microsoft.com/office/drawing/2014/main" id="{A5597742-879A-5C4C-8858-629860DBCA09}"/>
              </a:ext>
            </a:extLst>
          </p:cNvPr>
          <p:cNvSpPr/>
          <p:nvPr/>
        </p:nvSpPr>
        <p:spPr>
          <a:xfrm>
            <a:off x="6829350" y="4549633"/>
            <a:ext cx="4677232" cy="2013233"/>
          </a:xfrm>
          <a:prstGeom prst="rect">
            <a:avLst/>
          </a:prstGeom>
          <a:solidFill>
            <a:schemeClr val="accent4">
              <a:lumMod val="20000"/>
              <a:lumOff val="8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indent="-171450">
              <a:buFont typeface="Arial" panose="020B0604020202020204" pitchFamily="34" charset="0"/>
              <a:buChar char="•"/>
            </a:pPr>
            <a:r>
              <a:rPr kumimoji="1" lang="en-US" altLang="zh-CN" sz="1300" dirty="0">
                <a:solidFill>
                  <a:schemeClr val="tx1"/>
                </a:solidFill>
                <a:latin typeface="Calibri" panose="020F0502020204030204" pitchFamily="34" charset="0"/>
                <a:cs typeface="Calibri" panose="020F0502020204030204" pitchFamily="34" charset="0"/>
              </a:rPr>
              <a:t>Financial metrics and sentiments can greatly improve model performance, especially social media data, which reflects public opinions. </a:t>
            </a:r>
          </a:p>
          <a:p>
            <a:pPr marL="171450" indent="-171450">
              <a:buFont typeface="Arial" panose="020B0604020202020204" pitchFamily="34" charset="0"/>
              <a:buChar char="•"/>
            </a:pPr>
            <a:r>
              <a:rPr kumimoji="1" lang="en-US" altLang="zh-CN" sz="1300" dirty="0">
                <a:solidFill>
                  <a:schemeClr val="tx1"/>
                </a:solidFill>
                <a:latin typeface="Calibri" panose="020F0502020204030204" pitchFamily="34" charset="0"/>
                <a:cs typeface="Calibri" panose="020F0502020204030204" pitchFamily="34" charset="0"/>
              </a:rPr>
              <a:t>Although neural network model shows best performance among all ML models, it has space for improvements.</a:t>
            </a:r>
          </a:p>
          <a:p>
            <a:pPr marL="171450" indent="-171450">
              <a:buFont typeface="Arial" panose="020B0604020202020204" pitchFamily="34" charset="0"/>
              <a:buChar char="•"/>
            </a:pPr>
            <a:r>
              <a:rPr kumimoji="1" lang="en-US" altLang="zh-CN" sz="1300" dirty="0">
                <a:solidFill>
                  <a:schemeClr val="tx1"/>
                </a:solidFill>
                <a:latin typeface="Calibri" panose="020F0502020204030204" pitchFamily="34" charset="0"/>
                <a:cs typeface="Calibri" panose="020F0502020204030204" pitchFamily="34" charset="0"/>
              </a:rPr>
              <a:t>It is highly recommended to rather use our model to validate different hypothesis and conduct comparison analysis as showed in this project than simply predict price.</a:t>
            </a:r>
          </a:p>
          <a:p>
            <a:pPr marL="171450" indent="-171450">
              <a:buFont typeface="Arial" panose="020B0604020202020204" pitchFamily="34" charset="0"/>
              <a:buChar char="•"/>
            </a:pPr>
            <a:r>
              <a:rPr kumimoji="1" lang="en-US" altLang="zh-CN" sz="1300" dirty="0">
                <a:solidFill>
                  <a:schemeClr val="tx1"/>
                </a:solidFill>
                <a:latin typeface="Calibri" panose="020F0502020204030204" pitchFamily="34" charset="0"/>
                <a:cs typeface="Calibri" panose="020F0502020204030204" pitchFamily="34" charset="0"/>
              </a:rPr>
              <a:t>For more precise prediction, more features need to be involved.</a:t>
            </a:r>
          </a:p>
        </p:txBody>
      </p:sp>
    </p:spTree>
    <p:extLst>
      <p:ext uri="{BB962C8B-B14F-4D97-AF65-F5344CB8AC3E}">
        <p14:creationId xmlns:p14="http://schemas.microsoft.com/office/powerpoint/2010/main" val="3434480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917F8BA1-77F2-4968-AC76-F7997B747D83}"/>
              </a:ext>
            </a:extLst>
          </p:cNvPr>
          <p:cNvSpPr>
            <a:spLocks noGrp="1"/>
          </p:cNvSpPr>
          <p:nvPr>
            <p:ph type="ftr" sz="quarter" idx="11"/>
          </p:nvPr>
        </p:nvSpPr>
        <p:spPr/>
        <p:txBody>
          <a:bodyPr/>
          <a:lstStyle/>
          <a:p>
            <a:endParaRPr lang="zh-CN" altLang="en-US" dirty="0">
              <a:latin typeface="Calibri" panose="020F0502020204030204" pitchFamily="34" charset="0"/>
              <a:cs typeface="Calibri" panose="020F0502020204030204" pitchFamily="34" charset="0"/>
            </a:endParaRPr>
          </a:p>
        </p:txBody>
      </p:sp>
      <p:grpSp>
        <p:nvGrpSpPr>
          <p:cNvPr id="4" name="组合 3">
            <a:extLst>
              <a:ext uri="{FF2B5EF4-FFF2-40B4-BE49-F238E27FC236}">
                <a16:creationId xmlns:a16="http://schemas.microsoft.com/office/drawing/2014/main" id="{6F5147E8-29BB-4F21-B0B7-5DB9AA96DBF5}"/>
              </a:ext>
            </a:extLst>
          </p:cNvPr>
          <p:cNvGrpSpPr/>
          <p:nvPr/>
        </p:nvGrpSpPr>
        <p:grpSpPr>
          <a:xfrm>
            <a:off x="345068" y="1495350"/>
            <a:ext cx="6316082" cy="396875"/>
            <a:chOff x="438854" y="1725652"/>
            <a:chExt cx="6316082" cy="396875"/>
          </a:xfrm>
        </p:grpSpPr>
        <p:sp>
          <p:nvSpPr>
            <p:cNvPr id="5" name="Rectangle 4">
              <a:extLst>
                <a:ext uri="{FF2B5EF4-FFF2-40B4-BE49-F238E27FC236}">
                  <a16:creationId xmlns:a16="http://schemas.microsoft.com/office/drawing/2014/main" id="{E274FA84-A36B-4937-BE66-A4AEA8B28247}"/>
                </a:ext>
              </a:extLst>
            </p:cNvPr>
            <p:cNvSpPr/>
            <p:nvPr/>
          </p:nvSpPr>
          <p:spPr>
            <a:xfrm>
              <a:off x="822620" y="1725652"/>
              <a:ext cx="5932316"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kumimoji="1" lang="en-US" altLang="zh-CN" sz="1600" b="1" dirty="0">
                  <a:solidFill>
                    <a:schemeClr val="tx1"/>
                  </a:solidFill>
                  <a:latin typeface="Calibri" panose="020F0502020204030204" pitchFamily="34" charset="0"/>
                  <a:cs typeface="Calibri" panose="020F0502020204030204" pitchFamily="34" charset="0"/>
                </a:rPr>
                <a:t>AAL is strongly affected by its suppliers of fuels and aircrafts. </a:t>
              </a:r>
            </a:p>
          </p:txBody>
        </p:sp>
        <p:cxnSp>
          <p:nvCxnSpPr>
            <p:cNvPr id="6" name="Straight Connector 6">
              <a:extLst>
                <a:ext uri="{FF2B5EF4-FFF2-40B4-BE49-F238E27FC236}">
                  <a16:creationId xmlns:a16="http://schemas.microsoft.com/office/drawing/2014/main" id="{B47F5931-E921-43B2-A973-BA9C2BC6B0A4}"/>
                </a:ext>
              </a:extLst>
            </p:cNvPr>
            <p:cNvCxnSpPr>
              <a:cxnSpLocks/>
            </p:cNvCxnSpPr>
            <p:nvPr/>
          </p:nvCxnSpPr>
          <p:spPr>
            <a:xfrm>
              <a:off x="457853" y="2106777"/>
              <a:ext cx="605657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34">
              <a:extLst>
                <a:ext uri="{FF2B5EF4-FFF2-40B4-BE49-F238E27FC236}">
                  <a16:creationId xmlns:a16="http://schemas.microsoft.com/office/drawing/2014/main" id="{F711012F-AA49-4147-9396-3D6CA7F4EF16}"/>
                </a:ext>
              </a:extLst>
            </p:cNvPr>
            <p:cNvSpPr/>
            <p:nvPr/>
          </p:nvSpPr>
          <p:spPr>
            <a:xfrm>
              <a:off x="438854" y="1763224"/>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700" b="1" dirty="0">
                  <a:solidFill>
                    <a:srgbClr val="FFFFFF"/>
                  </a:solidFill>
                  <a:latin typeface="Calibri" panose="020F0502020204030204" pitchFamily="34" charset="0"/>
                  <a:cs typeface="Calibri" panose="020F0502020204030204" pitchFamily="34" charset="0"/>
                </a:rPr>
                <a:t>1</a:t>
              </a:r>
              <a:endParaRPr lang="zh-CN" altLang="en-US" sz="1700" b="1" dirty="0">
                <a:solidFill>
                  <a:srgbClr val="FFFFFF"/>
                </a:solidFill>
                <a:latin typeface="Calibri" panose="020F0502020204030204" pitchFamily="34" charset="0"/>
                <a:cs typeface="Calibri" panose="020F0502020204030204" pitchFamily="34" charset="0"/>
              </a:endParaRPr>
            </a:p>
          </p:txBody>
        </p:sp>
      </p:grpSp>
      <p:sp>
        <p:nvSpPr>
          <p:cNvPr id="15" name="TextBox 61">
            <a:extLst>
              <a:ext uri="{FF2B5EF4-FFF2-40B4-BE49-F238E27FC236}">
                <a16:creationId xmlns:a16="http://schemas.microsoft.com/office/drawing/2014/main" id="{B60EAFF9-3417-4548-B798-F33C17E582BD}"/>
              </a:ext>
            </a:extLst>
          </p:cNvPr>
          <p:cNvSpPr txBox="1"/>
          <p:nvPr/>
        </p:nvSpPr>
        <p:spPr>
          <a:xfrm>
            <a:off x="312995" y="6905331"/>
            <a:ext cx="8149809" cy="244004"/>
          </a:xfrm>
          <a:prstGeom prst="rect">
            <a:avLst/>
          </a:prstGeom>
          <a:noFill/>
        </p:spPr>
        <p:txBody>
          <a:bodyPr wrap="square" lIns="44622" tIns="44622" rIns="44622" bIns="44622" rtlCol="0">
            <a:spAutoFit/>
          </a:bodyPr>
          <a:lstStyle/>
          <a:p>
            <a:pPr lvl="0">
              <a:defRPr/>
            </a:pPr>
            <a:r>
              <a:rPr lang="en-US" altLang="zh-CN" sz="1000" i="1" dirty="0">
                <a:solidFill>
                  <a:prstClr val="black"/>
                </a:solidFill>
                <a:latin typeface="Calibri" panose="020F0502020204030204" pitchFamily="34" charset="0"/>
                <a:cs typeface="Calibri" panose="020F0502020204030204" pitchFamily="34" charset="0"/>
              </a:rPr>
              <a:t>Source: Yahoo Finance; Financial Modelling Prep; Macrotrends; Desk research; CNN; Investing</a:t>
            </a:r>
            <a:endParaRPr lang="zh-CN" altLang="en-US" sz="1000" i="1" dirty="0">
              <a:solidFill>
                <a:prstClr val="black"/>
              </a:solidFill>
              <a:latin typeface="Calibri" panose="020F0502020204030204" pitchFamily="34" charset="0"/>
              <a:cs typeface="Calibri" panose="020F0502020204030204" pitchFamily="34" charset="0"/>
            </a:endParaRPr>
          </a:p>
        </p:txBody>
      </p:sp>
      <p:grpSp>
        <p:nvGrpSpPr>
          <p:cNvPr id="26" name="组合 25">
            <a:extLst>
              <a:ext uri="{FF2B5EF4-FFF2-40B4-BE49-F238E27FC236}">
                <a16:creationId xmlns:a16="http://schemas.microsoft.com/office/drawing/2014/main" id="{27C4784C-2F48-404C-8864-148484958A7E}"/>
              </a:ext>
            </a:extLst>
          </p:cNvPr>
          <p:cNvGrpSpPr/>
          <p:nvPr/>
        </p:nvGrpSpPr>
        <p:grpSpPr>
          <a:xfrm>
            <a:off x="364067" y="2018483"/>
            <a:ext cx="3833283" cy="1985236"/>
            <a:chOff x="312995" y="2615555"/>
            <a:chExt cx="11807541" cy="1985236"/>
          </a:xfrm>
        </p:grpSpPr>
        <p:graphicFrame>
          <p:nvGraphicFramePr>
            <p:cNvPr id="3" name="图表 2">
              <a:extLst>
                <a:ext uri="{FF2B5EF4-FFF2-40B4-BE49-F238E27FC236}">
                  <a16:creationId xmlns:a16="http://schemas.microsoft.com/office/drawing/2014/main" id="{71E71BB2-0F33-46FD-A04C-635AF6E99CB0}"/>
                </a:ext>
              </a:extLst>
            </p:cNvPr>
            <p:cNvGraphicFramePr/>
            <p:nvPr/>
          </p:nvGraphicFramePr>
          <p:xfrm>
            <a:off x="386474" y="3216226"/>
            <a:ext cx="11734062" cy="10191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图表 17">
              <a:extLst>
                <a:ext uri="{FF2B5EF4-FFF2-40B4-BE49-F238E27FC236}">
                  <a16:creationId xmlns:a16="http://schemas.microsoft.com/office/drawing/2014/main" id="{D715E1CE-6CFC-4DAD-B514-DDE85C7C366A}"/>
                </a:ext>
              </a:extLst>
            </p:cNvPr>
            <p:cNvGraphicFramePr/>
            <p:nvPr/>
          </p:nvGraphicFramePr>
          <p:xfrm>
            <a:off x="312995" y="3465166"/>
            <a:ext cx="11734062" cy="11356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图表 20">
              <a:extLst>
                <a:ext uri="{FF2B5EF4-FFF2-40B4-BE49-F238E27FC236}">
                  <a16:creationId xmlns:a16="http://schemas.microsoft.com/office/drawing/2014/main" id="{7C28B230-3AFE-432A-8A5F-1EB0B739C168}"/>
                </a:ext>
              </a:extLst>
            </p:cNvPr>
            <p:cNvGraphicFramePr/>
            <p:nvPr/>
          </p:nvGraphicFramePr>
          <p:xfrm>
            <a:off x="364117" y="2615555"/>
            <a:ext cx="11734062" cy="1135625"/>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31" name="组合 30">
            <a:extLst>
              <a:ext uri="{FF2B5EF4-FFF2-40B4-BE49-F238E27FC236}">
                <a16:creationId xmlns:a16="http://schemas.microsoft.com/office/drawing/2014/main" id="{5C038006-1146-4FA4-900C-37A20BAF8823}"/>
              </a:ext>
            </a:extLst>
          </p:cNvPr>
          <p:cNvGrpSpPr/>
          <p:nvPr/>
        </p:nvGrpSpPr>
        <p:grpSpPr>
          <a:xfrm>
            <a:off x="1207565" y="2157337"/>
            <a:ext cx="3907845" cy="214519"/>
            <a:chOff x="1131365" y="1985887"/>
            <a:chExt cx="3907845" cy="214519"/>
          </a:xfrm>
        </p:grpSpPr>
        <p:grpSp>
          <p:nvGrpSpPr>
            <p:cNvPr id="24" name="组合 23">
              <a:extLst>
                <a:ext uri="{FF2B5EF4-FFF2-40B4-BE49-F238E27FC236}">
                  <a16:creationId xmlns:a16="http://schemas.microsoft.com/office/drawing/2014/main" id="{48143B8F-99C9-4511-9797-6E5E231BDB39}"/>
                </a:ext>
              </a:extLst>
            </p:cNvPr>
            <p:cNvGrpSpPr/>
            <p:nvPr/>
          </p:nvGrpSpPr>
          <p:grpSpPr>
            <a:xfrm>
              <a:off x="1131365" y="1985887"/>
              <a:ext cx="2790245" cy="214519"/>
              <a:chOff x="1131365" y="1985887"/>
              <a:chExt cx="2790245" cy="214519"/>
            </a:xfrm>
          </p:grpSpPr>
          <p:grpSp>
            <p:nvGrpSpPr>
              <p:cNvPr id="8" name="组合 7">
                <a:extLst>
                  <a:ext uri="{FF2B5EF4-FFF2-40B4-BE49-F238E27FC236}">
                    <a16:creationId xmlns:a16="http://schemas.microsoft.com/office/drawing/2014/main" id="{FFB38A2C-2135-42FC-811C-BC3EB019026A}"/>
                  </a:ext>
                </a:extLst>
              </p:cNvPr>
              <p:cNvGrpSpPr/>
              <p:nvPr/>
            </p:nvGrpSpPr>
            <p:grpSpPr>
              <a:xfrm>
                <a:off x="1131365" y="1985887"/>
                <a:ext cx="2790245" cy="214519"/>
                <a:chOff x="832915" y="1992302"/>
                <a:chExt cx="2790245" cy="214519"/>
              </a:xfrm>
            </p:grpSpPr>
            <p:grpSp>
              <p:nvGrpSpPr>
                <p:cNvPr id="9" name="组合 8">
                  <a:extLst>
                    <a:ext uri="{FF2B5EF4-FFF2-40B4-BE49-F238E27FC236}">
                      <a16:creationId xmlns:a16="http://schemas.microsoft.com/office/drawing/2014/main" id="{ABDCC1DE-7DE6-4281-ACFD-BA13EFAD8F3B}"/>
                    </a:ext>
                  </a:extLst>
                </p:cNvPr>
                <p:cNvGrpSpPr/>
                <p:nvPr/>
              </p:nvGrpSpPr>
              <p:grpSpPr>
                <a:xfrm>
                  <a:off x="832915" y="1995618"/>
                  <a:ext cx="1007608" cy="211203"/>
                  <a:chOff x="1542914" y="2931117"/>
                  <a:chExt cx="1007608" cy="211203"/>
                </a:xfrm>
              </p:grpSpPr>
              <p:cxnSp>
                <p:nvCxnSpPr>
                  <p:cNvPr id="13" name="直线连接符 281">
                    <a:extLst>
                      <a:ext uri="{FF2B5EF4-FFF2-40B4-BE49-F238E27FC236}">
                        <a16:creationId xmlns:a16="http://schemas.microsoft.com/office/drawing/2014/main" id="{3E7B315B-5A38-48A1-9AB8-F5DC6540F7D1}"/>
                      </a:ext>
                    </a:extLst>
                  </p:cNvPr>
                  <p:cNvCxnSpPr>
                    <a:cxnSpLocks/>
                  </p:cNvCxnSpPr>
                  <p:nvPr/>
                </p:nvCxnSpPr>
                <p:spPr>
                  <a:xfrm>
                    <a:off x="1542914" y="3044413"/>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083DDAC0-D225-4D23-8EF7-80E9A42F171F}"/>
                      </a:ext>
                    </a:extLst>
                  </p:cNvPr>
                  <p:cNvSpPr txBox="1"/>
                  <p:nvPr/>
                </p:nvSpPr>
                <p:spPr>
                  <a:xfrm>
                    <a:off x="1841411" y="2931117"/>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AL</a:t>
                    </a:r>
                    <a:endParaRPr kumimoji="1" lang="zh-CN" altLang="en-US" sz="900" dirty="0" err="1">
                      <a:latin typeface="Calibri" panose="020F0502020204030204" pitchFamily="34" charset="0"/>
                      <a:cs typeface="Calibri" panose="020F0502020204030204" pitchFamily="34" charset="0"/>
                    </a:endParaRPr>
                  </a:p>
                </p:txBody>
              </p:sp>
            </p:grpSp>
            <p:grpSp>
              <p:nvGrpSpPr>
                <p:cNvPr id="10" name="组合 9">
                  <a:extLst>
                    <a:ext uri="{FF2B5EF4-FFF2-40B4-BE49-F238E27FC236}">
                      <a16:creationId xmlns:a16="http://schemas.microsoft.com/office/drawing/2014/main" id="{67652C41-FF3E-4BEC-A742-93D642D35365}"/>
                    </a:ext>
                  </a:extLst>
                </p:cNvPr>
                <p:cNvGrpSpPr/>
                <p:nvPr/>
              </p:nvGrpSpPr>
              <p:grpSpPr>
                <a:xfrm>
                  <a:off x="1703379" y="1992302"/>
                  <a:ext cx="1919781" cy="211203"/>
                  <a:chOff x="4443882" y="2772070"/>
                  <a:chExt cx="1919781" cy="211203"/>
                </a:xfrm>
              </p:grpSpPr>
              <p:cxnSp>
                <p:nvCxnSpPr>
                  <p:cNvPr id="11" name="直线连接符 284">
                    <a:extLst>
                      <a:ext uri="{FF2B5EF4-FFF2-40B4-BE49-F238E27FC236}">
                        <a16:creationId xmlns:a16="http://schemas.microsoft.com/office/drawing/2014/main" id="{9394BD9E-44E3-4443-92DE-5D27992CDDFC}"/>
                      </a:ext>
                    </a:extLst>
                  </p:cNvPr>
                  <p:cNvCxnSpPr>
                    <a:cxnSpLocks/>
                  </p:cNvCxnSpPr>
                  <p:nvPr/>
                </p:nvCxnSpPr>
                <p:spPr>
                  <a:xfrm>
                    <a:off x="4443882" y="2885365"/>
                    <a:ext cx="268941"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3C4D0088-8C15-4B85-A2DC-9BBB72329B75}"/>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WTI (Crude Oil)</a:t>
                    </a:r>
                    <a:endParaRPr kumimoji="1" lang="zh-CN" altLang="en-US" sz="900" dirty="0" err="1">
                      <a:latin typeface="Calibri" panose="020F0502020204030204" pitchFamily="34" charset="0"/>
                      <a:cs typeface="Calibri" panose="020F0502020204030204" pitchFamily="34" charset="0"/>
                    </a:endParaRPr>
                  </a:p>
                </p:txBody>
              </p:sp>
            </p:grpSp>
          </p:grpSp>
          <p:cxnSp>
            <p:nvCxnSpPr>
              <p:cNvPr id="22" name="直线连接符 284">
                <a:extLst>
                  <a:ext uri="{FF2B5EF4-FFF2-40B4-BE49-F238E27FC236}">
                    <a16:creationId xmlns:a16="http://schemas.microsoft.com/office/drawing/2014/main" id="{C729C2B4-C13D-469B-B201-AF60AA60AA30}"/>
                  </a:ext>
                </a:extLst>
              </p:cNvPr>
              <p:cNvCxnSpPr>
                <a:cxnSpLocks/>
              </p:cNvCxnSpPr>
              <p:nvPr/>
            </p:nvCxnSpPr>
            <p:spPr>
              <a:xfrm>
                <a:off x="3119429" y="2099182"/>
                <a:ext cx="26894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3" name="文本框 22">
              <a:extLst>
                <a:ext uri="{FF2B5EF4-FFF2-40B4-BE49-F238E27FC236}">
                  <a16:creationId xmlns:a16="http://schemas.microsoft.com/office/drawing/2014/main" id="{914C0C61-75B5-4C19-A077-08F37C7EDC25}"/>
                </a:ext>
              </a:extLst>
            </p:cNvPr>
            <p:cNvSpPr txBox="1"/>
            <p:nvPr/>
          </p:nvSpPr>
          <p:spPr>
            <a:xfrm>
              <a:off x="3417926" y="1985887"/>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BA (Boeing)</a:t>
              </a:r>
            </a:p>
          </p:txBody>
        </p:sp>
      </p:grpSp>
      <p:sp>
        <p:nvSpPr>
          <p:cNvPr id="28" name="矩形 27">
            <a:extLst>
              <a:ext uri="{FF2B5EF4-FFF2-40B4-BE49-F238E27FC236}">
                <a16:creationId xmlns:a16="http://schemas.microsoft.com/office/drawing/2014/main" id="{088C7C64-E040-44D1-B24F-151CA5862BE7}"/>
              </a:ext>
            </a:extLst>
          </p:cNvPr>
          <p:cNvSpPr/>
          <p:nvPr/>
        </p:nvSpPr>
        <p:spPr>
          <a:xfrm>
            <a:off x="4171315" y="4231493"/>
            <a:ext cx="2489835" cy="2166621"/>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r>
              <a:rPr kumimoji="1" lang="en-US" altLang="zh-CN" sz="1200" dirty="0">
                <a:solidFill>
                  <a:schemeClr val="tx1"/>
                </a:solidFill>
                <a:latin typeface="Calibri" panose="020F0502020204030204" pitchFamily="34" charset="0"/>
                <a:cs typeface="Calibri" panose="020F0502020204030204" pitchFamily="34" charset="0"/>
              </a:rPr>
              <a:t>In ①, from past 10-year data, Boeing and AAL are negatively correlated with crude oil, while Boeing and AAL have positive correlation.</a:t>
            </a:r>
          </a:p>
          <a:p>
            <a:pPr algn="l"/>
            <a:r>
              <a:rPr kumimoji="1" lang="en-US" altLang="zh-CN" sz="1200" dirty="0">
                <a:solidFill>
                  <a:schemeClr val="tx1"/>
                </a:solidFill>
                <a:latin typeface="Calibri" panose="020F0502020204030204" pitchFamily="34" charset="0"/>
                <a:cs typeface="Calibri" panose="020F0502020204030204" pitchFamily="34" charset="0"/>
              </a:rPr>
              <a:t> </a:t>
            </a:r>
          </a:p>
          <a:p>
            <a:pPr algn="l"/>
            <a:r>
              <a:rPr kumimoji="1" lang="en-US" altLang="zh-CN" sz="1200" dirty="0">
                <a:solidFill>
                  <a:schemeClr val="tx1"/>
                </a:solidFill>
                <a:latin typeface="Calibri" panose="020F0502020204030204" pitchFamily="34" charset="0"/>
                <a:cs typeface="Calibri" panose="020F0502020204030204" pitchFamily="34" charset="0"/>
              </a:rPr>
              <a:t>In ②, before merger, correlations converge to 0 and then grow up over time.</a:t>
            </a:r>
          </a:p>
          <a:p>
            <a:pPr algn="l"/>
            <a:endParaRPr kumimoji="1" lang="en-US" altLang="zh-CN" sz="1200" dirty="0">
              <a:solidFill>
                <a:schemeClr val="tx1"/>
              </a:solidFill>
              <a:latin typeface="Calibri" panose="020F0502020204030204" pitchFamily="34" charset="0"/>
              <a:cs typeface="Calibri" panose="020F0502020204030204" pitchFamily="34" charset="0"/>
            </a:endParaRPr>
          </a:p>
          <a:p>
            <a:pPr algn="l"/>
            <a:r>
              <a:rPr kumimoji="1" lang="en-US" altLang="zh-CN" sz="1200" dirty="0">
                <a:solidFill>
                  <a:schemeClr val="tx1"/>
                </a:solidFill>
                <a:latin typeface="Calibri" panose="020F0502020204030204" pitchFamily="34" charset="0"/>
                <a:cs typeface="Calibri" panose="020F0502020204030204" pitchFamily="34" charset="0"/>
              </a:rPr>
              <a:t>AAL is highly correlated with Boeing and crude oil in positive relationships. </a:t>
            </a:r>
          </a:p>
        </p:txBody>
      </p:sp>
      <p:graphicFrame>
        <p:nvGraphicFramePr>
          <p:cNvPr id="30" name="表格 30">
            <a:extLst>
              <a:ext uri="{FF2B5EF4-FFF2-40B4-BE49-F238E27FC236}">
                <a16:creationId xmlns:a16="http://schemas.microsoft.com/office/drawing/2014/main" id="{2A418282-79E2-4B33-995D-5A942E9B395C}"/>
              </a:ext>
            </a:extLst>
          </p:cNvPr>
          <p:cNvGraphicFramePr>
            <a:graphicFrameLocks noGrp="1"/>
          </p:cNvGraphicFramePr>
          <p:nvPr/>
        </p:nvGraphicFramePr>
        <p:xfrm>
          <a:off x="4171316" y="2270632"/>
          <a:ext cx="2489836" cy="1483360"/>
        </p:xfrm>
        <a:graphic>
          <a:graphicData uri="http://schemas.openxmlformats.org/drawingml/2006/table">
            <a:tbl>
              <a:tblPr firstRow="1" bandRow="1">
                <a:tableStyleId>{2D5ABB26-0587-4C30-8999-92F81FD0307C}</a:tableStyleId>
              </a:tblPr>
              <a:tblGrid>
                <a:gridCol w="622459">
                  <a:extLst>
                    <a:ext uri="{9D8B030D-6E8A-4147-A177-3AD203B41FA5}">
                      <a16:colId xmlns:a16="http://schemas.microsoft.com/office/drawing/2014/main" val="2486159980"/>
                    </a:ext>
                  </a:extLst>
                </a:gridCol>
                <a:gridCol w="718025">
                  <a:extLst>
                    <a:ext uri="{9D8B030D-6E8A-4147-A177-3AD203B41FA5}">
                      <a16:colId xmlns:a16="http://schemas.microsoft.com/office/drawing/2014/main" val="2676742568"/>
                    </a:ext>
                  </a:extLst>
                </a:gridCol>
                <a:gridCol w="673100">
                  <a:extLst>
                    <a:ext uri="{9D8B030D-6E8A-4147-A177-3AD203B41FA5}">
                      <a16:colId xmlns:a16="http://schemas.microsoft.com/office/drawing/2014/main" val="2810671856"/>
                    </a:ext>
                  </a:extLst>
                </a:gridCol>
                <a:gridCol w="476252">
                  <a:extLst>
                    <a:ext uri="{9D8B030D-6E8A-4147-A177-3AD203B41FA5}">
                      <a16:colId xmlns:a16="http://schemas.microsoft.com/office/drawing/2014/main" val="1480588438"/>
                    </a:ext>
                  </a:extLst>
                </a:gridCol>
              </a:tblGrid>
              <a:tr h="370840">
                <a:tc>
                  <a:txBody>
                    <a:bodyPr/>
                    <a:lstStyle/>
                    <a:p>
                      <a:pPr algn="ctr" fontAlgn="ctr"/>
                      <a:r>
                        <a:rPr lang="en-US" altLang="zh-CN" sz="10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Correlation</a:t>
                      </a:r>
                      <a:endParaRPr lang="zh-CN" altLang="en-US" sz="10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tc>
                  <a:txBody>
                    <a:bodyPr/>
                    <a:lstStyle/>
                    <a:p>
                      <a:pPr algn="ctr" fontAlgn="ctr"/>
                      <a:r>
                        <a:rPr lang="en-US" sz="1000" b="1" u="none" strike="noStrike" dirty="0">
                          <a:solidFill>
                            <a:srgbClr val="C00000"/>
                          </a:solidFill>
                          <a:effectLst/>
                        </a:rPr>
                        <a:t>WTI </a:t>
                      </a:r>
                    </a:p>
                    <a:p>
                      <a:pPr algn="ctr" fontAlgn="ctr"/>
                      <a:r>
                        <a:rPr lang="en-US" sz="1000" b="1" u="none" strike="noStrike" dirty="0">
                          <a:solidFill>
                            <a:srgbClr val="C00000"/>
                          </a:solidFill>
                          <a:effectLst/>
                        </a:rPr>
                        <a:t>(Crude Oil)</a:t>
                      </a:r>
                      <a:endParaRPr lang="en-US" sz="1000" b="1" i="0" u="none" strike="noStrike" dirty="0">
                        <a:solidFill>
                          <a:srgbClr val="C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tc>
                  <a:txBody>
                    <a:bodyPr/>
                    <a:lstStyle/>
                    <a:p>
                      <a:pPr algn="ctr" fontAlgn="ctr"/>
                      <a:r>
                        <a:rPr lang="en-US" sz="1000" b="1" u="none" strike="noStrike" dirty="0">
                          <a:solidFill>
                            <a:schemeClr val="accent2"/>
                          </a:solidFill>
                          <a:effectLst/>
                        </a:rPr>
                        <a:t>BA </a:t>
                      </a:r>
                    </a:p>
                    <a:p>
                      <a:pPr algn="ctr" fontAlgn="ctr"/>
                      <a:r>
                        <a:rPr lang="en-US" sz="1000" b="1" u="none" strike="noStrike" dirty="0">
                          <a:solidFill>
                            <a:schemeClr val="accent2"/>
                          </a:solidFill>
                          <a:effectLst/>
                        </a:rPr>
                        <a:t>(Boeing)</a:t>
                      </a:r>
                      <a:endParaRPr lang="en-US" sz="1000" b="1" i="0" u="none" strike="noStrike" dirty="0">
                        <a:solidFill>
                          <a:schemeClr val="accent2"/>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tc>
                  <a:txBody>
                    <a:bodyPr/>
                    <a:lstStyle/>
                    <a:p>
                      <a:pPr algn="ctr" fontAlgn="ctr"/>
                      <a:r>
                        <a:rPr lang="en-US" sz="1000" b="1" u="none" strike="noStrike" dirty="0">
                          <a:solidFill>
                            <a:schemeClr val="accent4">
                              <a:lumMod val="75000"/>
                            </a:schemeClr>
                          </a:solidFill>
                          <a:effectLst/>
                        </a:rPr>
                        <a:t>AAL</a:t>
                      </a:r>
                      <a:endParaRPr lang="en-US" sz="1000" b="1" i="0" u="none" strike="noStrike" dirty="0">
                        <a:solidFill>
                          <a:schemeClr val="accent4">
                            <a:lumMod val="75000"/>
                          </a:schemeClr>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extLst>
                  <a:ext uri="{0D108BD9-81ED-4DB2-BD59-A6C34878D82A}">
                    <a16:rowId xmlns:a16="http://schemas.microsoft.com/office/drawing/2014/main" val="3580397326"/>
                  </a:ext>
                </a:extLst>
              </a:tr>
              <a:tr h="370840">
                <a:tc>
                  <a:txBody>
                    <a:bodyPr/>
                    <a:lstStyle/>
                    <a:p>
                      <a:pPr algn="ctr" fontAlgn="ctr"/>
                      <a:r>
                        <a:rPr lang="en-US" altLang="zh-CN" sz="1000" b="1" u="none" strike="noStrike" dirty="0">
                          <a:solidFill>
                            <a:srgbClr val="C00000"/>
                          </a:solidFill>
                          <a:effectLst/>
                        </a:rPr>
                        <a:t>WTI </a:t>
                      </a:r>
                    </a:p>
                    <a:p>
                      <a:pPr algn="ctr" fontAlgn="ctr"/>
                      <a:r>
                        <a:rPr lang="en-US" altLang="zh-CN" sz="1000" b="1" u="none" strike="noStrike" dirty="0">
                          <a:solidFill>
                            <a:srgbClr val="C00000"/>
                          </a:solidFill>
                          <a:effectLst/>
                        </a:rPr>
                        <a:t>(Crude Oil)</a:t>
                      </a:r>
                      <a:endParaRPr lang="en-US" altLang="zh-CN" sz="1000" b="1" i="0" u="none" strike="noStrike" dirty="0">
                        <a:solidFill>
                          <a:srgbClr val="C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tc>
                  <a:txBody>
                    <a:bodyPr/>
                    <a:lstStyle/>
                    <a:p>
                      <a:pPr algn="ctr" fontAlgn="ctr"/>
                      <a:r>
                        <a:rPr lang="en-US" altLang="zh-CN" sz="1000" b="0" u="none" strike="noStrike" dirty="0">
                          <a:solidFill>
                            <a:srgbClr val="000000"/>
                          </a:solidFill>
                          <a:effectLst/>
                        </a:rPr>
                        <a:t>1</a:t>
                      </a:r>
                      <a:endPar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75000"/>
                      </a:schemeClr>
                    </a:solidFill>
                  </a:tcPr>
                </a:tc>
                <a:tc>
                  <a:txBody>
                    <a:bodyPr/>
                    <a:lstStyle/>
                    <a:p>
                      <a:pPr algn="ctr" fontAlgn="ctr"/>
                      <a:r>
                        <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endParaRPr lang="zh-CN" altLang="en-US"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endParaRPr lang="zh-CN" altLang="en-US"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07453963"/>
                  </a:ext>
                </a:extLst>
              </a:tr>
              <a:tr h="370840">
                <a:tc>
                  <a:txBody>
                    <a:bodyPr/>
                    <a:lstStyle/>
                    <a:p>
                      <a:pPr algn="ctr" fontAlgn="ctr"/>
                      <a:r>
                        <a:rPr lang="en-US" sz="1000" b="1" u="none" strike="noStrike" dirty="0">
                          <a:solidFill>
                            <a:schemeClr val="accent2"/>
                          </a:solidFill>
                          <a:effectLst/>
                        </a:rPr>
                        <a:t>BA</a:t>
                      </a:r>
                    </a:p>
                    <a:p>
                      <a:pPr algn="ctr" fontAlgn="ctr"/>
                      <a:r>
                        <a:rPr lang="en-US" sz="1000" b="1" u="none" strike="noStrike" dirty="0">
                          <a:solidFill>
                            <a:schemeClr val="accent2"/>
                          </a:solidFill>
                          <a:effectLst/>
                        </a:rPr>
                        <a:t>(Boeing)</a:t>
                      </a:r>
                      <a:endParaRPr lang="en-US" sz="1000" b="1" i="0" u="none" strike="noStrike" dirty="0">
                        <a:solidFill>
                          <a:schemeClr val="accent2"/>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tc>
                  <a:txBody>
                    <a:bodyPr/>
                    <a:lstStyle/>
                    <a:p>
                      <a:pPr algn="ctr" fontAlgn="ctr"/>
                      <a:r>
                        <a:rPr lang="en-US" altLang="zh-CN" sz="1000" b="0" u="none" strike="noStrike" dirty="0">
                          <a:solidFill>
                            <a:srgbClr val="000000"/>
                          </a:solidFill>
                          <a:effectLst/>
                        </a:rPr>
                        <a:t>-0.42</a:t>
                      </a:r>
                      <a:endPar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000" b="0" u="none" strike="noStrike" dirty="0">
                          <a:solidFill>
                            <a:srgbClr val="000000"/>
                          </a:solidFill>
                          <a:effectLst/>
                        </a:rPr>
                        <a:t>1</a:t>
                      </a:r>
                      <a:endPar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75000"/>
                      </a:schemeClr>
                    </a:solidFill>
                  </a:tcPr>
                </a:tc>
                <a:tc>
                  <a:txBody>
                    <a:bodyPr/>
                    <a:lstStyle/>
                    <a:p>
                      <a:pPr algn="ctr" fontAlgn="ctr"/>
                      <a:r>
                        <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endParaRPr lang="zh-CN" altLang="en-US"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42930048"/>
                  </a:ext>
                </a:extLst>
              </a:tr>
              <a:tr h="370840">
                <a:tc>
                  <a:txBody>
                    <a:bodyPr/>
                    <a:lstStyle/>
                    <a:p>
                      <a:pPr algn="ctr" fontAlgn="ctr"/>
                      <a:r>
                        <a:rPr lang="en-US" sz="1000" b="1" u="none" strike="noStrike" dirty="0">
                          <a:solidFill>
                            <a:schemeClr val="accent4">
                              <a:lumMod val="75000"/>
                            </a:schemeClr>
                          </a:solidFill>
                          <a:effectLst/>
                        </a:rPr>
                        <a:t>AAL</a:t>
                      </a:r>
                      <a:endParaRPr lang="en-US" sz="1000" b="1" i="0" u="none" strike="noStrike" dirty="0">
                        <a:solidFill>
                          <a:schemeClr val="accent4">
                            <a:lumMod val="75000"/>
                          </a:schemeClr>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EF1"/>
                    </a:solidFill>
                  </a:tcPr>
                </a:tc>
                <a:tc>
                  <a:txBody>
                    <a:bodyPr/>
                    <a:lstStyle/>
                    <a:p>
                      <a:pPr algn="ctr" fontAlgn="ctr"/>
                      <a:r>
                        <a:rPr lang="en-US" altLang="zh-CN" sz="1000" b="0" u="none" strike="noStrike" dirty="0">
                          <a:solidFill>
                            <a:srgbClr val="000000"/>
                          </a:solidFill>
                          <a:effectLst/>
                        </a:rPr>
                        <a:t>-0.43</a:t>
                      </a:r>
                      <a:endPar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000" b="0" u="none" strike="noStrike" dirty="0">
                          <a:solidFill>
                            <a:srgbClr val="000000"/>
                          </a:solidFill>
                          <a:effectLst/>
                        </a:rPr>
                        <a:t>0.54</a:t>
                      </a:r>
                      <a:endPar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3ECB9"/>
                    </a:solidFill>
                  </a:tcPr>
                </a:tc>
                <a:tc>
                  <a:txBody>
                    <a:bodyPr/>
                    <a:lstStyle/>
                    <a:p>
                      <a:pPr algn="ctr" fontAlgn="ctr"/>
                      <a:r>
                        <a:rPr lang="en-US" altLang="zh-CN" sz="1000" b="0" u="none" strike="noStrike" dirty="0">
                          <a:solidFill>
                            <a:srgbClr val="000000"/>
                          </a:solidFill>
                          <a:effectLst/>
                        </a:rPr>
                        <a:t>1</a:t>
                      </a:r>
                      <a:endParaRPr lang="en-US" altLang="zh-CN" sz="10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495487564"/>
                  </a:ext>
                </a:extLst>
              </a:tr>
            </a:tbl>
          </a:graphicData>
        </a:graphic>
      </p:graphicFrame>
      <p:graphicFrame>
        <p:nvGraphicFramePr>
          <p:cNvPr id="35" name="图表 34">
            <a:extLst>
              <a:ext uri="{FF2B5EF4-FFF2-40B4-BE49-F238E27FC236}">
                <a16:creationId xmlns:a16="http://schemas.microsoft.com/office/drawing/2014/main" id="{D54EE061-B9B5-4C43-8A1F-D26BA15FDB32}"/>
              </a:ext>
            </a:extLst>
          </p:cNvPr>
          <p:cNvGraphicFramePr/>
          <p:nvPr/>
        </p:nvGraphicFramePr>
        <p:xfrm>
          <a:off x="375697" y="4521815"/>
          <a:ext cx="3795617" cy="1949271"/>
        </p:xfrm>
        <a:graphic>
          <a:graphicData uri="http://schemas.openxmlformats.org/drawingml/2006/chart">
            <c:chart xmlns:c="http://schemas.openxmlformats.org/drawingml/2006/chart" xmlns:r="http://schemas.openxmlformats.org/officeDocument/2006/relationships" r:id="rId5"/>
          </a:graphicData>
        </a:graphic>
      </p:graphicFrame>
      <p:grpSp>
        <p:nvGrpSpPr>
          <p:cNvPr id="36" name="组合 35">
            <a:extLst>
              <a:ext uri="{FF2B5EF4-FFF2-40B4-BE49-F238E27FC236}">
                <a16:creationId xmlns:a16="http://schemas.microsoft.com/office/drawing/2014/main" id="{EBD7B68A-E6E0-427C-A284-926D6B0756F8}"/>
              </a:ext>
            </a:extLst>
          </p:cNvPr>
          <p:cNvGrpSpPr/>
          <p:nvPr/>
        </p:nvGrpSpPr>
        <p:grpSpPr>
          <a:xfrm>
            <a:off x="487059" y="4517313"/>
            <a:ext cx="2942758" cy="214519"/>
            <a:chOff x="1131365" y="1985887"/>
            <a:chExt cx="2942758" cy="214519"/>
          </a:xfrm>
        </p:grpSpPr>
        <p:grpSp>
          <p:nvGrpSpPr>
            <p:cNvPr id="37" name="组合 36">
              <a:extLst>
                <a:ext uri="{FF2B5EF4-FFF2-40B4-BE49-F238E27FC236}">
                  <a16:creationId xmlns:a16="http://schemas.microsoft.com/office/drawing/2014/main" id="{6E2C0C71-A957-4ED4-8620-1A4E1D57EAA7}"/>
                </a:ext>
              </a:extLst>
            </p:cNvPr>
            <p:cNvGrpSpPr/>
            <p:nvPr/>
          </p:nvGrpSpPr>
          <p:grpSpPr>
            <a:xfrm>
              <a:off x="1131365" y="1985887"/>
              <a:ext cx="2872795" cy="214519"/>
              <a:chOff x="1131365" y="1985887"/>
              <a:chExt cx="2872795" cy="214519"/>
            </a:xfrm>
          </p:grpSpPr>
          <p:grpSp>
            <p:nvGrpSpPr>
              <p:cNvPr id="39" name="组合 38">
                <a:extLst>
                  <a:ext uri="{FF2B5EF4-FFF2-40B4-BE49-F238E27FC236}">
                    <a16:creationId xmlns:a16="http://schemas.microsoft.com/office/drawing/2014/main" id="{A9812BC9-07F8-4152-BF22-EBABBFBD2FBF}"/>
                  </a:ext>
                </a:extLst>
              </p:cNvPr>
              <p:cNvGrpSpPr/>
              <p:nvPr/>
            </p:nvGrpSpPr>
            <p:grpSpPr>
              <a:xfrm>
                <a:off x="1131365" y="1985887"/>
                <a:ext cx="2872795" cy="214519"/>
                <a:chOff x="832915" y="1992302"/>
                <a:chExt cx="2872795" cy="214519"/>
              </a:xfrm>
            </p:grpSpPr>
            <p:grpSp>
              <p:nvGrpSpPr>
                <p:cNvPr id="41" name="组合 40">
                  <a:extLst>
                    <a:ext uri="{FF2B5EF4-FFF2-40B4-BE49-F238E27FC236}">
                      <a16:creationId xmlns:a16="http://schemas.microsoft.com/office/drawing/2014/main" id="{D98FD423-6CF6-4D46-8DAC-ABF428331E92}"/>
                    </a:ext>
                  </a:extLst>
                </p:cNvPr>
                <p:cNvGrpSpPr/>
                <p:nvPr/>
              </p:nvGrpSpPr>
              <p:grpSpPr>
                <a:xfrm>
                  <a:off x="832915" y="1995618"/>
                  <a:ext cx="1007608" cy="211203"/>
                  <a:chOff x="1542914" y="2931117"/>
                  <a:chExt cx="1007608" cy="211203"/>
                </a:xfrm>
              </p:grpSpPr>
              <p:cxnSp>
                <p:nvCxnSpPr>
                  <p:cNvPr id="45" name="直线连接符 281">
                    <a:extLst>
                      <a:ext uri="{FF2B5EF4-FFF2-40B4-BE49-F238E27FC236}">
                        <a16:creationId xmlns:a16="http://schemas.microsoft.com/office/drawing/2014/main" id="{A914DDFA-0390-476E-8DA6-3D4ED9604376}"/>
                      </a:ext>
                    </a:extLst>
                  </p:cNvPr>
                  <p:cNvCxnSpPr>
                    <a:cxnSpLocks/>
                  </p:cNvCxnSpPr>
                  <p:nvPr/>
                </p:nvCxnSpPr>
                <p:spPr>
                  <a:xfrm>
                    <a:off x="1542914" y="3044413"/>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文本框 45">
                    <a:extLst>
                      <a:ext uri="{FF2B5EF4-FFF2-40B4-BE49-F238E27FC236}">
                        <a16:creationId xmlns:a16="http://schemas.microsoft.com/office/drawing/2014/main" id="{F233D888-A41C-4791-A0A0-0D6B098F165D}"/>
                      </a:ext>
                    </a:extLst>
                  </p:cNvPr>
                  <p:cNvSpPr txBox="1"/>
                  <p:nvPr/>
                </p:nvSpPr>
                <p:spPr>
                  <a:xfrm>
                    <a:off x="1841411" y="2931117"/>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AL vs WTI</a:t>
                    </a:r>
                    <a:endParaRPr kumimoji="1" lang="zh-CN" altLang="en-US" sz="900" dirty="0" err="1">
                      <a:latin typeface="Calibri" panose="020F0502020204030204" pitchFamily="34" charset="0"/>
                      <a:cs typeface="Calibri" panose="020F0502020204030204" pitchFamily="34" charset="0"/>
                    </a:endParaRPr>
                  </a:p>
                </p:txBody>
              </p:sp>
            </p:grpSp>
            <p:grpSp>
              <p:nvGrpSpPr>
                <p:cNvPr id="42" name="组合 41">
                  <a:extLst>
                    <a:ext uri="{FF2B5EF4-FFF2-40B4-BE49-F238E27FC236}">
                      <a16:creationId xmlns:a16="http://schemas.microsoft.com/office/drawing/2014/main" id="{C6B7E650-485F-4501-B1B0-3CD10A4CDBB3}"/>
                    </a:ext>
                  </a:extLst>
                </p:cNvPr>
                <p:cNvGrpSpPr/>
                <p:nvPr/>
              </p:nvGrpSpPr>
              <p:grpSpPr>
                <a:xfrm>
                  <a:off x="1785929" y="1992302"/>
                  <a:ext cx="1919781" cy="211203"/>
                  <a:chOff x="4526432" y="2772070"/>
                  <a:chExt cx="1919781" cy="211203"/>
                </a:xfrm>
              </p:grpSpPr>
              <p:cxnSp>
                <p:nvCxnSpPr>
                  <p:cNvPr id="43" name="直线连接符 284">
                    <a:extLst>
                      <a:ext uri="{FF2B5EF4-FFF2-40B4-BE49-F238E27FC236}">
                        <a16:creationId xmlns:a16="http://schemas.microsoft.com/office/drawing/2014/main" id="{62D9AD9C-936D-431B-B832-1D6A9E991A2D}"/>
                      </a:ext>
                    </a:extLst>
                  </p:cNvPr>
                  <p:cNvCxnSpPr>
                    <a:cxnSpLocks/>
                  </p:cNvCxnSpPr>
                  <p:nvPr/>
                </p:nvCxnSpPr>
                <p:spPr>
                  <a:xfrm>
                    <a:off x="4526432" y="2885365"/>
                    <a:ext cx="268941"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44" name="文本框 43">
                    <a:extLst>
                      <a:ext uri="{FF2B5EF4-FFF2-40B4-BE49-F238E27FC236}">
                        <a16:creationId xmlns:a16="http://schemas.microsoft.com/office/drawing/2014/main" id="{63D9C6CA-BB08-42CA-96D0-C36F729260D8}"/>
                      </a:ext>
                    </a:extLst>
                  </p:cNvPr>
                  <p:cNvSpPr txBox="1"/>
                  <p:nvPr/>
                </p:nvSpPr>
                <p:spPr>
                  <a:xfrm>
                    <a:off x="482492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WTI vs BA</a:t>
                    </a:r>
                    <a:endParaRPr kumimoji="1" lang="zh-CN" altLang="en-US" sz="900" dirty="0" err="1">
                      <a:latin typeface="Calibri" panose="020F0502020204030204" pitchFamily="34" charset="0"/>
                      <a:cs typeface="Calibri" panose="020F0502020204030204" pitchFamily="34" charset="0"/>
                    </a:endParaRPr>
                  </a:p>
                </p:txBody>
              </p:sp>
            </p:grpSp>
          </p:grpSp>
          <p:cxnSp>
            <p:nvCxnSpPr>
              <p:cNvPr id="40" name="直线连接符 284">
                <a:extLst>
                  <a:ext uri="{FF2B5EF4-FFF2-40B4-BE49-F238E27FC236}">
                    <a16:creationId xmlns:a16="http://schemas.microsoft.com/office/drawing/2014/main" id="{14D15796-E1D3-4854-BB1E-D1A5E10E0854}"/>
                  </a:ext>
                </a:extLst>
              </p:cNvPr>
              <p:cNvCxnSpPr>
                <a:cxnSpLocks/>
              </p:cNvCxnSpPr>
              <p:nvPr/>
            </p:nvCxnSpPr>
            <p:spPr>
              <a:xfrm>
                <a:off x="3094029" y="2099182"/>
                <a:ext cx="26894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8" name="文本框 37">
              <a:extLst>
                <a:ext uri="{FF2B5EF4-FFF2-40B4-BE49-F238E27FC236}">
                  <a16:creationId xmlns:a16="http://schemas.microsoft.com/office/drawing/2014/main" id="{8125B2A4-C7D8-4325-BF31-2D6AB84DFCCE}"/>
                </a:ext>
              </a:extLst>
            </p:cNvPr>
            <p:cNvSpPr txBox="1"/>
            <p:nvPr/>
          </p:nvSpPr>
          <p:spPr>
            <a:xfrm>
              <a:off x="3392526" y="1985887"/>
              <a:ext cx="681597"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BA vs AAL</a:t>
              </a:r>
            </a:p>
          </p:txBody>
        </p:sp>
      </p:grpSp>
      <p:sp>
        <p:nvSpPr>
          <p:cNvPr id="47" name="文本框 46">
            <a:extLst>
              <a:ext uri="{FF2B5EF4-FFF2-40B4-BE49-F238E27FC236}">
                <a16:creationId xmlns:a16="http://schemas.microsoft.com/office/drawing/2014/main" id="{7B73BAF9-8334-4DB9-8535-4B69045DF8F0}"/>
              </a:ext>
            </a:extLst>
          </p:cNvPr>
          <p:cNvSpPr txBox="1"/>
          <p:nvPr/>
        </p:nvSpPr>
        <p:spPr>
          <a:xfrm>
            <a:off x="699972" y="1958094"/>
            <a:ext cx="3337234" cy="257369"/>
          </a:xfrm>
          <a:prstGeom prst="rect">
            <a:avLst/>
          </a:prstGeom>
          <a:noFill/>
        </p:spPr>
        <p:txBody>
          <a:bodyPr wrap="square" lIns="36000" tIns="36000" rIns="36000" bIns="36000" rtlCol="0">
            <a:spAutoFit/>
          </a:bodyPr>
          <a:lstStyle/>
          <a:p>
            <a:r>
              <a:rPr kumimoji="1" lang="en-US" altLang="zh-CN" sz="1200" b="1" dirty="0">
                <a:latin typeface="Calibri" panose="020F0502020204030204" pitchFamily="34" charset="0"/>
                <a:cs typeface="Calibri" panose="020F0502020204030204" pitchFamily="34" charset="0"/>
              </a:rPr>
              <a:t>Monthly Average Share Prices</a:t>
            </a:r>
            <a:endParaRPr kumimoji="1" lang="zh-CN" altLang="en-US" sz="1200" b="1" dirty="0" err="1">
              <a:latin typeface="Calibri" panose="020F0502020204030204" pitchFamily="34" charset="0"/>
              <a:cs typeface="Calibri" panose="020F0502020204030204" pitchFamily="34" charset="0"/>
            </a:endParaRPr>
          </a:p>
        </p:txBody>
      </p:sp>
      <p:sp>
        <p:nvSpPr>
          <p:cNvPr id="48" name="文本框 47">
            <a:extLst>
              <a:ext uri="{FF2B5EF4-FFF2-40B4-BE49-F238E27FC236}">
                <a16:creationId xmlns:a16="http://schemas.microsoft.com/office/drawing/2014/main" id="{B0A44EFA-53B8-4EF4-9BE5-11ED6600293B}"/>
              </a:ext>
            </a:extLst>
          </p:cNvPr>
          <p:cNvSpPr txBox="1"/>
          <p:nvPr/>
        </p:nvSpPr>
        <p:spPr>
          <a:xfrm>
            <a:off x="743300" y="4231493"/>
            <a:ext cx="3337234" cy="257369"/>
          </a:xfrm>
          <a:prstGeom prst="rect">
            <a:avLst/>
          </a:prstGeom>
          <a:noFill/>
        </p:spPr>
        <p:txBody>
          <a:bodyPr wrap="square" lIns="36000" tIns="36000" rIns="36000" bIns="36000" rtlCol="0">
            <a:spAutoFit/>
          </a:bodyPr>
          <a:lstStyle/>
          <a:p>
            <a:r>
              <a:rPr kumimoji="1" lang="en-US" altLang="zh-CN" sz="1200" b="1" dirty="0">
                <a:latin typeface="Calibri" panose="020F0502020204030204" pitchFamily="34" charset="0"/>
                <a:cs typeface="Calibri" panose="020F0502020204030204" pitchFamily="34" charset="0"/>
              </a:rPr>
              <a:t>Correlations Between Share Prices</a:t>
            </a:r>
            <a:endParaRPr kumimoji="1" lang="zh-CN" altLang="en-US" sz="1200" b="1" dirty="0" err="1">
              <a:latin typeface="Calibri" panose="020F0502020204030204" pitchFamily="34" charset="0"/>
              <a:cs typeface="Calibri" panose="020F0502020204030204" pitchFamily="34" charset="0"/>
            </a:endParaRPr>
          </a:p>
        </p:txBody>
      </p:sp>
      <p:sp>
        <p:nvSpPr>
          <p:cNvPr id="49" name="椭圆 48">
            <a:extLst>
              <a:ext uri="{FF2B5EF4-FFF2-40B4-BE49-F238E27FC236}">
                <a16:creationId xmlns:a16="http://schemas.microsoft.com/office/drawing/2014/main" id="{8ED8E9FD-A2AC-44D0-97B2-B78F13D65E5A}"/>
              </a:ext>
            </a:extLst>
          </p:cNvPr>
          <p:cNvSpPr/>
          <p:nvPr/>
        </p:nvSpPr>
        <p:spPr>
          <a:xfrm>
            <a:off x="380664" y="1942527"/>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50" name="椭圆 49">
            <a:extLst>
              <a:ext uri="{FF2B5EF4-FFF2-40B4-BE49-F238E27FC236}">
                <a16:creationId xmlns:a16="http://schemas.microsoft.com/office/drawing/2014/main" id="{0322690E-AC7F-40DB-A798-AA1876B7EF2E}"/>
              </a:ext>
            </a:extLst>
          </p:cNvPr>
          <p:cNvSpPr/>
          <p:nvPr/>
        </p:nvSpPr>
        <p:spPr>
          <a:xfrm>
            <a:off x="405421" y="4205273"/>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grpSp>
        <p:nvGrpSpPr>
          <p:cNvPr id="56" name="组合 55">
            <a:extLst>
              <a:ext uri="{FF2B5EF4-FFF2-40B4-BE49-F238E27FC236}">
                <a16:creationId xmlns:a16="http://schemas.microsoft.com/office/drawing/2014/main" id="{53E129D7-7CF5-4F4B-B572-766FE94CA97C}"/>
              </a:ext>
            </a:extLst>
          </p:cNvPr>
          <p:cNvGrpSpPr/>
          <p:nvPr/>
        </p:nvGrpSpPr>
        <p:grpSpPr>
          <a:xfrm>
            <a:off x="6839494" y="2055695"/>
            <a:ext cx="5571472" cy="687715"/>
            <a:chOff x="6133372" y="2548965"/>
            <a:chExt cx="5571472" cy="687715"/>
          </a:xfrm>
        </p:grpSpPr>
        <p:sp>
          <p:nvSpPr>
            <p:cNvPr id="77" name="矩形 76">
              <a:extLst>
                <a:ext uri="{FF2B5EF4-FFF2-40B4-BE49-F238E27FC236}">
                  <a16:creationId xmlns:a16="http://schemas.microsoft.com/office/drawing/2014/main" id="{55AE5778-D858-4A1B-A27C-9D76EEDB7548}"/>
                </a:ext>
              </a:extLst>
            </p:cNvPr>
            <p:cNvSpPr/>
            <p:nvPr/>
          </p:nvSpPr>
          <p:spPr>
            <a:xfrm>
              <a:off x="6133372" y="2548965"/>
              <a:ext cx="5571472" cy="68771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pic>
          <p:nvPicPr>
            <p:cNvPr id="78" name="图形 77" descr="举起的手">
              <a:extLst>
                <a:ext uri="{FF2B5EF4-FFF2-40B4-BE49-F238E27FC236}">
                  <a16:creationId xmlns:a16="http://schemas.microsoft.com/office/drawing/2014/main" id="{596062DE-F77F-4A74-8B38-9F5AC2D39DD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47892" y="2612275"/>
              <a:ext cx="527127" cy="527127"/>
            </a:xfrm>
            <a:prstGeom prst="rect">
              <a:avLst/>
            </a:prstGeom>
          </p:spPr>
        </p:pic>
        <p:sp>
          <p:nvSpPr>
            <p:cNvPr id="79" name="文本框 78">
              <a:extLst>
                <a:ext uri="{FF2B5EF4-FFF2-40B4-BE49-F238E27FC236}">
                  <a16:creationId xmlns:a16="http://schemas.microsoft.com/office/drawing/2014/main" id="{63053F1B-FDED-4EA3-BA84-3854B7435688}"/>
                </a:ext>
              </a:extLst>
            </p:cNvPr>
            <p:cNvSpPr txBox="1"/>
            <p:nvPr/>
          </p:nvSpPr>
          <p:spPr>
            <a:xfrm>
              <a:off x="6558313" y="2748748"/>
              <a:ext cx="836123" cy="288147"/>
            </a:xfrm>
            <a:prstGeom prst="rect">
              <a:avLst/>
            </a:prstGeom>
            <a:noFill/>
          </p:spPr>
          <p:txBody>
            <a:bodyPr wrap="square" lIns="36000" tIns="36000" rIns="36000" bIns="36000" rtlCol="0">
              <a:spAutoFit/>
            </a:bodyPr>
            <a:lstStyle/>
            <a:p>
              <a:pPr algn="ctr"/>
              <a:r>
                <a:rPr lang="en-US" altLang="zh-CN" sz="1400" b="1" dirty="0"/>
                <a:t>Rivalry</a:t>
              </a:r>
              <a:endParaRPr lang="zh-CN" altLang="en-US" sz="1400" b="1" dirty="0" err="1"/>
            </a:p>
          </p:txBody>
        </p:sp>
        <p:sp>
          <p:nvSpPr>
            <p:cNvPr id="80" name="文本框 79">
              <a:extLst>
                <a:ext uri="{FF2B5EF4-FFF2-40B4-BE49-F238E27FC236}">
                  <a16:creationId xmlns:a16="http://schemas.microsoft.com/office/drawing/2014/main" id="{F27990B9-DAE3-4A81-8025-236633026D0E}"/>
                </a:ext>
              </a:extLst>
            </p:cNvPr>
            <p:cNvSpPr txBox="1"/>
            <p:nvPr/>
          </p:nvSpPr>
          <p:spPr>
            <a:xfrm>
              <a:off x="7492664" y="2583670"/>
              <a:ext cx="3806710" cy="626701"/>
            </a:xfrm>
            <a:prstGeom prst="rect">
              <a:avLst/>
            </a:prstGeom>
            <a:noFill/>
          </p:spPr>
          <p:txBody>
            <a:bodyPr wrap="square" lIns="36000" tIns="36000" rIns="36000" bIns="36000" rtlCol="0">
              <a:spAutoFit/>
            </a:bodyPr>
            <a:lstStyle/>
            <a:p>
              <a:r>
                <a:rPr lang="en-US" altLang="zh-CN" sz="1200" b="1" dirty="0"/>
                <a:t>Nature Impact: </a:t>
              </a:r>
              <a:r>
                <a:rPr lang="en-US" altLang="zh-CN" sz="1200" dirty="0"/>
                <a:t>COVID-19 raised </a:t>
              </a:r>
              <a:r>
                <a:rPr lang="en-US" altLang="zh-CN" sz="1200" b="1" dirty="0"/>
                <a:t>43</a:t>
              </a:r>
              <a:r>
                <a:rPr lang="en-US" altLang="zh-CN" sz="1200" dirty="0"/>
                <a:t> bankruptcies</a:t>
              </a:r>
            </a:p>
            <a:p>
              <a:r>
                <a:rPr lang="en-US" altLang="zh-CN" sz="1200" b="1" dirty="0"/>
                <a:t>Fierce Competition: </a:t>
              </a:r>
              <a:r>
                <a:rPr lang="en-US" altLang="zh-CN" sz="1200" dirty="0"/>
                <a:t>Top 10 cover </a:t>
              </a:r>
              <a:r>
                <a:rPr lang="en-US" altLang="zh-CN" sz="1200" b="1" dirty="0"/>
                <a:t>85% </a:t>
              </a:r>
              <a:r>
                <a:rPr lang="en-US" altLang="zh-CN" sz="1200" dirty="0"/>
                <a:t>market size</a:t>
              </a:r>
            </a:p>
            <a:p>
              <a:r>
                <a:rPr lang="en-US" altLang="zh-CN" sz="1200" b="1" dirty="0"/>
                <a:t>Stable Customer: </a:t>
              </a:r>
              <a:r>
                <a:rPr lang="en-US" altLang="zh-CN" sz="1200" dirty="0"/>
                <a:t>Airlines find specific </a:t>
              </a:r>
              <a:r>
                <a:rPr lang="en-US" altLang="zh-CN" sz="1200" b="1" dirty="0"/>
                <a:t>segments</a:t>
              </a:r>
              <a:endParaRPr lang="zh-CN" altLang="en-US" sz="1200" b="1" dirty="0" err="1"/>
            </a:p>
          </p:txBody>
        </p:sp>
      </p:grpSp>
      <p:grpSp>
        <p:nvGrpSpPr>
          <p:cNvPr id="57" name="组合 56">
            <a:extLst>
              <a:ext uri="{FF2B5EF4-FFF2-40B4-BE49-F238E27FC236}">
                <a16:creationId xmlns:a16="http://schemas.microsoft.com/office/drawing/2014/main" id="{F2AD4F0E-1F67-4018-8752-60E11A23F496}"/>
              </a:ext>
            </a:extLst>
          </p:cNvPr>
          <p:cNvGrpSpPr/>
          <p:nvPr/>
        </p:nvGrpSpPr>
        <p:grpSpPr>
          <a:xfrm>
            <a:off x="6831772" y="2971884"/>
            <a:ext cx="5601429" cy="687715"/>
            <a:chOff x="6133372" y="2548965"/>
            <a:chExt cx="5601429" cy="687715"/>
          </a:xfrm>
        </p:grpSpPr>
        <p:sp>
          <p:nvSpPr>
            <p:cNvPr id="73" name="矩形 72">
              <a:extLst>
                <a:ext uri="{FF2B5EF4-FFF2-40B4-BE49-F238E27FC236}">
                  <a16:creationId xmlns:a16="http://schemas.microsoft.com/office/drawing/2014/main" id="{4F76B605-5D5D-4EC9-AED6-C049E2D0DCD7}"/>
                </a:ext>
              </a:extLst>
            </p:cNvPr>
            <p:cNvSpPr/>
            <p:nvPr/>
          </p:nvSpPr>
          <p:spPr>
            <a:xfrm>
              <a:off x="6133372" y="2548965"/>
              <a:ext cx="5571472" cy="68771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pic>
          <p:nvPicPr>
            <p:cNvPr id="74" name="图形 73" descr="铁锤">
              <a:extLst>
                <a:ext uri="{FF2B5EF4-FFF2-40B4-BE49-F238E27FC236}">
                  <a16:creationId xmlns:a16="http://schemas.microsoft.com/office/drawing/2014/main" id="{AF5F4B36-5BA8-4AFD-96F0-2F2F249223B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147892" y="2612275"/>
              <a:ext cx="527127" cy="527127"/>
            </a:xfrm>
            <a:prstGeom prst="rect">
              <a:avLst/>
            </a:prstGeom>
          </p:spPr>
        </p:pic>
        <p:sp>
          <p:nvSpPr>
            <p:cNvPr id="75" name="文本框 74">
              <a:extLst>
                <a:ext uri="{FF2B5EF4-FFF2-40B4-BE49-F238E27FC236}">
                  <a16:creationId xmlns:a16="http://schemas.microsoft.com/office/drawing/2014/main" id="{378B793A-0103-4AD6-A6BA-630DF7DC11E8}"/>
                </a:ext>
              </a:extLst>
            </p:cNvPr>
            <p:cNvSpPr txBox="1"/>
            <p:nvPr/>
          </p:nvSpPr>
          <p:spPr>
            <a:xfrm>
              <a:off x="6558313" y="2748748"/>
              <a:ext cx="836123" cy="288147"/>
            </a:xfrm>
            <a:prstGeom prst="rect">
              <a:avLst/>
            </a:prstGeom>
            <a:noFill/>
          </p:spPr>
          <p:txBody>
            <a:bodyPr wrap="square" lIns="36000" tIns="36000" rIns="36000" bIns="36000" rtlCol="0">
              <a:spAutoFit/>
            </a:bodyPr>
            <a:lstStyle/>
            <a:p>
              <a:pPr algn="ctr"/>
              <a:r>
                <a:rPr lang="en-US" altLang="zh-CN" sz="1400" b="1" dirty="0"/>
                <a:t>Supplier</a:t>
              </a:r>
              <a:endParaRPr lang="zh-CN" altLang="en-US" sz="1400" b="1" dirty="0" err="1"/>
            </a:p>
          </p:txBody>
        </p:sp>
        <p:sp>
          <p:nvSpPr>
            <p:cNvPr id="76" name="文本框 75">
              <a:extLst>
                <a:ext uri="{FF2B5EF4-FFF2-40B4-BE49-F238E27FC236}">
                  <a16:creationId xmlns:a16="http://schemas.microsoft.com/office/drawing/2014/main" id="{69E8F014-72B3-44D8-8312-E22E691DD979}"/>
                </a:ext>
              </a:extLst>
            </p:cNvPr>
            <p:cNvSpPr txBox="1"/>
            <p:nvPr/>
          </p:nvSpPr>
          <p:spPr>
            <a:xfrm>
              <a:off x="7492663" y="2583670"/>
              <a:ext cx="4242138" cy="626701"/>
            </a:xfrm>
            <a:prstGeom prst="rect">
              <a:avLst/>
            </a:prstGeom>
            <a:noFill/>
          </p:spPr>
          <p:txBody>
            <a:bodyPr wrap="square" lIns="36000" tIns="36000" rIns="36000" bIns="36000" rtlCol="0">
              <a:spAutoFit/>
            </a:bodyPr>
            <a:lstStyle/>
            <a:p>
              <a:r>
                <a:rPr lang="en-US" altLang="zh-CN" sz="1200" b="1" dirty="0"/>
                <a:t>Fuel &amp; Aircraft: </a:t>
              </a:r>
              <a:r>
                <a:rPr lang="en-US" altLang="zh-CN" sz="1200" dirty="0"/>
                <a:t>Market sets fuel price; Boeing builds aircrafts</a:t>
              </a:r>
            </a:p>
            <a:p>
              <a:r>
                <a:rPr lang="en-US" altLang="zh-CN" sz="1200" b="1" dirty="0">
                  <a:solidFill>
                    <a:srgbClr val="D49500"/>
                  </a:solidFill>
                </a:rPr>
                <a:t>Labor: </a:t>
              </a:r>
              <a:r>
                <a:rPr lang="en-US" altLang="zh-CN" sz="1200" dirty="0">
                  <a:solidFill>
                    <a:srgbClr val="D49500"/>
                  </a:solidFill>
                </a:rPr>
                <a:t>Labor unions train employees</a:t>
              </a:r>
            </a:p>
            <a:p>
              <a:r>
                <a:rPr lang="en-US" altLang="zh-CN" sz="1200" b="1" dirty="0"/>
                <a:t>Air Space: </a:t>
              </a:r>
              <a:r>
                <a:rPr lang="en-US" altLang="zh-CN" sz="1200" dirty="0"/>
                <a:t>Governments build legal terms</a:t>
              </a:r>
              <a:endParaRPr lang="zh-CN" altLang="en-US" sz="1200" b="1" dirty="0" err="1"/>
            </a:p>
          </p:txBody>
        </p:sp>
      </p:grpSp>
      <p:grpSp>
        <p:nvGrpSpPr>
          <p:cNvPr id="58" name="组合 57">
            <a:extLst>
              <a:ext uri="{FF2B5EF4-FFF2-40B4-BE49-F238E27FC236}">
                <a16:creationId xmlns:a16="http://schemas.microsoft.com/office/drawing/2014/main" id="{8968B410-D6BF-4DC3-B609-E34FD3DFEC50}"/>
              </a:ext>
            </a:extLst>
          </p:cNvPr>
          <p:cNvGrpSpPr/>
          <p:nvPr/>
        </p:nvGrpSpPr>
        <p:grpSpPr>
          <a:xfrm>
            <a:off x="6827240" y="3888073"/>
            <a:ext cx="5601429" cy="687715"/>
            <a:chOff x="6133372" y="2548965"/>
            <a:chExt cx="5601429" cy="687715"/>
          </a:xfrm>
        </p:grpSpPr>
        <p:sp>
          <p:nvSpPr>
            <p:cNvPr id="69" name="矩形 68">
              <a:extLst>
                <a:ext uri="{FF2B5EF4-FFF2-40B4-BE49-F238E27FC236}">
                  <a16:creationId xmlns:a16="http://schemas.microsoft.com/office/drawing/2014/main" id="{5AB64CF6-D1A9-453D-AED2-F4FA5621749D}"/>
                </a:ext>
              </a:extLst>
            </p:cNvPr>
            <p:cNvSpPr/>
            <p:nvPr/>
          </p:nvSpPr>
          <p:spPr>
            <a:xfrm>
              <a:off x="6133372" y="2548965"/>
              <a:ext cx="5571472" cy="68771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pic>
          <p:nvPicPr>
            <p:cNvPr id="70" name="图形 69" descr="购物车">
              <a:extLst>
                <a:ext uri="{FF2B5EF4-FFF2-40B4-BE49-F238E27FC236}">
                  <a16:creationId xmlns:a16="http://schemas.microsoft.com/office/drawing/2014/main" id="{A3F72D25-8579-43F1-8767-099FECDB03F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147892" y="2612275"/>
              <a:ext cx="527127" cy="527127"/>
            </a:xfrm>
            <a:prstGeom prst="rect">
              <a:avLst/>
            </a:prstGeom>
          </p:spPr>
        </p:pic>
        <p:sp>
          <p:nvSpPr>
            <p:cNvPr id="71" name="文本框 70">
              <a:extLst>
                <a:ext uri="{FF2B5EF4-FFF2-40B4-BE49-F238E27FC236}">
                  <a16:creationId xmlns:a16="http://schemas.microsoft.com/office/drawing/2014/main" id="{268DAE22-6865-4C86-ACE1-6F63FC93C127}"/>
                </a:ext>
              </a:extLst>
            </p:cNvPr>
            <p:cNvSpPr txBox="1"/>
            <p:nvPr/>
          </p:nvSpPr>
          <p:spPr>
            <a:xfrm>
              <a:off x="6558313" y="2748748"/>
              <a:ext cx="836123" cy="288147"/>
            </a:xfrm>
            <a:prstGeom prst="rect">
              <a:avLst/>
            </a:prstGeom>
            <a:noFill/>
          </p:spPr>
          <p:txBody>
            <a:bodyPr wrap="square" lIns="36000" tIns="36000" rIns="36000" bIns="36000" rtlCol="0">
              <a:spAutoFit/>
            </a:bodyPr>
            <a:lstStyle/>
            <a:p>
              <a:pPr algn="ctr"/>
              <a:r>
                <a:rPr lang="en-US" altLang="zh-CN" sz="1400" b="1" dirty="0"/>
                <a:t>Buyer</a:t>
              </a:r>
              <a:endParaRPr lang="zh-CN" altLang="en-US" sz="1400" b="1" dirty="0" err="1"/>
            </a:p>
          </p:txBody>
        </p:sp>
        <p:sp>
          <p:nvSpPr>
            <p:cNvPr id="72" name="文本框 71">
              <a:extLst>
                <a:ext uri="{FF2B5EF4-FFF2-40B4-BE49-F238E27FC236}">
                  <a16:creationId xmlns:a16="http://schemas.microsoft.com/office/drawing/2014/main" id="{D6023C51-CEC0-4259-888E-02F782ABE266}"/>
                </a:ext>
              </a:extLst>
            </p:cNvPr>
            <p:cNvSpPr txBox="1"/>
            <p:nvPr/>
          </p:nvSpPr>
          <p:spPr>
            <a:xfrm>
              <a:off x="7492663" y="2678011"/>
              <a:ext cx="4242138" cy="442035"/>
            </a:xfrm>
            <a:prstGeom prst="rect">
              <a:avLst/>
            </a:prstGeom>
            <a:noFill/>
          </p:spPr>
          <p:txBody>
            <a:bodyPr wrap="square" lIns="36000" tIns="36000" rIns="36000" bIns="36000" rtlCol="0">
              <a:spAutoFit/>
            </a:bodyPr>
            <a:lstStyle/>
            <a:p>
              <a:r>
                <a:rPr lang="en-US" altLang="zh-CN" sz="1200" b="1" dirty="0"/>
                <a:t>Platform: </a:t>
              </a:r>
              <a:r>
                <a:rPr lang="en-US" altLang="zh-CN" sz="1200" dirty="0"/>
                <a:t>Algorithm sets optimal prices</a:t>
              </a:r>
              <a:endParaRPr lang="en-US" altLang="zh-CN" sz="1200" b="1" dirty="0"/>
            </a:p>
            <a:p>
              <a:r>
                <a:rPr lang="en-US" altLang="zh-CN" sz="1200" b="1" dirty="0"/>
                <a:t>Customer: </a:t>
              </a:r>
              <a:r>
                <a:rPr lang="en-US" altLang="zh-CN" sz="1200" dirty="0"/>
                <a:t>Travel less when prices increase</a:t>
              </a:r>
            </a:p>
          </p:txBody>
        </p:sp>
      </p:grpSp>
      <p:grpSp>
        <p:nvGrpSpPr>
          <p:cNvPr id="59" name="组合 58">
            <a:extLst>
              <a:ext uri="{FF2B5EF4-FFF2-40B4-BE49-F238E27FC236}">
                <a16:creationId xmlns:a16="http://schemas.microsoft.com/office/drawing/2014/main" id="{D9F0B65E-6721-4122-B1FB-BA1C79B69B27}"/>
              </a:ext>
            </a:extLst>
          </p:cNvPr>
          <p:cNvGrpSpPr/>
          <p:nvPr/>
        </p:nvGrpSpPr>
        <p:grpSpPr>
          <a:xfrm>
            <a:off x="6838866" y="4804262"/>
            <a:ext cx="5601429" cy="687715"/>
            <a:chOff x="6133372" y="2548965"/>
            <a:chExt cx="5601429" cy="687715"/>
          </a:xfrm>
        </p:grpSpPr>
        <p:sp>
          <p:nvSpPr>
            <p:cNvPr id="65" name="矩形 64">
              <a:extLst>
                <a:ext uri="{FF2B5EF4-FFF2-40B4-BE49-F238E27FC236}">
                  <a16:creationId xmlns:a16="http://schemas.microsoft.com/office/drawing/2014/main" id="{92706C26-B8DC-4D3D-A892-23C618C840B7}"/>
                </a:ext>
              </a:extLst>
            </p:cNvPr>
            <p:cNvSpPr/>
            <p:nvPr/>
          </p:nvSpPr>
          <p:spPr>
            <a:xfrm>
              <a:off x="6133372" y="2548965"/>
              <a:ext cx="5571472" cy="68771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pic>
          <p:nvPicPr>
            <p:cNvPr id="66" name="图形 65" descr="放大镜">
              <a:extLst>
                <a:ext uri="{FF2B5EF4-FFF2-40B4-BE49-F238E27FC236}">
                  <a16:creationId xmlns:a16="http://schemas.microsoft.com/office/drawing/2014/main" id="{A0A438C4-4D95-4074-814C-F2B6B088A4A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147892" y="2612275"/>
              <a:ext cx="527127" cy="527127"/>
            </a:xfrm>
            <a:prstGeom prst="rect">
              <a:avLst/>
            </a:prstGeom>
          </p:spPr>
        </p:pic>
        <p:sp>
          <p:nvSpPr>
            <p:cNvPr id="67" name="文本框 66">
              <a:extLst>
                <a:ext uri="{FF2B5EF4-FFF2-40B4-BE49-F238E27FC236}">
                  <a16:creationId xmlns:a16="http://schemas.microsoft.com/office/drawing/2014/main" id="{D7E38E6C-7FBA-4B24-BF75-9918F1BE15B1}"/>
                </a:ext>
              </a:extLst>
            </p:cNvPr>
            <p:cNvSpPr txBox="1"/>
            <p:nvPr/>
          </p:nvSpPr>
          <p:spPr>
            <a:xfrm>
              <a:off x="6558313" y="2748748"/>
              <a:ext cx="836123" cy="288147"/>
            </a:xfrm>
            <a:prstGeom prst="rect">
              <a:avLst/>
            </a:prstGeom>
            <a:noFill/>
          </p:spPr>
          <p:txBody>
            <a:bodyPr wrap="square" lIns="36000" tIns="36000" rIns="36000" bIns="36000" rtlCol="0">
              <a:spAutoFit/>
            </a:bodyPr>
            <a:lstStyle/>
            <a:p>
              <a:pPr algn="ctr"/>
              <a:r>
                <a:rPr lang="en-US" altLang="zh-CN" sz="1400" b="1" dirty="0"/>
                <a:t>Entrant</a:t>
              </a:r>
              <a:endParaRPr lang="zh-CN" altLang="en-US" sz="1400" b="1" dirty="0" err="1"/>
            </a:p>
          </p:txBody>
        </p:sp>
        <p:sp>
          <p:nvSpPr>
            <p:cNvPr id="68" name="文本框 67">
              <a:extLst>
                <a:ext uri="{FF2B5EF4-FFF2-40B4-BE49-F238E27FC236}">
                  <a16:creationId xmlns:a16="http://schemas.microsoft.com/office/drawing/2014/main" id="{B201DACE-DA97-4A46-9CCB-3FB374542420}"/>
                </a:ext>
              </a:extLst>
            </p:cNvPr>
            <p:cNvSpPr txBox="1"/>
            <p:nvPr/>
          </p:nvSpPr>
          <p:spPr>
            <a:xfrm>
              <a:off x="7492663" y="2583670"/>
              <a:ext cx="4242138" cy="626701"/>
            </a:xfrm>
            <a:prstGeom prst="rect">
              <a:avLst/>
            </a:prstGeom>
            <a:noFill/>
          </p:spPr>
          <p:txBody>
            <a:bodyPr wrap="square" lIns="36000" tIns="36000" rIns="36000" bIns="36000" rtlCol="0">
              <a:spAutoFit/>
            </a:bodyPr>
            <a:lstStyle/>
            <a:p>
              <a:r>
                <a:rPr lang="en-US" altLang="zh-CN" sz="1200" b="1" dirty="0">
                  <a:solidFill>
                    <a:srgbClr val="D49500"/>
                  </a:solidFill>
                </a:rPr>
                <a:t>Capital: </a:t>
              </a:r>
              <a:r>
                <a:rPr lang="en-US" altLang="zh-CN" sz="1200" dirty="0">
                  <a:solidFill>
                    <a:srgbClr val="D49500"/>
                  </a:solidFill>
                </a:rPr>
                <a:t>Huge investments for operation</a:t>
              </a:r>
            </a:p>
            <a:p>
              <a:r>
                <a:rPr lang="en-US" altLang="zh-CN" sz="1200" b="1" dirty="0">
                  <a:solidFill>
                    <a:srgbClr val="D49500"/>
                  </a:solidFill>
                </a:rPr>
                <a:t>Resource: </a:t>
              </a:r>
              <a:r>
                <a:rPr lang="en-US" altLang="zh-CN" sz="1200" dirty="0">
                  <a:solidFill>
                    <a:srgbClr val="D49500"/>
                  </a:solidFill>
                </a:rPr>
                <a:t>Customers, airports, alliances…</a:t>
              </a:r>
              <a:endParaRPr lang="en-US" altLang="zh-CN" sz="1200" b="1" dirty="0">
                <a:solidFill>
                  <a:srgbClr val="D49500"/>
                </a:solidFill>
              </a:endParaRPr>
            </a:p>
            <a:p>
              <a:r>
                <a:rPr lang="en-US" altLang="zh-CN" sz="1200" b="1" dirty="0">
                  <a:solidFill>
                    <a:srgbClr val="D49500"/>
                  </a:solidFill>
                </a:rPr>
                <a:t>Regulation: </a:t>
              </a:r>
              <a:r>
                <a:rPr lang="en-US" altLang="zh-CN" sz="1200" dirty="0">
                  <a:solidFill>
                    <a:srgbClr val="D49500"/>
                  </a:solidFill>
                </a:rPr>
                <a:t>Governments requires safety licenses</a:t>
              </a:r>
            </a:p>
          </p:txBody>
        </p:sp>
      </p:grpSp>
      <p:grpSp>
        <p:nvGrpSpPr>
          <p:cNvPr id="60" name="组合 59">
            <a:extLst>
              <a:ext uri="{FF2B5EF4-FFF2-40B4-BE49-F238E27FC236}">
                <a16:creationId xmlns:a16="http://schemas.microsoft.com/office/drawing/2014/main" id="{60ABD7BD-B36A-405C-A993-4FF35F7D66E6}"/>
              </a:ext>
            </a:extLst>
          </p:cNvPr>
          <p:cNvGrpSpPr/>
          <p:nvPr/>
        </p:nvGrpSpPr>
        <p:grpSpPr>
          <a:xfrm>
            <a:off x="6838866" y="5720452"/>
            <a:ext cx="5601429" cy="687715"/>
            <a:chOff x="6133372" y="2548965"/>
            <a:chExt cx="5601429" cy="687715"/>
          </a:xfrm>
        </p:grpSpPr>
        <p:sp>
          <p:nvSpPr>
            <p:cNvPr id="61" name="矩形 60">
              <a:extLst>
                <a:ext uri="{FF2B5EF4-FFF2-40B4-BE49-F238E27FC236}">
                  <a16:creationId xmlns:a16="http://schemas.microsoft.com/office/drawing/2014/main" id="{51BCB180-1072-4727-9AF1-DF3296A47025}"/>
                </a:ext>
              </a:extLst>
            </p:cNvPr>
            <p:cNvSpPr/>
            <p:nvPr/>
          </p:nvSpPr>
          <p:spPr>
            <a:xfrm>
              <a:off x="6133372" y="2548965"/>
              <a:ext cx="5571472" cy="68771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pic>
          <p:nvPicPr>
            <p:cNvPr id="62" name="图形 61" descr="标签">
              <a:extLst>
                <a:ext uri="{FF2B5EF4-FFF2-40B4-BE49-F238E27FC236}">
                  <a16:creationId xmlns:a16="http://schemas.microsoft.com/office/drawing/2014/main" id="{4CE2A6F0-179A-41C0-A873-27BC4BBCD97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6147892" y="2612275"/>
              <a:ext cx="527127" cy="527127"/>
            </a:xfrm>
            <a:prstGeom prst="rect">
              <a:avLst/>
            </a:prstGeom>
          </p:spPr>
        </p:pic>
        <p:sp>
          <p:nvSpPr>
            <p:cNvPr id="63" name="文本框 62">
              <a:extLst>
                <a:ext uri="{FF2B5EF4-FFF2-40B4-BE49-F238E27FC236}">
                  <a16:creationId xmlns:a16="http://schemas.microsoft.com/office/drawing/2014/main" id="{80A8EE49-00CB-4EAF-9AF2-3175BFD8221E}"/>
                </a:ext>
              </a:extLst>
            </p:cNvPr>
            <p:cNvSpPr txBox="1"/>
            <p:nvPr/>
          </p:nvSpPr>
          <p:spPr>
            <a:xfrm>
              <a:off x="6434944" y="2748748"/>
              <a:ext cx="1184800" cy="288147"/>
            </a:xfrm>
            <a:prstGeom prst="rect">
              <a:avLst/>
            </a:prstGeom>
            <a:noFill/>
          </p:spPr>
          <p:txBody>
            <a:bodyPr wrap="square" lIns="36000" tIns="36000" rIns="36000" bIns="36000" rtlCol="0">
              <a:spAutoFit/>
            </a:bodyPr>
            <a:lstStyle/>
            <a:p>
              <a:pPr algn="ctr"/>
              <a:r>
                <a:rPr lang="en-US" altLang="zh-CN" sz="1400" b="1" dirty="0"/>
                <a:t>Substitute</a:t>
              </a:r>
              <a:endParaRPr lang="zh-CN" altLang="en-US" sz="1400" b="1" dirty="0" err="1"/>
            </a:p>
          </p:txBody>
        </p:sp>
        <p:sp>
          <p:nvSpPr>
            <p:cNvPr id="64" name="文本框 63">
              <a:extLst>
                <a:ext uri="{FF2B5EF4-FFF2-40B4-BE49-F238E27FC236}">
                  <a16:creationId xmlns:a16="http://schemas.microsoft.com/office/drawing/2014/main" id="{A3019CB3-3D90-43AD-95AF-47BF0865B465}"/>
                </a:ext>
              </a:extLst>
            </p:cNvPr>
            <p:cNvSpPr txBox="1"/>
            <p:nvPr/>
          </p:nvSpPr>
          <p:spPr>
            <a:xfrm>
              <a:off x="7492663" y="2678011"/>
              <a:ext cx="4242138" cy="442035"/>
            </a:xfrm>
            <a:prstGeom prst="rect">
              <a:avLst/>
            </a:prstGeom>
            <a:noFill/>
          </p:spPr>
          <p:txBody>
            <a:bodyPr wrap="square" lIns="36000" tIns="36000" rIns="36000" bIns="36000" rtlCol="0">
              <a:spAutoFit/>
            </a:bodyPr>
            <a:lstStyle/>
            <a:p>
              <a:r>
                <a:rPr lang="en-US" altLang="zh-CN" sz="1200" b="1" dirty="0">
                  <a:solidFill>
                    <a:schemeClr val="accent4">
                      <a:lumMod val="75000"/>
                    </a:schemeClr>
                  </a:solidFill>
                </a:rPr>
                <a:t>Short-term: </a:t>
              </a:r>
              <a:r>
                <a:rPr lang="en-US" altLang="zh-CN" sz="1200" dirty="0">
                  <a:solidFill>
                    <a:schemeClr val="accent4">
                      <a:lumMod val="75000"/>
                    </a:schemeClr>
                  </a:solidFill>
                </a:rPr>
                <a:t>Other transportations are on the ground</a:t>
              </a:r>
              <a:endParaRPr lang="en-US" altLang="zh-CN" sz="1200" b="1" dirty="0">
                <a:solidFill>
                  <a:schemeClr val="accent4">
                    <a:lumMod val="75000"/>
                  </a:schemeClr>
                </a:solidFill>
              </a:endParaRPr>
            </a:p>
            <a:p>
              <a:r>
                <a:rPr lang="en-US" altLang="zh-CN" sz="1200" b="1" dirty="0"/>
                <a:t>Long-term: </a:t>
              </a:r>
              <a:r>
                <a:rPr lang="en-US" altLang="zh-CN" sz="1200" dirty="0"/>
                <a:t>Spacecrafts and inventions may take the market</a:t>
              </a:r>
              <a:endParaRPr lang="en-US" altLang="zh-CN" sz="1200" b="1" dirty="0"/>
            </a:p>
          </p:txBody>
        </p:sp>
      </p:grpSp>
      <p:grpSp>
        <p:nvGrpSpPr>
          <p:cNvPr id="81" name="组合 80">
            <a:extLst>
              <a:ext uri="{FF2B5EF4-FFF2-40B4-BE49-F238E27FC236}">
                <a16:creationId xmlns:a16="http://schemas.microsoft.com/office/drawing/2014/main" id="{DEF80B94-28A8-4511-8C94-88C21D1BCAB1}"/>
              </a:ext>
            </a:extLst>
          </p:cNvPr>
          <p:cNvGrpSpPr/>
          <p:nvPr/>
        </p:nvGrpSpPr>
        <p:grpSpPr>
          <a:xfrm>
            <a:off x="6827240" y="1525706"/>
            <a:ext cx="5590471" cy="396875"/>
            <a:chOff x="438854" y="1725652"/>
            <a:chExt cx="5590471" cy="396875"/>
          </a:xfrm>
        </p:grpSpPr>
        <p:sp>
          <p:nvSpPr>
            <p:cNvPr id="82" name="Rectangle 4">
              <a:extLst>
                <a:ext uri="{FF2B5EF4-FFF2-40B4-BE49-F238E27FC236}">
                  <a16:creationId xmlns:a16="http://schemas.microsoft.com/office/drawing/2014/main" id="{7D3C20C8-8C3F-48FB-8C93-4E75DE9CC03F}"/>
                </a:ext>
              </a:extLst>
            </p:cNvPr>
            <p:cNvSpPr/>
            <p:nvPr/>
          </p:nvSpPr>
          <p:spPr>
            <a:xfrm>
              <a:off x="822621" y="1725652"/>
              <a:ext cx="4555172"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600" b="1" dirty="0">
                  <a:solidFill>
                    <a:prstClr val="black"/>
                  </a:solidFill>
                  <a:latin typeface="Calibri" panose="020F0502020204030204" pitchFamily="34" charset="0"/>
                  <a:cs typeface="Calibri" panose="020F0502020204030204" pitchFamily="34" charset="0"/>
                </a:rPr>
                <a:t>Porter’s Industry Analysis</a:t>
              </a:r>
            </a:p>
          </p:txBody>
        </p:sp>
        <p:cxnSp>
          <p:nvCxnSpPr>
            <p:cNvPr id="83" name="Straight Connector 6">
              <a:extLst>
                <a:ext uri="{FF2B5EF4-FFF2-40B4-BE49-F238E27FC236}">
                  <a16:creationId xmlns:a16="http://schemas.microsoft.com/office/drawing/2014/main" id="{4AF8BF14-8B5B-48AC-AEA4-1266328E0DBC}"/>
                </a:ext>
              </a:extLst>
            </p:cNvPr>
            <p:cNvCxnSpPr>
              <a:cxnSpLocks/>
            </p:cNvCxnSpPr>
            <p:nvPr/>
          </p:nvCxnSpPr>
          <p:spPr>
            <a:xfrm>
              <a:off x="457853" y="2106777"/>
              <a:ext cx="55714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Rectangle 34">
              <a:extLst>
                <a:ext uri="{FF2B5EF4-FFF2-40B4-BE49-F238E27FC236}">
                  <a16:creationId xmlns:a16="http://schemas.microsoft.com/office/drawing/2014/main" id="{D54F2B63-66BD-4414-8F1A-10907BC49997}"/>
                </a:ext>
              </a:extLst>
            </p:cNvPr>
            <p:cNvSpPr/>
            <p:nvPr/>
          </p:nvSpPr>
          <p:spPr>
            <a:xfrm>
              <a:off x="438854" y="1763224"/>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700" b="1" dirty="0">
                  <a:solidFill>
                    <a:srgbClr val="FFFFFF"/>
                  </a:solidFill>
                  <a:latin typeface="Calibri" panose="020F0502020204030204" pitchFamily="34" charset="0"/>
                  <a:cs typeface="Calibri" panose="020F0502020204030204" pitchFamily="34" charset="0"/>
                </a:rPr>
                <a:t>2</a:t>
              </a:r>
              <a:endParaRPr lang="zh-CN" altLang="en-US" sz="1700" b="1" dirty="0">
                <a:solidFill>
                  <a:srgbClr val="FFFFFF"/>
                </a:solidFill>
                <a:latin typeface="Calibri" panose="020F0502020204030204" pitchFamily="34" charset="0"/>
                <a:cs typeface="Calibri" panose="020F0502020204030204" pitchFamily="34" charset="0"/>
              </a:endParaRPr>
            </a:p>
          </p:txBody>
        </p:sp>
      </p:grpSp>
      <p:grpSp>
        <p:nvGrpSpPr>
          <p:cNvPr id="85" name="组合 84">
            <a:extLst>
              <a:ext uri="{FF2B5EF4-FFF2-40B4-BE49-F238E27FC236}">
                <a16:creationId xmlns:a16="http://schemas.microsoft.com/office/drawing/2014/main" id="{A54E289A-8B7B-49C8-ACC0-DB0894660A23}"/>
              </a:ext>
            </a:extLst>
          </p:cNvPr>
          <p:cNvGrpSpPr/>
          <p:nvPr/>
        </p:nvGrpSpPr>
        <p:grpSpPr>
          <a:xfrm>
            <a:off x="10456508" y="1635466"/>
            <a:ext cx="1900109" cy="206842"/>
            <a:chOff x="4461716" y="1780485"/>
            <a:chExt cx="1900109" cy="206842"/>
          </a:xfrm>
        </p:grpSpPr>
        <p:sp>
          <p:nvSpPr>
            <p:cNvPr id="86" name="矩形 85">
              <a:extLst>
                <a:ext uri="{FF2B5EF4-FFF2-40B4-BE49-F238E27FC236}">
                  <a16:creationId xmlns:a16="http://schemas.microsoft.com/office/drawing/2014/main" id="{0A704B5A-F710-448A-93CA-EAEF6CCC4F7A}"/>
                </a:ext>
              </a:extLst>
            </p:cNvPr>
            <p:cNvSpPr/>
            <p:nvPr/>
          </p:nvSpPr>
          <p:spPr>
            <a:xfrm>
              <a:off x="4461716" y="1790346"/>
              <a:ext cx="268941" cy="196981"/>
            </a:xfrm>
            <a:prstGeom prst="rect">
              <a:avLst/>
            </a:prstGeom>
            <a:solidFill>
              <a:srgbClr val="D4950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87" name="文本框 86">
              <a:extLst>
                <a:ext uri="{FF2B5EF4-FFF2-40B4-BE49-F238E27FC236}">
                  <a16:creationId xmlns:a16="http://schemas.microsoft.com/office/drawing/2014/main" id="{1DE81C86-E320-47EE-B21B-4E3DF631576B}"/>
                </a:ext>
              </a:extLst>
            </p:cNvPr>
            <p:cNvSpPr txBox="1"/>
            <p:nvPr/>
          </p:nvSpPr>
          <p:spPr>
            <a:xfrm>
              <a:off x="4827477" y="1808535"/>
              <a:ext cx="1094550" cy="138499"/>
            </a:xfrm>
            <a:prstGeom prst="rect">
              <a:avLst/>
            </a:prstGeom>
            <a:noFill/>
          </p:spPr>
          <p:txBody>
            <a:bodyPr wrap="square" lIns="0" tIns="0" rIns="0" bIns="0" rtlCol="0">
              <a:spAutoFit/>
            </a:bodyPr>
            <a:lstStyle/>
            <a:p>
              <a:r>
                <a:rPr kumimoji="1" lang="en-US" altLang="zh-CN" sz="900" dirty="0">
                  <a:solidFill>
                    <a:schemeClr val="accent4">
                      <a:lumMod val="75000"/>
                    </a:schemeClr>
                  </a:solidFill>
                  <a:latin typeface="Calibri" panose="020F0502020204030204" pitchFamily="34" charset="0"/>
                  <a:cs typeface="Calibri" panose="020F0502020204030204" pitchFamily="34" charset="0"/>
                </a:rPr>
                <a:t>Positive</a:t>
              </a:r>
              <a:endParaRPr kumimoji="1" lang="zh-CN" altLang="en-US" sz="900" dirty="0" err="1">
                <a:solidFill>
                  <a:schemeClr val="accent4">
                    <a:lumMod val="75000"/>
                  </a:schemeClr>
                </a:solidFill>
                <a:latin typeface="Calibri" panose="020F0502020204030204" pitchFamily="34" charset="0"/>
                <a:cs typeface="Calibri" panose="020F0502020204030204" pitchFamily="34" charset="0"/>
              </a:endParaRPr>
            </a:p>
          </p:txBody>
        </p:sp>
        <p:sp>
          <p:nvSpPr>
            <p:cNvPr id="88" name="矩形 87">
              <a:extLst>
                <a:ext uri="{FF2B5EF4-FFF2-40B4-BE49-F238E27FC236}">
                  <a16:creationId xmlns:a16="http://schemas.microsoft.com/office/drawing/2014/main" id="{57B3DB48-349D-46F7-B203-219781941B22}"/>
                </a:ext>
              </a:extLst>
            </p:cNvPr>
            <p:cNvSpPr/>
            <p:nvPr/>
          </p:nvSpPr>
          <p:spPr>
            <a:xfrm>
              <a:off x="5417915" y="1780485"/>
              <a:ext cx="268941" cy="196981"/>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89" name="文本框 88">
              <a:extLst>
                <a:ext uri="{FF2B5EF4-FFF2-40B4-BE49-F238E27FC236}">
                  <a16:creationId xmlns:a16="http://schemas.microsoft.com/office/drawing/2014/main" id="{EA8B7084-C36D-4D41-9EEA-189436B7220E}"/>
                </a:ext>
              </a:extLst>
            </p:cNvPr>
            <p:cNvSpPr txBox="1"/>
            <p:nvPr/>
          </p:nvSpPr>
          <p:spPr>
            <a:xfrm>
              <a:off x="5770976" y="1812800"/>
              <a:ext cx="590849"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Negative</a:t>
              </a:r>
              <a:endParaRPr kumimoji="1" lang="zh-CN" altLang="en-US" sz="900" dirty="0" err="1">
                <a:latin typeface="Calibri" panose="020F0502020204030204" pitchFamily="34" charset="0"/>
                <a:cs typeface="Calibri" panose="020F0502020204030204" pitchFamily="34" charset="0"/>
              </a:endParaRPr>
            </a:p>
          </p:txBody>
        </p:sp>
      </p:grpSp>
      <p:sp>
        <p:nvSpPr>
          <p:cNvPr id="90" name="标题 1">
            <a:extLst>
              <a:ext uri="{FF2B5EF4-FFF2-40B4-BE49-F238E27FC236}">
                <a16:creationId xmlns:a16="http://schemas.microsoft.com/office/drawing/2014/main" id="{606462E9-5455-6347-AEBE-21408F188C69}"/>
              </a:ext>
            </a:extLst>
          </p:cNvPr>
          <p:cNvSpPr txBox="1">
            <a:spLocks/>
          </p:cNvSpPr>
          <p:nvPr/>
        </p:nvSpPr>
        <p:spPr>
          <a:xfrm>
            <a:off x="588004" y="394564"/>
            <a:ext cx="11675762" cy="878857"/>
          </a:xfrm>
          <a:prstGeom prst="rect">
            <a:avLst/>
          </a:prstGeom>
        </p:spPr>
        <p:txBody>
          <a:bodyPr anchor="ctr"/>
          <a:lst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a:lstStyle>
          <a:p>
            <a:r>
              <a:rPr kumimoji="1" lang="en-US" altLang="zh-CN" sz="2800" dirty="0"/>
              <a:t>Appendix: AAL</a:t>
            </a:r>
            <a:endParaRPr kumimoji="1" lang="zh-CN" altLang="en-US" sz="2800" dirty="0"/>
          </a:p>
        </p:txBody>
      </p:sp>
      <p:sp>
        <p:nvSpPr>
          <p:cNvPr id="91" name="TextBox 58">
            <a:extLst>
              <a:ext uri="{FF2B5EF4-FFF2-40B4-BE49-F238E27FC236}">
                <a16:creationId xmlns:a16="http://schemas.microsoft.com/office/drawing/2014/main" id="{FF09D5E6-9999-994B-9DF7-F815BE3DDD7C}"/>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Appendix: Company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Modeling</a:t>
            </a:r>
            <a:endParaRPr lang="zh-CN" altLang="en-US" sz="1600" dirty="0">
              <a:solidFill>
                <a:schemeClr val="accent6"/>
              </a:solidFill>
              <a:latin typeface="Calibri" panose="020F0502020204030204" pitchFamily="34" charset="0"/>
              <a:cs typeface="Calibri" panose="020F0502020204030204" pitchFamily="34" charset="0"/>
            </a:endParaRPr>
          </a:p>
        </p:txBody>
      </p:sp>
      <p:sp>
        <p:nvSpPr>
          <p:cNvPr id="92" name="矩形 91">
            <a:extLst>
              <a:ext uri="{FF2B5EF4-FFF2-40B4-BE49-F238E27FC236}">
                <a16:creationId xmlns:a16="http://schemas.microsoft.com/office/drawing/2014/main" id="{1E24F127-0994-004A-AF41-A8F9C3CD294A}"/>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Tree>
    <p:extLst>
      <p:ext uri="{BB962C8B-B14F-4D97-AF65-F5344CB8AC3E}">
        <p14:creationId xmlns:p14="http://schemas.microsoft.com/office/powerpoint/2010/main" val="3121702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91588843-3640-D740-AED9-F19BCDD60DD2}"/>
              </a:ext>
            </a:extLst>
          </p:cNvPr>
          <p:cNvSpPr>
            <a:spLocks noGrp="1"/>
          </p:cNvSpPr>
          <p:nvPr>
            <p:ph type="ftr" sz="quarter" idx="11"/>
          </p:nvPr>
        </p:nvSpPr>
        <p:spPr/>
        <p:txBody>
          <a:bodyPr/>
          <a:lstStyle/>
          <a:p>
            <a:endParaRPr lang="zh-CN" altLang="en-US"/>
          </a:p>
        </p:txBody>
      </p:sp>
      <p:sp>
        <p:nvSpPr>
          <p:cNvPr id="6" name="Rectangle 33">
            <a:extLst>
              <a:ext uri="{FF2B5EF4-FFF2-40B4-BE49-F238E27FC236}">
                <a16:creationId xmlns:a16="http://schemas.microsoft.com/office/drawing/2014/main" id="{D6BEC66B-5486-DF43-A674-B39F74F8A9EA}"/>
              </a:ext>
            </a:extLst>
          </p:cNvPr>
          <p:cNvSpPr/>
          <p:nvPr/>
        </p:nvSpPr>
        <p:spPr>
          <a:xfrm>
            <a:off x="1118789" y="1602902"/>
            <a:ext cx="3749373"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600" b="1" dirty="0">
                <a:solidFill>
                  <a:prstClr val="black"/>
                </a:solidFill>
                <a:latin typeface="Calibri" panose="020F0502020204030204" pitchFamily="34" charset="0"/>
                <a:cs typeface="Calibri" panose="020F0502020204030204" pitchFamily="34" charset="0"/>
              </a:rPr>
              <a:t>SWOT Analysis </a:t>
            </a:r>
          </a:p>
        </p:txBody>
      </p:sp>
      <p:sp>
        <p:nvSpPr>
          <p:cNvPr id="11" name="矩形 10">
            <a:extLst>
              <a:ext uri="{FF2B5EF4-FFF2-40B4-BE49-F238E27FC236}">
                <a16:creationId xmlns:a16="http://schemas.microsoft.com/office/drawing/2014/main" id="{3CAA8A4D-581C-A04B-90E9-5C6AA87EB7E7}"/>
              </a:ext>
            </a:extLst>
          </p:cNvPr>
          <p:cNvSpPr/>
          <p:nvPr/>
        </p:nvSpPr>
        <p:spPr>
          <a:xfrm>
            <a:off x="775015" y="2461796"/>
            <a:ext cx="4260060" cy="768894"/>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 name="矩形 11">
            <a:extLst>
              <a:ext uri="{FF2B5EF4-FFF2-40B4-BE49-F238E27FC236}">
                <a16:creationId xmlns:a16="http://schemas.microsoft.com/office/drawing/2014/main" id="{2D48C860-A1A4-7945-976C-DBD0E6B49CC9}"/>
              </a:ext>
            </a:extLst>
          </p:cNvPr>
          <p:cNvSpPr/>
          <p:nvPr/>
        </p:nvSpPr>
        <p:spPr>
          <a:xfrm>
            <a:off x="775015" y="3579188"/>
            <a:ext cx="4260060" cy="768894"/>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3" name="矩形 12">
            <a:extLst>
              <a:ext uri="{FF2B5EF4-FFF2-40B4-BE49-F238E27FC236}">
                <a16:creationId xmlns:a16="http://schemas.microsoft.com/office/drawing/2014/main" id="{84B34F23-358C-8148-91E8-505BFCF8A001}"/>
              </a:ext>
            </a:extLst>
          </p:cNvPr>
          <p:cNvSpPr/>
          <p:nvPr/>
        </p:nvSpPr>
        <p:spPr>
          <a:xfrm>
            <a:off x="775015" y="4705918"/>
            <a:ext cx="4260060" cy="768894"/>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4" name="矩形 13">
            <a:extLst>
              <a:ext uri="{FF2B5EF4-FFF2-40B4-BE49-F238E27FC236}">
                <a16:creationId xmlns:a16="http://schemas.microsoft.com/office/drawing/2014/main" id="{56564B09-173B-1B44-93D3-7E47A1874F7A}"/>
              </a:ext>
            </a:extLst>
          </p:cNvPr>
          <p:cNvSpPr/>
          <p:nvPr/>
        </p:nvSpPr>
        <p:spPr>
          <a:xfrm>
            <a:off x="775015" y="5813564"/>
            <a:ext cx="4260060" cy="768894"/>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5" name="Rectangle 34">
            <a:extLst>
              <a:ext uri="{FF2B5EF4-FFF2-40B4-BE49-F238E27FC236}">
                <a16:creationId xmlns:a16="http://schemas.microsoft.com/office/drawing/2014/main" id="{EF797BC2-FECA-8D4A-8DCF-D7B0B42D7064}"/>
              </a:ext>
            </a:extLst>
          </p:cNvPr>
          <p:cNvSpPr/>
          <p:nvPr/>
        </p:nvSpPr>
        <p:spPr>
          <a:xfrm>
            <a:off x="754022" y="1616142"/>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cxnSp>
        <p:nvCxnSpPr>
          <p:cNvPr id="16" name="Straight Connector 57">
            <a:extLst>
              <a:ext uri="{FF2B5EF4-FFF2-40B4-BE49-F238E27FC236}">
                <a16:creationId xmlns:a16="http://schemas.microsoft.com/office/drawing/2014/main" id="{40D68628-DFED-9042-A861-4528787FA19C}"/>
              </a:ext>
            </a:extLst>
          </p:cNvPr>
          <p:cNvCxnSpPr>
            <a:cxnSpLocks/>
          </p:cNvCxnSpPr>
          <p:nvPr/>
        </p:nvCxnSpPr>
        <p:spPr>
          <a:xfrm>
            <a:off x="773021" y="1959695"/>
            <a:ext cx="426205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body-building_94085">
            <a:extLst>
              <a:ext uri="{FF2B5EF4-FFF2-40B4-BE49-F238E27FC236}">
                <a16:creationId xmlns:a16="http://schemas.microsoft.com/office/drawing/2014/main" id="{B812F872-3E9C-0644-A48D-835A5DDCB927}"/>
              </a:ext>
            </a:extLst>
          </p:cNvPr>
          <p:cNvSpPr/>
          <p:nvPr/>
        </p:nvSpPr>
        <p:spPr>
          <a:xfrm>
            <a:off x="874314" y="2619932"/>
            <a:ext cx="525647" cy="455675"/>
          </a:xfrm>
          <a:custGeom>
            <a:avLst/>
            <a:gdLst>
              <a:gd name="T0" fmla="*/ 5302 w 5476"/>
              <a:gd name="T1" fmla="*/ 2027 h 5163"/>
              <a:gd name="T2" fmla="*/ 4757 w 5476"/>
              <a:gd name="T3" fmla="*/ 272 h 5163"/>
              <a:gd name="T4" fmla="*/ 4334 w 5476"/>
              <a:gd name="T5" fmla="*/ 3 h 5163"/>
              <a:gd name="T6" fmla="*/ 2780 w 5476"/>
              <a:gd name="T7" fmla="*/ 27 h 5163"/>
              <a:gd name="T8" fmla="*/ 2370 w 5476"/>
              <a:gd name="T9" fmla="*/ 266 h 5163"/>
              <a:gd name="T10" fmla="*/ 2393 w 5476"/>
              <a:gd name="T11" fmla="*/ 791 h 5163"/>
              <a:gd name="T12" fmla="*/ 2748 w 5476"/>
              <a:gd name="T13" fmla="*/ 1292 h 5163"/>
              <a:gd name="T14" fmla="*/ 3297 w 5476"/>
              <a:gd name="T15" fmla="*/ 1451 h 5163"/>
              <a:gd name="T16" fmla="*/ 3799 w 5476"/>
              <a:gd name="T17" fmla="*/ 1245 h 5163"/>
              <a:gd name="T18" fmla="*/ 3726 w 5476"/>
              <a:gd name="T19" fmla="*/ 1652 h 5163"/>
              <a:gd name="T20" fmla="*/ 3449 w 5476"/>
              <a:gd name="T21" fmla="*/ 2676 h 5163"/>
              <a:gd name="T22" fmla="*/ 3094 w 5476"/>
              <a:gd name="T23" fmla="*/ 2478 h 5163"/>
              <a:gd name="T24" fmla="*/ 2291 w 5476"/>
              <a:gd name="T25" fmla="*/ 2348 h 5163"/>
              <a:gd name="T26" fmla="*/ 2119 w 5476"/>
              <a:gd name="T27" fmla="*/ 2371 h 5163"/>
              <a:gd name="T28" fmla="*/ 894 w 5476"/>
              <a:gd name="T29" fmla="*/ 1322 h 5163"/>
              <a:gd name="T30" fmla="*/ 64 w 5476"/>
              <a:gd name="T31" fmla="*/ 1385 h 5163"/>
              <a:gd name="T32" fmla="*/ 14 w 5476"/>
              <a:gd name="T33" fmla="*/ 1487 h 5163"/>
              <a:gd name="T34" fmla="*/ 116 w 5476"/>
              <a:gd name="T35" fmla="*/ 1537 h 5163"/>
              <a:gd name="T36" fmla="*/ 877 w 5476"/>
              <a:gd name="T37" fmla="*/ 1481 h 5163"/>
              <a:gd name="T38" fmla="*/ 1961 w 5476"/>
              <a:gd name="T39" fmla="*/ 2408 h 5163"/>
              <a:gd name="T40" fmla="*/ 1496 w 5476"/>
              <a:gd name="T41" fmla="*/ 2616 h 5163"/>
              <a:gd name="T42" fmla="*/ 1477 w 5476"/>
              <a:gd name="T43" fmla="*/ 2727 h 5163"/>
              <a:gd name="T44" fmla="*/ 1589 w 5476"/>
              <a:gd name="T45" fmla="*/ 2747 h 5163"/>
              <a:gd name="T46" fmla="*/ 2305 w 5476"/>
              <a:gd name="T47" fmla="*/ 2507 h 5163"/>
              <a:gd name="T48" fmla="*/ 3032 w 5476"/>
              <a:gd name="T49" fmla="*/ 2625 h 5163"/>
              <a:gd name="T50" fmla="*/ 3865 w 5476"/>
              <a:gd name="T51" fmla="*/ 3286 h 5163"/>
              <a:gd name="T52" fmla="*/ 3927 w 5476"/>
              <a:gd name="T53" fmla="*/ 3315 h 5163"/>
              <a:gd name="T54" fmla="*/ 3977 w 5476"/>
              <a:gd name="T55" fmla="*/ 3297 h 5163"/>
              <a:gd name="T56" fmla="*/ 3988 w 5476"/>
              <a:gd name="T57" fmla="*/ 3185 h 5163"/>
              <a:gd name="T58" fmla="*/ 3612 w 5476"/>
              <a:gd name="T59" fmla="*/ 2801 h 5163"/>
              <a:gd name="T60" fmla="*/ 3611 w 5476"/>
              <a:gd name="T61" fmla="*/ 2789 h 5163"/>
              <a:gd name="T62" fmla="*/ 3866 w 5476"/>
              <a:gd name="T63" fmla="*/ 1729 h 5163"/>
              <a:gd name="T64" fmla="*/ 3950 w 5476"/>
              <a:gd name="T65" fmla="*/ 1183 h 5163"/>
              <a:gd name="T66" fmla="*/ 4196 w 5476"/>
              <a:gd name="T67" fmla="*/ 1083 h 5163"/>
              <a:gd name="T68" fmla="*/ 4239 w 5476"/>
              <a:gd name="T69" fmla="*/ 979 h 5163"/>
              <a:gd name="T70" fmla="*/ 4135 w 5476"/>
              <a:gd name="T71" fmla="*/ 935 h 5163"/>
              <a:gd name="T72" fmla="*/ 3236 w 5476"/>
              <a:gd name="T73" fmla="*/ 1303 h 5163"/>
              <a:gd name="T74" fmla="*/ 2878 w 5476"/>
              <a:gd name="T75" fmla="*/ 1199 h 5163"/>
              <a:gd name="T76" fmla="*/ 2523 w 5476"/>
              <a:gd name="T77" fmla="*/ 698 h 5163"/>
              <a:gd name="T78" fmla="*/ 2508 w 5476"/>
              <a:gd name="T79" fmla="*/ 347 h 5163"/>
              <a:gd name="T80" fmla="*/ 2783 w 5476"/>
              <a:gd name="T81" fmla="*/ 187 h 5163"/>
              <a:gd name="T82" fmla="*/ 4336 w 5476"/>
              <a:gd name="T83" fmla="*/ 163 h 5163"/>
              <a:gd name="T84" fmla="*/ 4611 w 5476"/>
              <a:gd name="T85" fmla="*/ 337 h 5163"/>
              <a:gd name="T86" fmla="*/ 5144 w 5476"/>
              <a:gd name="T87" fmla="*/ 2056 h 5163"/>
              <a:gd name="T88" fmla="*/ 5014 w 5476"/>
              <a:gd name="T89" fmla="*/ 4548 h 5163"/>
              <a:gd name="T90" fmla="*/ 2795 w 5476"/>
              <a:gd name="T91" fmla="*/ 4997 h 5163"/>
              <a:gd name="T92" fmla="*/ 1592 w 5476"/>
              <a:gd name="T93" fmla="*/ 4663 h 5163"/>
              <a:gd name="T94" fmla="*/ 530 w 5476"/>
              <a:gd name="T95" fmla="*/ 3673 h 5163"/>
              <a:gd name="T96" fmla="*/ 877 w 5476"/>
              <a:gd name="T97" fmla="*/ 3624 h 5163"/>
              <a:gd name="T98" fmla="*/ 962 w 5476"/>
              <a:gd name="T99" fmla="*/ 3550 h 5163"/>
              <a:gd name="T100" fmla="*/ 888 w 5476"/>
              <a:gd name="T101" fmla="*/ 3465 h 5163"/>
              <a:gd name="T102" fmla="*/ 543 w 5476"/>
              <a:gd name="T103" fmla="*/ 3501 h 5163"/>
              <a:gd name="T104" fmla="*/ 64 w 5476"/>
              <a:gd name="T105" fmla="*/ 3916 h 5163"/>
              <a:gd name="T106" fmla="*/ 116 w 5476"/>
              <a:gd name="T107" fmla="*/ 4016 h 5163"/>
              <a:gd name="T108" fmla="*/ 140 w 5476"/>
              <a:gd name="T109" fmla="*/ 4020 h 5163"/>
              <a:gd name="T110" fmla="*/ 216 w 5476"/>
              <a:gd name="T111" fmla="*/ 3964 h 5163"/>
              <a:gd name="T112" fmla="*/ 384 w 5476"/>
              <a:gd name="T113" fmla="*/ 3744 h 5163"/>
              <a:gd name="T114" fmla="*/ 2786 w 5476"/>
              <a:gd name="T115" fmla="*/ 5157 h 5163"/>
              <a:gd name="T116" fmla="*/ 2992 w 5476"/>
              <a:gd name="T117" fmla="*/ 5163 h 5163"/>
              <a:gd name="T118" fmla="*/ 5108 w 5476"/>
              <a:gd name="T119" fmla="*/ 4683 h 5163"/>
              <a:gd name="T120" fmla="*/ 5153 w 5476"/>
              <a:gd name="T121" fmla="*/ 4636 h 5163"/>
              <a:gd name="T122" fmla="*/ 5302 w 5476"/>
              <a:gd name="T123" fmla="*/ 2027 h 5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6" h="5163">
                <a:moveTo>
                  <a:pt x="5302" y="2027"/>
                </a:moveTo>
                <a:cubicBezTo>
                  <a:pt x="5159" y="1238"/>
                  <a:pt x="4899" y="589"/>
                  <a:pt x="4757" y="272"/>
                </a:cubicBezTo>
                <a:cubicBezTo>
                  <a:pt x="4682" y="105"/>
                  <a:pt x="4516" y="0"/>
                  <a:pt x="4334" y="3"/>
                </a:cubicBezTo>
                <a:lnTo>
                  <a:pt x="2780" y="27"/>
                </a:lnTo>
                <a:cubicBezTo>
                  <a:pt x="2612" y="30"/>
                  <a:pt x="2455" y="121"/>
                  <a:pt x="2370" y="266"/>
                </a:cubicBezTo>
                <a:cubicBezTo>
                  <a:pt x="2274" y="430"/>
                  <a:pt x="2283" y="636"/>
                  <a:pt x="2393" y="791"/>
                </a:cubicBezTo>
                <a:lnTo>
                  <a:pt x="2748" y="1292"/>
                </a:lnTo>
                <a:cubicBezTo>
                  <a:pt x="2872" y="1467"/>
                  <a:pt x="3098" y="1533"/>
                  <a:pt x="3297" y="1451"/>
                </a:cubicBezTo>
                <a:lnTo>
                  <a:pt x="3799" y="1245"/>
                </a:lnTo>
                <a:cubicBezTo>
                  <a:pt x="3822" y="1386"/>
                  <a:pt x="3798" y="1522"/>
                  <a:pt x="3726" y="1652"/>
                </a:cubicBezTo>
                <a:cubicBezTo>
                  <a:pt x="3547" y="1976"/>
                  <a:pt x="3452" y="2327"/>
                  <a:pt x="3449" y="2676"/>
                </a:cubicBezTo>
                <a:cubicBezTo>
                  <a:pt x="3334" y="2596"/>
                  <a:pt x="3215" y="2530"/>
                  <a:pt x="3094" y="2478"/>
                </a:cubicBezTo>
                <a:cubicBezTo>
                  <a:pt x="2836" y="2368"/>
                  <a:pt x="2566" y="2325"/>
                  <a:pt x="2291" y="2348"/>
                </a:cubicBezTo>
                <a:cubicBezTo>
                  <a:pt x="2231" y="2353"/>
                  <a:pt x="2174" y="2361"/>
                  <a:pt x="2119" y="2371"/>
                </a:cubicBezTo>
                <a:cubicBezTo>
                  <a:pt x="1829" y="1613"/>
                  <a:pt x="1296" y="1382"/>
                  <a:pt x="894" y="1322"/>
                </a:cubicBezTo>
                <a:cubicBezTo>
                  <a:pt x="451" y="1257"/>
                  <a:pt x="80" y="1380"/>
                  <a:pt x="64" y="1385"/>
                </a:cubicBezTo>
                <a:cubicBezTo>
                  <a:pt x="22" y="1400"/>
                  <a:pt x="0" y="1445"/>
                  <a:pt x="14" y="1487"/>
                </a:cubicBezTo>
                <a:cubicBezTo>
                  <a:pt x="28" y="1529"/>
                  <a:pt x="74" y="1551"/>
                  <a:pt x="116" y="1537"/>
                </a:cubicBezTo>
                <a:cubicBezTo>
                  <a:pt x="119" y="1536"/>
                  <a:pt x="471" y="1420"/>
                  <a:pt x="877" y="1481"/>
                </a:cubicBezTo>
                <a:cubicBezTo>
                  <a:pt x="1386" y="1559"/>
                  <a:pt x="1750" y="1871"/>
                  <a:pt x="1961" y="2408"/>
                </a:cubicBezTo>
                <a:cubicBezTo>
                  <a:pt x="1681" y="2487"/>
                  <a:pt x="1506" y="2609"/>
                  <a:pt x="1496" y="2616"/>
                </a:cubicBezTo>
                <a:cubicBezTo>
                  <a:pt x="1460" y="2641"/>
                  <a:pt x="1452" y="2691"/>
                  <a:pt x="1477" y="2727"/>
                </a:cubicBezTo>
                <a:cubicBezTo>
                  <a:pt x="1502" y="2764"/>
                  <a:pt x="1552" y="2772"/>
                  <a:pt x="1589" y="2747"/>
                </a:cubicBezTo>
                <a:cubicBezTo>
                  <a:pt x="1591" y="2745"/>
                  <a:pt x="1881" y="2544"/>
                  <a:pt x="2305" y="2507"/>
                </a:cubicBezTo>
                <a:cubicBezTo>
                  <a:pt x="2553" y="2486"/>
                  <a:pt x="2798" y="2526"/>
                  <a:pt x="3032" y="2625"/>
                </a:cubicBezTo>
                <a:cubicBezTo>
                  <a:pt x="3327" y="2751"/>
                  <a:pt x="3608" y="2973"/>
                  <a:pt x="3865" y="3286"/>
                </a:cubicBezTo>
                <a:cubicBezTo>
                  <a:pt x="3881" y="3305"/>
                  <a:pt x="3904" y="3315"/>
                  <a:pt x="3927" y="3315"/>
                </a:cubicBezTo>
                <a:cubicBezTo>
                  <a:pt x="3945" y="3315"/>
                  <a:pt x="3963" y="3309"/>
                  <a:pt x="3977" y="3297"/>
                </a:cubicBezTo>
                <a:cubicBezTo>
                  <a:pt x="4012" y="3269"/>
                  <a:pt x="4016" y="3219"/>
                  <a:pt x="3988" y="3185"/>
                </a:cubicBezTo>
                <a:cubicBezTo>
                  <a:pt x="3868" y="3038"/>
                  <a:pt x="3742" y="2910"/>
                  <a:pt x="3612" y="2801"/>
                </a:cubicBezTo>
                <a:lnTo>
                  <a:pt x="3611" y="2789"/>
                </a:lnTo>
                <a:cubicBezTo>
                  <a:pt x="3593" y="2431"/>
                  <a:pt x="3681" y="2064"/>
                  <a:pt x="3866" y="1729"/>
                </a:cubicBezTo>
                <a:cubicBezTo>
                  <a:pt x="3962" y="1556"/>
                  <a:pt x="3990" y="1372"/>
                  <a:pt x="3950" y="1183"/>
                </a:cubicBezTo>
                <a:lnTo>
                  <a:pt x="4196" y="1083"/>
                </a:lnTo>
                <a:cubicBezTo>
                  <a:pt x="4237" y="1066"/>
                  <a:pt x="4256" y="1020"/>
                  <a:pt x="4239" y="979"/>
                </a:cubicBezTo>
                <a:cubicBezTo>
                  <a:pt x="4223" y="938"/>
                  <a:pt x="4176" y="918"/>
                  <a:pt x="4135" y="935"/>
                </a:cubicBezTo>
                <a:lnTo>
                  <a:pt x="3236" y="1303"/>
                </a:lnTo>
                <a:cubicBezTo>
                  <a:pt x="3106" y="1356"/>
                  <a:pt x="2959" y="1313"/>
                  <a:pt x="2878" y="1199"/>
                </a:cubicBezTo>
                <a:lnTo>
                  <a:pt x="2523" y="698"/>
                </a:lnTo>
                <a:cubicBezTo>
                  <a:pt x="2450" y="594"/>
                  <a:pt x="2444" y="457"/>
                  <a:pt x="2508" y="347"/>
                </a:cubicBezTo>
                <a:cubicBezTo>
                  <a:pt x="2565" y="250"/>
                  <a:pt x="2670" y="189"/>
                  <a:pt x="2783" y="187"/>
                </a:cubicBezTo>
                <a:lnTo>
                  <a:pt x="4336" y="163"/>
                </a:lnTo>
                <a:cubicBezTo>
                  <a:pt x="4455" y="161"/>
                  <a:pt x="4563" y="229"/>
                  <a:pt x="4611" y="337"/>
                </a:cubicBezTo>
                <a:cubicBezTo>
                  <a:pt x="4750" y="648"/>
                  <a:pt x="5005" y="1283"/>
                  <a:pt x="5144" y="2056"/>
                </a:cubicBezTo>
                <a:cubicBezTo>
                  <a:pt x="5311" y="2978"/>
                  <a:pt x="5267" y="3817"/>
                  <a:pt x="5014" y="4548"/>
                </a:cubicBezTo>
                <a:cubicBezTo>
                  <a:pt x="4168" y="4887"/>
                  <a:pt x="3442" y="5034"/>
                  <a:pt x="2795" y="4997"/>
                </a:cubicBezTo>
                <a:cubicBezTo>
                  <a:pt x="2356" y="4972"/>
                  <a:pt x="1951" y="4860"/>
                  <a:pt x="1592" y="4663"/>
                </a:cubicBezTo>
                <a:cubicBezTo>
                  <a:pt x="1188" y="4443"/>
                  <a:pt x="831" y="4109"/>
                  <a:pt x="530" y="3673"/>
                </a:cubicBezTo>
                <a:cubicBezTo>
                  <a:pt x="701" y="3614"/>
                  <a:pt x="874" y="3624"/>
                  <a:pt x="877" y="3624"/>
                </a:cubicBezTo>
                <a:cubicBezTo>
                  <a:pt x="921" y="3627"/>
                  <a:pt x="959" y="3594"/>
                  <a:pt x="962" y="3550"/>
                </a:cubicBezTo>
                <a:cubicBezTo>
                  <a:pt x="965" y="3506"/>
                  <a:pt x="932" y="3468"/>
                  <a:pt x="888" y="3465"/>
                </a:cubicBezTo>
                <a:cubicBezTo>
                  <a:pt x="881" y="3464"/>
                  <a:pt x="722" y="3454"/>
                  <a:pt x="543" y="3501"/>
                </a:cubicBezTo>
                <a:cubicBezTo>
                  <a:pt x="295" y="3566"/>
                  <a:pt x="129" y="3710"/>
                  <a:pt x="64" y="3916"/>
                </a:cubicBezTo>
                <a:cubicBezTo>
                  <a:pt x="50" y="3958"/>
                  <a:pt x="74" y="4003"/>
                  <a:pt x="116" y="4016"/>
                </a:cubicBezTo>
                <a:cubicBezTo>
                  <a:pt x="124" y="4019"/>
                  <a:pt x="132" y="4020"/>
                  <a:pt x="140" y="4020"/>
                </a:cubicBezTo>
                <a:cubicBezTo>
                  <a:pt x="174" y="4020"/>
                  <a:pt x="206" y="3998"/>
                  <a:pt x="216" y="3964"/>
                </a:cubicBezTo>
                <a:cubicBezTo>
                  <a:pt x="248" y="3864"/>
                  <a:pt x="310" y="3794"/>
                  <a:pt x="384" y="3744"/>
                </a:cubicBezTo>
                <a:cubicBezTo>
                  <a:pt x="985" y="4625"/>
                  <a:pt x="1793" y="5100"/>
                  <a:pt x="2786" y="5157"/>
                </a:cubicBezTo>
                <a:cubicBezTo>
                  <a:pt x="2854" y="5161"/>
                  <a:pt x="2922" y="5163"/>
                  <a:pt x="2992" y="5163"/>
                </a:cubicBezTo>
                <a:cubicBezTo>
                  <a:pt x="3618" y="5163"/>
                  <a:pt x="4313" y="5005"/>
                  <a:pt x="5108" y="4683"/>
                </a:cubicBezTo>
                <a:cubicBezTo>
                  <a:pt x="5129" y="4675"/>
                  <a:pt x="5145" y="4657"/>
                  <a:pt x="5153" y="4636"/>
                </a:cubicBezTo>
                <a:cubicBezTo>
                  <a:pt x="5426" y="3870"/>
                  <a:pt x="5476" y="2992"/>
                  <a:pt x="5302" y="20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occer-referee-calling-foul_16312">
            <a:extLst>
              <a:ext uri="{FF2B5EF4-FFF2-40B4-BE49-F238E27FC236}">
                <a16:creationId xmlns:a16="http://schemas.microsoft.com/office/drawing/2014/main" id="{DEA4792C-5C99-EE49-93AB-26FBA807EB87}"/>
              </a:ext>
            </a:extLst>
          </p:cNvPr>
          <p:cNvSpPr/>
          <p:nvPr/>
        </p:nvSpPr>
        <p:spPr>
          <a:xfrm>
            <a:off x="874314" y="5956227"/>
            <a:ext cx="525647" cy="483568"/>
          </a:xfrm>
          <a:custGeom>
            <a:avLst/>
            <a:gdLst>
              <a:gd name="connsiteX0" fmla="*/ 562951 w 606016"/>
              <a:gd name="connsiteY0" fmla="*/ 456465 h 605451"/>
              <a:gd name="connsiteX1" fmla="*/ 562951 w 606016"/>
              <a:gd name="connsiteY1" fmla="*/ 585776 h 605451"/>
              <a:gd name="connsiteX2" fmla="*/ 586318 w 606016"/>
              <a:gd name="connsiteY2" fmla="*/ 585776 h 605451"/>
              <a:gd name="connsiteX3" fmla="*/ 586318 w 606016"/>
              <a:gd name="connsiteY3" fmla="*/ 526752 h 605451"/>
              <a:gd name="connsiteX4" fmla="*/ 562951 w 606016"/>
              <a:gd name="connsiteY4" fmla="*/ 456465 h 605451"/>
              <a:gd name="connsiteX5" fmla="*/ 391100 w 606016"/>
              <a:gd name="connsiteY5" fmla="*/ 454836 h 605451"/>
              <a:gd name="connsiteX6" fmla="*/ 356050 w 606016"/>
              <a:gd name="connsiteY6" fmla="*/ 459857 h 605451"/>
              <a:gd name="connsiteX7" fmla="*/ 356050 w 606016"/>
              <a:gd name="connsiteY7" fmla="*/ 585776 h 605451"/>
              <a:gd name="connsiteX8" fmla="*/ 391100 w 606016"/>
              <a:gd name="connsiteY8" fmla="*/ 585776 h 605451"/>
              <a:gd name="connsiteX9" fmla="*/ 287038 w 606016"/>
              <a:gd name="connsiteY9" fmla="*/ 454565 h 605451"/>
              <a:gd name="connsiteX10" fmla="*/ 287038 w 606016"/>
              <a:gd name="connsiteY10" fmla="*/ 585776 h 605451"/>
              <a:gd name="connsiteX11" fmla="*/ 322223 w 606016"/>
              <a:gd name="connsiteY11" fmla="*/ 585776 h 605451"/>
              <a:gd name="connsiteX12" fmla="*/ 322223 w 606016"/>
              <a:gd name="connsiteY12" fmla="*/ 459857 h 605451"/>
              <a:gd name="connsiteX13" fmla="*/ 287038 w 606016"/>
              <a:gd name="connsiteY13" fmla="*/ 454565 h 605451"/>
              <a:gd name="connsiteX14" fmla="*/ 493939 w 606016"/>
              <a:gd name="connsiteY14" fmla="*/ 411552 h 605451"/>
              <a:gd name="connsiteX15" fmla="*/ 493939 w 606016"/>
              <a:gd name="connsiteY15" fmla="*/ 585776 h 605451"/>
              <a:gd name="connsiteX16" fmla="*/ 529124 w 606016"/>
              <a:gd name="connsiteY16" fmla="*/ 585776 h 605451"/>
              <a:gd name="connsiteX17" fmla="*/ 529124 w 606016"/>
              <a:gd name="connsiteY17" fmla="*/ 425663 h 605451"/>
              <a:gd name="connsiteX18" fmla="*/ 493939 w 606016"/>
              <a:gd name="connsiteY18" fmla="*/ 411552 h 605451"/>
              <a:gd name="connsiteX19" fmla="*/ 433214 w 606016"/>
              <a:gd name="connsiteY19" fmla="*/ 408702 h 605451"/>
              <a:gd name="connsiteX20" fmla="*/ 424112 w 606016"/>
              <a:gd name="connsiteY20" fmla="*/ 433940 h 605451"/>
              <a:gd name="connsiteX21" fmla="*/ 425063 w 606016"/>
              <a:gd name="connsiteY21" fmla="*/ 433940 h 605451"/>
              <a:gd name="connsiteX22" fmla="*/ 425063 w 606016"/>
              <a:gd name="connsiteY22" fmla="*/ 585776 h 605451"/>
              <a:gd name="connsiteX23" fmla="*/ 460112 w 606016"/>
              <a:gd name="connsiteY23" fmla="*/ 585776 h 605451"/>
              <a:gd name="connsiteX24" fmla="*/ 460112 w 606016"/>
              <a:gd name="connsiteY24" fmla="*/ 408702 h 605451"/>
              <a:gd name="connsiteX25" fmla="*/ 218161 w 606016"/>
              <a:gd name="connsiteY25" fmla="*/ 408702 h 605451"/>
              <a:gd name="connsiteX26" fmla="*/ 218161 w 606016"/>
              <a:gd name="connsiteY26" fmla="*/ 585776 h 605451"/>
              <a:gd name="connsiteX27" fmla="*/ 253211 w 606016"/>
              <a:gd name="connsiteY27" fmla="*/ 585776 h 605451"/>
              <a:gd name="connsiteX28" fmla="*/ 253211 w 606016"/>
              <a:gd name="connsiteY28" fmla="*/ 431769 h 605451"/>
              <a:gd name="connsiteX29" fmla="*/ 253483 w 606016"/>
              <a:gd name="connsiteY29" fmla="*/ 431769 h 605451"/>
              <a:gd name="connsiteX30" fmla="*/ 245739 w 606016"/>
              <a:gd name="connsiteY30" fmla="*/ 408702 h 605451"/>
              <a:gd name="connsiteX31" fmla="*/ 211912 w 606016"/>
              <a:gd name="connsiteY31" fmla="*/ 389027 h 605451"/>
              <a:gd name="connsiteX32" fmla="*/ 245739 w 606016"/>
              <a:gd name="connsiteY32" fmla="*/ 389027 h 605451"/>
              <a:gd name="connsiteX33" fmla="*/ 263264 w 606016"/>
              <a:gd name="connsiteY33" fmla="*/ 389027 h 605451"/>
              <a:gd name="connsiteX34" fmla="*/ 265302 w 606016"/>
              <a:gd name="connsiteY34" fmla="*/ 406395 h 605451"/>
              <a:gd name="connsiteX35" fmla="*/ 339476 w 606016"/>
              <a:gd name="connsiteY35" fmla="*/ 440589 h 605451"/>
              <a:gd name="connsiteX36" fmla="*/ 391100 w 606016"/>
              <a:gd name="connsiteY36" fmla="*/ 434076 h 605451"/>
              <a:gd name="connsiteX37" fmla="*/ 391100 w 606016"/>
              <a:gd name="connsiteY37" fmla="*/ 433940 h 605451"/>
              <a:gd name="connsiteX38" fmla="*/ 391643 w 606016"/>
              <a:gd name="connsiteY38" fmla="*/ 433940 h 605451"/>
              <a:gd name="connsiteX39" fmla="*/ 413651 w 606016"/>
              <a:gd name="connsiteY39" fmla="*/ 406395 h 605451"/>
              <a:gd name="connsiteX40" fmla="*/ 415689 w 606016"/>
              <a:gd name="connsiteY40" fmla="*/ 389027 h 605451"/>
              <a:gd name="connsiteX41" fmla="*/ 433349 w 606016"/>
              <a:gd name="connsiteY41" fmla="*/ 389027 h 605451"/>
              <a:gd name="connsiteX42" fmla="*/ 468127 w 606016"/>
              <a:gd name="connsiteY42" fmla="*/ 389027 h 605451"/>
              <a:gd name="connsiteX43" fmla="*/ 606016 w 606016"/>
              <a:gd name="connsiteY43" fmla="*/ 526752 h 605451"/>
              <a:gd name="connsiteX44" fmla="*/ 606016 w 606016"/>
              <a:gd name="connsiteY44" fmla="*/ 585776 h 605451"/>
              <a:gd name="connsiteX45" fmla="*/ 606016 w 606016"/>
              <a:gd name="connsiteY45" fmla="*/ 605451 h 605451"/>
              <a:gd name="connsiteX46" fmla="*/ 586318 w 606016"/>
              <a:gd name="connsiteY46" fmla="*/ 605451 h 605451"/>
              <a:gd name="connsiteX47" fmla="*/ 93722 w 606016"/>
              <a:gd name="connsiteY47" fmla="*/ 605451 h 605451"/>
              <a:gd name="connsiteX48" fmla="*/ 74023 w 606016"/>
              <a:gd name="connsiteY48" fmla="*/ 605451 h 605451"/>
              <a:gd name="connsiteX49" fmla="*/ 74023 w 606016"/>
              <a:gd name="connsiteY49" fmla="*/ 585776 h 605451"/>
              <a:gd name="connsiteX50" fmla="*/ 74023 w 606016"/>
              <a:gd name="connsiteY50" fmla="*/ 526752 h 605451"/>
              <a:gd name="connsiteX51" fmla="*/ 79050 w 606016"/>
              <a:gd name="connsiteY51" fmla="*/ 490251 h 605451"/>
              <a:gd name="connsiteX52" fmla="*/ 89782 w 606016"/>
              <a:gd name="connsiteY52" fmla="*/ 488352 h 605451"/>
              <a:gd name="connsiteX53" fmla="*/ 101058 w 606016"/>
              <a:gd name="connsiteY53" fmla="*/ 486316 h 605451"/>
              <a:gd name="connsiteX54" fmla="*/ 93722 w 606016"/>
              <a:gd name="connsiteY54" fmla="*/ 526752 h 605451"/>
              <a:gd name="connsiteX55" fmla="*/ 93722 w 606016"/>
              <a:gd name="connsiteY55" fmla="*/ 585776 h 605451"/>
              <a:gd name="connsiteX56" fmla="*/ 115322 w 606016"/>
              <a:gd name="connsiteY56" fmla="*/ 585776 h 605451"/>
              <a:gd name="connsiteX57" fmla="*/ 115322 w 606016"/>
              <a:gd name="connsiteY57" fmla="*/ 483738 h 605451"/>
              <a:gd name="connsiteX58" fmla="*/ 149149 w 606016"/>
              <a:gd name="connsiteY58" fmla="*/ 477496 h 605451"/>
              <a:gd name="connsiteX59" fmla="*/ 149149 w 606016"/>
              <a:gd name="connsiteY59" fmla="*/ 585776 h 605451"/>
              <a:gd name="connsiteX60" fmla="*/ 184199 w 606016"/>
              <a:gd name="connsiteY60" fmla="*/ 585776 h 605451"/>
              <a:gd name="connsiteX61" fmla="*/ 184199 w 606016"/>
              <a:gd name="connsiteY61" fmla="*/ 471119 h 605451"/>
              <a:gd name="connsiteX62" fmla="*/ 196697 w 606016"/>
              <a:gd name="connsiteY62" fmla="*/ 468948 h 605451"/>
              <a:gd name="connsiteX63" fmla="*/ 186372 w 606016"/>
              <a:gd name="connsiteY63" fmla="*/ 411552 h 605451"/>
              <a:gd name="connsiteX64" fmla="*/ 184606 w 606016"/>
              <a:gd name="connsiteY64" fmla="*/ 401918 h 605451"/>
              <a:gd name="connsiteX65" fmla="*/ 184334 w 606016"/>
              <a:gd name="connsiteY65" fmla="*/ 400968 h 605451"/>
              <a:gd name="connsiteX66" fmla="*/ 182840 w 606016"/>
              <a:gd name="connsiteY66" fmla="*/ 392148 h 605451"/>
              <a:gd name="connsiteX67" fmla="*/ 211912 w 606016"/>
              <a:gd name="connsiteY67" fmla="*/ 389027 h 605451"/>
              <a:gd name="connsiteX68" fmla="*/ 113303 w 606016"/>
              <a:gd name="connsiteY68" fmla="*/ 310768 h 605451"/>
              <a:gd name="connsiteX69" fmla="*/ 89664 w 606016"/>
              <a:gd name="connsiteY69" fmla="*/ 344956 h 605451"/>
              <a:gd name="connsiteX70" fmla="*/ 55429 w 606016"/>
              <a:gd name="connsiteY70" fmla="*/ 321215 h 605451"/>
              <a:gd name="connsiteX71" fmla="*/ 36817 w 606016"/>
              <a:gd name="connsiteY71" fmla="*/ 348076 h 605451"/>
              <a:gd name="connsiteX72" fmla="*/ 71052 w 606016"/>
              <a:gd name="connsiteY72" fmla="*/ 371681 h 605451"/>
              <a:gd name="connsiteX73" fmla="*/ 47277 w 606016"/>
              <a:gd name="connsiteY73" fmla="*/ 406004 h 605451"/>
              <a:gd name="connsiteX74" fmla="*/ 74177 w 606016"/>
              <a:gd name="connsiteY74" fmla="*/ 424454 h 605451"/>
              <a:gd name="connsiteX75" fmla="*/ 97815 w 606016"/>
              <a:gd name="connsiteY75" fmla="*/ 390267 h 605451"/>
              <a:gd name="connsiteX76" fmla="*/ 132050 w 606016"/>
              <a:gd name="connsiteY76" fmla="*/ 414008 h 605451"/>
              <a:gd name="connsiteX77" fmla="*/ 150662 w 606016"/>
              <a:gd name="connsiteY77" fmla="*/ 387282 h 605451"/>
              <a:gd name="connsiteX78" fmla="*/ 116427 w 606016"/>
              <a:gd name="connsiteY78" fmla="*/ 363541 h 605451"/>
              <a:gd name="connsiteX79" fmla="*/ 140202 w 606016"/>
              <a:gd name="connsiteY79" fmla="*/ 329354 h 605451"/>
              <a:gd name="connsiteX80" fmla="*/ 340983 w 606016"/>
              <a:gd name="connsiteY80" fmla="*/ 267876 h 605451"/>
              <a:gd name="connsiteX81" fmla="*/ 284065 w 606016"/>
              <a:gd name="connsiteY81" fmla="*/ 284493 h 605451"/>
              <a:gd name="connsiteX82" fmla="*/ 297106 w 606016"/>
              <a:gd name="connsiteY82" fmla="*/ 303891 h 605451"/>
              <a:gd name="connsiteX83" fmla="*/ 381736 w 606016"/>
              <a:gd name="connsiteY83" fmla="*/ 303891 h 605451"/>
              <a:gd name="connsiteX84" fmla="*/ 397086 w 606016"/>
              <a:gd name="connsiteY84" fmla="*/ 286257 h 605451"/>
              <a:gd name="connsiteX85" fmla="*/ 340983 w 606016"/>
              <a:gd name="connsiteY85" fmla="*/ 267876 h 605451"/>
              <a:gd name="connsiteX86" fmla="*/ 146451 w 606016"/>
              <a:gd name="connsiteY86" fmla="*/ 247685 h 605451"/>
              <a:gd name="connsiteX87" fmla="*/ 173214 w 606016"/>
              <a:gd name="connsiteY87" fmla="*/ 394608 h 605451"/>
              <a:gd name="connsiteX88" fmla="*/ 174980 w 606016"/>
              <a:gd name="connsiteY88" fmla="*/ 404376 h 605451"/>
              <a:gd name="connsiteX89" fmla="*/ 176746 w 606016"/>
              <a:gd name="connsiteY89" fmla="*/ 414008 h 605451"/>
              <a:gd name="connsiteX90" fmla="*/ 184218 w 606016"/>
              <a:gd name="connsiteY90" fmla="*/ 455249 h 605451"/>
              <a:gd name="connsiteX91" fmla="*/ 185305 w 606016"/>
              <a:gd name="connsiteY91" fmla="*/ 460947 h 605451"/>
              <a:gd name="connsiteX92" fmla="*/ 184218 w 606016"/>
              <a:gd name="connsiteY92" fmla="*/ 461219 h 605451"/>
              <a:gd name="connsiteX93" fmla="*/ 149168 w 606016"/>
              <a:gd name="connsiteY93" fmla="*/ 467595 h 605451"/>
              <a:gd name="connsiteX94" fmla="*/ 115340 w 606016"/>
              <a:gd name="connsiteY94" fmla="*/ 473700 h 605451"/>
              <a:gd name="connsiteX95" fmla="*/ 105559 w 606016"/>
              <a:gd name="connsiteY95" fmla="*/ 475463 h 605451"/>
              <a:gd name="connsiteX96" fmla="*/ 93740 w 606016"/>
              <a:gd name="connsiteY96" fmla="*/ 477634 h 605451"/>
              <a:gd name="connsiteX97" fmla="*/ 82464 w 606016"/>
              <a:gd name="connsiteY97" fmla="*/ 479669 h 605451"/>
              <a:gd name="connsiteX98" fmla="*/ 38855 w 606016"/>
              <a:gd name="connsiteY98" fmla="*/ 487537 h 605451"/>
              <a:gd name="connsiteX99" fmla="*/ 0 w 606016"/>
              <a:gd name="connsiteY99" fmla="*/ 274275 h 605451"/>
              <a:gd name="connsiteX100" fmla="*/ 401704 w 606016"/>
              <a:gd name="connsiteY100" fmla="*/ 190217 h 605451"/>
              <a:gd name="connsiteX101" fmla="*/ 379426 w 606016"/>
              <a:gd name="connsiteY101" fmla="*/ 212463 h 605451"/>
              <a:gd name="connsiteX102" fmla="*/ 401704 w 606016"/>
              <a:gd name="connsiteY102" fmla="*/ 234710 h 605451"/>
              <a:gd name="connsiteX103" fmla="*/ 423983 w 606016"/>
              <a:gd name="connsiteY103" fmla="*/ 212463 h 605451"/>
              <a:gd name="connsiteX104" fmla="*/ 401704 w 606016"/>
              <a:gd name="connsiteY104" fmla="*/ 190217 h 605451"/>
              <a:gd name="connsiteX105" fmla="*/ 284201 w 606016"/>
              <a:gd name="connsiteY105" fmla="*/ 190217 h 605451"/>
              <a:gd name="connsiteX106" fmla="*/ 261923 w 606016"/>
              <a:gd name="connsiteY106" fmla="*/ 212463 h 605451"/>
              <a:gd name="connsiteX107" fmla="*/ 284201 w 606016"/>
              <a:gd name="connsiteY107" fmla="*/ 234710 h 605451"/>
              <a:gd name="connsiteX108" fmla="*/ 306479 w 606016"/>
              <a:gd name="connsiteY108" fmla="*/ 212463 h 605451"/>
              <a:gd name="connsiteX109" fmla="*/ 284201 w 606016"/>
              <a:gd name="connsiteY109" fmla="*/ 190217 h 605451"/>
              <a:gd name="connsiteX110" fmla="*/ 392603 w 606016"/>
              <a:gd name="connsiteY110" fmla="*/ 107471 h 605451"/>
              <a:gd name="connsiteX111" fmla="*/ 445989 w 606016"/>
              <a:gd name="connsiteY111" fmla="*/ 137178 h 605451"/>
              <a:gd name="connsiteX112" fmla="*/ 469082 w 606016"/>
              <a:gd name="connsiteY112" fmla="*/ 281509 h 605451"/>
              <a:gd name="connsiteX113" fmla="*/ 463513 w 606016"/>
              <a:gd name="connsiteY113" fmla="*/ 315014 h 605451"/>
              <a:gd name="connsiteX114" fmla="*/ 340983 w 606016"/>
              <a:gd name="connsiteY114" fmla="*/ 367646 h 605451"/>
              <a:gd name="connsiteX115" fmla="*/ 198077 w 606016"/>
              <a:gd name="connsiteY115" fmla="*/ 288563 h 605451"/>
              <a:gd name="connsiteX116" fmla="*/ 199572 w 606016"/>
              <a:gd name="connsiteY116" fmla="*/ 270928 h 605451"/>
              <a:gd name="connsiteX117" fmla="*/ 207858 w 606016"/>
              <a:gd name="connsiteY117" fmla="*/ 174346 h 605451"/>
              <a:gd name="connsiteX118" fmla="*/ 392603 w 606016"/>
              <a:gd name="connsiteY118" fmla="*/ 107471 h 605451"/>
              <a:gd name="connsiteX119" fmla="*/ 333216 w 606016"/>
              <a:gd name="connsiteY119" fmla="*/ 0 h 605451"/>
              <a:gd name="connsiteX120" fmla="*/ 478853 w 606016"/>
              <a:gd name="connsiteY120" fmla="*/ 65113 h 605451"/>
              <a:gd name="connsiteX121" fmla="*/ 509557 w 606016"/>
              <a:gd name="connsiteY121" fmla="*/ 114491 h 605451"/>
              <a:gd name="connsiteX122" fmla="*/ 518659 w 606016"/>
              <a:gd name="connsiteY122" fmla="*/ 179062 h 605451"/>
              <a:gd name="connsiteX123" fmla="*/ 507112 w 606016"/>
              <a:gd name="connsiteY123" fmla="*/ 229932 h 605451"/>
              <a:gd name="connsiteX124" fmla="*/ 478853 w 606016"/>
              <a:gd name="connsiteY124" fmla="*/ 283108 h 605451"/>
              <a:gd name="connsiteX125" fmla="*/ 389732 w 606016"/>
              <a:gd name="connsiteY125" fmla="*/ 97263 h 605451"/>
              <a:gd name="connsiteX126" fmla="*/ 198719 w 606016"/>
              <a:gd name="connsiteY126" fmla="*/ 165361 h 605451"/>
              <a:gd name="connsiteX127" fmla="*/ 189752 w 606016"/>
              <a:gd name="connsiteY127" fmla="*/ 269950 h 605451"/>
              <a:gd name="connsiteX128" fmla="*/ 178884 w 606016"/>
              <a:gd name="connsiteY128" fmla="*/ 246346 h 605451"/>
              <a:gd name="connsiteX129" fmla="*/ 165570 w 606016"/>
              <a:gd name="connsiteY129" fmla="*/ 164411 h 605451"/>
              <a:gd name="connsiteX130" fmla="*/ 175216 w 606016"/>
              <a:gd name="connsiteY130" fmla="*/ 108929 h 605451"/>
              <a:gd name="connsiteX131" fmla="*/ 202794 w 606016"/>
              <a:gd name="connsiteY131" fmla="*/ 51412 h 605451"/>
              <a:gd name="connsiteX132" fmla="*/ 333216 w 606016"/>
              <a:gd name="connsiteY132" fmla="*/ 0 h 60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606016" h="605451">
                <a:moveTo>
                  <a:pt x="562951" y="456465"/>
                </a:moveTo>
                <a:lnTo>
                  <a:pt x="562951" y="585776"/>
                </a:lnTo>
                <a:lnTo>
                  <a:pt x="586318" y="585776"/>
                </a:lnTo>
                <a:lnTo>
                  <a:pt x="586318" y="526752"/>
                </a:lnTo>
                <a:cubicBezTo>
                  <a:pt x="586318" y="500428"/>
                  <a:pt x="577623" y="476140"/>
                  <a:pt x="562951" y="456465"/>
                </a:cubicBezTo>
                <a:close/>
                <a:moveTo>
                  <a:pt x="391100" y="454836"/>
                </a:moveTo>
                <a:cubicBezTo>
                  <a:pt x="380639" y="457686"/>
                  <a:pt x="368820" y="459314"/>
                  <a:pt x="356050" y="459857"/>
                </a:cubicBezTo>
                <a:lnTo>
                  <a:pt x="356050" y="585776"/>
                </a:lnTo>
                <a:lnTo>
                  <a:pt x="391100" y="585776"/>
                </a:lnTo>
                <a:close/>
                <a:moveTo>
                  <a:pt x="287038" y="454565"/>
                </a:moveTo>
                <a:lnTo>
                  <a:pt x="287038" y="585776"/>
                </a:lnTo>
                <a:lnTo>
                  <a:pt x="322223" y="585776"/>
                </a:lnTo>
                <a:lnTo>
                  <a:pt x="322223" y="459857"/>
                </a:lnTo>
                <a:cubicBezTo>
                  <a:pt x="309317" y="459178"/>
                  <a:pt x="297498" y="457550"/>
                  <a:pt x="287038" y="454565"/>
                </a:cubicBezTo>
                <a:close/>
                <a:moveTo>
                  <a:pt x="493939" y="411552"/>
                </a:moveTo>
                <a:lnTo>
                  <a:pt x="493939" y="585776"/>
                </a:lnTo>
                <a:lnTo>
                  <a:pt x="529124" y="585776"/>
                </a:lnTo>
                <a:lnTo>
                  <a:pt x="529124" y="425663"/>
                </a:lnTo>
                <a:cubicBezTo>
                  <a:pt x="518392" y="419286"/>
                  <a:pt x="506573" y="414401"/>
                  <a:pt x="493939" y="411552"/>
                </a:cubicBezTo>
                <a:close/>
                <a:moveTo>
                  <a:pt x="433214" y="408702"/>
                </a:moveTo>
                <a:cubicBezTo>
                  <a:pt x="432127" y="418879"/>
                  <a:pt x="428866" y="427156"/>
                  <a:pt x="424112" y="433940"/>
                </a:cubicBezTo>
                <a:lnTo>
                  <a:pt x="425063" y="433940"/>
                </a:lnTo>
                <a:lnTo>
                  <a:pt x="425063" y="585776"/>
                </a:lnTo>
                <a:lnTo>
                  <a:pt x="460112" y="585776"/>
                </a:lnTo>
                <a:lnTo>
                  <a:pt x="460112" y="408702"/>
                </a:lnTo>
                <a:close/>
                <a:moveTo>
                  <a:pt x="218161" y="408702"/>
                </a:moveTo>
                <a:lnTo>
                  <a:pt x="218161" y="585776"/>
                </a:lnTo>
                <a:lnTo>
                  <a:pt x="253211" y="585776"/>
                </a:lnTo>
                <a:lnTo>
                  <a:pt x="253211" y="431769"/>
                </a:lnTo>
                <a:lnTo>
                  <a:pt x="253483" y="431769"/>
                </a:lnTo>
                <a:cubicBezTo>
                  <a:pt x="249543" y="425392"/>
                  <a:pt x="246826" y="417929"/>
                  <a:pt x="245739" y="408702"/>
                </a:cubicBezTo>
                <a:close/>
                <a:moveTo>
                  <a:pt x="211912" y="389027"/>
                </a:moveTo>
                <a:lnTo>
                  <a:pt x="245739" y="389027"/>
                </a:lnTo>
                <a:lnTo>
                  <a:pt x="263264" y="389027"/>
                </a:lnTo>
                <a:lnTo>
                  <a:pt x="265302" y="406395"/>
                </a:lnTo>
                <a:cubicBezTo>
                  <a:pt x="267204" y="422950"/>
                  <a:pt x="274675" y="440589"/>
                  <a:pt x="339476" y="440589"/>
                </a:cubicBezTo>
                <a:cubicBezTo>
                  <a:pt x="363930" y="440589"/>
                  <a:pt x="380232" y="438147"/>
                  <a:pt x="391100" y="434076"/>
                </a:cubicBezTo>
                <a:lnTo>
                  <a:pt x="391100" y="433940"/>
                </a:lnTo>
                <a:lnTo>
                  <a:pt x="391643" y="433940"/>
                </a:lnTo>
                <a:cubicBezTo>
                  <a:pt x="409168" y="427292"/>
                  <a:pt x="412564" y="416572"/>
                  <a:pt x="413651" y="406395"/>
                </a:cubicBezTo>
                <a:lnTo>
                  <a:pt x="415689" y="389027"/>
                </a:lnTo>
                <a:lnTo>
                  <a:pt x="433349" y="389027"/>
                </a:lnTo>
                <a:lnTo>
                  <a:pt x="468127" y="389027"/>
                </a:lnTo>
                <a:cubicBezTo>
                  <a:pt x="544204" y="389027"/>
                  <a:pt x="606016" y="450766"/>
                  <a:pt x="606016" y="526752"/>
                </a:cubicBezTo>
                <a:lnTo>
                  <a:pt x="606016" y="585776"/>
                </a:lnTo>
                <a:lnTo>
                  <a:pt x="606016" y="605451"/>
                </a:lnTo>
                <a:lnTo>
                  <a:pt x="586318" y="605451"/>
                </a:lnTo>
                <a:lnTo>
                  <a:pt x="93722" y="605451"/>
                </a:lnTo>
                <a:lnTo>
                  <a:pt x="74023" y="605451"/>
                </a:lnTo>
                <a:lnTo>
                  <a:pt x="74023" y="585776"/>
                </a:lnTo>
                <a:lnTo>
                  <a:pt x="74023" y="526752"/>
                </a:lnTo>
                <a:cubicBezTo>
                  <a:pt x="74023" y="514133"/>
                  <a:pt x="75925" y="501921"/>
                  <a:pt x="79050" y="490251"/>
                </a:cubicBezTo>
                <a:lnTo>
                  <a:pt x="89782" y="488352"/>
                </a:lnTo>
                <a:lnTo>
                  <a:pt x="101058" y="486316"/>
                </a:lnTo>
                <a:cubicBezTo>
                  <a:pt x="96439" y="498935"/>
                  <a:pt x="93722" y="512504"/>
                  <a:pt x="93722" y="526752"/>
                </a:cubicBezTo>
                <a:lnTo>
                  <a:pt x="93722" y="585776"/>
                </a:lnTo>
                <a:lnTo>
                  <a:pt x="115322" y="585776"/>
                </a:lnTo>
                <a:lnTo>
                  <a:pt x="115322" y="483738"/>
                </a:lnTo>
                <a:lnTo>
                  <a:pt x="149149" y="477496"/>
                </a:lnTo>
                <a:lnTo>
                  <a:pt x="149149" y="585776"/>
                </a:lnTo>
                <a:lnTo>
                  <a:pt x="184199" y="585776"/>
                </a:lnTo>
                <a:lnTo>
                  <a:pt x="184199" y="471119"/>
                </a:lnTo>
                <a:lnTo>
                  <a:pt x="196697" y="468948"/>
                </a:lnTo>
                <a:lnTo>
                  <a:pt x="186372" y="411552"/>
                </a:lnTo>
                <a:lnTo>
                  <a:pt x="184606" y="401918"/>
                </a:lnTo>
                <a:lnTo>
                  <a:pt x="184334" y="400968"/>
                </a:lnTo>
                <a:lnTo>
                  <a:pt x="182840" y="392148"/>
                </a:lnTo>
                <a:cubicBezTo>
                  <a:pt x="192214" y="390113"/>
                  <a:pt x="201995" y="389027"/>
                  <a:pt x="211912" y="389027"/>
                </a:cubicBezTo>
                <a:close/>
                <a:moveTo>
                  <a:pt x="113303" y="310768"/>
                </a:moveTo>
                <a:lnTo>
                  <a:pt x="89664" y="344956"/>
                </a:lnTo>
                <a:lnTo>
                  <a:pt x="55429" y="321215"/>
                </a:lnTo>
                <a:lnTo>
                  <a:pt x="36817" y="348076"/>
                </a:lnTo>
                <a:lnTo>
                  <a:pt x="71052" y="371681"/>
                </a:lnTo>
                <a:lnTo>
                  <a:pt x="47277" y="406004"/>
                </a:lnTo>
                <a:lnTo>
                  <a:pt x="74177" y="424454"/>
                </a:lnTo>
                <a:lnTo>
                  <a:pt x="97815" y="390267"/>
                </a:lnTo>
                <a:lnTo>
                  <a:pt x="132050" y="414008"/>
                </a:lnTo>
                <a:lnTo>
                  <a:pt x="150662" y="387282"/>
                </a:lnTo>
                <a:lnTo>
                  <a:pt x="116427" y="363541"/>
                </a:lnTo>
                <a:lnTo>
                  <a:pt x="140202" y="329354"/>
                </a:lnTo>
                <a:close/>
                <a:moveTo>
                  <a:pt x="340983" y="267876"/>
                </a:moveTo>
                <a:cubicBezTo>
                  <a:pt x="321524" y="267673"/>
                  <a:pt x="301929" y="273302"/>
                  <a:pt x="284065" y="284493"/>
                </a:cubicBezTo>
                <a:cubicBezTo>
                  <a:pt x="271296" y="292632"/>
                  <a:pt x="284337" y="311894"/>
                  <a:pt x="297106" y="303891"/>
                </a:cubicBezTo>
                <a:cubicBezTo>
                  <a:pt x="323188" y="287478"/>
                  <a:pt x="355926" y="285714"/>
                  <a:pt x="381736" y="303891"/>
                </a:cubicBezTo>
                <a:cubicBezTo>
                  <a:pt x="393961" y="312301"/>
                  <a:pt x="409447" y="294938"/>
                  <a:pt x="397086" y="286257"/>
                </a:cubicBezTo>
                <a:cubicBezTo>
                  <a:pt x="379766" y="274116"/>
                  <a:pt x="360442" y="268080"/>
                  <a:pt x="340983" y="267876"/>
                </a:cubicBezTo>
                <a:close/>
                <a:moveTo>
                  <a:pt x="146451" y="247685"/>
                </a:moveTo>
                <a:lnTo>
                  <a:pt x="173214" y="394608"/>
                </a:lnTo>
                <a:lnTo>
                  <a:pt x="174980" y="404376"/>
                </a:lnTo>
                <a:lnTo>
                  <a:pt x="176746" y="414008"/>
                </a:lnTo>
                <a:lnTo>
                  <a:pt x="184218" y="455249"/>
                </a:lnTo>
                <a:lnTo>
                  <a:pt x="185305" y="460947"/>
                </a:lnTo>
                <a:lnTo>
                  <a:pt x="184218" y="461219"/>
                </a:lnTo>
                <a:lnTo>
                  <a:pt x="149168" y="467595"/>
                </a:lnTo>
                <a:lnTo>
                  <a:pt x="115340" y="473700"/>
                </a:lnTo>
                <a:lnTo>
                  <a:pt x="105559" y="475463"/>
                </a:lnTo>
                <a:lnTo>
                  <a:pt x="93740" y="477634"/>
                </a:lnTo>
                <a:lnTo>
                  <a:pt x="82464" y="479669"/>
                </a:lnTo>
                <a:lnTo>
                  <a:pt x="38855" y="487537"/>
                </a:lnTo>
                <a:lnTo>
                  <a:pt x="0" y="274275"/>
                </a:lnTo>
                <a:close/>
                <a:moveTo>
                  <a:pt x="401704" y="190217"/>
                </a:moveTo>
                <a:cubicBezTo>
                  <a:pt x="389343" y="190217"/>
                  <a:pt x="379426" y="200119"/>
                  <a:pt x="379426" y="212463"/>
                </a:cubicBezTo>
                <a:cubicBezTo>
                  <a:pt x="379426" y="224672"/>
                  <a:pt x="389343" y="234710"/>
                  <a:pt x="401704" y="234710"/>
                </a:cubicBezTo>
                <a:cubicBezTo>
                  <a:pt x="413930" y="234710"/>
                  <a:pt x="423983" y="224672"/>
                  <a:pt x="423983" y="212463"/>
                </a:cubicBezTo>
                <a:cubicBezTo>
                  <a:pt x="423983" y="200119"/>
                  <a:pt x="413930" y="190217"/>
                  <a:pt x="401704" y="190217"/>
                </a:cubicBezTo>
                <a:close/>
                <a:moveTo>
                  <a:pt x="284201" y="190217"/>
                </a:moveTo>
                <a:cubicBezTo>
                  <a:pt x="271839" y="190217"/>
                  <a:pt x="261923" y="200119"/>
                  <a:pt x="261923" y="212463"/>
                </a:cubicBezTo>
                <a:cubicBezTo>
                  <a:pt x="261923" y="224672"/>
                  <a:pt x="271839" y="234710"/>
                  <a:pt x="284201" y="234710"/>
                </a:cubicBezTo>
                <a:cubicBezTo>
                  <a:pt x="296427" y="234710"/>
                  <a:pt x="306479" y="224672"/>
                  <a:pt x="306479" y="212463"/>
                </a:cubicBezTo>
                <a:cubicBezTo>
                  <a:pt x="306479" y="200119"/>
                  <a:pt x="296427" y="190217"/>
                  <a:pt x="284201" y="190217"/>
                </a:cubicBezTo>
                <a:close/>
                <a:moveTo>
                  <a:pt x="392603" y="107471"/>
                </a:moveTo>
                <a:cubicBezTo>
                  <a:pt x="415424" y="110319"/>
                  <a:pt x="432812" y="120086"/>
                  <a:pt x="445989" y="137178"/>
                </a:cubicBezTo>
                <a:cubicBezTo>
                  <a:pt x="484432" y="186961"/>
                  <a:pt x="469354" y="280560"/>
                  <a:pt x="469082" y="281509"/>
                </a:cubicBezTo>
                <a:lnTo>
                  <a:pt x="463513" y="315014"/>
                </a:lnTo>
                <a:cubicBezTo>
                  <a:pt x="432676" y="347435"/>
                  <a:pt x="389343" y="367646"/>
                  <a:pt x="340983" y="367646"/>
                </a:cubicBezTo>
                <a:cubicBezTo>
                  <a:pt x="280805" y="367646"/>
                  <a:pt x="227962" y="336040"/>
                  <a:pt x="198077" y="288563"/>
                </a:cubicBezTo>
                <a:lnTo>
                  <a:pt x="199572" y="270928"/>
                </a:lnTo>
                <a:lnTo>
                  <a:pt x="207858" y="174346"/>
                </a:lnTo>
                <a:cubicBezTo>
                  <a:pt x="310419" y="162816"/>
                  <a:pt x="377253" y="118594"/>
                  <a:pt x="392603" y="107471"/>
                </a:cubicBezTo>
                <a:close/>
                <a:moveTo>
                  <a:pt x="333216" y="0"/>
                </a:moveTo>
                <a:cubicBezTo>
                  <a:pt x="406714" y="0"/>
                  <a:pt x="480348" y="27944"/>
                  <a:pt x="478853" y="65113"/>
                </a:cubicBezTo>
                <a:cubicBezTo>
                  <a:pt x="478853" y="65113"/>
                  <a:pt x="497602" y="82884"/>
                  <a:pt x="509557" y="114491"/>
                </a:cubicBezTo>
                <a:cubicBezTo>
                  <a:pt x="516078" y="131990"/>
                  <a:pt x="520561" y="153695"/>
                  <a:pt x="518659" y="179062"/>
                </a:cubicBezTo>
                <a:cubicBezTo>
                  <a:pt x="517572" y="194662"/>
                  <a:pt x="514040" y="211619"/>
                  <a:pt x="507112" y="229932"/>
                </a:cubicBezTo>
                <a:cubicBezTo>
                  <a:pt x="500726" y="246617"/>
                  <a:pt x="491624" y="264388"/>
                  <a:pt x="478853" y="283108"/>
                </a:cubicBezTo>
                <a:cubicBezTo>
                  <a:pt x="478853" y="283108"/>
                  <a:pt x="508198" y="108251"/>
                  <a:pt x="389732" y="97263"/>
                </a:cubicBezTo>
                <a:cubicBezTo>
                  <a:pt x="389732" y="97263"/>
                  <a:pt x="317049" y="154373"/>
                  <a:pt x="198719" y="165361"/>
                </a:cubicBezTo>
                <a:lnTo>
                  <a:pt x="189752" y="269950"/>
                </a:lnTo>
                <a:cubicBezTo>
                  <a:pt x="189752" y="269950"/>
                  <a:pt x="184454" y="261404"/>
                  <a:pt x="178884" y="246346"/>
                </a:cubicBezTo>
                <a:cubicBezTo>
                  <a:pt x="171955" y="227626"/>
                  <a:pt x="164347" y="198867"/>
                  <a:pt x="165570" y="164411"/>
                </a:cubicBezTo>
                <a:cubicBezTo>
                  <a:pt x="166113" y="147183"/>
                  <a:pt x="168966" y="128599"/>
                  <a:pt x="175216" y="108929"/>
                </a:cubicBezTo>
                <a:cubicBezTo>
                  <a:pt x="181058" y="90480"/>
                  <a:pt x="189888" y="71082"/>
                  <a:pt x="202794" y="51412"/>
                </a:cubicBezTo>
                <a:cubicBezTo>
                  <a:pt x="226841" y="14786"/>
                  <a:pt x="279961" y="0"/>
                  <a:pt x="33321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urn-to-right-arrow_55348">
            <a:extLst>
              <a:ext uri="{FF2B5EF4-FFF2-40B4-BE49-F238E27FC236}">
                <a16:creationId xmlns:a16="http://schemas.microsoft.com/office/drawing/2014/main" id="{3B66275E-A5AE-2C41-81F1-EF7ABE87852B}"/>
              </a:ext>
            </a:extLst>
          </p:cNvPr>
          <p:cNvSpPr>
            <a:spLocks noChangeAspect="1"/>
          </p:cNvSpPr>
          <p:nvPr/>
        </p:nvSpPr>
        <p:spPr>
          <a:xfrm>
            <a:off x="1006869" y="4820769"/>
            <a:ext cx="260536" cy="525647"/>
          </a:xfrm>
          <a:custGeom>
            <a:avLst/>
            <a:gdLst>
              <a:gd name="connsiteX0" fmla="*/ 301455 w 301455"/>
              <a:gd name="connsiteY0" fmla="*/ 84608 h 608203"/>
              <a:gd name="connsiteX1" fmla="*/ 253456 w 301455"/>
              <a:gd name="connsiteY1" fmla="*/ 263528 h 608203"/>
              <a:gd name="connsiteX2" fmla="*/ 220776 w 301455"/>
              <a:gd name="connsiteY2" fmla="*/ 230803 h 608203"/>
              <a:gd name="connsiteX3" fmla="*/ 93027 w 301455"/>
              <a:gd name="connsiteY3" fmla="*/ 358457 h 608203"/>
              <a:gd name="connsiteX4" fmla="*/ 93027 w 301455"/>
              <a:gd name="connsiteY4" fmla="*/ 608203 h 608203"/>
              <a:gd name="connsiteX5" fmla="*/ 0 w 301455"/>
              <a:gd name="connsiteY5" fmla="*/ 608203 h 608203"/>
              <a:gd name="connsiteX6" fmla="*/ 0 w 301455"/>
              <a:gd name="connsiteY6" fmla="*/ 320263 h 608203"/>
              <a:gd name="connsiteX7" fmla="*/ 155045 w 301455"/>
              <a:gd name="connsiteY7" fmla="*/ 165168 h 608203"/>
              <a:gd name="connsiteX8" fmla="*/ 122272 w 301455"/>
              <a:gd name="connsiteY8" fmla="*/ 132536 h 608203"/>
              <a:gd name="connsiteX9" fmla="*/ 0 w 301455"/>
              <a:gd name="connsiteY9" fmla="*/ 0 h 608203"/>
              <a:gd name="connsiteX10" fmla="*/ 93076 w 301455"/>
              <a:gd name="connsiteY10" fmla="*/ 0 h 608203"/>
              <a:gd name="connsiteX11" fmla="*/ 93076 w 301455"/>
              <a:gd name="connsiteY11" fmla="*/ 200683 h 608203"/>
              <a:gd name="connsiteX12" fmla="*/ 0 w 301455"/>
              <a:gd name="connsiteY12" fmla="*/ 291153 h 60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455" h="608203">
                <a:moveTo>
                  <a:pt x="301455" y="84608"/>
                </a:moveTo>
                <a:lnTo>
                  <a:pt x="253456" y="263528"/>
                </a:lnTo>
                <a:lnTo>
                  <a:pt x="220776" y="230803"/>
                </a:lnTo>
                <a:lnTo>
                  <a:pt x="93027" y="358457"/>
                </a:lnTo>
                <a:lnTo>
                  <a:pt x="93027" y="608203"/>
                </a:lnTo>
                <a:lnTo>
                  <a:pt x="0" y="608203"/>
                </a:lnTo>
                <a:lnTo>
                  <a:pt x="0" y="320263"/>
                </a:lnTo>
                <a:lnTo>
                  <a:pt x="155045" y="165168"/>
                </a:lnTo>
                <a:lnTo>
                  <a:pt x="122272" y="132536"/>
                </a:lnTo>
                <a:close/>
                <a:moveTo>
                  <a:pt x="0" y="0"/>
                </a:moveTo>
                <a:lnTo>
                  <a:pt x="93076" y="0"/>
                </a:lnTo>
                <a:lnTo>
                  <a:pt x="93076" y="200683"/>
                </a:lnTo>
                <a:lnTo>
                  <a:pt x="0" y="2911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confont-11253-5329911">
            <a:extLst>
              <a:ext uri="{FF2B5EF4-FFF2-40B4-BE49-F238E27FC236}">
                <a16:creationId xmlns:a16="http://schemas.microsoft.com/office/drawing/2014/main" id="{B6D7FE13-C01A-824E-AC91-AE44264BF42C}"/>
              </a:ext>
            </a:extLst>
          </p:cNvPr>
          <p:cNvSpPr>
            <a:spLocks noChangeAspect="1"/>
          </p:cNvSpPr>
          <p:nvPr/>
        </p:nvSpPr>
        <p:spPr>
          <a:xfrm>
            <a:off x="874314" y="3685419"/>
            <a:ext cx="525647" cy="525538"/>
          </a:xfrm>
          <a:custGeom>
            <a:avLst/>
            <a:gdLst>
              <a:gd name="T0" fmla="*/ 2307 w 9999"/>
              <a:gd name="T1" fmla="*/ 6537 h 9998"/>
              <a:gd name="T2" fmla="*/ 2115 w 9999"/>
              <a:gd name="T3" fmla="*/ 6728 h 9998"/>
              <a:gd name="T4" fmla="*/ 54 w 9999"/>
              <a:gd name="T5" fmla="*/ 6674 h 9998"/>
              <a:gd name="T6" fmla="*/ 54 w 9999"/>
              <a:gd name="T7" fmla="*/ 6399 h 9998"/>
              <a:gd name="T8" fmla="*/ 2115 w 9999"/>
              <a:gd name="T9" fmla="*/ 6345 h 9998"/>
              <a:gd name="T10" fmla="*/ 6195 w 9999"/>
              <a:gd name="T11" fmla="*/ 2957 h 9998"/>
              <a:gd name="T12" fmla="*/ 3118 w 9999"/>
              <a:gd name="T13" fmla="*/ 1417 h 9998"/>
              <a:gd name="T14" fmla="*/ 2300 w 9999"/>
              <a:gd name="T15" fmla="*/ 1410 h 9998"/>
              <a:gd name="T16" fmla="*/ 1249 w 9999"/>
              <a:gd name="T17" fmla="*/ 2692 h 9998"/>
              <a:gd name="T18" fmla="*/ 3063 w 9999"/>
              <a:gd name="T19" fmla="*/ 4747 h 9998"/>
              <a:gd name="T20" fmla="*/ 2618 w 9999"/>
              <a:gd name="T21" fmla="*/ 5937 h 9998"/>
              <a:gd name="T22" fmla="*/ 97 w 9999"/>
              <a:gd name="T23" fmla="*/ 2690 h 9998"/>
              <a:gd name="T24" fmla="*/ 1490 w 9999"/>
              <a:gd name="T25" fmla="*/ 593 h 9998"/>
              <a:gd name="T26" fmla="*/ 3937 w 9999"/>
              <a:gd name="T27" fmla="*/ 604 h 9998"/>
              <a:gd name="T28" fmla="*/ 6195 w 9999"/>
              <a:gd name="T29" fmla="*/ 2957 h 9998"/>
              <a:gd name="T30" fmla="*/ 1099 w 9999"/>
              <a:gd name="T31" fmla="*/ 9177 h 9998"/>
              <a:gd name="T32" fmla="*/ 824 w 9999"/>
              <a:gd name="T33" fmla="*/ 9177 h 9998"/>
              <a:gd name="T34" fmla="*/ 824 w 9999"/>
              <a:gd name="T35" fmla="*/ 8902 h 9998"/>
              <a:gd name="T36" fmla="*/ 2499 w 9999"/>
              <a:gd name="T37" fmla="*/ 7309 h 9998"/>
              <a:gd name="T38" fmla="*/ 2690 w 9999"/>
              <a:gd name="T39" fmla="*/ 7500 h 9998"/>
              <a:gd name="T40" fmla="*/ 3653 w 9999"/>
              <a:gd name="T41" fmla="*/ 7883 h 9998"/>
              <a:gd name="T42" fmla="*/ 3599 w 9999"/>
              <a:gd name="T43" fmla="*/ 9944 h 9998"/>
              <a:gd name="T44" fmla="*/ 3324 w 9999"/>
              <a:gd name="T45" fmla="*/ 9944 h 9998"/>
              <a:gd name="T46" fmla="*/ 3270 w 9999"/>
              <a:gd name="T47" fmla="*/ 7883 h 9998"/>
              <a:gd name="T48" fmla="*/ 3462 w 9999"/>
              <a:gd name="T49" fmla="*/ 7692 h 9998"/>
              <a:gd name="T50" fmla="*/ 3653 w 9999"/>
              <a:gd name="T51" fmla="*/ 7883 h 9998"/>
              <a:gd name="T52" fmla="*/ 9393 w 9999"/>
              <a:gd name="T53" fmla="*/ 8527 h 9998"/>
              <a:gd name="T54" fmla="*/ 7289 w 9999"/>
              <a:gd name="T55" fmla="*/ 9903 h 9998"/>
              <a:gd name="T56" fmla="*/ 4057 w 9999"/>
              <a:gd name="T57" fmla="*/ 7379 h 9998"/>
              <a:gd name="T58" fmla="*/ 5240 w 9999"/>
              <a:gd name="T59" fmla="*/ 6934 h 9998"/>
              <a:gd name="T60" fmla="*/ 7289 w 9999"/>
              <a:gd name="T61" fmla="*/ 8745 h 9998"/>
              <a:gd name="T62" fmla="*/ 8582 w 9999"/>
              <a:gd name="T63" fmla="*/ 7709 h 9998"/>
              <a:gd name="T64" fmla="*/ 8582 w 9999"/>
              <a:gd name="T65" fmla="*/ 6897 h 9998"/>
              <a:gd name="T66" fmla="*/ 7043 w 9999"/>
              <a:gd name="T67" fmla="*/ 3809 h 9998"/>
              <a:gd name="T68" fmla="*/ 9398 w 9999"/>
              <a:gd name="T69" fmla="*/ 6080 h 9998"/>
              <a:gd name="T70" fmla="*/ 6729 w 9999"/>
              <a:gd name="T71" fmla="*/ 192 h 9998"/>
              <a:gd name="T72" fmla="*/ 6675 w 9999"/>
              <a:gd name="T73" fmla="*/ 2253 h 9998"/>
              <a:gd name="T74" fmla="*/ 6400 w 9999"/>
              <a:gd name="T75" fmla="*/ 2253 h 9998"/>
              <a:gd name="T76" fmla="*/ 6347 w 9999"/>
              <a:gd name="T77" fmla="*/ 192 h 9998"/>
              <a:gd name="T78" fmla="*/ 6538 w 9999"/>
              <a:gd name="T79" fmla="*/ 0 h 9998"/>
              <a:gd name="T80" fmla="*/ 6729 w 9999"/>
              <a:gd name="T81" fmla="*/ 192 h 9998"/>
              <a:gd name="T82" fmla="*/ 7637 w 9999"/>
              <a:gd name="T83" fmla="*/ 2638 h 9998"/>
              <a:gd name="T84" fmla="*/ 7362 w 9999"/>
              <a:gd name="T85" fmla="*/ 2638 h 9998"/>
              <a:gd name="T86" fmla="*/ 7362 w 9999"/>
              <a:gd name="T87" fmla="*/ 2363 h 9998"/>
              <a:gd name="T88" fmla="*/ 9037 w 9999"/>
              <a:gd name="T89" fmla="*/ 770 h 9998"/>
              <a:gd name="T90" fmla="*/ 9228 w 9999"/>
              <a:gd name="T91" fmla="*/ 962 h 9998"/>
              <a:gd name="T92" fmla="*/ 9945 w 9999"/>
              <a:gd name="T93" fmla="*/ 3323 h 9998"/>
              <a:gd name="T94" fmla="*/ 9945 w 9999"/>
              <a:gd name="T95" fmla="*/ 3598 h 9998"/>
              <a:gd name="T96" fmla="*/ 7883 w 9999"/>
              <a:gd name="T97" fmla="*/ 3652 h 9998"/>
              <a:gd name="T98" fmla="*/ 7692 w 9999"/>
              <a:gd name="T99" fmla="*/ 3460 h 9998"/>
              <a:gd name="T100" fmla="*/ 7883 w 9999"/>
              <a:gd name="T101" fmla="*/ 3269 h 9998"/>
              <a:gd name="T102" fmla="*/ 9945 w 9999"/>
              <a:gd name="T103" fmla="*/ 3323 h 9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99" h="9998">
                <a:moveTo>
                  <a:pt x="2253" y="6399"/>
                </a:moveTo>
                <a:cubicBezTo>
                  <a:pt x="2289" y="6435"/>
                  <a:pt x="2307" y="6482"/>
                  <a:pt x="2307" y="6537"/>
                </a:cubicBezTo>
                <a:cubicBezTo>
                  <a:pt x="2307" y="6592"/>
                  <a:pt x="2289" y="6639"/>
                  <a:pt x="2253" y="6674"/>
                </a:cubicBezTo>
                <a:cubicBezTo>
                  <a:pt x="2217" y="6710"/>
                  <a:pt x="2170" y="6728"/>
                  <a:pt x="2115" y="6728"/>
                </a:cubicBezTo>
                <a:lnTo>
                  <a:pt x="192" y="6728"/>
                </a:lnTo>
                <a:cubicBezTo>
                  <a:pt x="137" y="6728"/>
                  <a:pt x="89" y="6710"/>
                  <a:pt x="54" y="6674"/>
                </a:cubicBezTo>
                <a:cubicBezTo>
                  <a:pt x="18" y="6638"/>
                  <a:pt x="0" y="6592"/>
                  <a:pt x="0" y="6537"/>
                </a:cubicBezTo>
                <a:cubicBezTo>
                  <a:pt x="0" y="6482"/>
                  <a:pt x="18" y="6434"/>
                  <a:pt x="54" y="6399"/>
                </a:cubicBezTo>
                <a:cubicBezTo>
                  <a:pt x="90" y="6363"/>
                  <a:pt x="137" y="6345"/>
                  <a:pt x="192" y="6345"/>
                </a:cubicBezTo>
                <a:lnTo>
                  <a:pt x="2115" y="6345"/>
                </a:lnTo>
                <a:cubicBezTo>
                  <a:pt x="2170" y="6345"/>
                  <a:pt x="2218" y="6363"/>
                  <a:pt x="2253" y="6399"/>
                </a:cubicBezTo>
                <a:close/>
                <a:moveTo>
                  <a:pt x="6195" y="2957"/>
                </a:moveTo>
                <a:lnTo>
                  <a:pt x="4759" y="3064"/>
                </a:lnTo>
                <a:lnTo>
                  <a:pt x="3118" y="1417"/>
                </a:lnTo>
                <a:cubicBezTo>
                  <a:pt x="3005" y="1304"/>
                  <a:pt x="2869" y="1249"/>
                  <a:pt x="2709" y="1249"/>
                </a:cubicBezTo>
                <a:cubicBezTo>
                  <a:pt x="2553" y="1249"/>
                  <a:pt x="2417" y="1303"/>
                  <a:pt x="2300" y="1410"/>
                </a:cubicBezTo>
                <a:lnTo>
                  <a:pt x="1417" y="2288"/>
                </a:lnTo>
                <a:cubicBezTo>
                  <a:pt x="1304" y="2400"/>
                  <a:pt x="1249" y="2534"/>
                  <a:pt x="1249" y="2692"/>
                </a:cubicBezTo>
                <a:cubicBezTo>
                  <a:pt x="1249" y="2852"/>
                  <a:pt x="1304" y="2989"/>
                  <a:pt x="1417" y="3100"/>
                </a:cubicBezTo>
                <a:lnTo>
                  <a:pt x="3063" y="4747"/>
                </a:lnTo>
                <a:lnTo>
                  <a:pt x="2954" y="6189"/>
                </a:lnTo>
                <a:cubicBezTo>
                  <a:pt x="2814" y="6104"/>
                  <a:pt x="2702" y="6022"/>
                  <a:pt x="2618" y="5937"/>
                </a:cubicBezTo>
                <a:lnTo>
                  <a:pt x="600" y="3917"/>
                </a:lnTo>
                <a:cubicBezTo>
                  <a:pt x="264" y="3571"/>
                  <a:pt x="97" y="3163"/>
                  <a:pt x="97" y="2690"/>
                </a:cubicBezTo>
                <a:cubicBezTo>
                  <a:pt x="97" y="2210"/>
                  <a:pt x="268" y="1803"/>
                  <a:pt x="607" y="1470"/>
                </a:cubicBezTo>
                <a:lnTo>
                  <a:pt x="1490" y="593"/>
                </a:lnTo>
                <a:cubicBezTo>
                  <a:pt x="1823" y="260"/>
                  <a:pt x="2230" y="94"/>
                  <a:pt x="2710" y="94"/>
                </a:cubicBezTo>
                <a:cubicBezTo>
                  <a:pt x="3194" y="94"/>
                  <a:pt x="3604" y="265"/>
                  <a:pt x="3937" y="604"/>
                </a:cubicBezTo>
                <a:lnTo>
                  <a:pt x="5943" y="2618"/>
                </a:lnTo>
                <a:cubicBezTo>
                  <a:pt x="6027" y="2704"/>
                  <a:pt x="6112" y="2816"/>
                  <a:pt x="6195" y="2957"/>
                </a:cubicBezTo>
                <a:close/>
                <a:moveTo>
                  <a:pt x="2637" y="7637"/>
                </a:moveTo>
                <a:lnTo>
                  <a:pt x="1099" y="9177"/>
                </a:lnTo>
                <a:cubicBezTo>
                  <a:pt x="1055" y="9213"/>
                  <a:pt x="1009" y="9230"/>
                  <a:pt x="962" y="9230"/>
                </a:cubicBezTo>
                <a:cubicBezTo>
                  <a:pt x="914" y="9230"/>
                  <a:pt x="867" y="9213"/>
                  <a:pt x="824" y="9177"/>
                </a:cubicBezTo>
                <a:cubicBezTo>
                  <a:pt x="788" y="9137"/>
                  <a:pt x="770" y="9090"/>
                  <a:pt x="770" y="9039"/>
                </a:cubicBezTo>
                <a:cubicBezTo>
                  <a:pt x="770" y="8988"/>
                  <a:pt x="788" y="8940"/>
                  <a:pt x="824" y="8902"/>
                </a:cubicBezTo>
                <a:lnTo>
                  <a:pt x="2362" y="7363"/>
                </a:lnTo>
                <a:cubicBezTo>
                  <a:pt x="2402" y="7327"/>
                  <a:pt x="2448" y="7309"/>
                  <a:pt x="2499" y="7309"/>
                </a:cubicBezTo>
                <a:cubicBezTo>
                  <a:pt x="2550" y="7309"/>
                  <a:pt x="2598" y="7327"/>
                  <a:pt x="2637" y="7363"/>
                </a:cubicBezTo>
                <a:cubicBezTo>
                  <a:pt x="2673" y="7403"/>
                  <a:pt x="2690" y="7449"/>
                  <a:pt x="2690" y="7500"/>
                </a:cubicBezTo>
                <a:cubicBezTo>
                  <a:pt x="2692" y="7550"/>
                  <a:pt x="2674" y="7598"/>
                  <a:pt x="2637" y="7637"/>
                </a:cubicBezTo>
                <a:close/>
                <a:moveTo>
                  <a:pt x="3653" y="7883"/>
                </a:moveTo>
                <a:lnTo>
                  <a:pt x="3653" y="9807"/>
                </a:lnTo>
                <a:cubicBezTo>
                  <a:pt x="3653" y="9862"/>
                  <a:pt x="3635" y="9909"/>
                  <a:pt x="3599" y="9944"/>
                </a:cubicBezTo>
                <a:cubicBezTo>
                  <a:pt x="3563" y="9980"/>
                  <a:pt x="3517" y="9998"/>
                  <a:pt x="3462" y="9998"/>
                </a:cubicBezTo>
                <a:cubicBezTo>
                  <a:pt x="3407" y="9998"/>
                  <a:pt x="3359" y="9980"/>
                  <a:pt x="3324" y="9944"/>
                </a:cubicBezTo>
                <a:cubicBezTo>
                  <a:pt x="3288" y="9908"/>
                  <a:pt x="3270" y="9862"/>
                  <a:pt x="3270" y="9807"/>
                </a:cubicBezTo>
                <a:lnTo>
                  <a:pt x="3270" y="7883"/>
                </a:lnTo>
                <a:cubicBezTo>
                  <a:pt x="3270" y="7828"/>
                  <a:pt x="3288" y="7780"/>
                  <a:pt x="3324" y="7745"/>
                </a:cubicBezTo>
                <a:cubicBezTo>
                  <a:pt x="3360" y="7709"/>
                  <a:pt x="3407" y="7692"/>
                  <a:pt x="3462" y="7692"/>
                </a:cubicBezTo>
                <a:cubicBezTo>
                  <a:pt x="3517" y="7692"/>
                  <a:pt x="3564" y="7709"/>
                  <a:pt x="3599" y="7745"/>
                </a:cubicBezTo>
                <a:cubicBezTo>
                  <a:pt x="3635" y="7782"/>
                  <a:pt x="3653" y="7828"/>
                  <a:pt x="3653" y="7883"/>
                </a:cubicBezTo>
                <a:close/>
                <a:moveTo>
                  <a:pt x="9903" y="7307"/>
                </a:moveTo>
                <a:cubicBezTo>
                  <a:pt x="9903" y="7787"/>
                  <a:pt x="9731" y="8194"/>
                  <a:pt x="9393" y="8527"/>
                </a:cubicBezTo>
                <a:lnTo>
                  <a:pt x="8509" y="9404"/>
                </a:lnTo>
                <a:cubicBezTo>
                  <a:pt x="8177" y="9737"/>
                  <a:pt x="7769" y="9903"/>
                  <a:pt x="7289" y="9903"/>
                </a:cubicBezTo>
                <a:cubicBezTo>
                  <a:pt x="6804" y="9903"/>
                  <a:pt x="6395" y="9732"/>
                  <a:pt x="6063" y="9393"/>
                </a:cubicBezTo>
                <a:lnTo>
                  <a:pt x="4057" y="7379"/>
                </a:lnTo>
                <a:cubicBezTo>
                  <a:pt x="3972" y="7294"/>
                  <a:pt x="3889" y="7183"/>
                  <a:pt x="3804" y="7043"/>
                </a:cubicBezTo>
                <a:lnTo>
                  <a:pt x="5240" y="6934"/>
                </a:lnTo>
                <a:lnTo>
                  <a:pt x="6880" y="8580"/>
                </a:lnTo>
                <a:cubicBezTo>
                  <a:pt x="6989" y="8689"/>
                  <a:pt x="7124" y="8743"/>
                  <a:pt x="7289" y="8745"/>
                </a:cubicBezTo>
                <a:cubicBezTo>
                  <a:pt x="7454" y="8748"/>
                  <a:pt x="7590" y="8695"/>
                  <a:pt x="7698" y="8587"/>
                </a:cubicBezTo>
                <a:lnTo>
                  <a:pt x="8582" y="7709"/>
                </a:lnTo>
                <a:cubicBezTo>
                  <a:pt x="8694" y="7597"/>
                  <a:pt x="8749" y="7463"/>
                  <a:pt x="8749" y="7305"/>
                </a:cubicBezTo>
                <a:cubicBezTo>
                  <a:pt x="8749" y="7145"/>
                  <a:pt x="8694" y="7008"/>
                  <a:pt x="8582" y="6897"/>
                </a:cubicBezTo>
                <a:lnTo>
                  <a:pt x="6934" y="5245"/>
                </a:lnTo>
                <a:lnTo>
                  <a:pt x="7043" y="3809"/>
                </a:lnTo>
                <a:cubicBezTo>
                  <a:pt x="7183" y="3894"/>
                  <a:pt x="7295" y="3977"/>
                  <a:pt x="7379" y="4062"/>
                </a:cubicBezTo>
                <a:lnTo>
                  <a:pt x="9398" y="6080"/>
                </a:lnTo>
                <a:cubicBezTo>
                  <a:pt x="9735" y="6427"/>
                  <a:pt x="9903" y="6834"/>
                  <a:pt x="9903" y="7307"/>
                </a:cubicBezTo>
                <a:close/>
                <a:moveTo>
                  <a:pt x="6729" y="192"/>
                </a:moveTo>
                <a:lnTo>
                  <a:pt x="6729" y="2115"/>
                </a:lnTo>
                <a:cubicBezTo>
                  <a:pt x="6729" y="2170"/>
                  <a:pt x="6712" y="2218"/>
                  <a:pt x="6675" y="2253"/>
                </a:cubicBezTo>
                <a:cubicBezTo>
                  <a:pt x="6639" y="2289"/>
                  <a:pt x="6593" y="2307"/>
                  <a:pt x="6538" y="2307"/>
                </a:cubicBezTo>
                <a:cubicBezTo>
                  <a:pt x="6483" y="2307"/>
                  <a:pt x="6435" y="2289"/>
                  <a:pt x="6400" y="2253"/>
                </a:cubicBezTo>
                <a:cubicBezTo>
                  <a:pt x="6364" y="2217"/>
                  <a:pt x="6347" y="2170"/>
                  <a:pt x="6347" y="2115"/>
                </a:cubicBezTo>
                <a:lnTo>
                  <a:pt x="6347" y="192"/>
                </a:lnTo>
                <a:cubicBezTo>
                  <a:pt x="6347" y="137"/>
                  <a:pt x="6364" y="89"/>
                  <a:pt x="6400" y="54"/>
                </a:cubicBezTo>
                <a:cubicBezTo>
                  <a:pt x="6437" y="18"/>
                  <a:pt x="6483" y="0"/>
                  <a:pt x="6538" y="0"/>
                </a:cubicBezTo>
                <a:cubicBezTo>
                  <a:pt x="6593" y="0"/>
                  <a:pt x="6640" y="18"/>
                  <a:pt x="6675" y="54"/>
                </a:cubicBezTo>
                <a:cubicBezTo>
                  <a:pt x="6712" y="90"/>
                  <a:pt x="6729" y="135"/>
                  <a:pt x="6729" y="192"/>
                </a:cubicBezTo>
                <a:close/>
                <a:moveTo>
                  <a:pt x="9177" y="1099"/>
                </a:moveTo>
                <a:lnTo>
                  <a:pt x="7637" y="2638"/>
                </a:lnTo>
                <a:cubicBezTo>
                  <a:pt x="7593" y="2674"/>
                  <a:pt x="7547" y="2692"/>
                  <a:pt x="7499" y="2692"/>
                </a:cubicBezTo>
                <a:cubicBezTo>
                  <a:pt x="7452" y="2692"/>
                  <a:pt x="7404" y="2674"/>
                  <a:pt x="7362" y="2638"/>
                </a:cubicBezTo>
                <a:cubicBezTo>
                  <a:pt x="7325" y="2598"/>
                  <a:pt x="7308" y="2552"/>
                  <a:pt x="7308" y="2500"/>
                </a:cubicBezTo>
                <a:cubicBezTo>
                  <a:pt x="7308" y="2449"/>
                  <a:pt x="7325" y="2402"/>
                  <a:pt x="7362" y="2363"/>
                </a:cubicBezTo>
                <a:lnTo>
                  <a:pt x="8899" y="824"/>
                </a:lnTo>
                <a:cubicBezTo>
                  <a:pt x="8939" y="788"/>
                  <a:pt x="8985" y="770"/>
                  <a:pt x="9037" y="770"/>
                </a:cubicBezTo>
                <a:cubicBezTo>
                  <a:pt x="9088" y="770"/>
                  <a:pt x="9135" y="788"/>
                  <a:pt x="9174" y="824"/>
                </a:cubicBezTo>
                <a:cubicBezTo>
                  <a:pt x="9210" y="864"/>
                  <a:pt x="9228" y="910"/>
                  <a:pt x="9228" y="962"/>
                </a:cubicBezTo>
                <a:cubicBezTo>
                  <a:pt x="9229" y="1013"/>
                  <a:pt x="9212" y="1059"/>
                  <a:pt x="9177" y="1099"/>
                </a:cubicBezTo>
                <a:close/>
                <a:moveTo>
                  <a:pt x="9945" y="3323"/>
                </a:moveTo>
                <a:cubicBezTo>
                  <a:pt x="9982" y="3359"/>
                  <a:pt x="9999" y="3405"/>
                  <a:pt x="9999" y="3460"/>
                </a:cubicBezTo>
                <a:cubicBezTo>
                  <a:pt x="9999" y="3515"/>
                  <a:pt x="9982" y="3563"/>
                  <a:pt x="9945" y="3598"/>
                </a:cubicBezTo>
                <a:cubicBezTo>
                  <a:pt x="9909" y="3634"/>
                  <a:pt x="9863" y="3652"/>
                  <a:pt x="9808" y="3652"/>
                </a:cubicBezTo>
                <a:lnTo>
                  <a:pt x="7883" y="3652"/>
                </a:lnTo>
                <a:cubicBezTo>
                  <a:pt x="7828" y="3652"/>
                  <a:pt x="7780" y="3634"/>
                  <a:pt x="7745" y="3598"/>
                </a:cubicBezTo>
                <a:cubicBezTo>
                  <a:pt x="7709" y="3562"/>
                  <a:pt x="7692" y="3515"/>
                  <a:pt x="7692" y="3460"/>
                </a:cubicBezTo>
                <a:cubicBezTo>
                  <a:pt x="7692" y="3405"/>
                  <a:pt x="7709" y="3358"/>
                  <a:pt x="7745" y="3323"/>
                </a:cubicBezTo>
                <a:cubicBezTo>
                  <a:pt x="7782" y="3287"/>
                  <a:pt x="7828" y="3269"/>
                  <a:pt x="7883" y="3269"/>
                </a:cubicBezTo>
                <a:lnTo>
                  <a:pt x="9807" y="3269"/>
                </a:lnTo>
                <a:cubicBezTo>
                  <a:pt x="9863" y="3269"/>
                  <a:pt x="9909" y="3286"/>
                  <a:pt x="9945" y="332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2" name="图表 21">
            <a:extLst>
              <a:ext uri="{FF2B5EF4-FFF2-40B4-BE49-F238E27FC236}">
                <a16:creationId xmlns:a16="http://schemas.microsoft.com/office/drawing/2014/main" id="{BE8B5BA9-C04C-D640-907F-A2505334A9AA}"/>
              </a:ext>
            </a:extLst>
          </p:cNvPr>
          <p:cNvGraphicFramePr/>
          <p:nvPr/>
        </p:nvGraphicFramePr>
        <p:xfrm>
          <a:off x="6167077" y="2153645"/>
          <a:ext cx="5731508" cy="1666818"/>
        </p:xfrm>
        <a:graphic>
          <a:graphicData uri="http://schemas.openxmlformats.org/drawingml/2006/chart">
            <c:chart xmlns:c="http://schemas.openxmlformats.org/drawingml/2006/chart" xmlns:r="http://schemas.openxmlformats.org/officeDocument/2006/relationships" r:id="rId18"/>
          </a:graphicData>
        </a:graphic>
      </p:graphicFrame>
      <p:grpSp>
        <p:nvGrpSpPr>
          <p:cNvPr id="23" name="组合 22">
            <a:extLst>
              <a:ext uri="{FF2B5EF4-FFF2-40B4-BE49-F238E27FC236}">
                <a16:creationId xmlns:a16="http://schemas.microsoft.com/office/drawing/2014/main" id="{BA503175-4BF1-B241-A332-8593FF354C72}"/>
              </a:ext>
            </a:extLst>
          </p:cNvPr>
          <p:cNvGrpSpPr/>
          <p:nvPr/>
        </p:nvGrpSpPr>
        <p:grpSpPr>
          <a:xfrm>
            <a:off x="6148078" y="1565853"/>
            <a:ext cx="5590471" cy="396875"/>
            <a:chOff x="438854" y="1725652"/>
            <a:chExt cx="5590471" cy="396875"/>
          </a:xfrm>
        </p:grpSpPr>
        <p:sp>
          <p:nvSpPr>
            <p:cNvPr id="24" name="Rectangle 4">
              <a:extLst>
                <a:ext uri="{FF2B5EF4-FFF2-40B4-BE49-F238E27FC236}">
                  <a16:creationId xmlns:a16="http://schemas.microsoft.com/office/drawing/2014/main" id="{81196138-70C0-9941-9808-233B6D697410}"/>
                </a:ext>
              </a:extLst>
            </p:cNvPr>
            <p:cNvSpPr/>
            <p:nvPr/>
          </p:nvSpPr>
          <p:spPr>
            <a:xfrm>
              <a:off x="822621" y="1725652"/>
              <a:ext cx="4555172"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600" b="1" dirty="0">
                  <a:solidFill>
                    <a:prstClr val="black"/>
                  </a:solidFill>
                  <a:latin typeface="Calibri" panose="020F0502020204030204" pitchFamily="34" charset="0"/>
                  <a:cs typeface="Calibri" panose="020F0502020204030204" pitchFamily="34" charset="0"/>
                </a:rPr>
                <a:t>Revenue Analysis</a:t>
              </a:r>
            </a:p>
          </p:txBody>
        </p:sp>
        <p:cxnSp>
          <p:nvCxnSpPr>
            <p:cNvPr id="25" name="Straight Connector 6">
              <a:extLst>
                <a:ext uri="{FF2B5EF4-FFF2-40B4-BE49-F238E27FC236}">
                  <a16:creationId xmlns:a16="http://schemas.microsoft.com/office/drawing/2014/main" id="{2DCA366B-060A-754B-A1BD-5007C8276FFC}"/>
                </a:ext>
              </a:extLst>
            </p:cNvPr>
            <p:cNvCxnSpPr>
              <a:cxnSpLocks/>
            </p:cNvCxnSpPr>
            <p:nvPr/>
          </p:nvCxnSpPr>
          <p:spPr>
            <a:xfrm>
              <a:off x="457853" y="2106777"/>
              <a:ext cx="55714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34">
              <a:extLst>
                <a:ext uri="{FF2B5EF4-FFF2-40B4-BE49-F238E27FC236}">
                  <a16:creationId xmlns:a16="http://schemas.microsoft.com/office/drawing/2014/main" id="{9A1CF423-C182-F94B-9911-0E287DE18F03}"/>
                </a:ext>
              </a:extLst>
            </p:cNvPr>
            <p:cNvSpPr/>
            <p:nvPr/>
          </p:nvSpPr>
          <p:spPr>
            <a:xfrm>
              <a:off x="438854" y="1763224"/>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700" b="1" dirty="0">
                  <a:solidFill>
                    <a:srgbClr val="FFFFFF"/>
                  </a:solidFill>
                  <a:latin typeface="Calibri" panose="020F0502020204030204" pitchFamily="34" charset="0"/>
                  <a:cs typeface="Calibri" panose="020F0502020204030204" pitchFamily="34" charset="0"/>
                </a:rPr>
                <a:t>2</a:t>
              </a:r>
              <a:endParaRPr lang="zh-CN" altLang="en-US" sz="1700" b="1" dirty="0">
                <a:solidFill>
                  <a:srgbClr val="FFFFFF"/>
                </a:solidFill>
                <a:latin typeface="Calibri" panose="020F0502020204030204" pitchFamily="34" charset="0"/>
                <a:cs typeface="Calibri" panose="020F0502020204030204" pitchFamily="34" charset="0"/>
              </a:endParaRPr>
            </a:p>
          </p:txBody>
        </p:sp>
      </p:grpSp>
      <p:sp>
        <p:nvSpPr>
          <p:cNvPr id="30" name="矩形 29">
            <a:extLst>
              <a:ext uri="{FF2B5EF4-FFF2-40B4-BE49-F238E27FC236}">
                <a16:creationId xmlns:a16="http://schemas.microsoft.com/office/drawing/2014/main" id="{4EDF6D99-12E2-D74F-ACED-6C8E68D0CCF5}"/>
              </a:ext>
            </a:extLst>
          </p:cNvPr>
          <p:cNvSpPr>
            <a:spLocks/>
          </p:cNvSpPr>
          <p:nvPr/>
        </p:nvSpPr>
        <p:spPr>
          <a:xfrm>
            <a:off x="1399961" y="2494343"/>
            <a:ext cx="4685071" cy="692497"/>
          </a:xfrm>
          <a:prstGeom prst="rect">
            <a:avLst/>
          </a:prstGeom>
        </p:spPr>
        <p:txBody>
          <a:bodyPr wrap="square">
            <a:spAutoFit/>
          </a:bodyPr>
          <a:lstStyle/>
          <a:p>
            <a:pPr marL="171450" indent="-171450">
              <a:buFont typeface="Arial" panose="020B0604020202020204" pitchFamily="34" charset="0"/>
              <a:buChar char="•"/>
            </a:pPr>
            <a:r>
              <a:rPr lang="en-US" altLang="zh-CN" sz="1300" b="1" dirty="0">
                <a:latin typeface="Calibri" panose="020F0502020204030204" pitchFamily="34" charset="0"/>
                <a:cs typeface="Calibri" panose="020F0502020204030204" pitchFamily="34" charset="0"/>
              </a:rPr>
              <a:t>A variety of products in the market</a:t>
            </a:r>
            <a:endParaRPr lang="en-US" altLang="zh-CN" sz="1300" b="1"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300" b="1" dirty="0">
                <a:solidFill>
                  <a:srgbClr val="000000"/>
                </a:solidFill>
                <a:latin typeface="Calibri" panose="020F0502020204030204" pitchFamily="34" charset="0"/>
                <a:cs typeface="Calibri" panose="020F0502020204030204" pitchFamily="34" charset="0"/>
              </a:rPr>
              <a:t>Brand Value and </a:t>
            </a:r>
            <a:r>
              <a:rPr lang="en-US" altLang="zh-CN" sz="1300" b="1" dirty="0">
                <a:latin typeface="Calibri" panose="020F0502020204030204" pitchFamily="34" charset="0"/>
                <a:cs typeface="Calibri" panose="020F0502020204030204" pitchFamily="34" charset="0"/>
              </a:rPr>
              <a:t>widely known characters</a:t>
            </a:r>
          </a:p>
          <a:p>
            <a:pPr marL="171450" indent="-171450">
              <a:buFont typeface="Arial" panose="020B0604020202020204" pitchFamily="34" charset="0"/>
              <a:buChar char="•"/>
            </a:pPr>
            <a:r>
              <a:rPr lang="en-US" altLang="zh-CN" sz="1300" b="1" dirty="0">
                <a:latin typeface="Calibri" panose="020F0502020204030204" pitchFamily="34" charset="0"/>
                <a:cs typeface="Calibri" panose="020F0502020204030204" pitchFamily="34" charset="0"/>
              </a:rPr>
              <a:t>Investments in profitable projects</a:t>
            </a:r>
          </a:p>
        </p:txBody>
      </p:sp>
      <p:sp>
        <p:nvSpPr>
          <p:cNvPr id="32" name="矩形 31">
            <a:extLst>
              <a:ext uri="{FF2B5EF4-FFF2-40B4-BE49-F238E27FC236}">
                <a16:creationId xmlns:a16="http://schemas.microsoft.com/office/drawing/2014/main" id="{6BE80034-E9B1-694F-9C2C-F543C28EB63C}"/>
              </a:ext>
            </a:extLst>
          </p:cNvPr>
          <p:cNvSpPr>
            <a:spLocks/>
          </p:cNvSpPr>
          <p:nvPr/>
        </p:nvSpPr>
        <p:spPr>
          <a:xfrm>
            <a:off x="1399961" y="4824773"/>
            <a:ext cx="4685071" cy="492443"/>
          </a:xfrm>
          <a:prstGeom prst="rect">
            <a:avLst/>
          </a:prstGeom>
        </p:spPr>
        <p:txBody>
          <a:bodyPr wrap="square">
            <a:spAutoFit/>
          </a:bodyPr>
          <a:lstStyle/>
          <a:p>
            <a:pPr marL="171450" indent="-171450">
              <a:buFont typeface="Arial" panose="020B0604020202020204" pitchFamily="34" charset="0"/>
              <a:buChar char="•"/>
            </a:pPr>
            <a:r>
              <a:rPr lang="en-US" altLang="zh-CN" sz="1300" b="1" dirty="0">
                <a:solidFill>
                  <a:srgbClr val="000000"/>
                </a:solidFill>
                <a:latin typeface="Calibri" panose="020F0502020204030204" pitchFamily="34" charset="0"/>
                <a:cs typeface="Calibri" panose="020F0502020204030204" pitchFamily="34" charset="0"/>
              </a:rPr>
              <a:t>International Expansions</a:t>
            </a:r>
            <a:endParaRPr lang="en-US" altLang="zh-CN" sz="13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300" b="1" dirty="0">
                <a:latin typeface="Calibri" panose="020F0502020204030204" pitchFamily="34" charset="0"/>
                <a:cs typeface="Calibri" panose="020F0502020204030204" pitchFamily="34" charset="0"/>
              </a:rPr>
              <a:t>Keep Changing with Consumer demand</a:t>
            </a:r>
            <a:endParaRPr lang="en-US" altLang="zh-CN" sz="1300" dirty="0">
              <a:latin typeface="Calibri" panose="020F0502020204030204" pitchFamily="34" charset="0"/>
              <a:cs typeface="Calibri" panose="020F0502020204030204" pitchFamily="34" charset="0"/>
            </a:endParaRPr>
          </a:p>
        </p:txBody>
      </p:sp>
      <p:sp>
        <p:nvSpPr>
          <p:cNvPr id="33" name="矩形 32">
            <a:extLst>
              <a:ext uri="{FF2B5EF4-FFF2-40B4-BE49-F238E27FC236}">
                <a16:creationId xmlns:a16="http://schemas.microsoft.com/office/drawing/2014/main" id="{D82D6C74-C7C6-E248-ADC9-F8D9EE1BE169}"/>
              </a:ext>
            </a:extLst>
          </p:cNvPr>
          <p:cNvSpPr>
            <a:spLocks/>
          </p:cNvSpPr>
          <p:nvPr/>
        </p:nvSpPr>
        <p:spPr>
          <a:xfrm>
            <a:off x="1399961" y="5889961"/>
            <a:ext cx="3635114" cy="692497"/>
          </a:xfrm>
          <a:prstGeom prst="rect">
            <a:avLst/>
          </a:prstGeom>
        </p:spPr>
        <p:txBody>
          <a:bodyPr wrap="square">
            <a:spAutoFit/>
          </a:bodyPr>
          <a:lstStyle/>
          <a:p>
            <a:pPr marL="171450" indent="-171450">
              <a:buFont typeface="Arial" panose="020B0604020202020204" pitchFamily="34" charset="0"/>
              <a:buChar char="•"/>
            </a:pPr>
            <a:r>
              <a:rPr lang="en-US" altLang="zh-CN" sz="1300" b="1" dirty="0">
                <a:solidFill>
                  <a:srgbClr val="000000"/>
                </a:solidFill>
                <a:latin typeface="Calibri" panose="020F0502020204030204" pitchFamily="34" charset="0"/>
                <a:cs typeface="Calibri" panose="020F0502020204030204" pitchFamily="34" charset="0"/>
              </a:rPr>
              <a:t>Competition: </a:t>
            </a:r>
            <a:r>
              <a:rPr lang="en-US" altLang="zh-CN" sz="1300" dirty="0">
                <a:solidFill>
                  <a:srgbClr val="000000"/>
                </a:solidFill>
                <a:latin typeface="Calibri" panose="020F0502020204030204" pitchFamily="34" charset="0"/>
                <a:cs typeface="Calibri" panose="020F0502020204030204" pitchFamily="34" charset="0"/>
              </a:rPr>
              <a:t>Netflix, CMCSA, </a:t>
            </a:r>
            <a:r>
              <a:rPr lang="en-US" altLang="zh-CN" sz="1300" dirty="0">
                <a:latin typeface="Calibri" panose="020F0502020204030204" pitchFamily="34" charset="0"/>
                <a:cs typeface="Calibri" panose="020F0502020204030204" pitchFamily="34" charset="0"/>
              </a:rPr>
              <a:t>CBS, etc.</a:t>
            </a:r>
          </a:p>
          <a:p>
            <a:pPr marL="171450" indent="-171450">
              <a:buFont typeface="Arial" panose="020B0604020202020204" pitchFamily="34" charset="0"/>
              <a:buChar char="•"/>
            </a:pPr>
            <a:r>
              <a:rPr lang="en-US" altLang="zh-CN" sz="1300" b="1" dirty="0">
                <a:latin typeface="Calibri" panose="020F0502020204030204" pitchFamily="34" charset="0"/>
                <a:cs typeface="Calibri" panose="020F0502020204030204" pitchFamily="34" charset="0"/>
              </a:rPr>
              <a:t>Financial Fluctuations: </a:t>
            </a:r>
            <a:r>
              <a:rPr lang="en-US" altLang="zh-CN" sz="1300" dirty="0">
                <a:latin typeface="Calibri" panose="020F0502020204030204" pitchFamily="34" charset="0"/>
                <a:cs typeface="Calibri" panose="020F0502020204030204" pitchFamily="34" charset="0"/>
              </a:rPr>
              <a:t>another $1.2 billion foreseen additional impact on parks segment </a:t>
            </a:r>
          </a:p>
        </p:txBody>
      </p:sp>
      <p:sp>
        <p:nvSpPr>
          <p:cNvPr id="34" name="矩形 33">
            <a:extLst>
              <a:ext uri="{FF2B5EF4-FFF2-40B4-BE49-F238E27FC236}">
                <a16:creationId xmlns:a16="http://schemas.microsoft.com/office/drawing/2014/main" id="{71A3A383-1085-3449-9B8D-AC764842ECC0}"/>
              </a:ext>
            </a:extLst>
          </p:cNvPr>
          <p:cNvSpPr/>
          <p:nvPr/>
        </p:nvSpPr>
        <p:spPr>
          <a:xfrm>
            <a:off x="1398586" y="3700157"/>
            <a:ext cx="6419850" cy="492443"/>
          </a:xfrm>
          <a:prstGeom prst="rect">
            <a:avLst/>
          </a:prstGeom>
        </p:spPr>
        <p:txBody>
          <a:bodyPr>
            <a:spAutoFit/>
          </a:bodyPr>
          <a:lstStyle/>
          <a:p>
            <a:pPr marL="171450" lvl="0" indent="-171450">
              <a:buFont typeface="Arial" panose="020B0604020202020204" pitchFamily="34" charset="0"/>
              <a:buChar char="•"/>
            </a:pPr>
            <a:r>
              <a:rPr lang="en-US" altLang="zh-CN" sz="1300" b="1" dirty="0">
                <a:solidFill>
                  <a:prstClr val="black"/>
                </a:solidFill>
                <a:latin typeface="Calibri" panose="020F0502020204030204" pitchFamily="34" charset="0"/>
                <a:cs typeface="Calibri" panose="020F0502020204030204" pitchFamily="34" charset="0"/>
              </a:rPr>
              <a:t>Business Closure Owing to COVID-19</a:t>
            </a:r>
          </a:p>
          <a:p>
            <a:pPr marL="171450" lvl="0" indent="-171450">
              <a:buFont typeface="Arial" panose="020B0604020202020204" pitchFamily="34" charset="0"/>
              <a:buChar char="•"/>
            </a:pPr>
            <a:r>
              <a:rPr lang="en-US" altLang="zh-CN" sz="1300" b="1" dirty="0">
                <a:solidFill>
                  <a:prstClr val="black"/>
                </a:solidFill>
                <a:latin typeface="Calibri" panose="020F0502020204030204" pitchFamily="34" charset="0"/>
                <a:cs typeface="Calibri" panose="020F0502020204030204" pitchFamily="34" charset="0"/>
              </a:rPr>
              <a:t>A Kid’s Company</a:t>
            </a:r>
          </a:p>
        </p:txBody>
      </p:sp>
      <p:grpSp>
        <p:nvGrpSpPr>
          <p:cNvPr id="41" name="组合 40">
            <a:extLst>
              <a:ext uri="{FF2B5EF4-FFF2-40B4-BE49-F238E27FC236}">
                <a16:creationId xmlns:a16="http://schemas.microsoft.com/office/drawing/2014/main" id="{8CBCE1ED-95A0-8345-9E2B-A942D19AB574}"/>
              </a:ext>
            </a:extLst>
          </p:cNvPr>
          <p:cNvGrpSpPr/>
          <p:nvPr/>
        </p:nvGrpSpPr>
        <p:grpSpPr>
          <a:xfrm>
            <a:off x="11087017" y="2503320"/>
            <a:ext cx="963613" cy="649288"/>
            <a:chOff x="9096375" y="2286000"/>
            <a:chExt cx="963613" cy="649288"/>
          </a:xfrm>
        </p:grpSpPr>
        <p:sp>
          <p:nvSpPr>
            <p:cNvPr id="35" name="矩形 34">
              <a:extLst>
                <a:ext uri="{FF2B5EF4-FFF2-40B4-BE49-F238E27FC236}">
                  <a16:creationId xmlns:a16="http://schemas.microsoft.com/office/drawing/2014/main" id="{E09F31AD-D169-DA47-9938-AE82DD0B7C70}"/>
                </a:ext>
              </a:extLst>
            </p:cNvPr>
            <p:cNvSpPr/>
            <p:nvPr>
              <p:custDataLst>
                <p:tags r:id="rId11"/>
              </p:custDataLst>
            </p:nvPr>
          </p:nvSpPr>
          <p:spPr bwMode="auto">
            <a:xfrm>
              <a:off x="9096375" y="2757488"/>
              <a:ext cx="214313" cy="160338"/>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36" name="矩形 35">
              <a:extLst>
                <a:ext uri="{FF2B5EF4-FFF2-40B4-BE49-F238E27FC236}">
                  <a16:creationId xmlns:a16="http://schemas.microsoft.com/office/drawing/2014/main" id="{64B6AA92-95FA-094E-91C3-BAAC93306A45}"/>
                </a:ext>
              </a:extLst>
            </p:cNvPr>
            <p:cNvSpPr/>
            <p:nvPr>
              <p:custDataLst>
                <p:tags r:id="rId12"/>
              </p:custDataLst>
            </p:nvPr>
          </p:nvSpPr>
          <p:spPr bwMode="auto">
            <a:xfrm>
              <a:off x="9096375" y="2524125"/>
              <a:ext cx="214313" cy="16033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37" name="矩形 36">
              <a:extLst>
                <a:ext uri="{FF2B5EF4-FFF2-40B4-BE49-F238E27FC236}">
                  <a16:creationId xmlns:a16="http://schemas.microsoft.com/office/drawing/2014/main" id="{5D86DCAF-8181-F040-8A45-4D945F295BF2}"/>
                </a:ext>
              </a:extLst>
            </p:cNvPr>
            <p:cNvSpPr/>
            <p:nvPr>
              <p:custDataLst>
                <p:tags r:id="rId13"/>
              </p:custDataLst>
            </p:nvPr>
          </p:nvSpPr>
          <p:spPr bwMode="auto">
            <a:xfrm>
              <a:off x="9096375" y="2290763"/>
              <a:ext cx="214313" cy="160338"/>
            </a:xfrm>
            <a:prstGeom prst="rect">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38" name="矩形 37">
              <a:extLst>
                <a:ext uri="{FF2B5EF4-FFF2-40B4-BE49-F238E27FC236}">
                  <a16:creationId xmlns:a16="http://schemas.microsoft.com/office/drawing/2014/main" id="{EE91061C-B036-4E4C-A4AA-8CFD0A2726EB}"/>
                </a:ext>
              </a:extLst>
            </p:cNvPr>
            <p:cNvSpPr/>
            <p:nvPr>
              <p:custDataLst>
                <p:tags r:id="rId14"/>
              </p:custDataLst>
            </p:nvPr>
          </p:nvSpPr>
          <p:spPr bwMode="auto">
            <a:xfrm>
              <a:off x="9361488" y="2752725"/>
              <a:ext cx="566738" cy="182563"/>
            </a:xfrm>
            <a:prstGeom prst="rect">
              <a:avLst/>
            </a:prstGeom>
            <a:noFill/>
            <a:ln w="19050">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en-US" altLang="zh-CN" sz="1200" dirty="0">
                  <a:solidFill>
                    <a:schemeClr val="tx1"/>
                  </a:solidFill>
                  <a:latin typeface="Calibri" panose="020F0502020204030204" pitchFamily="34" charset="0"/>
                  <a:cs typeface="Calibri" panose="020F0502020204030204" pitchFamily="34" charset="0"/>
                  <a:sym typeface="Calibri" panose="020F0502020204030204" pitchFamily="34" charset="0"/>
                </a:rPr>
                <a:t>Direct-to-customer</a:t>
              </a:r>
              <a:endParaRPr lang="zh-CN" altLang="en-US" sz="12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矩形 38">
              <a:extLst>
                <a:ext uri="{FF2B5EF4-FFF2-40B4-BE49-F238E27FC236}">
                  <a16:creationId xmlns:a16="http://schemas.microsoft.com/office/drawing/2014/main" id="{CD58298D-AF43-0045-A1B7-46A07BAC6171}"/>
                </a:ext>
              </a:extLst>
            </p:cNvPr>
            <p:cNvSpPr/>
            <p:nvPr>
              <p:custDataLst>
                <p:tags r:id="rId15"/>
              </p:custDataLst>
            </p:nvPr>
          </p:nvSpPr>
          <p:spPr bwMode="auto">
            <a:xfrm>
              <a:off x="9361488" y="2286000"/>
              <a:ext cx="698500" cy="182563"/>
            </a:xfrm>
            <a:prstGeom prst="rect">
              <a:avLst/>
            </a:prstGeom>
            <a:noFill/>
            <a:ln w="19050">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en-US" altLang="zh-CN" sz="1200" dirty="0">
                  <a:solidFill>
                    <a:schemeClr val="tx1"/>
                  </a:solidFill>
                  <a:latin typeface="Calibri" panose="020F0502020204030204" pitchFamily="34" charset="0"/>
                  <a:cs typeface="Calibri" panose="020F0502020204030204" pitchFamily="34" charset="0"/>
                  <a:sym typeface="Calibri" panose="020F0502020204030204" pitchFamily="34" charset="0"/>
                </a:rPr>
                <a:t>Media</a:t>
              </a:r>
              <a:endParaRPr lang="zh-CN" altLang="en-US" sz="12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矩形 39">
              <a:extLst>
                <a:ext uri="{FF2B5EF4-FFF2-40B4-BE49-F238E27FC236}">
                  <a16:creationId xmlns:a16="http://schemas.microsoft.com/office/drawing/2014/main" id="{B1648B5D-47D4-2547-9675-06A6338E2234}"/>
                </a:ext>
              </a:extLst>
            </p:cNvPr>
            <p:cNvSpPr/>
            <p:nvPr>
              <p:custDataLst>
                <p:tags r:id="rId16"/>
              </p:custDataLst>
            </p:nvPr>
          </p:nvSpPr>
          <p:spPr bwMode="auto">
            <a:xfrm>
              <a:off x="9361488" y="2519363"/>
              <a:ext cx="666750" cy="182563"/>
            </a:xfrm>
            <a:prstGeom prst="rect">
              <a:avLst/>
            </a:prstGeom>
            <a:noFill/>
            <a:ln w="19050">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en-US" altLang="zh-CN" sz="1200" dirty="0">
                  <a:solidFill>
                    <a:schemeClr val="tx1"/>
                  </a:solidFill>
                  <a:latin typeface="Calibri" panose="020F0502020204030204" pitchFamily="34" charset="0"/>
                  <a:cs typeface="Calibri" panose="020F0502020204030204" pitchFamily="34" charset="0"/>
                  <a:sym typeface="Calibri" panose="020F0502020204030204" pitchFamily="34" charset="0"/>
                </a:rPr>
                <a:t>Parks</a:t>
              </a:r>
              <a:endParaRPr lang="zh-CN" altLang="en-US" sz="12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42" name="文本框 41">
            <a:extLst>
              <a:ext uri="{FF2B5EF4-FFF2-40B4-BE49-F238E27FC236}">
                <a16:creationId xmlns:a16="http://schemas.microsoft.com/office/drawing/2014/main" id="{DD0F47AD-54CE-C546-A126-489E6B00EA2E}"/>
              </a:ext>
            </a:extLst>
          </p:cNvPr>
          <p:cNvSpPr txBox="1"/>
          <p:nvPr/>
        </p:nvSpPr>
        <p:spPr>
          <a:xfrm>
            <a:off x="6237147" y="2014267"/>
            <a:ext cx="3246559"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Operation revenue distribution</a:t>
            </a:r>
            <a:endParaRPr kumimoji="0" lang="zh-CN" altLang="en-US" sz="14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endParaRPr>
          </a:p>
        </p:txBody>
      </p:sp>
      <p:sp>
        <p:nvSpPr>
          <p:cNvPr id="44" name="矩形 43">
            <a:extLst>
              <a:ext uri="{FF2B5EF4-FFF2-40B4-BE49-F238E27FC236}">
                <a16:creationId xmlns:a16="http://schemas.microsoft.com/office/drawing/2014/main" id="{6EB09917-213D-314F-AFA9-8FE8DF93892B}"/>
              </a:ext>
            </a:extLst>
          </p:cNvPr>
          <p:cNvSpPr/>
          <p:nvPr/>
        </p:nvSpPr>
        <p:spPr>
          <a:xfrm>
            <a:off x="6167077" y="3811959"/>
            <a:ext cx="5731508" cy="484958"/>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Major decline in parks due to COVID-19; Comparably stable  Media and Entertainment; Fast developing direct-to-customer service.</a:t>
            </a:r>
          </a:p>
        </p:txBody>
      </p:sp>
      <p:sp>
        <p:nvSpPr>
          <p:cNvPr id="45" name="标题 1">
            <a:extLst>
              <a:ext uri="{FF2B5EF4-FFF2-40B4-BE49-F238E27FC236}">
                <a16:creationId xmlns:a16="http://schemas.microsoft.com/office/drawing/2014/main" id="{AB4E7C87-FC00-BD48-A865-62E9EFC81BB7}"/>
              </a:ext>
            </a:extLst>
          </p:cNvPr>
          <p:cNvSpPr txBox="1">
            <a:spLocks/>
          </p:cNvSpPr>
          <p:nvPr/>
        </p:nvSpPr>
        <p:spPr>
          <a:xfrm>
            <a:off x="588004" y="394564"/>
            <a:ext cx="11675762" cy="878857"/>
          </a:xfrm>
          <a:prstGeom prst="rect">
            <a:avLst/>
          </a:prstGeom>
        </p:spPr>
        <p:txBody>
          <a:bodyPr anchor="ctr"/>
          <a:lst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a:lstStyle>
          <a:p>
            <a:r>
              <a:rPr kumimoji="1" lang="en-US" altLang="zh-CN" sz="2800" dirty="0"/>
              <a:t>Appendix: DIS</a:t>
            </a:r>
            <a:endParaRPr kumimoji="1" lang="zh-CN" altLang="en-US" sz="2800" dirty="0"/>
          </a:p>
        </p:txBody>
      </p:sp>
      <p:sp>
        <p:nvSpPr>
          <p:cNvPr id="46" name="TextBox 58">
            <a:extLst>
              <a:ext uri="{FF2B5EF4-FFF2-40B4-BE49-F238E27FC236}">
                <a16:creationId xmlns:a16="http://schemas.microsoft.com/office/drawing/2014/main" id="{CA17122E-DC0E-064F-A430-5AB7BC795C21}"/>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Appendix: Company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Modeling</a:t>
            </a:r>
            <a:endParaRPr lang="zh-CN" altLang="en-US" sz="1600" dirty="0">
              <a:solidFill>
                <a:schemeClr val="accent6"/>
              </a:solidFill>
              <a:latin typeface="Calibri" panose="020F0502020204030204" pitchFamily="34" charset="0"/>
              <a:cs typeface="Calibri" panose="020F0502020204030204" pitchFamily="34" charset="0"/>
            </a:endParaRPr>
          </a:p>
        </p:txBody>
      </p:sp>
      <p:grpSp>
        <p:nvGrpSpPr>
          <p:cNvPr id="47" name="组合 46">
            <a:extLst>
              <a:ext uri="{FF2B5EF4-FFF2-40B4-BE49-F238E27FC236}">
                <a16:creationId xmlns:a16="http://schemas.microsoft.com/office/drawing/2014/main" id="{2D91157C-5EFB-474A-888A-85F1011A4AA1}"/>
              </a:ext>
            </a:extLst>
          </p:cNvPr>
          <p:cNvGrpSpPr/>
          <p:nvPr/>
        </p:nvGrpSpPr>
        <p:grpSpPr>
          <a:xfrm>
            <a:off x="6128162" y="4332469"/>
            <a:ext cx="5590471" cy="396875"/>
            <a:chOff x="438854" y="1725652"/>
            <a:chExt cx="5590471" cy="396875"/>
          </a:xfrm>
        </p:grpSpPr>
        <p:sp>
          <p:nvSpPr>
            <p:cNvPr id="48" name="Rectangle 4">
              <a:extLst>
                <a:ext uri="{FF2B5EF4-FFF2-40B4-BE49-F238E27FC236}">
                  <a16:creationId xmlns:a16="http://schemas.microsoft.com/office/drawing/2014/main" id="{3BFC85D5-1DBE-404F-9590-2AAB1AD13BB3}"/>
                </a:ext>
              </a:extLst>
            </p:cNvPr>
            <p:cNvSpPr/>
            <p:nvPr/>
          </p:nvSpPr>
          <p:spPr>
            <a:xfrm>
              <a:off x="822621" y="1725652"/>
              <a:ext cx="4555172"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600" b="1" dirty="0">
                  <a:solidFill>
                    <a:prstClr val="black"/>
                  </a:solidFill>
                  <a:latin typeface="Calibri" panose="020F0502020204030204" pitchFamily="34" charset="0"/>
                  <a:cs typeface="Calibri" panose="020F0502020204030204" pitchFamily="34" charset="0"/>
                </a:rPr>
                <a:t>DIS’s Streaming Service Subscriber Analysis</a:t>
              </a:r>
            </a:p>
          </p:txBody>
        </p:sp>
        <p:cxnSp>
          <p:nvCxnSpPr>
            <p:cNvPr id="49" name="Straight Connector 6">
              <a:extLst>
                <a:ext uri="{FF2B5EF4-FFF2-40B4-BE49-F238E27FC236}">
                  <a16:creationId xmlns:a16="http://schemas.microsoft.com/office/drawing/2014/main" id="{56076651-B66D-9040-B5BB-2157F7BEEC71}"/>
                </a:ext>
              </a:extLst>
            </p:cNvPr>
            <p:cNvCxnSpPr>
              <a:cxnSpLocks/>
            </p:cNvCxnSpPr>
            <p:nvPr/>
          </p:nvCxnSpPr>
          <p:spPr>
            <a:xfrm>
              <a:off x="457853" y="2106777"/>
              <a:ext cx="55714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Rectangle 34">
              <a:extLst>
                <a:ext uri="{FF2B5EF4-FFF2-40B4-BE49-F238E27FC236}">
                  <a16:creationId xmlns:a16="http://schemas.microsoft.com/office/drawing/2014/main" id="{AEC165FA-E950-C54F-956C-97D13D80B49B}"/>
                </a:ext>
              </a:extLst>
            </p:cNvPr>
            <p:cNvSpPr/>
            <p:nvPr/>
          </p:nvSpPr>
          <p:spPr>
            <a:xfrm>
              <a:off x="438854" y="1763224"/>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700" b="1" dirty="0">
                  <a:solidFill>
                    <a:srgbClr val="FFFFFF"/>
                  </a:solidFill>
                  <a:latin typeface="Calibri" panose="020F0502020204030204" pitchFamily="34" charset="0"/>
                  <a:cs typeface="Calibri" panose="020F0502020204030204" pitchFamily="34" charset="0"/>
                </a:rPr>
                <a:t>3</a:t>
              </a:r>
              <a:endParaRPr lang="zh-CN" altLang="en-US" sz="1700" b="1" dirty="0">
                <a:solidFill>
                  <a:srgbClr val="FFFFFF"/>
                </a:solidFill>
                <a:latin typeface="Calibri" panose="020F0502020204030204" pitchFamily="34" charset="0"/>
                <a:cs typeface="Calibri" panose="020F0502020204030204" pitchFamily="34" charset="0"/>
              </a:endParaRPr>
            </a:p>
          </p:txBody>
        </p:sp>
      </p:grpSp>
      <p:sp>
        <p:nvSpPr>
          <p:cNvPr id="51" name="矩形 50">
            <a:extLst>
              <a:ext uri="{FF2B5EF4-FFF2-40B4-BE49-F238E27FC236}">
                <a16:creationId xmlns:a16="http://schemas.microsoft.com/office/drawing/2014/main" id="{CB216054-E171-DE46-BB5A-3F44378DF31F}"/>
              </a:ext>
            </a:extLst>
          </p:cNvPr>
          <p:cNvSpPr/>
          <p:nvPr/>
        </p:nvSpPr>
        <p:spPr>
          <a:xfrm>
            <a:off x="723401" y="2138478"/>
            <a:ext cx="827471" cy="312843"/>
          </a:xfrm>
          <a:prstGeom prst="rect">
            <a:avLst/>
          </a:prstGeom>
        </p:spPr>
        <p:txBody>
          <a:bodyPr wrap="none">
            <a:spAutoFit/>
          </a:bodyPr>
          <a:lstStyle/>
          <a:p>
            <a:pPr lvl="0">
              <a:lnSpc>
                <a:spcPts val="1800"/>
              </a:lnSpc>
              <a:spcAft>
                <a:spcPts val="800"/>
              </a:spcAft>
              <a:defRPr/>
            </a:pPr>
            <a:r>
              <a:rPr lang="en-US" altLang="zh-CN" sz="1400" b="1" i="1" dirty="0">
                <a:latin typeface="Calibri" panose="020F0502020204030204" pitchFamily="34" charset="0"/>
                <a:ea typeface="华文楷体" panose="02010600040101010101" pitchFamily="2" charset="-122"/>
                <a:cs typeface="Calibri" panose="020F0502020204030204" pitchFamily="34" charset="0"/>
              </a:rPr>
              <a:t>Strength</a:t>
            </a:r>
          </a:p>
        </p:txBody>
      </p:sp>
      <p:sp>
        <p:nvSpPr>
          <p:cNvPr id="52" name="矩形 51">
            <a:extLst>
              <a:ext uri="{FF2B5EF4-FFF2-40B4-BE49-F238E27FC236}">
                <a16:creationId xmlns:a16="http://schemas.microsoft.com/office/drawing/2014/main" id="{C351AF1E-BECF-9740-89FC-48B2C5E4D133}"/>
              </a:ext>
            </a:extLst>
          </p:cNvPr>
          <p:cNvSpPr/>
          <p:nvPr/>
        </p:nvSpPr>
        <p:spPr>
          <a:xfrm>
            <a:off x="723401" y="3268567"/>
            <a:ext cx="934423" cy="312843"/>
          </a:xfrm>
          <a:prstGeom prst="rect">
            <a:avLst/>
          </a:prstGeom>
        </p:spPr>
        <p:txBody>
          <a:bodyPr wrap="none">
            <a:spAutoFit/>
          </a:bodyPr>
          <a:lstStyle/>
          <a:p>
            <a:pPr lvl="0">
              <a:lnSpc>
                <a:spcPts val="1800"/>
              </a:lnSpc>
              <a:spcAft>
                <a:spcPts val="800"/>
              </a:spcAft>
              <a:defRPr/>
            </a:pPr>
            <a:r>
              <a:rPr lang="en-US" altLang="zh-CN" sz="1400" b="1" i="1" dirty="0">
                <a:latin typeface="Calibri" panose="020F0502020204030204" pitchFamily="34" charset="0"/>
                <a:ea typeface="华文楷体" panose="02010600040101010101" pitchFamily="2" charset="-122"/>
                <a:cs typeface="Calibri" panose="020F0502020204030204" pitchFamily="34" charset="0"/>
              </a:rPr>
              <a:t>Weakness</a:t>
            </a:r>
          </a:p>
        </p:txBody>
      </p:sp>
      <p:sp>
        <p:nvSpPr>
          <p:cNvPr id="53" name="矩形 52">
            <a:extLst>
              <a:ext uri="{FF2B5EF4-FFF2-40B4-BE49-F238E27FC236}">
                <a16:creationId xmlns:a16="http://schemas.microsoft.com/office/drawing/2014/main" id="{B9B1469C-12A3-284D-B117-439B94ABF635}"/>
              </a:ext>
            </a:extLst>
          </p:cNvPr>
          <p:cNvSpPr/>
          <p:nvPr/>
        </p:nvSpPr>
        <p:spPr>
          <a:xfrm>
            <a:off x="723401" y="4398656"/>
            <a:ext cx="1095172" cy="312843"/>
          </a:xfrm>
          <a:prstGeom prst="rect">
            <a:avLst/>
          </a:prstGeom>
        </p:spPr>
        <p:txBody>
          <a:bodyPr wrap="none">
            <a:spAutoFit/>
          </a:bodyPr>
          <a:lstStyle/>
          <a:p>
            <a:pPr lvl="0">
              <a:lnSpc>
                <a:spcPts val="1800"/>
              </a:lnSpc>
              <a:spcAft>
                <a:spcPts val="800"/>
              </a:spcAft>
              <a:defRPr/>
            </a:pPr>
            <a:r>
              <a:rPr lang="en-US" altLang="zh-CN" sz="1400" b="1" i="1" dirty="0">
                <a:latin typeface="Calibri" panose="020F0502020204030204" pitchFamily="34" charset="0"/>
                <a:ea typeface="华文楷体" panose="02010600040101010101" pitchFamily="2" charset="-122"/>
                <a:cs typeface="Calibri" panose="020F0502020204030204" pitchFamily="34" charset="0"/>
              </a:rPr>
              <a:t>Opportunity</a:t>
            </a:r>
          </a:p>
        </p:txBody>
      </p:sp>
      <p:sp>
        <p:nvSpPr>
          <p:cNvPr id="54" name="矩形 53">
            <a:extLst>
              <a:ext uri="{FF2B5EF4-FFF2-40B4-BE49-F238E27FC236}">
                <a16:creationId xmlns:a16="http://schemas.microsoft.com/office/drawing/2014/main" id="{85BF0047-EEDB-3A4E-95C2-2AE2FE68D82E}"/>
              </a:ext>
            </a:extLst>
          </p:cNvPr>
          <p:cNvSpPr/>
          <p:nvPr/>
        </p:nvSpPr>
        <p:spPr>
          <a:xfrm>
            <a:off x="723401" y="5528746"/>
            <a:ext cx="675185" cy="312843"/>
          </a:xfrm>
          <a:prstGeom prst="rect">
            <a:avLst/>
          </a:prstGeom>
        </p:spPr>
        <p:txBody>
          <a:bodyPr wrap="none">
            <a:spAutoFit/>
          </a:bodyPr>
          <a:lstStyle/>
          <a:p>
            <a:pPr lvl="0">
              <a:lnSpc>
                <a:spcPts val="1800"/>
              </a:lnSpc>
              <a:spcAft>
                <a:spcPts val="800"/>
              </a:spcAft>
              <a:defRPr/>
            </a:pPr>
            <a:r>
              <a:rPr lang="en-US" altLang="zh-CN" sz="1400" b="1" i="1" dirty="0">
                <a:latin typeface="Calibri" panose="020F0502020204030204" pitchFamily="34" charset="0"/>
                <a:ea typeface="华文楷体" panose="02010600040101010101" pitchFamily="2" charset="-122"/>
                <a:cs typeface="Calibri" panose="020F0502020204030204" pitchFamily="34" charset="0"/>
              </a:rPr>
              <a:t>Threat</a:t>
            </a:r>
          </a:p>
        </p:txBody>
      </p:sp>
      <p:cxnSp>
        <p:nvCxnSpPr>
          <p:cNvPr id="56" name="直接连接符 55">
            <a:extLst>
              <a:ext uri="{FF2B5EF4-FFF2-40B4-BE49-F238E27FC236}">
                <a16:creationId xmlns:a16="http://schemas.microsoft.com/office/drawing/2014/main" id="{920C1941-25BB-B54E-86A8-398544164D28}"/>
              </a:ext>
            </a:extLst>
          </p:cNvPr>
          <p:cNvCxnSpPr>
            <a:cxnSpLocks/>
          </p:cNvCxnSpPr>
          <p:nvPr>
            <p:custDataLst>
              <p:tags r:id="rId1"/>
            </p:custDataLst>
          </p:nvPr>
        </p:nvCxnSpPr>
        <p:spPr bwMode="auto">
          <a:xfrm flipV="1">
            <a:off x="6424288" y="4945702"/>
            <a:ext cx="5366740" cy="1576048"/>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0" name="椭圆 59">
            <a:extLst>
              <a:ext uri="{FF2B5EF4-FFF2-40B4-BE49-F238E27FC236}">
                <a16:creationId xmlns:a16="http://schemas.microsoft.com/office/drawing/2014/main" id="{4D85B6DC-150E-A448-BFF5-D3C27FC7651C}"/>
              </a:ext>
            </a:extLst>
          </p:cNvPr>
          <p:cNvSpPr>
            <a:spLocks/>
          </p:cNvSpPr>
          <p:nvPr>
            <p:custDataLst>
              <p:tags r:id="rId2"/>
            </p:custDataLst>
          </p:nvPr>
        </p:nvSpPr>
        <p:spPr bwMode="gray">
          <a:xfrm>
            <a:off x="7301785" y="5874885"/>
            <a:ext cx="1049957" cy="442317"/>
          </a:xfrm>
          <a:prstGeom prst="ellipse">
            <a:avLst/>
          </a:prstGeom>
          <a:solidFill>
            <a:srgbClr val="C30C3E"/>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r>
              <a:rPr lang="en-US" altLang="zh-CN" sz="1400" b="1" dirty="0">
                <a:solidFill>
                  <a:srgbClr val="FFFFFF"/>
                </a:solidFill>
                <a:latin typeface="Calibri" panose="020F0502020204030204" pitchFamily="34" charset="0"/>
                <a:cs typeface="Calibri" panose="020F0502020204030204" pitchFamily="34" charset="0"/>
                <a:sym typeface="Calibri" panose="020F0502020204030204" pitchFamily="34" charset="0"/>
              </a:rPr>
              <a:t>73.7</a:t>
            </a:r>
            <a:r>
              <a:rPr kumimoji="0" lang="en-US" altLang="zh-CN"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rPr>
              <a:t> million</a:t>
            </a:r>
            <a:endParaRPr kumimoji="0" lang="zh-CN" altLang="en-US"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61" name="椭圆 60">
            <a:extLst>
              <a:ext uri="{FF2B5EF4-FFF2-40B4-BE49-F238E27FC236}">
                <a16:creationId xmlns:a16="http://schemas.microsoft.com/office/drawing/2014/main" id="{B880B543-E37E-FA49-B565-A1D32A8A8672}"/>
              </a:ext>
            </a:extLst>
          </p:cNvPr>
          <p:cNvSpPr/>
          <p:nvPr>
            <p:custDataLst>
              <p:tags r:id="rId3"/>
            </p:custDataLst>
          </p:nvPr>
        </p:nvSpPr>
        <p:spPr bwMode="gray">
          <a:xfrm>
            <a:off x="8162393" y="5585303"/>
            <a:ext cx="1049957" cy="442317"/>
          </a:xfrm>
          <a:prstGeom prst="ellipse">
            <a:avLst/>
          </a:prstGeom>
          <a:solidFill>
            <a:srgbClr val="C30C3E"/>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rPr>
              <a:t>86.8 million</a:t>
            </a:r>
            <a:endParaRPr kumimoji="0" lang="zh-CN" altLang="en-US"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62" name="文本框 61">
            <a:extLst>
              <a:ext uri="{FF2B5EF4-FFF2-40B4-BE49-F238E27FC236}">
                <a16:creationId xmlns:a16="http://schemas.microsoft.com/office/drawing/2014/main" id="{69604ACD-5D66-A649-A114-88786E2C98A8}"/>
              </a:ext>
            </a:extLst>
          </p:cNvPr>
          <p:cNvSpPr txBox="1"/>
          <p:nvPr/>
        </p:nvSpPr>
        <p:spPr>
          <a:xfrm>
            <a:off x="6441156" y="6594489"/>
            <a:ext cx="5731921" cy="288147"/>
          </a:xfrm>
          <a:prstGeom prst="rect">
            <a:avLst/>
          </a:prstGeom>
          <a:noFill/>
        </p:spPr>
        <p:txBody>
          <a:bodyPr wrap="square" lIns="36000" tIns="36000" rIns="36000" bIns="36000" rtlCol="0">
            <a:spAutoFit/>
          </a:bodyPr>
          <a:lstStyle/>
          <a:p>
            <a:r>
              <a:rPr kumimoji="1" lang="en-US" altLang="zh-CN" sz="1400" dirty="0"/>
              <a:t>2020/08         2020/10     2020/12             2021/07           2024/12  </a:t>
            </a:r>
            <a:endParaRPr kumimoji="1" lang="zh-CN" altLang="en-US" sz="1400" dirty="0" err="1"/>
          </a:p>
        </p:txBody>
      </p:sp>
      <p:sp>
        <p:nvSpPr>
          <p:cNvPr id="63" name="椭圆 62">
            <a:extLst>
              <a:ext uri="{FF2B5EF4-FFF2-40B4-BE49-F238E27FC236}">
                <a16:creationId xmlns:a16="http://schemas.microsoft.com/office/drawing/2014/main" id="{7FFB3712-AAB2-0F4B-8691-05839E6F9633}"/>
              </a:ext>
            </a:extLst>
          </p:cNvPr>
          <p:cNvSpPr>
            <a:spLocks/>
          </p:cNvSpPr>
          <p:nvPr>
            <p:custDataLst>
              <p:tags r:id="rId4"/>
            </p:custDataLst>
          </p:nvPr>
        </p:nvSpPr>
        <p:spPr bwMode="gray">
          <a:xfrm>
            <a:off x="6441156" y="6164790"/>
            <a:ext cx="1049957" cy="442317"/>
          </a:xfrm>
          <a:prstGeom prst="ellipse">
            <a:avLst/>
          </a:prstGeom>
          <a:solidFill>
            <a:srgbClr val="C30C3E"/>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rPr>
              <a:t>60.5 million</a:t>
            </a:r>
            <a:endParaRPr kumimoji="0" lang="zh-CN" altLang="en-US"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64" name="椭圆 63">
            <a:extLst>
              <a:ext uri="{FF2B5EF4-FFF2-40B4-BE49-F238E27FC236}">
                <a16:creationId xmlns:a16="http://schemas.microsoft.com/office/drawing/2014/main" id="{2D88B5AA-68EA-F349-AE1C-509BF3817CF5}"/>
              </a:ext>
            </a:extLst>
          </p:cNvPr>
          <p:cNvSpPr/>
          <p:nvPr>
            <p:custDataLst>
              <p:tags r:id="rId5"/>
            </p:custDataLst>
          </p:nvPr>
        </p:nvSpPr>
        <p:spPr bwMode="gray">
          <a:xfrm>
            <a:off x="10615594" y="4869208"/>
            <a:ext cx="1114404" cy="553785"/>
          </a:xfrm>
          <a:prstGeom prst="ellipse">
            <a:avLst/>
          </a:prstGeom>
          <a:solidFill>
            <a:srgbClr val="C30C3E"/>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r>
              <a:rPr lang="en-US" altLang="zh-CN" sz="1400" b="1" dirty="0">
                <a:solidFill>
                  <a:srgbClr val="FFFFFF"/>
                </a:solidFill>
                <a:latin typeface="Calibri" panose="020F0502020204030204" pitchFamily="34" charset="0"/>
                <a:cs typeface="Calibri" panose="020F0502020204030204" pitchFamily="34" charset="0"/>
                <a:sym typeface="Calibri" panose="020F0502020204030204" pitchFamily="34" charset="0"/>
              </a:rPr>
              <a:t>240 </a:t>
            </a:r>
            <a:r>
              <a:rPr kumimoji="0" lang="en-US" altLang="zh-CN"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rPr>
              <a:t>million</a:t>
            </a:r>
          </a:p>
          <a:p>
            <a:pPr marL="0" marR="0" lvl="0" indent="0" algn="ctr" defTabSz="914400" rtl="0" eaLnBrk="1" fontAlgn="auto" latinLnBrk="0" hangingPunct="1">
              <a:lnSpc>
                <a:spcPct val="90000"/>
              </a:lnSpc>
              <a:spcBef>
                <a:spcPct val="0"/>
              </a:spcBef>
              <a:spcAft>
                <a:spcPct val="0"/>
              </a:spcAft>
              <a:buClrTx/>
              <a:buSzTx/>
              <a:buFontTx/>
              <a:buNone/>
              <a:tabLst/>
              <a:defRPr/>
            </a:pPr>
            <a:r>
              <a:rPr lang="en-US" altLang="zh-CN" sz="1400" b="1" dirty="0">
                <a:solidFill>
                  <a:srgbClr val="FFFFFF"/>
                </a:solidFill>
                <a:latin typeface="Calibri" panose="020F0502020204030204" pitchFamily="34" charset="0"/>
                <a:cs typeface="Calibri" panose="020F0502020204030204" pitchFamily="34" charset="0"/>
                <a:sym typeface="Calibri" panose="020F0502020204030204" pitchFamily="34" charset="0"/>
              </a:rPr>
              <a:t>Expected</a:t>
            </a:r>
            <a:endParaRPr kumimoji="0" lang="zh-CN" altLang="en-US"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65" name="椭圆 64">
            <a:extLst>
              <a:ext uri="{FF2B5EF4-FFF2-40B4-BE49-F238E27FC236}">
                <a16:creationId xmlns:a16="http://schemas.microsoft.com/office/drawing/2014/main" id="{A31E2CF2-30A5-894A-933B-E15FA3162DD7}"/>
              </a:ext>
            </a:extLst>
          </p:cNvPr>
          <p:cNvSpPr/>
          <p:nvPr>
            <p:custDataLst>
              <p:tags r:id="rId6"/>
            </p:custDataLst>
          </p:nvPr>
        </p:nvSpPr>
        <p:spPr bwMode="gray">
          <a:xfrm>
            <a:off x="9370762" y="5242850"/>
            <a:ext cx="1160619" cy="442317"/>
          </a:xfrm>
          <a:prstGeom prst="ellipse">
            <a:avLst/>
          </a:prstGeom>
          <a:solidFill>
            <a:srgbClr val="FFBB1E"/>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r>
              <a:rPr lang="en-US" altLang="zh-CN" sz="1400" b="1" dirty="0">
                <a:solidFill>
                  <a:srgbClr val="FFFFFF"/>
                </a:solidFill>
                <a:latin typeface="Calibri" panose="020F0502020204030204" pitchFamily="34" charset="0"/>
                <a:cs typeface="Calibri" panose="020F0502020204030204" pitchFamily="34" charset="0"/>
                <a:sym typeface="Calibri" panose="020F0502020204030204" pitchFamily="34" charset="0"/>
              </a:rPr>
              <a:t>195.15 </a:t>
            </a:r>
            <a:r>
              <a:rPr kumimoji="0" lang="en-US" altLang="zh-CN"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rPr>
              <a:t>million</a:t>
            </a:r>
            <a:endParaRPr kumimoji="0" lang="zh-CN" altLang="en-US" sz="14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grpSp>
        <p:nvGrpSpPr>
          <p:cNvPr id="69" name="组合 68">
            <a:extLst>
              <a:ext uri="{FF2B5EF4-FFF2-40B4-BE49-F238E27FC236}">
                <a16:creationId xmlns:a16="http://schemas.microsoft.com/office/drawing/2014/main" id="{B59046D3-4DFC-D647-9375-B50186BAE572}"/>
              </a:ext>
            </a:extLst>
          </p:cNvPr>
          <p:cNvGrpSpPr/>
          <p:nvPr/>
        </p:nvGrpSpPr>
        <p:grpSpPr>
          <a:xfrm>
            <a:off x="6406498" y="4980668"/>
            <a:ext cx="963613" cy="415926"/>
            <a:chOff x="9096375" y="2286000"/>
            <a:chExt cx="963613" cy="415926"/>
          </a:xfrm>
        </p:grpSpPr>
        <p:sp>
          <p:nvSpPr>
            <p:cNvPr id="71" name="矩形 70">
              <a:extLst>
                <a:ext uri="{FF2B5EF4-FFF2-40B4-BE49-F238E27FC236}">
                  <a16:creationId xmlns:a16="http://schemas.microsoft.com/office/drawing/2014/main" id="{C4ECD48F-7FA7-834B-B7C7-2B036E486D09}"/>
                </a:ext>
              </a:extLst>
            </p:cNvPr>
            <p:cNvSpPr/>
            <p:nvPr>
              <p:custDataLst>
                <p:tags r:id="rId7"/>
              </p:custDataLst>
            </p:nvPr>
          </p:nvSpPr>
          <p:spPr bwMode="auto">
            <a:xfrm>
              <a:off x="9096375" y="2524125"/>
              <a:ext cx="214313" cy="160337"/>
            </a:xfrm>
            <a:prstGeom prst="rect">
              <a:avLst/>
            </a:prstGeom>
            <a:solidFill>
              <a:srgbClr val="C40C3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72" name="矩形 71">
              <a:extLst>
                <a:ext uri="{FF2B5EF4-FFF2-40B4-BE49-F238E27FC236}">
                  <a16:creationId xmlns:a16="http://schemas.microsoft.com/office/drawing/2014/main" id="{64AE1DA6-807E-6240-B35A-231F7431D3B6}"/>
                </a:ext>
              </a:extLst>
            </p:cNvPr>
            <p:cNvSpPr/>
            <p:nvPr>
              <p:custDataLst>
                <p:tags r:id="rId8"/>
              </p:custDataLst>
            </p:nvPr>
          </p:nvSpPr>
          <p:spPr bwMode="auto">
            <a:xfrm>
              <a:off x="9096375" y="2290763"/>
              <a:ext cx="214313" cy="160338"/>
            </a:xfrm>
            <a:prstGeom prst="rect">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74" name="矩形 73">
              <a:extLst>
                <a:ext uri="{FF2B5EF4-FFF2-40B4-BE49-F238E27FC236}">
                  <a16:creationId xmlns:a16="http://schemas.microsoft.com/office/drawing/2014/main" id="{98DED402-29F5-2746-835C-4925EE4CB8D9}"/>
                </a:ext>
              </a:extLst>
            </p:cNvPr>
            <p:cNvSpPr/>
            <p:nvPr>
              <p:custDataLst>
                <p:tags r:id="rId9"/>
              </p:custDataLst>
            </p:nvPr>
          </p:nvSpPr>
          <p:spPr bwMode="auto">
            <a:xfrm>
              <a:off x="9361488" y="2286000"/>
              <a:ext cx="698500" cy="182563"/>
            </a:xfrm>
            <a:prstGeom prst="rect">
              <a:avLst/>
            </a:prstGeom>
            <a:noFill/>
            <a:ln w="19050">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en-US" altLang="zh-CN" sz="1200" dirty="0">
                  <a:solidFill>
                    <a:schemeClr val="tx1"/>
                  </a:solidFill>
                  <a:latin typeface="Calibri" panose="020F0502020204030204" pitchFamily="34" charset="0"/>
                  <a:cs typeface="Calibri" panose="020F0502020204030204" pitchFamily="34" charset="0"/>
                  <a:sym typeface="Calibri" panose="020F0502020204030204" pitchFamily="34" charset="0"/>
                </a:rPr>
                <a:t>Netflix</a:t>
              </a:r>
              <a:endParaRPr lang="zh-CN" altLang="en-US" sz="12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75" name="矩形 74">
              <a:extLst>
                <a:ext uri="{FF2B5EF4-FFF2-40B4-BE49-F238E27FC236}">
                  <a16:creationId xmlns:a16="http://schemas.microsoft.com/office/drawing/2014/main" id="{18360FF2-342E-6D45-A394-B21596FB0097}"/>
                </a:ext>
              </a:extLst>
            </p:cNvPr>
            <p:cNvSpPr/>
            <p:nvPr>
              <p:custDataLst>
                <p:tags r:id="rId10"/>
              </p:custDataLst>
            </p:nvPr>
          </p:nvSpPr>
          <p:spPr bwMode="auto">
            <a:xfrm>
              <a:off x="9361488" y="2519363"/>
              <a:ext cx="666750" cy="182563"/>
            </a:xfrm>
            <a:prstGeom prst="rect">
              <a:avLst/>
            </a:prstGeom>
            <a:noFill/>
            <a:ln w="19050">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en-US" altLang="zh-CN" sz="1200" dirty="0">
                  <a:solidFill>
                    <a:schemeClr val="tx1"/>
                  </a:solidFill>
                  <a:latin typeface="Calibri" panose="020F0502020204030204" pitchFamily="34" charset="0"/>
                  <a:cs typeface="Calibri" panose="020F0502020204030204" pitchFamily="34" charset="0"/>
                  <a:sym typeface="Calibri" panose="020F0502020204030204" pitchFamily="34" charset="0"/>
                </a:rPr>
                <a:t>Disney+</a:t>
              </a:r>
              <a:endParaRPr lang="zh-CN" altLang="en-US" sz="12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55" name="矩形 54">
            <a:extLst>
              <a:ext uri="{FF2B5EF4-FFF2-40B4-BE49-F238E27FC236}">
                <a16:creationId xmlns:a16="http://schemas.microsoft.com/office/drawing/2014/main" id="{0830BF17-DD23-E241-9FF9-15838E520A72}"/>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Tree>
    <p:extLst>
      <p:ext uri="{BB962C8B-B14F-4D97-AF65-F5344CB8AC3E}">
        <p14:creationId xmlns:p14="http://schemas.microsoft.com/office/powerpoint/2010/main" val="3691642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03F90C63-9333-B049-B809-883E8A17617B}"/>
              </a:ext>
            </a:extLst>
          </p:cNvPr>
          <p:cNvSpPr>
            <a:spLocks noGrp="1"/>
          </p:cNvSpPr>
          <p:nvPr>
            <p:ph type="ftr" sz="quarter" idx="11"/>
          </p:nvPr>
        </p:nvSpPr>
        <p:spPr/>
        <p:txBody>
          <a:bodyPr/>
          <a:lstStyle/>
          <a:p>
            <a:endParaRPr lang="zh-CN" altLang="en-US"/>
          </a:p>
        </p:txBody>
      </p:sp>
      <p:sp>
        <p:nvSpPr>
          <p:cNvPr id="4" name="标题 1">
            <a:extLst>
              <a:ext uri="{FF2B5EF4-FFF2-40B4-BE49-F238E27FC236}">
                <a16:creationId xmlns:a16="http://schemas.microsoft.com/office/drawing/2014/main" id="{3A51D573-47E2-7044-B11C-E7EB92A130DF}"/>
              </a:ext>
            </a:extLst>
          </p:cNvPr>
          <p:cNvSpPr txBox="1">
            <a:spLocks/>
          </p:cNvSpPr>
          <p:nvPr/>
        </p:nvSpPr>
        <p:spPr>
          <a:xfrm>
            <a:off x="588004" y="394564"/>
            <a:ext cx="11675762" cy="878857"/>
          </a:xfrm>
          <a:prstGeom prst="rect">
            <a:avLst/>
          </a:prstGeom>
        </p:spPr>
        <p:txBody>
          <a:bodyPr anchor="ctr"/>
          <a:lst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a:lstStyle>
          <a:p>
            <a:r>
              <a:rPr kumimoji="1" lang="en-US" altLang="zh-CN" sz="2800" dirty="0"/>
              <a:t>Appendix: PEP</a:t>
            </a:r>
            <a:endParaRPr kumimoji="1" lang="zh-CN" altLang="en-US" sz="2800" dirty="0"/>
          </a:p>
        </p:txBody>
      </p:sp>
      <p:sp>
        <p:nvSpPr>
          <p:cNvPr id="5" name="TextBox 58">
            <a:extLst>
              <a:ext uri="{FF2B5EF4-FFF2-40B4-BE49-F238E27FC236}">
                <a16:creationId xmlns:a16="http://schemas.microsoft.com/office/drawing/2014/main" id="{A10CB618-B13D-564A-AF84-E94AFF3FD250}"/>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Appendix: Company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Modeling</a:t>
            </a:r>
            <a:endParaRPr lang="zh-CN" altLang="en-US" sz="1600" dirty="0">
              <a:solidFill>
                <a:schemeClr val="accent6"/>
              </a:solidFill>
              <a:latin typeface="Calibri" panose="020F0502020204030204" pitchFamily="34" charset="0"/>
              <a:cs typeface="Calibri" panose="020F0502020204030204" pitchFamily="34" charset="0"/>
            </a:endParaRPr>
          </a:p>
        </p:txBody>
      </p:sp>
      <p:sp>
        <p:nvSpPr>
          <p:cNvPr id="6" name="Rectangle 33">
            <a:extLst>
              <a:ext uri="{FF2B5EF4-FFF2-40B4-BE49-F238E27FC236}">
                <a16:creationId xmlns:a16="http://schemas.microsoft.com/office/drawing/2014/main" id="{9D349A79-E399-0F4C-B97C-F9FB609767AF}"/>
              </a:ext>
            </a:extLst>
          </p:cNvPr>
          <p:cNvSpPr/>
          <p:nvPr/>
        </p:nvSpPr>
        <p:spPr>
          <a:xfrm>
            <a:off x="1118789" y="1602902"/>
            <a:ext cx="3749373"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600" b="1" dirty="0">
                <a:solidFill>
                  <a:prstClr val="black"/>
                </a:solidFill>
                <a:latin typeface="Calibri" panose="020F0502020204030204" pitchFamily="34" charset="0"/>
                <a:cs typeface="Calibri" panose="020F0502020204030204" pitchFamily="34" charset="0"/>
              </a:rPr>
              <a:t>Diversity Strategy</a:t>
            </a:r>
          </a:p>
        </p:txBody>
      </p:sp>
      <p:sp>
        <p:nvSpPr>
          <p:cNvPr id="7" name="Rectangle 34">
            <a:extLst>
              <a:ext uri="{FF2B5EF4-FFF2-40B4-BE49-F238E27FC236}">
                <a16:creationId xmlns:a16="http://schemas.microsoft.com/office/drawing/2014/main" id="{A4615A08-37C6-4442-A087-B4C5F1F466D3}"/>
              </a:ext>
            </a:extLst>
          </p:cNvPr>
          <p:cNvSpPr/>
          <p:nvPr/>
        </p:nvSpPr>
        <p:spPr>
          <a:xfrm>
            <a:off x="754022" y="1616142"/>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cxnSp>
        <p:nvCxnSpPr>
          <p:cNvPr id="8" name="Straight Connector 57">
            <a:extLst>
              <a:ext uri="{FF2B5EF4-FFF2-40B4-BE49-F238E27FC236}">
                <a16:creationId xmlns:a16="http://schemas.microsoft.com/office/drawing/2014/main" id="{A7A10871-4E84-2945-B7F1-3E6340F4817D}"/>
              </a:ext>
            </a:extLst>
          </p:cNvPr>
          <p:cNvCxnSpPr>
            <a:cxnSpLocks/>
          </p:cNvCxnSpPr>
          <p:nvPr/>
        </p:nvCxnSpPr>
        <p:spPr>
          <a:xfrm>
            <a:off x="773021" y="1959695"/>
            <a:ext cx="426205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 name="组合 8">
            <a:extLst>
              <a:ext uri="{FF2B5EF4-FFF2-40B4-BE49-F238E27FC236}">
                <a16:creationId xmlns:a16="http://schemas.microsoft.com/office/drawing/2014/main" id="{14105206-7C15-D04A-AFD7-121D6248B14C}"/>
              </a:ext>
            </a:extLst>
          </p:cNvPr>
          <p:cNvGrpSpPr/>
          <p:nvPr/>
        </p:nvGrpSpPr>
        <p:grpSpPr>
          <a:xfrm>
            <a:off x="6148078" y="1565853"/>
            <a:ext cx="5590471" cy="396875"/>
            <a:chOff x="438854" y="1725652"/>
            <a:chExt cx="5590471" cy="396875"/>
          </a:xfrm>
        </p:grpSpPr>
        <p:sp>
          <p:nvSpPr>
            <p:cNvPr id="10" name="Rectangle 4">
              <a:extLst>
                <a:ext uri="{FF2B5EF4-FFF2-40B4-BE49-F238E27FC236}">
                  <a16:creationId xmlns:a16="http://schemas.microsoft.com/office/drawing/2014/main" id="{753AB8AA-5295-C544-BDB7-5A277EA7174B}"/>
                </a:ext>
              </a:extLst>
            </p:cNvPr>
            <p:cNvSpPr/>
            <p:nvPr/>
          </p:nvSpPr>
          <p:spPr>
            <a:xfrm>
              <a:off x="822621" y="1725652"/>
              <a:ext cx="4555172" cy="3968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600" b="1" dirty="0">
                  <a:solidFill>
                    <a:prstClr val="black"/>
                  </a:solidFill>
                  <a:latin typeface="Calibri" panose="020F0502020204030204" pitchFamily="34" charset="0"/>
                  <a:cs typeface="Calibri" panose="020F0502020204030204" pitchFamily="34" charset="0"/>
                </a:rPr>
                <a:t>Frequent M&amp;A</a:t>
              </a:r>
            </a:p>
          </p:txBody>
        </p:sp>
        <p:cxnSp>
          <p:nvCxnSpPr>
            <p:cNvPr id="11" name="Straight Connector 6">
              <a:extLst>
                <a:ext uri="{FF2B5EF4-FFF2-40B4-BE49-F238E27FC236}">
                  <a16:creationId xmlns:a16="http://schemas.microsoft.com/office/drawing/2014/main" id="{123096C9-C731-A841-A671-B1391EAEC2C4}"/>
                </a:ext>
              </a:extLst>
            </p:cNvPr>
            <p:cNvCxnSpPr>
              <a:cxnSpLocks/>
            </p:cNvCxnSpPr>
            <p:nvPr/>
          </p:nvCxnSpPr>
          <p:spPr>
            <a:xfrm>
              <a:off x="457853" y="2106777"/>
              <a:ext cx="55714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4">
              <a:extLst>
                <a:ext uri="{FF2B5EF4-FFF2-40B4-BE49-F238E27FC236}">
                  <a16:creationId xmlns:a16="http://schemas.microsoft.com/office/drawing/2014/main" id="{6064A7F0-397E-DB4F-82AA-F59819FA1B63}"/>
                </a:ext>
              </a:extLst>
            </p:cNvPr>
            <p:cNvSpPr/>
            <p:nvPr/>
          </p:nvSpPr>
          <p:spPr>
            <a:xfrm>
              <a:off x="438854" y="1763224"/>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26">
                <a:defRPr/>
              </a:pPr>
              <a:r>
                <a:rPr lang="en-US" altLang="zh-CN" sz="1700" b="1" dirty="0">
                  <a:solidFill>
                    <a:srgbClr val="FFFFFF"/>
                  </a:solidFill>
                  <a:latin typeface="Calibri" panose="020F0502020204030204" pitchFamily="34" charset="0"/>
                  <a:cs typeface="Calibri" panose="020F0502020204030204" pitchFamily="34" charset="0"/>
                </a:rPr>
                <a:t>2</a:t>
              </a:r>
              <a:endParaRPr lang="zh-CN" altLang="en-US" sz="1700" b="1" dirty="0">
                <a:solidFill>
                  <a:srgbClr val="FFFFFF"/>
                </a:solidFill>
                <a:latin typeface="Calibri" panose="020F0502020204030204" pitchFamily="34" charset="0"/>
                <a:cs typeface="Calibri" panose="020F0502020204030204" pitchFamily="34" charset="0"/>
              </a:endParaRPr>
            </a:p>
          </p:txBody>
        </p:sp>
      </p:grpSp>
      <p:sp>
        <p:nvSpPr>
          <p:cNvPr id="16" name="矩形 15">
            <a:extLst>
              <a:ext uri="{FF2B5EF4-FFF2-40B4-BE49-F238E27FC236}">
                <a16:creationId xmlns:a16="http://schemas.microsoft.com/office/drawing/2014/main" id="{A37606C0-A83F-E242-9ED3-148229FC5BF6}"/>
              </a:ext>
            </a:extLst>
          </p:cNvPr>
          <p:cNvSpPr/>
          <p:nvPr/>
        </p:nvSpPr>
        <p:spPr>
          <a:xfrm>
            <a:off x="1506971" y="1874765"/>
            <a:ext cx="876075" cy="56796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r>
              <a:rPr kumimoji="1" lang="en-US" altLang="zh-CN" sz="1400" dirty="0">
                <a:solidFill>
                  <a:schemeClr val="accent2"/>
                </a:solidFill>
                <a:latin typeface="Calibri" panose="020F0502020204030204" pitchFamily="34" charset="0"/>
                <a:cs typeface="Calibri" panose="020F0502020204030204" pitchFamily="34" charset="0"/>
              </a:rPr>
              <a:t>Beverage</a:t>
            </a:r>
            <a:endParaRPr kumimoji="1" lang="zh-CN" altLang="en-US" sz="1400" dirty="0">
              <a:solidFill>
                <a:schemeClr val="accent2"/>
              </a:solidFill>
              <a:latin typeface="Calibri" panose="020F0502020204030204" pitchFamily="34" charset="0"/>
              <a:cs typeface="Calibri" panose="020F0502020204030204" pitchFamily="34" charset="0"/>
            </a:endParaRPr>
          </a:p>
        </p:txBody>
      </p:sp>
      <p:sp>
        <p:nvSpPr>
          <p:cNvPr id="18" name="矩形 17">
            <a:extLst>
              <a:ext uri="{FF2B5EF4-FFF2-40B4-BE49-F238E27FC236}">
                <a16:creationId xmlns:a16="http://schemas.microsoft.com/office/drawing/2014/main" id="{43B1ECC8-E65C-634E-BF55-A78E1A3DD9EB}"/>
              </a:ext>
            </a:extLst>
          </p:cNvPr>
          <p:cNvSpPr/>
          <p:nvPr/>
        </p:nvSpPr>
        <p:spPr>
          <a:xfrm>
            <a:off x="4478432" y="1874764"/>
            <a:ext cx="876075" cy="56796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r>
              <a:rPr kumimoji="1" lang="en-US" altLang="zh-CN" sz="1400" dirty="0">
                <a:solidFill>
                  <a:schemeClr val="accent2"/>
                </a:solidFill>
                <a:latin typeface="Calibri" panose="020F0502020204030204" pitchFamily="34" charset="0"/>
                <a:cs typeface="Calibri" panose="020F0502020204030204" pitchFamily="34" charset="0"/>
              </a:rPr>
              <a:t>Food</a:t>
            </a:r>
            <a:endParaRPr kumimoji="1" lang="zh-CN" altLang="en-US" sz="1400" dirty="0">
              <a:solidFill>
                <a:schemeClr val="accent2"/>
              </a:solidFill>
              <a:latin typeface="Calibri" panose="020F0502020204030204" pitchFamily="34" charset="0"/>
              <a:cs typeface="Calibri" panose="020F0502020204030204" pitchFamily="34" charset="0"/>
            </a:endParaRPr>
          </a:p>
        </p:txBody>
      </p:sp>
      <p:sp>
        <p:nvSpPr>
          <p:cNvPr id="19" name="Rectangle 33">
            <a:extLst>
              <a:ext uri="{FF2B5EF4-FFF2-40B4-BE49-F238E27FC236}">
                <a16:creationId xmlns:a16="http://schemas.microsoft.com/office/drawing/2014/main" id="{1FA679FC-80A7-5943-BC9A-A3A9217D718A}"/>
              </a:ext>
            </a:extLst>
          </p:cNvPr>
          <p:cNvSpPr/>
          <p:nvPr/>
        </p:nvSpPr>
        <p:spPr>
          <a:xfrm>
            <a:off x="763410" y="4731492"/>
            <a:ext cx="5247279" cy="512714"/>
          </a:xfrm>
          <a:prstGeom prst="rect">
            <a:avLst/>
          </a:prstGeom>
          <a:solidFill>
            <a:schemeClr val="accent5">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426">
              <a:defRPr/>
            </a:pPr>
            <a:r>
              <a:rPr lang="en-US" altLang="zh-CN" sz="1200" dirty="0">
                <a:solidFill>
                  <a:prstClr val="black"/>
                </a:solidFill>
                <a:latin typeface="Calibri" panose="020F0502020204030204" pitchFamily="34" charset="0"/>
                <a:cs typeface="Calibri" panose="020F0502020204030204" pitchFamily="34" charset="0"/>
              </a:rPr>
              <a:t>The diverse strategy of PepsiCo products implemented since 2014 is the key factor for PEP to perform well during COVID-19.</a:t>
            </a:r>
          </a:p>
        </p:txBody>
      </p:sp>
      <p:pic>
        <p:nvPicPr>
          <p:cNvPr id="20" name="Picture 2" descr="Pepsi Products List">
            <a:extLst>
              <a:ext uri="{FF2B5EF4-FFF2-40B4-BE49-F238E27FC236}">
                <a16:creationId xmlns:a16="http://schemas.microsoft.com/office/drawing/2014/main" id="{DD949AD0-0D45-414C-81D0-552EB0DCD9F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6697" r="60303" b="17849"/>
          <a:stretch/>
        </p:blipFill>
        <p:spPr bwMode="auto">
          <a:xfrm>
            <a:off x="773021" y="2413698"/>
            <a:ext cx="2280451" cy="2124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Pepsi Products List">
            <a:extLst>
              <a:ext uri="{FF2B5EF4-FFF2-40B4-BE49-F238E27FC236}">
                <a16:creationId xmlns:a16="http://schemas.microsoft.com/office/drawing/2014/main" id="{02151C15-E964-8E43-9F85-D7864399E2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3875" t="26697" b="17849"/>
          <a:stretch/>
        </p:blipFill>
        <p:spPr bwMode="auto">
          <a:xfrm>
            <a:off x="3360932" y="2413698"/>
            <a:ext cx="2649757" cy="2124000"/>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直线箭头连接符 21">
            <a:extLst>
              <a:ext uri="{FF2B5EF4-FFF2-40B4-BE49-F238E27FC236}">
                <a16:creationId xmlns:a16="http://schemas.microsoft.com/office/drawing/2014/main" id="{595CCE4E-D771-6A4C-AFCD-69AC69BCCA81}"/>
              </a:ext>
            </a:extLst>
          </p:cNvPr>
          <p:cNvCxnSpPr>
            <a:cxnSpLocks/>
          </p:cNvCxnSpPr>
          <p:nvPr/>
        </p:nvCxnSpPr>
        <p:spPr>
          <a:xfrm>
            <a:off x="6188567" y="2046323"/>
            <a:ext cx="0" cy="478364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6" name="矩形 25">
            <a:extLst>
              <a:ext uri="{FF2B5EF4-FFF2-40B4-BE49-F238E27FC236}">
                <a16:creationId xmlns:a16="http://schemas.microsoft.com/office/drawing/2014/main" id="{92D54282-78AF-EA4D-9F7B-83DEDF8BDB2F}"/>
              </a:ext>
            </a:extLst>
          </p:cNvPr>
          <p:cNvSpPr/>
          <p:nvPr/>
        </p:nvSpPr>
        <p:spPr>
          <a:xfrm>
            <a:off x="6376774" y="2046323"/>
            <a:ext cx="5804114" cy="4708981"/>
          </a:xfrm>
          <a:prstGeom prst="rect">
            <a:avLst/>
          </a:prstGeom>
        </p:spPr>
        <p:txBody>
          <a:bodyPr wrap="square">
            <a:spAutoFit/>
          </a:bodyPr>
          <a:lstStyle/>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1.2: </a:t>
            </a:r>
            <a:r>
              <a:rPr lang="en-US" altLang="zh-CN" sz="1200" dirty="0" err="1">
                <a:solidFill>
                  <a:srgbClr val="000000"/>
                </a:solidFill>
                <a:latin typeface="Calibri" panose="020F0502020204030204" pitchFamily="34" charset="0"/>
                <a:cs typeface="Calibri" panose="020F0502020204030204" pitchFamily="34" charset="0"/>
              </a:rPr>
              <a:t>Wimm</a:t>
            </a:r>
            <a:r>
              <a:rPr lang="en-US" altLang="zh-CN" sz="1200" dirty="0">
                <a:solidFill>
                  <a:srgbClr val="000000"/>
                </a:solidFill>
                <a:latin typeface="Calibri" panose="020F0502020204030204" pitchFamily="34" charset="0"/>
                <a:cs typeface="Calibri" panose="020F0502020204030204" pitchFamily="34" charset="0"/>
              </a:rPr>
              <a:t>-Bill-Dann Foods, a Russian food company that produces milk, yogurt, fruit juices, and dairy products</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2.7: Muller Quaker Dairy - PepsiCo's first entry into the dairy space in the U.S. </a:t>
            </a: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6.11: </a:t>
            </a:r>
            <a:r>
              <a:rPr lang="en-US" altLang="zh-CN" sz="1200" dirty="0" err="1">
                <a:solidFill>
                  <a:srgbClr val="000000"/>
                </a:solidFill>
                <a:latin typeface="Calibri" panose="020F0502020204030204" pitchFamily="34" charset="0"/>
                <a:cs typeface="Calibri" panose="020F0502020204030204" pitchFamily="34" charset="0"/>
              </a:rPr>
              <a:t>KeVita</a:t>
            </a:r>
            <a:r>
              <a:rPr lang="en-US" altLang="zh-CN" sz="1200" dirty="0">
                <a:solidFill>
                  <a:srgbClr val="000000"/>
                </a:solidFill>
                <a:latin typeface="Calibri" panose="020F0502020204030204" pitchFamily="34" charset="0"/>
                <a:cs typeface="Calibri" panose="020F0502020204030204" pitchFamily="34" charset="0"/>
              </a:rPr>
              <a:t> probiotic drink</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8.5: Bare Foods, fruit and veggie snack maker </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8.8: SodaStream - a strategic plan to steer Pepsi toward offering healthier products</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8.10: Health Warrior, fitness snacks</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8.11: Pipers Crisps, a manufacturer of potato crisps</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8.11: </a:t>
            </a:r>
            <a:r>
              <a:rPr lang="en-US" altLang="zh-CN" sz="1200" dirty="0" err="1">
                <a:solidFill>
                  <a:srgbClr val="000000"/>
                </a:solidFill>
                <a:latin typeface="Calibri" panose="020F0502020204030204" pitchFamily="34" charset="0"/>
                <a:cs typeface="Calibri" panose="020F0502020204030204" pitchFamily="34" charset="0"/>
              </a:rPr>
              <a:t>allMotti</a:t>
            </a:r>
            <a:r>
              <a:rPr lang="en-US" altLang="zh-CN" sz="1200" dirty="0">
                <a:solidFill>
                  <a:srgbClr val="000000"/>
                </a:solidFill>
                <a:latin typeface="Calibri" panose="020F0502020204030204" pitchFamily="34" charset="0"/>
                <a:cs typeface="Calibri" panose="020F0502020204030204" pitchFamily="34" charset="0"/>
              </a:rPr>
              <a:t> - PepsiCo's first owned Tech and Computer Service company</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9.2: </a:t>
            </a:r>
            <a:r>
              <a:rPr lang="en-US" altLang="zh-CN" sz="1200" dirty="0" err="1">
                <a:solidFill>
                  <a:srgbClr val="000000"/>
                </a:solidFill>
                <a:latin typeface="Calibri" panose="020F0502020204030204" pitchFamily="34" charset="0"/>
                <a:cs typeface="Calibri" panose="020F0502020204030204" pitchFamily="34" charset="0"/>
              </a:rPr>
              <a:t>Cytosport</a:t>
            </a:r>
            <a:r>
              <a:rPr lang="en-US" altLang="zh-CN" sz="1200" dirty="0">
                <a:solidFill>
                  <a:srgbClr val="000000"/>
                </a:solidFill>
                <a:latin typeface="Calibri" panose="020F0502020204030204" pitchFamily="34" charset="0"/>
                <a:cs typeface="Calibri" panose="020F0502020204030204" pitchFamily="34" charset="0"/>
              </a:rPr>
              <a:t>, producer of sports-oriented nutritional products and supplements</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9.2: Muscle Milk, protein supplement products manufacturer </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9.7: Pioneer Foods, multicategory food and beverage company</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19.12: BFY Brands, snacks brand</a:t>
            </a:r>
          </a:p>
          <a:p>
            <a:pPr marL="171450" indent="-171450">
              <a:buFont typeface="Arial" panose="020B0604020202020204" pitchFamily="34" charset="0"/>
              <a:buChar char="•"/>
            </a:pPr>
            <a:endParaRPr lang="en-US" altLang="zh-CN" sz="1200" dirty="0">
              <a:solidFill>
                <a:srgbClr val="000000"/>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altLang="zh-CN" sz="1200" dirty="0">
                <a:solidFill>
                  <a:srgbClr val="000000"/>
                </a:solidFill>
                <a:latin typeface="Calibri" panose="020F0502020204030204" pitchFamily="34" charset="0"/>
                <a:cs typeface="Calibri" panose="020F0502020204030204" pitchFamily="34" charset="0"/>
              </a:rPr>
              <a:t>2020.3: Rockstar</a:t>
            </a:r>
            <a:endParaRPr lang="en-US" altLang="zh-CN" sz="1200" b="0" i="0" u="none" strike="noStrike" dirty="0">
              <a:solidFill>
                <a:srgbClr val="000000"/>
              </a:solidFill>
              <a:effectLst/>
              <a:latin typeface="Calibri" panose="020F0502020204030204" pitchFamily="34" charset="0"/>
              <a:cs typeface="Calibri" panose="020F0502020204030204" pitchFamily="34" charset="0"/>
            </a:endParaRPr>
          </a:p>
        </p:txBody>
      </p:sp>
      <p:sp>
        <p:nvSpPr>
          <p:cNvPr id="23" name="矩形 22">
            <a:extLst>
              <a:ext uri="{FF2B5EF4-FFF2-40B4-BE49-F238E27FC236}">
                <a16:creationId xmlns:a16="http://schemas.microsoft.com/office/drawing/2014/main" id="{CAE64C7D-4D5B-BF49-ABAB-279FF1E547F0}"/>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Tree>
    <p:extLst>
      <p:ext uri="{BB962C8B-B14F-4D97-AF65-F5344CB8AC3E}">
        <p14:creationId xmlns:p14="http://schemas.microsoft.com/office/powerpoint/2010/main" val="161423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6D01A16-B9BF-A344-B53A-9B2673A4921E}"/>
              </a:ext>
            </a:extLst>
          </p:cNvPr>
          <p:cNvSpPr>
            <a:spLocks noGrp="1"/>
          </p:cNvSpPr>
          <p:nvPr>
            <p:ph type="ftr" sz="quarter" idx="11"/>
          </p:nvPr>
        </p:nvSpPr>
        <p:spPr/>
        <p:txBody>
          <a:bodyPr/>
          <a:lstStyle/>
          <a:p>
            <a:endParaRPr lang="zh-CN" altLang="en-US"/>
          </a:p>
        </p:txBody>
      </p:sp>
      <p:sp>
        <p:nvSpPr>
          <p:cNvPr id="3" name="标题 1">
            <a:extLst>
              <a:ext uri="{FF2B5EF4-FFF2-40B4-BE49-F238E27FC236}">
                <a16:creationId xmlns:a16="http://schemas.microsoft.com/office/drawing/2014/main" id="{17D5BF93-B13A-D341-8E05-1CEA06B6C093}"/>
              </a:ext>
            </a:extLst>
          </p:cNvPr>
          <p:cNvSpPr txBox="1">
            <a:spLocks/>
          </p:cNvSpPr>
          <p:nvPr/>
        </p:nvSpPr>
        <p:spPr>
          <a:xfrm>
            <a:off x="588004" y="394564"/>
            <a:ext cx="11675762" cy="878857"/>
          </a:xfrm>
          <a:prstGeom prst="rect">
            <a:avLst/>
          </a:prstGeom>
        </p:spPr>
        <p:txBody>
          <a:bodyPr anchor="ctr"/>
          <a:lst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a:lstStyle>
          <a:p>
            <a:r>
              <a:rPr kumimoji="1" lang="en-US" altLang="zh-CN" sz="2800" dirty="0"/>
              <a:t>Appendix: Feature Selection</a:t>
            </a:r>
            <a:endParaRPr kumimoji="1" lang="zh-CN" altLang="en-US" sz="2800" dirty="0"/>
          </a:p>
        </p:txBody>
      </p:sp>
      <p:grpSp>
        <p:nvGrpSpPr>
          <p:cNvPr id="4" name="Group 3">
            <a:extLst>
              <a:ext uri="{FF2B5EF4-FFF2-40B4-BE49-F238E27FC236}">
                <a16:creationId xmlns:a16="http://schemas.microsoft.com/office/drawing/2014/main" id="{8712F230-B463-3045-8E6E-8135A648ABE9}"/>
              </a:ext>
            </a:extLst>
          </p:cNvPr>
          <p:cNvGrpSpPr/>
          <p:nvPr/>
        </p:nvGrpSpPr>
        <p:grpSpPr>
          <a:xfrm>
            <a:off x="379401" y="1852925"/>
            <a:ext cx="3380775" cy="392179"/>
            <a:chOff x="260073" y="1397601"/>
            <a:chExt cx="6098976" cy="392179"/>
          </a:xfrm>
        </p:grpSpPr>
        <p:sp>
          <p:nvSpPr>
            <p:cNvPr id="5" name="Rectangle 4">
              <a:extLst>
                <a:ext uri="{FF2B5EF4-FFF2-40B4-BE49-F238E27FC236}">
                  <a16:creationId xmlns:a16="http://schemas.microsoft.com/office/drawing/2014/main" id="{4FD00165-A858-E44A-8418-087252CE60F4}"/>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altLang="zh-CN" sz="1600" b="1" dirty="0">
                  <a:solidFill>
                    <a:prstClr val="black"/>
                  </a:solidFill>
                  <a:latin typeface="Calibri" panose="020F0502020204030204" pitchFamily="34" charset="0"/>
                  <a:cs typeface="Calibri" panose="020F0502020204030204" pitchFamily="34" charset="0"/>
                </a:rPr>
                <a:t>Stock Market-related Features</a:t>
              </a:r>
            </a:p>
          </p:txBody>
        </p:sp>
        <p:cxnSp>
          <p:nvCxnSpPr>
            <p:cNvPr id="6" name="Straight Connector 6">
              <a:extLst>
                <a:ext uri="{FF2B5EF4-FFF2-40B4-BE49-F238E27FC236}">
                  <a16:creationId xmlns:a16="http://schemas.microsoft.com/office/drawing/2014/main" id="{A1CD076C-2A82-F94E-9246-8794F0544CF6}"/>
                </a:ext>
              </a:extLst>
            </p:cNvPr>
            <p:cNvCxnSpPr>
              <a:cxnSpLocks/>
            </p:cNvCxnSpPr>
            <p:nvPr/>
          </p:nvCxnSpPr>
          <p:spPr>
            <a:xfrm>
              <a:off x="260073" y="1778726"/>
              <a:ext cx="599506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7" name="Rectangle 34">
            <a:extLst>
              <a:ext uri="{FF2B5EF4-FFF2-40B4-BE49-F238E27FC236}">
                <a16:creationId xmlns:a16="http://schemas.microsoft.com/office/drawing/2014/main" id="{9434E4DE-F659-4743-B19B-8689383E44C7}"/>
              </a:ext>
            </a:extLst>
          </p:cNvPr>
          <p:cNvSpPr/>
          <p:nvPr/>
        </p:nvSpPr>
        <p:spPr>
          <a:xfrm>
            <a:off x="360403" y="1890497"/>
            <a:ext cx="214238"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1</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8" name="Group 7">
            <a:extLst>
              <a:ext uri="{FF2B5EF4-FFF2-40B4-BE49-F238E27FC236}">
                <a16:creationId xmlns:a16="http://schemas.microsoft.com/office/drawing/2014/main" id="{FA23BA0D-73DD-E446-85C8-1025CF40AC15}"/>
              </a:ext>
            </a:extLst>
          </p:cNvPr>
          <p:cNvGrpSpPr/>
          <p:nvPr/>
        </p:nvGrpSpPr>
        <p:grpSpPr>
          <a:xfrm>
            <a:off x="4627751" y="1857849"/>
            <a:ext cx="3380775" cy="392179"/>
            <a:chOff x="260073" y="1397601"/>
            <a:chExt cx="6098976" cy="392179"/>
          </a:xfrm>
        </p:grpSpPr>
        <p:sp>
          <p:nvSpPr>
            <p:cNvPr id="9" name="Rectangle 8">
              <a:extLst>
                <a:ext uri="{FF2B5EF4-FFF2-40B4-BE49-F238E27FC236}">
                  <a16:creationId xmlns:a16="http://schemas.microsoft.com/office/drawing/2014/main" id="{AAE03336-53F9-6A48-B388-2366583BD30C}"/>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altLang="zh-CN" sz="1600" b="1" dirty="0">
                  <a:solidFill>
                    <a:prstClr val="black"/>
                  </a:solidFill>
                  <a:latin typeface="Calibri" panose="020F0502020204030204" pitchFamily="34" charset="0"/>
                  <a:cs typeface="Calibri" panose="020F0502020204030204" pitchFamily="34" charset="0"/>
                </a:rPr>
                <a:t>Financial-related Features</a:t>
              </a:r>
            </a:p>
          </p:txBody>
        </p:sp>
        <p:cxnSp>
          <p:nvCxnSpPr>
            <p:cNvPr id="10" name="Straight Connector 6">
              <a:extLst>
                <a:ext uri="{FF2B5EF4-FFF2-40B4-BE49-F238E27FC236}">
                  <a16:creationId xmlns:a16="http://schemas.microsoft.com/office/drawing/2014/main" id="{76FBA0D9-2F3F-B843-AA61-0A7F3E0095AC}"/>
                </a:ext>
              </a:extLst>
            </p:cNvPr>
            <p:cNvCxnSpPr>
              <a:cxnSpLocks/>
            </p:cNvCxnSpPr>
            <p:nvPr/>
          </p:nvCxnSpPr>
          <p:spPr>
            <a:xfrm>
              <a:off x="260073" y="1778726"/>
              <a:ext cx="599506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1" name="Rectangle 34">
            <a:extLst>
              <a:ext uri="{FF2B5EF4-FFF2-40B4-BE49-F238E27FC236}">
                <a16:creationId xmlns:a16="http://schemas.microsoft.com/office/drawing/2014/main" id="{5453CFBF-DD8D-D44F-97C8-9658582DCA60}"/>
              </a:ext>
            </a:extLst>
          </p:cNvPr>
          <p:cNvSpPr/>
          <p:nvPr/>
        </p:nvSpPr>
        <p:spPr>
          <a:xfrm>
            <a:off x="4608753" y="1895421"/>
            <a:ext cx="214238"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C1B58FE0-4987-3749-9575-7FBCC3DD6312}"/>
              </a:ext>
            </a:extLst>
          </p:cNvPr>
          <p:cNvGrpSpPr/>
          <p:nvPr/>
        </p:nvGrpSpPr>
        <p:grpSpPr>
          <a:xfrm>
            <a:off x="8972636" y="1856881"/>
            <a:ext cx="3380775" cy="392179"/>
            <a:chOff x="260073" y="1397601"/>
            <a:chExt cx="6098976" cy="392179"/>
          </a:xfrm>
        </p:grpSpPr>
        <p:sp>
          <p:nvSpPr>
            <p:cNvPr id="13" name="Rectangle 12">
              <a:extLst>
                <a:ext uri="{FF2B5EF4-FFF2-40B4-BE49-F238E27FC236}">
                  <a16:creationId xmlns:a16="http://schemas.microsoft.com/office/drawing/2014/main" id="{7157ECCE-562F-214B-B554-CD859B6FBBC1}"/>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altLang="zh-CN" sz="1600" b="1" dirty="0">
                  <a:solidFill>
                    <a:prstClr val="black"/>
                  </a:solidFill>
                  <a:latin typeface="Calibri" panose="020F0502020204030204" pitchFamily="34" charset="0"/>
                  <a:cs typeface="Calibri" panose="020F0502020204030204" pitchFamily="34" charset="0"/>
                </a:rPr>
                <a:t>Text-related Features</a:t>
              </a:r>
            </a:p>
          </p:txBody>
        </p:sp>
        <p:cxnSp>
          <p:nvCxnSpPr>
            <p:cNvPr id="14" name="Straight Connector 6">
              <a:extLst>
                <a:ext uri="{FF2B5EF4-FFF2-40B4-BE49-F238E27FC236}">
                  <a16:creationId xmlns:a16="http://schemas.microsoft.com/office/drawing/2014/main" id="{2AB16515-224B-DB46-B87A-5FA370BA033A}"/>
                </a:ext>
              </a:extLst>
            </p:cNvPr>
            <p:cNvCxnSpPr>
              <a:cxnSpLocks/>
            </p:cNvCxnSpPr>
            <p:nvPr/>
          </p:nvCxnSpPr>
          <p:spPr>
            <a:xfrm>
              <a:off x="260073" y="1778726"/>
              <a:ext cx="5995069"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5" name="Rectangle 34">
            <a:extLst>
              <a:ext uri="{FF2B5EF4-FFF2-40B4-BE49-F238E27FC236}">
                <a16:creationId xmlns:a16="http://schemas.microsoft.com/office/drawing/2014/main" id="{E7CE7E68-A5B2-6346-A9AB-C93CC2243B83}"/>
              </a:ext>
            </a:extLst>
          </p:cNvPr>
          <p:cNvSpPr/>
          <p:nvPr/>
        </p:nvSpPr>
        <p:spPr>
          <a:xfrm>
            <a:off x="8953638" y="1894453"/>
            <a:ext cx="214238"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25" name="组合 24">
            <a:extLst>
              <a:ext uri="{FF2B5EF4-FFF2-40B4-BE49-F238E27FC236}">
                <a16:creationId xmlns:a16="http://schemas.microsoft.com/office/drawing/2014/main" id="{5216DFEB-3FED-594B-99C4-C2984958FE62}"/>
              </a:ext>
            </a:extLst>
          </p:cNvPr>
          <p:cNvGrpSpPr/>
          <p:nvPr/>
        </p:nvGrpSpPr>
        <p:grpSpPr>
          <a:xfrm>
            <a:off x="354770" y="2256011"/>
            <a:ext cx="3773846" cy="1513345"/>
            <a:chOff x="319763" y="1784945"/>
            <a:chExt cx="3773846" cy="1513345"/>
          </a:xfrm>
        </p:grpSpPr>
        <p:sp>
          <p:nvSpPr>
            <p:cNvPr id="17" name="Rectangle 16">
              <a:extLst>
                <a:ext uri="{FF2B5EF4-FFF2-40B4-BE49-F238E27FC236}">
                  <a16:creationId xmlns:a16="http://schemas.microsoft.com/office/drawing/2014/main" id="{FBB8FAF5-5584-5F4A-B71E-41538B3121A0}"/>
                </a:ext>
              </a:extLst>
            </p:cNvPr>
            <p:cNvSpPr/>
            <p:nvPr/>
          </p:nvSpPr>
          <p:spPr>
            <a:xfrm>
              <a:off x="322719" y="1784945"/>
              <a:ext cx="317857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400" b="1" dirty="0">
                  <a:solidFill>
                    <a:prstClr val="black"/>
                  </a:solidFill>
                  <a:latin typeface="Calibri" panose="020F0502020204030204" pitchFamily="34" charset="0"/>
                  <a:cs typeface="Calibri" panose="020F0502020204030204" pitchFamily="34" charset="0"/>
                </a:rPr>
                <a:t>Self-related features: Volume</a:t>
              </a:r>
            </a:p>
          </p:txBody>
        </p:sp>
        <p:sp>
          <p:nvSpPr>
            <p:cNvPr id="18" name="TextBox 17">
              <a:extLst>
                <a:ext uri="{FF2B5EF4-FFF2-40B4-BE49-F238E27FC236}">
                  <a16:creationId xmlns:a16="http://schemas.microsoft.com/office/drawing/2014/main" id="{EF8CD13D-D727-9840-851E-2734B6289924}"/>
                </a:ext>
              </a:extLst>
            </p:cNvPr>
            <p:cNvSpPr txBox="1"/>
            <p:nvPr/>
          </p:nvSpPr>
          <p:spPr>
            <a:xfrm>
              <a:off x="319763" y="2117591"/>
              <a:ext cx="3773846" cy="1180699"/>
            </a:xfrm>
            <a:prstGeom prst="rect">
              <a:avLst/>
            </a:prstGeom>
            <a:noFill/>
          </p:spPr>
          <p:txBody>
            <a:bodyPr wrap="square" lIns="36000" tIns="36000" rIns="36000" bIns="36000" rtlCol="0">
              <a:spAutoFit/>
            </a:bodyPr>
            <a:lstStyle/>
            <a:p>
              <a:r>
                <a:rPr lang="en-US" sz="1200" dirty="0">
                  <a:latin typeface="Calibri" panose="020F0502020204030204" pitchFamily="34" charset="0"/>
                  <a:ea typeface="SimHei" panose="02010609060101010101" pitchFamily="49" charset="-122"/>
                  <a:cs typeface="Calibri" panose="020F0502020204030204" pitchFamily="34" charset="0"/>
                </a:rPr>
                <a:t>A</a:t>
              </a:r>
              <a:r>
                <a:rPr lang="en-CN" sz="1200">
                  <a:latin typeface="Calibri" panose="020F0502020204030204" pitchFamily="34" charset="0"/>
                  <a:ea typeface="SimHei" panose="02010609060101010101" pitchFamily="49" charset="-122"/>
                  <a:cs typeface="Calibri" panose="020F0502020204030204" pitchFamily="34" charset="0"/>
                </a:rPr>
                <a:t>ny </a:t>
              </a:r>
              <a:r>
                <a:rPr lang="en-CN" sz="1200" dirty="0">
                  <a:latin typeface="Calibri" panose="020F0502020204030204" pitchFamily="34" charset="0"/>
                  <a:ea typeface="SimHei" panose="02010609060101010101" pitchFamily="49" charset="-122"/>
                  <a:cs typeface="Calibri" panose="020F0502020204030204" pitchFamily="34" charset="0"/>
                </a:rPr>
                <a:t>information </a:t>
              </a:r>
              <a:r>
                <a:rPr lang="en-CN" sz="1200">
                  <a:latin typeface="Calibri" panose="020F0502020204030204" pitchFamily="34" charset="0"/>
                  <a:ea typeface="SimHei" panose="02010609060101010101" pitchFamily="49" charset="-122"/>
                  <a:cs typeface="Calibri" panose="020F0502020204030204" pitchFamily="34" charset="0"/>
                </a:rPr>
                <a:t>about share price </a:t>
              </a:r>
              <a:r>
                <a:rPr lang="en-US" altLang="zh-CN" sz="1200" dirty="0">
                  <a:latin typeface="Calibri" panose="020F0502020204030204" pitchFamily="34" charset="0"/>
                  <a:ea typeface="SimHei" panose="02010609060101010101" pitchFamily="49" charset="-122"/>
                  <a:cs typeface="Calibri" panose="020F0502020204030204" pitchFamily="34" charset="0"/>
                </a:rPr>
                <a:t>was</a:t>
              </a:r>
              <a:r>
                <a:rPr lang="en-CN" altLang="zh-CN" sz="1200">
                  <a:latin typeface="Calibri" panose="020F0502020204030204" pitchFamily="34" charset="0"/>
                  <a:ea typeface="SimHei" panose="02010609060101010101" pitchFamily="49" charset="-122"/>
                  <a:cs typeface="Calibri" panose="020F0502020204030204" pitchFamily="34" charset="0"/>
                </a:rPr>
                <a:t> avoid</a:t>
              </a:r>
              <a:r>
                <a:rPr lang="en-US" altLang="zh-CN" sz="1200" dirty="0">
                  <a:latin typeface="Calibri" panose="020F0502020204030204" pitchFamily="34" charset="0"/>
                  <a:ea typeface="SimHei" panose="02010609060101010101" pitchFamily="49" charset="-122"/>
                  <a:cs typeface="Calibri" panose="020F0502020204030204" pitchFamily="34" charset="0"/>
                </a:rPr>
                <a:t>ed</a:t>
              </a:r>
              <a:r>
                <a:rPr lang="en-CN" altLang="zh-CN" sz="1200">
                  <a:latin typeface="Calibri" panose="020F0502020204030204" pitchFamily="34" charset="0"/>
                  <a:ea typeface="SimHei" panose="02010609060101010101" pitchFamily="49" charset="-122"/>
                  <a:cs typeface="Calibri" panose="020F0502020204030204" pitchFamily="34" charset="0"/>
                </a:rPr>
                <a:t> </a:t>
              </a:r>
              <a:r>
                <a:rPr lang="en-CN" sz="1200">
                  <a:latin typeface="Calibri" panose="020F0502020204030204" pitchFamily="34" charset="0"/>
                  <a:ea typeface="SimHei" panose="02010609060101010101" pitchFamily="49" charset="-122"/>
                  <a:cs typeface="Calibri" panose="020F0502020204030204" pitchFamily="34" charset="0"/>
                </a:rPr>
                <a:t>because </a:t>
              </a:r>
              <a:r>
                <a:rPr lang="en-CN" sz="1200" dirty="0">
                  <a:latin typeface="Calibri" panose="020F0502020204030204" pitchFamily="34" charset="0"/>
                  <a:ea typeface="SimHei" panose="02010609060101010101" pitchFamily="49" charset="-122"/>
                  <a:cs typeface="Calibri" panose="020F0502020204030204" pitchFamily="34" charset="0"/>
                </a:rPr>
                <a:t>it is the result of </a:t>
              </a:r>
              <a:r>
                <a:rPr lang="en-CN" sz="1200">
                  <a:latin typeface="Calibri" panose="020F0502020204030204" pitchFamily="34" charset="0"/>
                  <a:ea typeface="SimHei" panose="02010609060101010101" pitchFamily="49" charset="-122"/>
                  <a:cs typeface="Calibri" panose="020F0502020204030204" pitchFamily="34" charset="0"/>
                </a:rPr>
                <a:t>all exogenous </a:t>
              </a:r>
              <a:r>
                <a:rPr lang="en-CN" sz="1200" dirty="0">
                  <a:latin typeface="Calibri" panose="020F0502020204030204" pitchFamily="34" charset="0"/>
                  <a:ea typeface="SimHei" panose="02010609060101010101" pitchFamily="49" charset="-122"/>
                  <a:cs typeface="Calibri" panose="020F0502020204030204" pitchFamily="34" charset="0"/>
                </a:rPr>
                <a:t>covariate and may eclipse the effect of other features even though it may improve prediction accuracy.</a:t>
              </a:r>
            </a:p>
            <a:p>
              <a:r>
                <a:rPr lang="en-CN" sz="1200" dirty="0">
                  <a:latin typeface="Calibri" panose="020F0502020204030204" pitchFamily="34" charset="0"/>
                  <a:ea typeface="SimHei" panose="02010609060101010101" pitchFamily="49" charset="-122"/>
                  <a:cs typeface="Calibri" panose="020F0502020204030204" pitchFamily="34" charset="0"/>
                </a:rPr>
                <a:t>Among historical stock information, only volume is not directly related to price.</a:t>
              </a:r>
            </a:p>
          </p:txBody>
        </p:sp>
      </p:grpSp>
      <p:pic>
        <p:nvPicPr>
          <p:cNvPr id="399361" name="Picture 1">
            <a:extLst>
              <a:ext uri="{FF2B5EF4-FFF2-40B4-BE49-F238E27FC236}">
                <a16:creationId xmlns:a16="http://schemas.microsoft.com/office/drawing/2014/main" id="{F6D994FF-DEEB-C442-9BC8-34B7212791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3302" b="18024"/>
          <a:stretch/>
        </p:blipFill>
        <p:spPr bwMode="auto">
          <a:xfrm>
            <a:off x="354770" y="4748242"/>
            <a:ext cx="3773846" cy="2072252"/>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组合 23">
            <a:extLst>
              <a:ext uri="{FF2B5EF4-FFF2-40B4-BE49-F238E27FC236}">
                <a16:creationId xmlns:a16="http://schemas.microsoft.com/office/drawing/2014/main" id="{5697B4B7-3D3F-454D-A3C4-839E7F420B8C}"/>
              </a:ext>
            </a:extLst>
          </p:cNvPr>
          <p:cNvGrpSpPr/>
          <p:nvPr/>
        </p:nvGrpSpPr>
        <p:grpSpPr>
          <a:xfrm>
            <a:off x="354770" y="3685556"/>
            <a:ext cx="3773846" cy="966375"/>
            <a:chOff x="335805" y="3477896"/>
            <a:chExt cx="3773846" cy="966375"/>
          </a:xfrm>
        </p:grpSpPr>
        <p:sp>
          <p:nvSpPr>
            <p:cNvPr id="19" name="Rectangle 18">
              <a:extLst>
                <a:ext uri="{FF2B5EF4-FFF2-40B4-BE49-F238E27FC236}">
                  <a16:creationId xmlns:a16="http://schemas.microsoft.com/office/drawing/2014/main" id="{8D9F408F-F3E8-0D45-81D4-1626BBEED50F}"/>
                </a:ext>
              </a:extLst>
            </p:cNvPr>
            <p:cNvSpPr/>
            <p:nvPr/>
          </p:nvSpPr>
          <p:spPr>
            <a:xfrm>
              <a:off x="335805" y="3477896"/>
              <a:ext cx="317857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400" b="1" dirty="0">
                  <a:solidFill>
                    <a:prstClr val="black"/>
                  </a:solidFill>
                  <a:latin typeface="Calibri" panose="020F0502020204030204" pitchFamily="34" charset="0"/>
                  <a:cs typeface="Calibri" panose="020F0502020204030204" pitchFamily="34" charset="0"/>
                </a:rPr>
                <a:t>Market-related features: S&amp;P 500</a:t>
              </a:r>
            </a:p>
          </p:txBody>
        </p:sp>
        <p:sp>
          <p:nvSpPr>
            <p:cNvPr id="21" name="TextBox 20">
              <a:extLst>
                <a:ext uri="{FF2B5EF4-FFF2-40B4-BE49-F238E27FC236}">
                  <a16:creationId xmlns:a16="http://schemas.microsoft.com/office/drawing/2014/main" id="{37C840A7-33D9-EC4A-B213-2337488823CB}"/>
                </a:ext>
              </a:extLst>
            </p:cNvPr>
            <p:cNvSpPr txBox="1"/>
            <p:nvPr/>
          </p:nvSpPr>
          <p:spPr>
            <a:xfrm>
              <a:off x="335805" y="3817570"/>
              <a:ext cx="3773846" cy="626701"/>
            </a:xfrm>
            <a:prstGeom prst="rect">
              <a:avLst/>
            </a:prstGeom>
            <a:noFill/>
          </p:spPr>
          <p:txBody>
            <a:bodyPr wrap="square" lIns="36000" tIns="36000" rIns="36000" bIns="36000" rtlCol="0">
              <a:spAutoFit/>
            </a:bodyPr>
            <a:lstStyle/>
            <a:p>
              <a:r>
                <a:rPr lang="en-CN" sz="1200" dirty="0">
                  <a:latin typeface="Calibri" panose="020F0502020204030204" pitchFamily="34" charset="0"/>
                  <a:ea typeface="SimHei" panose="02010609060101010101" pitchFamily="49" charset="-122"/>
                  <a:cs typeface="Calibri" panose="020F0502020204030204" pitchFamily="34" charset="0"/>
                </a:rPr>
                <a:t>During data analysis</a:t>
              </a:r>
              <a:r>
                <a:rPr lang="en-CN" sz="1200">
                  <a:latin typeface="Calibri" panose="020F0502020204030204" pitchFamily="34" charset="0"/>
                  <a:ea typeface="SimHei" panose="02010609060101010101" pitchFamily="49" charset="-122"/>
                  <a:cs typeface="Calibri" panose="020F0502020204030204" pitchFamily="34" charset="0"/>
                </a:rPr>
                <a:t>, share </a:t>
              </a:r>
              <a:r>
                <a:rPr lang="en-CN" sz="1200" dirty="0">
                  <a:latin typeface="Calibri" panose="020F0502020204030204" pitchFamily="34" charset="0"/>
                  <a:ea typeface="SimHei" panose="02010609060101010101" pitchFamily="49" charset="-122"/>
                  <a:cs typeface="Calibri" panose="020F0502020204030204" pitchFamily="34" charset="0"/>
                </a:rPr>
                <a:t>price </a:t>
              </a:r>
              <a:r>
                <a:rPr lang="en-CN" sz="1200">
                  <a:latin typeface="Calibri" panose="020F0502020204030204" pitchFamily="34" charset="0"/>
                  <a:ea typeface="SimHei" panose="02010609060101010101" pitchFamily="49" charset="-122"/>
                  <a:cs typeface="Calibri" panose="020F0502020204030204" pitchFamily="34" charset="0"/>
                </a:rPr>
                <a:t>is </a:t>
              </a:r>
              <a:r>
                <a:rPr lang="en-US" sz="1200" dirty="0">
                  <a:latin typeface="Calibri" panose="020F0502020204030204" pitchFamily="34" charset="0"/>
                  <a:ea typeface="SimHei" panose="02010609060101010101" pitchFamily="49" charset="-122"/>
                  <a:cs typeface="Calibri" panose="020F0502020204030204" pitchFamily="34" charset="0"/>
                </a:rPr>
                <a:t>found to be </a:t>
              </a:r>
              <a:r>
                <a:rPr lang="en-CN" sz="1200">
                  <a:latin typeface="Calibri" panose="020F0502020204030204" pitchFamily="34" charset="0"/>
                  <a:ea typeface="SimHei" panose="02010609060101010101" pitchFamily="49" charset="-122"/>
                  <a:cs typeface="Calibri" panose="020F0502020204030204" pitchFamily="34" charset="0"/>
                </a:rPr>
                <a:t>highly </a:t>
              </a:r>
              <a:r>
                <a:rPr lang="en-CN" sz="1200" dirty="0">
                  <a:latin typeface="Calibri" panose="020F0502020204030204" pitchFamily="34" charset="0"/>
                  <a:ea typeface="SimHei" panose="02010609060101010101" pitchFamily="49" charset="-122"/>
                  <a:cs typeface="Calibri" panose="020F0502020204030204" pitchFamily="34" charset="0"/>
                </a:rPr>
                <a:t>correlated </a:t>
              </a:r>
              <a:r>
                <a:rPr lang="en-CN" sz="1200">
                  <a:latin typeface="Calibri" panose="020F0502020204030204" pitchFamily="34" charset="0"/>
                  <a:ea typeface="SimHei" panose="02010609060101010101" pitchFamily="49" charset="-122"/>
                  <a:cs typeface="Calibri" panose="020F0502020204030204" pitchFamily="34" charset="0"/>
                </a:rPr>
                <a:t>with S</a:t>
              </a:r>
              <a:r>
                <a:rPr lang="en-US" altLang="zh-CN" sz="1200" dirty="0">
                  <a:latin typeface="Calibri" panose="020F0502020204030204" pitchFamily="34" charset="0"/>
                  <a:ea typeface="SimHei" panose="02010609060101010101" pitchFamily="49" charset="-122"/>
                  <a:cs typeface="Calibri" panose="020F0502020204030204" pitchFamily="34" charset="0"/>
                </a:rPr>
                <a:t>&amp;</a:t>
              </a:r>
              <a:r>
                <a:rPr lang="en-CN" sz="1200">
                  <a:latin typeface="Calibri" panose="020F0502020204030204" pitchFamily="34" charset="0"/>
                  <a:ea typeface="SimHei" panose="02010609060101010101" pitchFamily="49" charset="-122"/>
                  <a:cs typeface="Calibri" panose="020F0502020204030204" pitchFamily="34" charset="0"/>
                </a:rPr>
                <a:t>P</a:t>
              </a:r>
              <a:r>
                <a:rPr lang="en-US" sz="1200" dirty="0">
                  <a:latin typeface="Calibri" panose="020F0502020204030204" pitchFamily="34" charset="0"/>
                  <a:ea typeface="SimHei" panose="02010609060101010101" pitchFamily="49" charset="-122"/>
                  <a:cs typeface="Calibri" panose="020F0502020204030204" pitchFamily="34" charset="0"/>
                </a:rPr>
                <a:t> </a:t>
              </a:r>
              <a:r>
                <a:rPr lang="en-CN" sz="1200">
                  <a:latin typeface="Calibri" panose="020F0502020204030204" pitchFamily="34" charset="0"/>
                  <a:ea typeface="SimHei" panose="02010609060101010101" pitchFamily="49" charset="-122"/>
                  <a:cs typeface="Calibri" panose="020F0502020204030204" pitchFamily="34" charset="0"/>
                </a:rPr>
                <a:t>500, </a:t>
              </a:r>
              <a:r>
                <a:rPr lang="en-CN" sz="1200" dirty="0">
                  <a:latin typeface="Calibri" panose="020F0502020204030204" pitchFamily="34" charset="0"/>
                  <a:ea typeface="SimHei" panose="02010609060101010101" pitchFamily="49" charset="-122"/>
                  <a:cs typeface="Calibri" panose="020F0502020204030204" pitchFamily="34" charset="0"/>
                </a:rPr>
                <a:t>with R-square reaches 0.957, though </a:t>
              </a:r>
              <a:r>
                <a:rPr lang="en-CN" sz="1200">
                  <a:latin typeface="Calibri" panose="020F0502020204030204" pitchFamily="34" charset="0"/>
                  <a:ea typeface="SimHei" panose="02010609060101010101" pitchFamily="49" charset="-122"/>
                  <a:cs typeface="Calibri" panose="020F0502020204030204" pitchFamily="34" charset="0"/>
                </a:rPr>
                <a:t>covariance is </a:t>
              </a:r>
              <a:r>
                <a:rPr lang="en-CN" sz="1200" dirty="0">
                  <a:latin typeface="Calibri" panose="020F0502020204030204" pitchFamily="34" charset="0"/>
                  <a:ea typeface="SimHei" panose="02010609060101010101" pitchFamily="49" charset="-122"/>
                  <a:cs typeface="Calibri" panose="020F0502020204030204" pitchFamily="34" charset="0"/>
                </a:rPr>
                <a:t>not robust.</a:t>
              </a:r>
            </a:p>
          </p:txBody>
        </p:sp>
      </p:grpSp>
      <p:sp>
        <p:nvSpPr>
          <p:cNvPr id="23" name="TextBox 22">
            <a:extLst>
              <a:ext uri="{FF2B5EF4-FFF2-40B4-BE49-F238E27FC236}">
                <a16:creationId xmlns:a16="http://schemas.microsoft.com/office/drawing/2014/main" id="{742DC5D6-6682-2F48-B2EE-6F195F472580}"/>
              </a:ext>
            </a:extLst>
          </p:cNvPr>
          <p:cNvSpPr txBox="1"/>
          <p:nvPr/>
        </p:nvSpPr>
        <p:spPr>
          <a:xfrm>
            <a:off x="4608753" y="2358466"/>
            <a:ext cx="3676864" cy="811367"/>
          </a:xfrm>
          <a:prstGeom prst="rect">
            <a:avLst/>
          </a:prstGeom>
          <a:noFill/>
        </p:spPr>
        <p:txBody>
          <a:bodyPr wrap="square" lIns="36000" tIns="36000" rIns="36000" bIns="36000" rtlCol="0">
            <a:spAutoFit/>
          </a:bodyPr>
          <a:lstStyle/>
          <a:p>
            <a:r>
              <a:rPr lang="en-CN" sz="1200" dirty="0">
                <a:latin typeface="Calibri" panose="020F0502020204030204" pitchFamily="34" charset="0"/>
                <a:ea typeface="SimHei" panose="02010609060101010101" pitchFamily="49" charset="-122"/>
                <a:cs typeface="Calibri" panose="020F0502020204030204" pitchFamily="34" charset="0"/>
              </a:rPr>
              <a:t>After cotroling the effect </a:t>
            </a:r>
            <a:r>
              <a:rPr lang="en-CN" sz="1200">
                <a:latin typeface="Calibri" panose="020F0502020204030204" pitchFamily="34" charset="0"/>
                <a:ea typeface="SimHei" panose="02010609060101010101" pitchFamily="49" charset="-122"/>
                <a:cs typeface="Calibri" panose="020F0502020204030204" pitchFamily="34" charset="0"/>
              </a:rPr>
              <a:t>of </a:t>
            </a:r>
            <a:r>
              <a:rPr lang="en-US" altLang="zh-CN" sz="1200" dirty="0">
                <a:latin typeface="Calibri" panose="020F0502020204030204" pitchFamily="34" charset="0"/>
                <a:ea typeface="SimHei" panose="02010609060101010101" pitchFamily="49" charset="-122"/>
                <a:cs typeface="Calibri" panose="020F0502020204030204" pitchFamily="34" charset="0"/>
              </a:rPr>
              <a:t>S&amp;P </a:t>
            </a:r>
            <a:r>
              <a:rPr lang="en-CN" sz="1200">
                <a:latin typeface="Calibri" panose="020F0502020204030204" pitchFamily="34" charset="0"/>
                <a:ea typeface="SimHei" panose="02010609060101010101" pitchFamily="49" charset="-122"/>
                <a:cs typeface="Calibri" panose="020F0502020204030204" pitchFamily="34" charset="0"/>
              </a:rPr>
              <a:t>500 </a:t>
            </a:r>
            <a:r>
              <a:rPr lang="en-CN" sz="1200" dirty="0">
                <a:latin typeface="Calibri" panose="020F0502020204030204" pitchFamily="34" charset="0"/>
                <a:ea typeface="SimHei" panose="02010609060101010101" pitchFamily="49" charset="-122"/>
                <a:cs typeface="Calibri" panose="020F0502020204030204" pitchFamily="34" charset="0"/>
              </a:rPr>
              <a:t>price, the regression result shows that Gross Profit has the most highly correlated factor to share price, with a positive sign which is consistent with our epectation.</a:t>
            </a:r>
          </a:p>
        </p:txBody>
      </p:sp>
      <p:pic>
        <p:nvPicPr>
          <p:cNvPr id="399371" name="Picture 11">
            <a:extLst>
              <a:ext uri="{FF2B5EF4-FFF2-40B4-BE49-F238E27FC236}">
                <a16:creationId xmlns:a16="http://schemas.microsoft.com/office/drawing/2014/main" id="{A31122A8-1F20-474D-8A11-D992977FEB5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274" b="13830"/>
          <a:stretch/>
        </p:blipFill>
        <p:spPr bwMode="auto">
          <a:xfrm>
            <a:off x="4602247" y="3184664"/>
            <a:ext cx="3633631" cy="2421886"/>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C8F5DB4-A6CA-0D48-8CA3-54ADDF7AA865}"/>
              </a:ext>
            </a:extLst>
          </p:cNvPr>
          <p:cNvSpPr txBox="1"/>
          <p:nvPr/>
        </p:nvSpPr>
        <p:spPr>
          <a:xfrm>
            <a:off x="4627751" y="5717683"/>
            <a:ext cx="3676864" cy="811367"/>
          </a:xfrm>
          <a:prstGeom prst="rect">
            <a:avLst/>
          </a:prstGeom>
          <a:noFill/>
        </p:spPr>
        <p:txBody>
          <a:bodyPr wrap="square" lIns="36000" tIns="36000" rIns="36000" bIns="36000" rtlCol="0">
            <a:spAutoFit/>
          </a:bodyPr>
          <a:lstStyle/>
          <a:p>
            <a:r>
              <a:rPr lang="en-CN" sz="1200" dirty="0">
                <a:latin typeface="Calibri" panose="020F0502020204030204" pitchFamily="34" charset="0"/>
                <a:ea typeface="SimHei" panose="02010609060101010101" pitchFamily="49" charset="-122"/>
                <a:cs typeface="Calibri" panose="020F0502020204030204" pitchFamily="34" charset="0"/>
              </a:rPr>
              <a:t>Although revenue and Net Income is not statistically significant, considering the amount of </a:t>
            </a:r>
            <a:r>
              <a:rPr lang="en-CN" sz="1200">
                <a:latin typeface="Calibri" panose="020F0502020204030204" pitchFamily="34" charset="0"/>
                <a:ea typeface="SimHei" panose="02010609060101010101" pitchFamily="49" charset="-122"/>
                <a:cs typeface="Calibri" panose="020F0502020204030204" pitchFamily="34" charset="0"/>
              </a:rPr>
              <a:t>data for neural network</a:t>
            </a:r>
            <a:r>
              <a:rPr lang="en-US" sz="1200" dirty="0">
                <a:latin typeface="Calibri" panose="020F0502020204030204" pitchFamily="34" charset="0"/>
                <a:ea typeface="SimHei" panose="02010609060101010101" pitchFamily="49" charset="-122"/>
                <a:cs typeface="Calibri" panose="020F0502020204030204" pitchFamily="34" charset="0"/>
              </a:rPr>
              <a:t> modelling</a:t>
            </a:r>
            <a:r>
              <a:rPr lang="en-CN" sz="1200">
                <a:latin typeface="Calibri" panose="020F0502020204030204" pitchFamily="34" charset="0"/>
                <a:ea typeface="SimHei" panose="02010609060101010101" pitchFamily="49" charset="-122"/>
                <a:cs typeface="Calibri" panose="020F0502020204030204" pitchFamily="34" charset="0"/>
              </a:rPr>
              <a:t>, this </a:t>
            </a:r>
            <a:r>
              <a:rPr lang="en-CN" sz="1200" dirty="0">
                <a:latin typeface="Calibri" panose="020F0502020204030204" pitchFamily="34" charset="0"/>
                <a:ea typeface="SimHei" panose="02010609060101010101" pitchFamily="49" charset="-122"/>
                <a:cs typeface="Calibri" panose="020F0502020204030204" pitchFamily="34" charset="0"/>
              </a:rPr>
              <a:t>two </a:t>
            </a:r>
            <a:r>
              <a:rPr lang="en-CN" sz="1200">
                <a:latin typeface="Calibri" panose="020F0502020204030204" pitchFamily="34" charset="0"/>
                <a:ea typeface="SimHei" panose="02010609060101010101" pitchFamily="49" charset="-122"/>
                <a:cs typeface="Calibri" panose="020F0502020204030204" pitchFamily="34" charset="0"/>
              </a:rPr>
              <a:t>features </a:t>
            </a:r>
            <a:r>
              <a:rPr lang="en-US" sz="1200" dirty="0">
                <a:latin typeface="Calibri" panose="020F0502020204030204" pitchFamily="34" charset="0"/>
                <a:ea typeface="SimHei" panose="02010609060101010101" pitchFamily="49" charset="-122"/>
                <a:cs typeface="Calibri" panose="020F0502020204030204" pitchFamily="34" charset="0"/>
              </a:rPr>
              <a:t>were also added </a:t>
            </a:r>
            <a:r>
              <a:rPr lang="en-CN" sz="1200">
                <a:latin typeface="Calibri" panose="020F0502020204030204" pitchFamily="34" charset="0"/>
                <a:ea typeface="SimHei" panose="02010609060101010101" pitchFamily="49" charset="-122"/>
                <a:cs typeface="Calibri" panose="020F0502020204030204" pitchFamily="34" charset="0"/>
              </a:rPr>
              <a:t>for </a:t>
            </a:r>
            <a:r>
              <a:rPr lang="en-CN" sz="1200" dirty="0">
                <a:latin typeface="Calibri" panose="020F0502020204030204" pitchFamily="34" charset="0"/>
                <a:ea typeface="SimHei" panose="02010609060101010101" pitchFamily="49" charset="-122"/>
                <a:cs typeface="Calibri" panose="020F0502020204030204" pitchFamily="34" charset="0"/>
              </a:rPr>
              <a:t>carefulness. </a:t>
            </a:r>
          </a:p>
        </p:txBody>
      </p:sp>
      <p:grpSp>
        <p:nvGrpSpPr>
          <p:cNvPr id="16" name="组合 15">
            <a:extLst>
              <a:ext uri="{FF2B5EF4-FFF2-40B4-BE49-F238E27FC236}">
                <a16:creationId xmlns:a16="http://schemas.microsoft.com/office/drawing/2014/main" id="{8720449D-A86F-3A40-83C9-1EA680802F3F}"/>
              </a:ext>
            </a:extLst>
          </p:cNvPr>
          <p:cNvGrpSpPr/>
          <p:nvPr/>
        </p:nvGrpSpPr>
        <p:grpSpPr>
          <a:xfrm>
            <a:off x="8984960" y="2268108"/>
            <a:ext cx="3676864" cy="1386418"/>
            <a:chOff x="8984960" y="1782032"/>
            <a:chExt cx="3676864" cy="1386418"/>
          </a:xfrm>
        </p:grpSpPr>
        <p:sp>
          <p:nvSpPr>
            <p:cNvPr id="36" name="Rectangle 35">
              <a:extLst>
                <a:ext uri="{FF2B5EF4-FFF2-40B4-BE49-F238E27FC236}">
                  <a16:creationId xmlns:a16="http://schemas.microsoft.com/office/drawing/2014/main" id="{E7B12CA6-D898-5049-8CE2-CD5DA419F3D4}"/>
                </a:ext>
              </a:extLst>
            </p:cNvPr>
            <p:cNvSpPr/>
            <p:nvPr/>
          </p:nvSpPr>
          <p:spPr>
            <a:xfrm>
              <a:off x="8984960" y="1782032"/>
              <a:ext cx="317857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400" b="1" dirty="0">
                  <a:solidFill>
                    <a:prstClr val="black"/>
                  </a:solidFill>
                  <a:latin typeface="Calibri" panose="020F0502020204030204" pitchFamily="34" charset="0"/>
                  <a:cs typeface="Calibri" panose="020F0502020204030204" pitchFamily="34" charset="0"/>
                </a:rPr>
                <a:t>News sentiment</a:t>
              </a:r>
            </a:p>
          </p:txBody>
        </p:sp>
        <p:sp>
          <p:nvSpPr>
            <p:cNvPr id="38" name="TextBox 37">
              <a:extLst>
                <a:ext uri="{FF2B5EF4-FFF2-40B4-BE49-F238E27FC236}">
                  <a16:creationId xmlns:a16="http://schemas.microsoft.com/office/drawing/2014/main" id="{2CB116D3-33D8-2340-AD18-264597F4F62C}"/>
                </a:ext>
              </a:extLst>
            </p:cNvPr>
            <p:cNvSpPr txBox="1"/>
            <p:nvPr/>
          </p:nvSpPr>
          <p:spPr>
            <a:xfrm>
              <a:off x="8984960" y="2172417"/>
              <a:ext cx="3676864" cy="996033"/>
            </a:xfrm>
            <a:prstGeom prst="rect">
              <a:avLst/>
            </a:prstGeom>
            <a:noFill/>
          </p:spPr>
          <p:txBody>
            <a:bodyPr wrap="square" lIns="36000" tIns="36000" rIns="36000" bIns="36000" rtlCol="0">
              <a:spAutoFit/>
            </a:bodyPr>
            <a:lstStyle/>
            <a:p>
              <a:r>
                <a:rPr lang="en-US" sz="1200" dirty="0">
                  <a:latin typeface="Calibri" panose="020F0502020204030204" pitchFamily="34" charset="0"/>
                  <a:ea typeface="SimHei" panose="02010609060101010101" pitchFamily="49" charset="-122"/>
                  <a:cs typeface="Calibri" panose="020F0502020204030204" pitchFamily="34" charset="0"/>
                </a:rPr>
                <a:t>D</a:t>
              </a:r>
              <a:r>
                <a:rPr lang="en-CN" sz="1200">
                  <a:latin typeface="Calibri" panose="020F0502020204030204" pitchFamily="34" charset="0"/>
                  <a:ea typeface="SimHei" panose="02010609060101010101" pitchFamily="49" charset="-122"/>
                  <a:cs typeface="Calibri" panose="020F0502020204030204" pitchFamily="34" charset="0"/>
                </a:rPr>
                <a:t>aily news </a:t>
              </a:r>
              <a:r>
                <a:rPr lang="en-US" sz="1200" dirty="0">
                  <a:latin typeface="Calibri" panose="020F0502020204030204" pitchFamily="34" charset="0"/>
                  <a:ea typeface="SimHei" panose="02010609060101010101" pitchFamily="49" charset="-122"/>
                  <a:cs typeface="Calibri" panose="020F0502020204030204" pitchFamily="34" charset="0"/>
                </a:rPr>
                <a:t>was scraped </a:t>
              </a:r>
              <a:r>
                <a:rPr lang="en-CN" sz="1200">
                  <a:latin typeface="Calibri" panose="020F0502020204030204" pitchFamily="34" charset="0"/>
                  <a:ea typeface="SimHei" panose="02010609060101010101" pitchFamily="49" charset="-122"/>
                  <a:cs typeface="Calibri" panose="020F0502020204030204" pitchFamily="34" charset="0"/>
                </a:rPr>
                <a:t>for </a:t>
              </a:r>
              <a:r>
                <a:rPr lang="en-CN" sz="1200" dirty="0">
                  <a:latin typeface="Calibri" panose="020F0502020204030204" pitchFamily="34" charset="0"/>
                  <a:ea typeface="SimHei" panose="02010609060101010101" pitchFamily="49" charset="-122"/>
                  <a:cs typeface="Calibri" panose="020F0502020204030204" pitchFamily="34" charset="0"/>
                </a:rPr>
                <a:t>the three companies by Selenium package, and process the text by sentiment analysis technique, the dimensions of the output are:</a:t>
              </a:r>
            </a:p>
            <a:p>
              <a:r>
                <a:rPr lang="en-US" sz="1200" i="1" dirty="0">
                  <a:latin typeface="Calibri" panose="020F0502020204030204" pitchFamily="34" charset="0"/>
                  <a:ea typeface="SimHei" panose="02010609060101010101" pitchFamily="49" charset="-122"/>
                  <a:cs typeface="Calibri" panose="020F0502020204030204" pitchFamily="34" charset="0"/>
                </a:rPr>
                <a:t>P</a:t>
              </a:r>
              <a:r>
                <a:rPr lang="en-CN" sz="1200" i="1" dirty="0">
                  <a:latin typeface="Calibri" panose="020F0502020204030204" pitchFamily="34" charset="0"/>
                  <a:ea typeface="SimHei" panose="02010609060101010101" pitchFamily="49" charset="-122"/>
                  <a:cs typeface="Calibri" panose="020F0502020204030204" pitchFamily="34" charset="0"/>
                </a:rPr>
                <a:t>ositve, negative, net positive, anger, anticipation, disgust, fear, joy, sadness, surprise, trust. </a:t>
              </a:r>
            </a:p>
          </p:txBody>
        </p:sp>
      </p:grpSp>
      <p:grpSp>
        <p:nvGrpSpPr>
          <p:cNvPr id="20" name="组合 19">
            <a:extLst>
              <a:ext uri="{FF2B5EF4-FFF2-40B4-BE49-F238E27FC236}">
                <a16:creationId xmlns:a16="http://schemas.microsoft.com/office/drawing/2014/main" id="{7A09B4B6-65CA-DC48-8E3C-2A7AB3501231}"/>
              </a:ext>
            </a:extLst>
          </p:cNvPr>
          <p:cNvGrpSpPr/>
          <p:nvPr/>
        </p:nvGrpSpPr>
        <p:grpSpPr>
          <a:xfrm>
            <a:off x="8984960" y="3647842"/>
            <a:ext cx="3676864" cy="1542484"/>
            <a:chOff x="8984960" y="3309376"/>
            <a:chExt cx="3676864" cy="1542484"/>
          </a:xfrm>
        </p:grpSpPr>
        <p:sp>
          <p:nvSpPr>
            <p:cNvPr id="39" name="Rectangle 38">
              <a:extLst>
                <a:ext uri="{FF2B5EF4-FFF2-40B4-BE49-F238E27FC236}">
                  <a16:creationId xmlns:a16="http://schemas.microsoft.com/office/drawing/2014/main" id="{90614381-6F5A-5F4A-B940-E9C53E79087C}"/>
                </a:ext>
              </a:extLst>
            </p:cNvPr>
            <p:cNvSpPr/>
            <p:nvPr/>
          </p:nvSpPr>
          <p:spPr>
            <a:xfrm>
              <a:off x="8984960" y="3309376"/>
              <a:ext cx="317857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400" b="1" dirty="0">
                  <a:solidFill>
                    <a:prstClr val="black"/>
                  </a:solidFill>
                  <a:latin typeface="Calibri" panose="020F0502020204030204" pitchFamily="34" charset="0"/>
                  <a:cs typeface="Calibri" panose="020F0502020204030204" pitchFamily="34" charset="0"/>
                </a:rPr>
                <a:t>Tweets sentiment</a:t>
              </a:r>
            </a:p>
          </p:txBody>
        </p:sp>
        <p:sp>
          <p:nvSpPr>
            <p:cNvPr id="40" name="TextBox 39">
              <a:extLst>
                <a:ext uri="{FF2B5EF4-FFF2-40B4-BE49-F238E27FC236}">
                  <a16:creationId xmlns:a16="http://schemas.microsoft.com/office/drawing/2014/main" id="{0BE8D224-A9C4-C44C-A67E-BB1FA20C97FF}"/>
                </a:ext>
              </a:extLst>
            </p:cNvPr>
            <p:cNvSpPr txBox="1"/>
            <p:nvPr/>
          </p:nvSpPr>
          <p:spPr>
            <a:xfrm>
              <a:off x="8984960" y="3671161"/>
              <a:ext cx="3676864" cy="1180699"/>
            </a:xfrm>
            <a:prstGeom prst="rect">
              <a:avLst/>
            </a:prstGeom>
            <a:noFill/>
          </p:spPr>
          <p:txBody>
            <a:bodyPr wrap="square" lIns="36000" tIns="36000" rIns="36000" bIns="36000" rtlCol="0">
              <a:spAutoFit/>
            </a:bodyPr>
            <a:lstStyle/>
            <a:p>
              <a:r>
                <a:rPr lang="en-US" sz="1200" dirty="0">
                  <a:latin typeface="Calibri" panose="020F0502020204030204" pitchFamily="34" charset="0"/>
                  <a:ea typeface="SimHei" panose="02010609060101010101" pitchFamily="49" charset="-122"/>
                  <a:cs typeface="Calibri" panose="020F0502020204030204" pitchFamily="34" charset="0"/>
                </a:rPr>
                <a:t>Daily </a:t>
              </a:r>
              <a:r>
                <a:rPr lang="en-CN" sz="1200">
                  <a:latin typeface="Calibri" panose="020F0502020204030204" pitchFamily="34" charset="0"/>
                  <a:ea typeface="SimHei" panose="02010609060101010101" pitchFamily="49" charset="-122"/>
                  <a:cs typeface="Calibri" panose="020F0502020204030204" pitchFamily="34" charset="0"/>
                </a:rPr>
                <a:t>tw</a:t>
              </a:r>
              <a:r>
                <a:rPr lang="en-US" sz="1200" dirty="0">
                  <a:latin typeface="Calibri" panose="020F0502020204030204" pitchFamily="34" charset="0"/>
                  <a:ea typeface="SimHei" panose="02010609060101010101" pitchFamily="49" charset="-122"/>
                  <a:cs typeface="Calibri" panose="020F0502020204030204" pitchFamily="34" charset="0"/>
                </a:rPr>
                <a:t>e</a:t>
              </a:r>
              <a:r>
                <a:rPr lang="en-CN" sz="1200">
                  <a:latin typeface="Calibri" panose="020F0502020204030204" pitchFamily="34" charset="0"/>
                  <a:ea typeface="SimHei" panose="02010609060101010101" pitchFamily="49" charset="-122"/>
                  <a:cs typeface="Calibri" panose="020F0502020204030204" pitchFamily="34" charset="0"/>
                </a:rPr>
                <a:t>ets </a:t>
              </a:r>
              <a:r>
                <a:rPr lang="en-US" sz="1200" dirty="0">
                  <a:latin typeface="Calibri" panose="020F0502020204030204" pitchFamily="34" charset="0"/>
                  <a:ea typeface="SimHei" panose="02010609060101010101" pitchFamily="49" charset="-122"/>
                  <a:cs typeface="Calibri" panose="020F0502020204030204" pitchFamily="34" charset="0"/>
                </a:rPr>
                <a:t>were scraped </a:t>
              </a:r>
              <a:r>
                <a:rPr lang="en-CN" sz="1200">
                  <a:latin typeface="Calibri" panose="020F0502020204030204" pitchFamily="34" charset="0"/>
                  <a:ea typeface="SimHei" panose="02010609060101010101" pitchFamily="49" charset="-122"/>
                  <a:cs typeface="Calibri" panose="020F0502020204030204" pitchFamily="34" charset="0"/>
                </a:rPr>
                <a:t>for </a:t>
              </a:r>
              <a:r>
                <a:rPr lang="en-CN" sz="1200" dirty="0">
                  <a:latin typeface="Calibri" panose="020F0502020204030204" pitchFamily="34" charset="0"/>
                  <a:ea typeface="SimHei" panose="02010609060101010101" pitchFamily="49" charset="-122"/>
                  <a:cs typeface="Calibri" panose="020F0502020204030204" pitchFamily="34" charset="0"/>
                </a:rPr>
                <a:t>the three companies by twint package and twitter api, and process the text by sentiment analysis technique, the dimensions of the output are:</a:t>
              </a:r>
            </a:p>
            <a:p>
              <a:r>
                <a:rPr lang="en-US" sz="1200" i="1" dirty="0">
                  <a:latin typeface="Calibri" panose="020F0502020204030204" pitchFamily="34" charset="0"/>
                  <a:ea typeface="SimHei" panose="02010609060101010101" pitchFamily="49" charset="-122"/>
                  <a:cs typeface="Calibri" panose="020F0502020204030204" pitchFamily="34" charset="0"/>
                </a:rPr>
                <a:t>P</a:t>
              </a:r>
              <a:r>
                <a:rPr lang="en-CN" sz="1200" i="1" dirty="0">
                  <a:latin typeface="Calibri" panose="020F0502020204030204" pitchFamily="34" charset="0"/>
                  <a:ea typeface="SimHei" panose="02010609060101010101" pitchFamily="49" charset="-122"/>
                  <a:cs typeface="Calibri" panose="020F0502020204030204" pitchFamily="34" charset="0"/>
                </a:rPr>
                <a:t>ositve, negative, net positive, anger, anticipation, disgust, fear, joy, sadness, surprise, rust. </a:t>
              </a:r>
            </a:p>
          </p:txBody>
        </p:sp>
      </p:grpSp>
      <p:grpSp>
        <p:nvGrpSpPr>
          <p:cNvPr id="22" name="组合 21">
            <a:extLst>
              <a:ext uri="{FF2B5EF4-FFF2-40B4-BE49-F238E27FC236}">
                <a16:creationId xmlns:a16="http://schemas.microsoft.com/office/drawing/2014/main" id="{7B8FAD56-44E8-984E-9300-5DFBABC43796}"/>
              </a:ext>
            </a:extLst>
          </p:cNvPr>
          <p:cNvGrpSpPr/>
          <p:nvPr/>
        </p:nvGrpSpPr>
        <p:grpSpPr>
          <a:xfrm>
            <a:off x="8984960" y="5184792"/>
            <a:ext cx="3676864" cy="1156257"/>
            <a:chOff x="8984960" y="4920168"/>
            <a:chExt cx="3676864" cy="1156257"/>
          </a:xfrm>
        </p:grpSpPr>
        <p:sp>
          <p:nvSpPr>
            <p:cNvPr id="41" name="Rectangle 40">
              <a:extLst>
                <a:ext uri="{FF2B5EF4-FFF2-40B4-BE49-F238E27FC236}">
                  <a16:creationId xmlns:a16="http://schemas.microsoft.com/office/drawing/2014/main" id="{EFA98443-9BDF-764D-B6D6-2E067B238B29}"/>
                </a:ext>
              </a:extLst>
            </p:cNvPr>
            <p:cNvSpPr/>
            <p:nvPr/>
          </p:nvSpPr>
          <p:spPr>
            <a:xfrm>
              <a:off x="8984960" y="4920168"/>
              <a:ext cx="317857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400" b="1" dirty="0">
                  <a:solidFill>
                    <a:prstClr val="black"/>
                  </a:solidFill>
                  <a:latin typeface="Calibri" panose="020F0502020204030204" pitchFamily="34" charset="0"/>
                  <a:cs typeface="Calibri" panose="020F0502020204030204" pitchFamily="34" charset="0"/>
                </a:rPr>
                <a:t>Tweets numerical description</a:t>
              </a:r>
            </a:p>
          </p:txBody>
        </p:sp>
        <p:sp>
          <p:nvSpPr>
            <p:cNvPr id="42" name="TextBox 41">
              <a:extLst>
                <a:ext uri="{FF2B5EF4-FFF2-40B4-BE49-F238E27FC236}">
                  <a16:creationId xmlns:a16="http://schemas.microsoft.com/office/drawing/2014/main" id="{F2349611-7125-4C4E-AC85-0C838AD1EB6C}"/>
                </a:ext>
              </a:extLst>
            </p:cNvPr>
            <p:cNvSpPr txBox="1"/>
            <p:nvPr/>
          </p:nvSpPr>
          <p:spPr>
            <a:xfrm>
              <a:off x="8984960" y="5265058"/>
              <a:ext cx="3676864" cy="811367"/>
            </a:xfrm>
            <a:prstGeom prst="rect">
              <a:avLst/>
            </a:prstGeom>
            <a:noFill/>
          </p:spPr>
          <p:txBody>
            <a:bodyPr wrap="square" lIns="36000" tIns="36000" rIns="36000" bIns="36000" rtlCol="0">
              <a:spAutoFit/>
            </a:bodyPr>
            <a:lstStyle/>
            <a:p>
              <a:r>
                <a:rPr lang="en-US" sz="1200" dirty="0">
                  <a:latin typeface="Calibri" panose="020F0502020204030204" pitchFamily="34" charset="0"/>
                  <a:ea typeface="SimHei" panose="02010609060101010101" pitchFamily="49" charset="-122"/>
                  <a:cs typeface="Calibri" panose="020F0502020204030204" pitchFamily="34" charset="0"/>
                </a:rPr>
                <a:t>N</a:t>
              </a:r>
              <a:r>
                <a:rPr lang="en-CN" sz="1200">
                  <a:latin typeface="Calibri" panose="020F0502020204030204" pitchFamily="34" charset="0"/>
                  <a:ea typeface="SimHei" panose="02010609060101010101" pitchFamily="49" charset="-122"/>
                  <a:cs typeface="Calibri" panose="020F0502020204030204" pitchFamily="34" charset="0"/>
                </a:rPr>
                <a:t>umericla attributes </a:t>
              </a:r>
              <a:r>
                <a:rPr lang="en-US" sz="1200" dirty="0">
                  <a:latin typeface="Calibri" panose="020F0502020204030204" pitchFamily="34" charset="0"/>
                  <a:ea typeface="SimHei" panose="02010609060101010101" pitchFamily="49" charset="-122"/>
                  <a:cs typeface="Calibri" panose="020F0502020204030204" pitchFamily="34" charset="0"/>
                </a:rPr>
                <a:t>were </a:t>
              </a:r>
              <a:r>
                <a:rPr lang="en-CN" altLang="zh-CN" sz="1200">
                  <a:latin typeface="Calibri" panose="020F0502020204030204" pitchFamily="34" charset="0"/>
                  <a:ea typeface="SimHei" panose="02010609060101010101" pitchFamily="49" charset="-122"/>
                  <a:cs typeface="Calibri" panose="020F0502020204030204" pitchFamily="34" charset="0"/>
                </a:rPr>
                <a:t>compute</a:t>
              </a:r>
              <a:r>
                <a:rPr lang="en-US" altLang="zh-CN" sz="1200" dirty="0">
                  <a:latin typeface="Calibri" panose="020F0502020204030204" pitchFamily="34" charset="0"/>
                  <a:ea typeface="SimHei" panose="02010609060101010101" pitchFamily="49" charset="-122"/>
                  <a:cs typeface="Calibri" panose="020F0502020204030204" pitchFamily="34" charset="0"/>
                </a:rPr>
                <a:t>d </a:t>
              </a:r>
              <a:r>
                <a:rPr lang="en-CN" sz="1200">
                  <a:latin typeface="Calibri" panose="020F0502020204030204" pitchFamily="34" charset="0"/>
                  <a:ea typeface="SimHei" panose="02010609060101010101" pitchFamily="49" charset="-122"/>
                  <a:cs typeface="Calibri" panose="020F0502020204030204" pitchFamily="34" charset="0"/>
                </a:rPr>
                <a:t>of </a:t>
              </a:r>
              <a:r>
                <a:rPr lang="en-CN" sz="1200" dirty="0">
                  <a:latin typeface="Calibri" panose="020F0502020204030204" pitchFamily="34" charset="0"/>
                  <a:ea typeface="SimHei" panose="02010609060101010101" pitchFamily="49" charset="-122"/>
                  <a:cs typeface="Calibri" panose="020F0502020204030204" pitchFamily="34" charset="0"/>
                </a:rPr>
                <a:t>daiy tweets of one company, the dimensions are:</a:t>
              </a:r>
            </a:p>
            <a:p>
              <a:r>
                <a:rPr lang="en-US" sz="1200" i="1" dirty="0">
                  <a:latin typeface="Calibri" panose="020F0502020204030204" pitchFamily="34" charset="0"/>
                  <a:ea typeface="SimHei" panose="02010609060101010101" pitchFamily="49" charset="-122"/>
                  <a:cs typeface="Calibri" panose="020F0502020204030204" pitchFamily="34" charset="0"/>
                </a:rPr>
                <a:t>Number of tweets, at counts, tag counts, number of replies, number of retweets, number of likes.</a:t>
              </a:r>
              <a:endParaRPr lang="en-CN" sz="1200" i="1" dirty="0">
                <a:latin typeface="Calibri" panose="020F0502020204030204" pitchFamily="34" charset="0"/>
                <a:ea typeface="SimHei" panose="02010609060101010101" pitchFamily="49" charset="-122"/>
                <a:cs typeface="Calibri" panose="020F0502020204030204" pitchFamily="34" charset="0"/>
              </a:endParaRPr>
            </a:p>
          </p:txBody>
        </p:sp>
      </p:grpSp>
      <p:sp>
        <p:nvSpPr>
          <p:cNvPr id="30" name="TextBox 58">
            <a:extLst>
              <a:ext uri="{FF2B5EF4-FFF2-40B4-BE49-F238E27FC236}">
                <a16:creationId xmlns:a16="http://schemas.microsoft.com/office/drawing/2014/main" id="{A1BFF8BA-917B-8B47-8AA3-90C9E6792A7C}"/>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Appendix: </a:t>
            </a:r>
            <a:r>
              <a:rPr lang="en-US" altLang="zh-CN" sz="1600" dirty="0">
                <a:solidFill>
                  <a:schemeClr val="accent6"/>
                </a:solidFill>
                <a:latin typeface="Calibri" panose="020F0502020204030204" pitchFamily="34" charset="0"/>
                <a:cs typeface="Calibri" panose="020F0502020204030204" pitchFamily="34" charset="0"/>
              </a:rPr>
              <a:t>Company </a:t>
            </a:r>
            <a:r>
              <a:rPr lang="en-US" altLang="zh-CN" sz="1600" b="1" dirty="0">
                <a:latin typeface="Calibri" panose="020F0502020204030204" pitchFamily="34" charset="0"/>
                <a:cs typeface="Calibri" panose="020F0502020204030204" pitchFamily="34" charset="0"/>
                <a:sym typeface="Wingdings" pitchFamily="2" charset="2"/>
              </a:rPr>
              <a:t> Modeling</a:t>
            </a:r>
            <a:endParaRPr lang="zh-CN" altLang="en-US" sz="1600" b="1" dirty="0">
              <a:latin typeface="Calibri" panose="020F0502020204030204" pitchFamily="34" charset="0"/>
              <a:cs typeface="Calibri" panose="020F0502020204030204" pitchFamily="34" charset="0"/>
            </a:endParaRPr>
          </a:p>
        </p:txBody>
      </p:sp>
      <p:sp>
        <p:nvSpPr>
          <p:cNvPr id="37" name="矩形 36">
            <a:extLst>
              <a:ext uri="{FF2B5EF4-FFF2-40B4-BE49-F238E27FC236}">
                <a16:creationId xmlns:a16="http://schemas.microsoft.com/office/drawing/2014/main" id="{787263F3-C622-7B41-9E7A-3BDAB585BDB0}"/>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43" name="TextBox 42">
            <a:extLst>
              <a:ext uri="{FF2B5EF4-FFF2-40B4-BE49-F238E27FC236}">
                <a16:creationId xmlns:a16="http://schemas.microsoft.com/office/drawing/2014/main" id="{485B0F0B-03CD-6A43-932E-8938F861A81E}"/>
              </a:ext>
            </a:extLst>
          </p:cNvPr>
          <p:cNvSpPr txBox="1"/>
          <p:nvPr/>
        </p:nvSpPr>
        <p:spPr>
          <a:xfrm>
            <a:off x="332454" y="1375369"/>
            <a:ext cx="12207359" cy="442035"/>
          </a:xfrm>
          <a:prstGeom prst="rect">
            <a:avLst/>
          </a:prstGeom>
          <a:noFill/>
        </p:spPr>
        <p:txBody>
          <a:bodyPr wrap="square" lIns="36000" tIns="36000" rIns="36000" bIns="36000" rtlCol="0">
            <a:spAutoFit/>
          </a:bodyPr>
          <a:lstStyle/>
          <a:p>
            <a:r>
              <a:rPr kumimoji="1" lang="en-CN" sz="1200" dirty="0">
                <a:solidFill>
                  <a:schemeClr val="accent2">
                    <a:lumMod val="75000"/>
                  </a:schemeClr>
                </a:solidFill>
                <a:latin typeface="Calibri" panose="020F0502020204030204" pitchFamily="34" charset="0"/>
                <a:cs typeface="Calibri" panose="020F0502020204030204" pitchFamily="34" charset="0"/>
              </a:rPr>
              <a:t>Despite of strong predictive power of nueral network, it may be hard to explain the results when with high-dimensional data</a:t>
            </a:r>
            <a:r>
              <a:rPr kumimoji="1" lang="en-CN" sz="1200">
                <a:solidFill>
                  <a:schemeClr val="accent2">
                    <a:lumMod val="75000"/>
                  </a:schemeClr>
                </a:solidFill>
                <a:latin typeface="Calibri" panose="020F0502020204030204" pitchFamily="34" charset="0"/>
                <a:cs typeface="Calibri" panose="020F0502020204030204" pitchFamily="34" charset="0"/>
              </a:rPr>
              <a:t>. </a:t>
            </a:r>
            <a:r>
              <a:rPr kumimoji="1" lang="en-US" sz="1200" dirty="0">
                <a:solidFill>
                  <a:schemeClr val="accent2">
                    <a:lumMod val="75000"/>
                  </a:schemeClr>
                </a:solidFill>
                <a:latin typeface="Calibri" panose="020F0502020204030204" pitchFamily="34" charset="0"/>
                <a:cs typeface="Calibri" panose="020F0502020204030204" pitchFamily="34" charset="0"/>
              </a:rPr>
              <a:t>To</a:t>
            </a:r>
            <a:r>
              <a:rPr kumimoji="1" lang="en-CN" sz="1200">
                <a:solidFill>
                  <a:schemeClr val="accent2">
                    <a:lumMod val="75000"/>
                  </a:schemeClr>
                </a:solidFill>
                <a:latin typeface="Calibri" panose="020F0502020204030204" pitchFamily="34" charset="0"/>
                <a:cs typeface="Calibri" panose="020F0502020204030204" pitchFamily="34" charset="0"/>
              </a:rPr>
              <a:t> </a:t>
            </a:r>
            <a:r>
              <a:rPr kumimoji="1" lang="en-CN" sz="1200" dirty="0">
                <a:solidFill>
                  <a:schemeClr val="accent2">
                    <a:lumMod val="75000"/>
                  </a:schemeClr>
                </a:solidFill>
                <a:latin typeface="Calibri" panose="020F0502020204030204" pitchFamily="34" charset="0"/>
                <a:cs typeface="Calibri" panose="020F0502020204030204" pitchFamily="34" charset="0"/>
              </a:rPr>
              <a:t>focus more on the explainability</a:t>
            </a:r>
            <a:r>
              <a:rPr kumimoji="1" lang="en-CN" sz="1200">
                <a:solidFill>
                  <a:schemeClr val="accent2">
                    <a:lumMod val="75000"/>
                  </a:schemeClr>
                </a:solidFill>
                <a:latin typeface="Calibri" panose="020F0502020204030204" pitchFamily="34" charset="0"/>
                <a:cs typeface="Calibri" panose="020F0502020204030204" pitchFamily="34" charset="0"/>
              </a:rPr>
              <a:t>, </a:t>
            </a:r>
            <a:r>
              <a:rPr kumimoji="1" lang="en-US" sz="1200" dirty="0">
                <a:solidFill>
                  <a:schemeClr val="accent2">
                    <a:lumMod val="75000"/>
                  </a:schemeClr>
                </a:solidFill>
                <a:latin typeface="Calibri" panose="020F0502020204030204" pitchFamily="34" charset="0"/>
                <a:cs typeface="Calibri" panose="020F0502020204030204" pitchFamily="34" charset="0"/>
              </a:rPr>
              <a:t>limited </a:t>
            </a:r>
            <a:r>
              <a:rPr kumimoji="1" lang="en-CN" sz="1200">
                <a:solidFill>
                  <a:schemeClr val="accent2">
                    <a:lumMod val="75000"/>
                  </a:schemeClr>
                </a:solidFill>
                <a:latin typeface="Calibri" panose="020F0502020204030204" pitchFamily="34" charset="0"/>
                <a:cs typeface="Calibri" panose="020F0502020204030204" pitchFamily="34" charset="0"/>
              </a:rPr>
              <a:t>features </a:t>
            </a:r>
            <a:r>
              <a:rPr kumimoji="1" lang="en-US" sz="1200" dirty="0">
                <a:solidFill>
                  <a:schemeClr val="accent2">
                    <a:lumMod val="75000"/>
                  </a:schemeClr>
                </a:solidFill>
                <a:latin typeface="Calibri" panose="020F0502020204030204" pitchFamily="34" charset="0"/>
                <a:cs typeface="Calibri" panose="020F0502020204030204" pitchFamily="34" charset="0"/>
              </a:rPr>
              <a:t>were selected </a:t>
            </a:r>
            <a:r>
              <a:rPr kumimoji="1" lang="en-CN" sz="1200">
                <a:solidFill>
                  <a:schemeClr val="accent2">
                    <a:lumMod val="75000"/>
                  </a:schemeClr>
                </a:solidFill>
                <a:latin typeface="Calibri" panose="020F0502020204030204" pitchFamily="34" charset="0"/>
                <a:cs typeface="Calibri" panose="020F0502020204030204" pitchFamily="34" charset="0"/>
              </a:rPr>
              <a:t>and step-wise regression process</a:t>
            </a:r>
            <a:r>
              <a:rPr kumimoji="1" lang="en-US" sz="1200" dirty="0">
                <a:solidFill>
                  <a:schemeClr val="accent2">
                    <a:lumMod val="75000"/>
                  </a:schemeClr>
                </a:solidFill>
                <a:latin typeface="Calibri" panose="020F0502020204030204" pitchFamily="34" charset="0"/>
                <a:cs typeface="Calibri" panose="020F0502020204030204" pitchFamily="34" charset="0"/>
              </a:rPr>
              <a:t> was </a:t>
            </a:r>
            <a:r>
              <a:rPr kumimoji="1" lang="en-CN" altLang="zh-CN" sz="1200">
                <a:solidFill>
                  <a:schemeClr val="accent2">
                    <a:lumMod val="75000"/>
                  </a:schemeClr>
                </a:solidFill>
                <a:latin typeface="Calibri" panose="020F0502020204030204" pitchFamily="34" charset="0"/>
                <a:cs typeface="Calibri" panose="020F0502020204030204" pitchFamily="34" charset="0"/>
              </a:rPr>
              <a:t>conduct</a:t>
            </a:r>
            <a:r>
              <a:rPr kumimoji="1" lang="en-US" altLang="zh-CN" sz="1200" dirty="0">
                <a:solidFill>
                  <a:schemeClr val="accent2">
                    <a:lumMod val="75000"/>
                  </a:schemeClr>
                </a:solidFill>
                <a:latin typeface="Calibri" panose="020F0502020204030204" pitchFamily="34" charset="0"/>
                <a:cs typeface="Calibri" panose="020F0502020204030204" pitchFamily="34" charset="0"/>
              </a:rPr>
              <a:t>ed</a:t>
            </a:r>
            <a:r>
              <a:rPr kumimoji="1" lang="en-CN" sz="1200">
                <a:solidFill>
                  <a:schemeClr val="accent2">
                    <a:lumMod val="75000"/>
                  </a:schemeClr>
                </a:solidFill>
                <a:latin typeface="Calibri" panose="020F0502020204030204" pitchFamily="34" charset="0"/>
                <a:cs typeface="Calibri" panose="020F0502020204030204" pitchFamily="34" charset="0"/>
              </a:rPr>
              <a:t>.</a:t>
            </a:r>
            <a:endParaRPr kumimoji="1" lang="en-CN" sz="1200" dirty="0">
              <a:solidFill>
                <a:schemeClr val="accent2">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71033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6D01A16-B9BF-A344-B53A-9B2673A4921E}"/>
              </a:ext>
            </a:extLst>
          </p:cNvPr>
          <p:cNvSpPr>
            <a:spLocks noGrp="1"/>
          </p:cNvSpPr>
          <p:nvPr>
            <p:ph type="ftr" sz="quarter" idx="11"/>
          </p:nvPr>
        </p:nvSpPr>
        <p:spPr/>
        <p:txBody>
          <a:bodyPr/>
          <a:lstStyle/>
          <a:p>
            <a:endParaRPr lang="zh-CN" altLang="en-US"/>
          </a:p>
        </p:txBody>
      </p:sp>
      <p:sp>
        <p:nvSpPr>
          <p:cNvPr id="3" name="标题 1">
            <a:extLst>
              <a:ext uri="{FF2B5EF4-FFF2-40B4-BE49-F238E27FC236}">
                <a16:creationId xmlns:a16="http://schemas.microsoft.com/office/drawing/2014/main" id="{17D5BF93-B13A-D341-8E05-1CEA06B6C093}"/>
              </a:ext>
            </a:extLst>
          </p:cNvPr>
          <p:cNvSpPr txBox="1">
            <a:spLocks/>
          </p:cNvSpPr>
          <p:nvPr/>
        </p:nvSpPr>
        <p:spPr>
          <a:xfrm>
            <a:off x="588004" y="394564"/>
            <a:ext cx="11675762" cy="878857"/>
          </a:xfrm>
          <a:prstGeom prst="rect">
            <a:avLst/>
          </a:prstGeom>
        </p:spPr>
        <p:txBody>
          <a:bodyPr anchor="ctr"/>
          <a:lstStyle>
            <a:lvl1pPr algn="l" defTabSz="1216363" rtl="0" eaLnBrk="1" latinLnBrk="0" hangingPunct="1">
              <a:spcBef>
                <a:spcPct val="0"/>
              </a:spcBef>
              <a:buNone/>
              <a:defRPr sz="3223" b="1" kern="1200">
                <a:solidFill>
                  <a:schemeClr val="bg2"/>
                </a:solidFill>
                <a:latin typeface="Calibri" panose="020F0502020204030204" pitchFamily="34" charset="0"/>
                <a:ea typeface="+mj-ea"/>
                <a:cs typeface="Calibri" panose="020F0502020204030204" pitchFamily="34" charset="0"/>
              </a:defRPr>
            </a:lvl1pPr>
          </a:lstStyle>
          <a:p>
            <a:r>
              <a:rPr kumimoji="1" lang="en-US" altLang="zh-CN" sz="2800" dirty="0"/>
              <a:t>Appendix: Model Selection</a:t>
            </a:r>
            <a:endParaRPr kumimoji="1" lang="zh-CN" altLang="en-US" sz="2800" dirty="0"/>
          </a:p>
        </p:txBody>
      </p:sp>
      <p:sp>
        <p:nvSpPr>
          <p:cNvPr id="32" name="矩形 5">
            <a:extLst>
              <a:ext uri="{FF2B5EF4-FFF2-40B4-BE49-F238E27FC236}">
                <a16:creationId xmlns:a16="http://schemas.microsoft.com/office/drawing/2014/main" id="{49857007-838B-3540-9603-AAE3E8F1F3CD}"/>
              </a:ext>
            </a:extLst>
          </p:cNvPr>
          <p:cNvSpPr/>
          <p:nvPr/>
        </p:nvSpPr>
        <p:spPr>
          <a:xfrm>
            <a:off x="-34964" y="2050410"/>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a:solidFill>
                  <a:schemeClr val="accent2"/>
                </a:solidFill>
                <a:latin typeface="Calibri" panose="020F0502020204030204" pitchFamily="34" charset="0"/>
                <a:cs typeface="Calibri" panose="020F0502020204030204" pitchFamily="34" charset="0"/>
              </a:rPr>
              <a:t>Linear</a:t>
            </a:r>
          </a:p>
          <a:p>
            <a:pPr algn="ctr"/>
            <a:r>
              <a:rPr kumimoji="1" lang="en-US" altLang="zh-CN" b="1" dirty="0">
                <a:solidFill>
                  <a:schemeClr val="accent2"/>
                </a:solidFill>
                <a:latin typeface="Calibri" panose="020F0502020204030204" pitchFamily="34" charset="0"/>
                <a:cs typeface="Calibri" panose="020F0502020204030204" pitchFamily="34" charset="0"/>
              </a:rPr>
              <a:t>Model</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34" name="矩形 5">
            <a:extLst>
              <a:ext uri="{FF2B5EF4-FFF2-40B4-BE49-F238E27FC236}">
                <a16:creationId xmlns:a16="http://schemas.microsoft.com/office/drawing/2014/main" id="{3EF0F537-9420-344A-A860-F50FD02CEEA4}"/>
              </a:ext>
            </a:extLst>
          </p:cNvPr>
          <p:cNvSpPr/>
          <p:nvPr/>
        </p:nvSpPr>
        <p:spPr>
          <a:xfrm>
            <a:off x="-34964" y="3659876"/>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a:solidFill>
                  <a:schemeClr val="accent2"/>
                </a:solidFill>
                <a:latin typeface="Calibri" panose="020F0502020204030204" pitchFamily="34" charset="0"/>
                <a:cs typeface="Calibri" panose="020F0502020204030204" pitchFamily="34" charset="0"/>
              </a:rPr>
              <a:t>SVM</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37" name="矩形 5">
            <a:extLst>
              <a:ext uri="{FF2B5EF4-FFF2-40B4-BE49-F238E27FC236}">
                <a16:creationId xmlns:a16="http://schemas.microsoft.com/office/drawing/2014/main" id="{310EC720-D6D6-214E-9312-DF2FD95E8EEC}"/>
              </a:ext>
            </a:extLst>
          </p:cNvPr>
          <p:cNvSpPr/>
          <p:nvPr/>
        </p:nvSpPr>
        <p:spPr>
          <a:xfrm>
            <a:off x="3868281" y="2049611"/>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a:solidFill>
                  <a:schemeClr val="accent2"/>
                </a:solidFill>
                <a:latin typeface="Calibri" panose="020F0502020204030204" pitchFamily="34" charset="0"/>
                <a:cs typeface="Calibri" panose="020F0502020204030204" pitchFamily="34" charset="0"/>
              </a:rPr>
              <a:t>Random </a:t>
            </a:r>
          </a:p>
          <a:p>
            <a:pPr algn="ctr"/>
            <a:r>
              <a:rPr kumimoji="1" lang="en-US" altLang="zh-CN" b="1" dirty="0">
                <a:solidFill>
                  <a:schemeClr val="accent2"/>
                </a:solidFill>
                <a:latin typeface="Calibri" panose="020F0502020204030204" pitchFamily="34" charset="0"/>
                <a:cs typeface="Calibri" panose="020F0502020204030204" pitchFamily="34" charset="0"/>
              </a:rPr>
              <a:t>Forest</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43" name="矩形 5">
            <a:extLst>
              <a:ext uri="{FF2B5EF4-FFF2-40B4-BE49-F238E27FC236}">
                <a16:creationId xmlns:a16="http://schemas.microsoft.com/office/drawing/2014/main" id="{F6DEF3FC-5A98-B641-A3B5-6EC884BCCD42}"/>
              </a:ext>
            </a:extLst>
          </p:cNvPr>
          <p:cNvSpPr/>
          <p:nvPr/>
        </p:nvSpPr>
        <p:spPr>
          <a:xfrm>
            <a:off x="-28976" y="5269342"/>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err="1">
                <a:solidFill>
                  <a:schemeClr val="accent2"/>
                </a:solidFill>
                <a:latin typeface="Calibri" panose="020F0502020204030204" pitchFamily="34" charset="0"/>
                <a:cs typeface="Calibri" panose="020F0502020204030204" pitchFamily="34" charset="0"/>
              </a:rPr>
              <a:t>XGBoost</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pic>
        <p:nvPicPr>
          <p:cNvPr id="399382" name="Picture 22">
            <a:extLst>
              <a:ext uri="{FF2B5EF4-FFF2-40B4-BE49-F238E27FC236}">
                <a16:creationId xmlns:a16="http://schemas.microsoft.com/office/drawing/2014/main" id="{87018B56-291E-2D46-A64B-2DEBF6AA91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0271" y="1544635"/>
            <a:ext cx="2726654" cy="1595715"/>
          </a:xfrm>
          <a:prstGeom prst="rect">
            <a:avLst/>
          </a:prstGeom>
          <a:noFill/>
          <a:extLst>
            <a:ext uri="{909E8E84-426E-40DD-AFC4-6F175D3DCCD1}">
              <a14:hiddenFill xmlns:a14="http://schemas.microsoft.com/office/drawing/2010/main">
                <a:solidFill>
                  <a:srgbClr val="FFFFFF"/>
                </a:solidFill>
              </a14:hiddenFill>
            </a:ext>
          </a:extLst>
        </p:spPr>
      </p:pic>
      <p:pic>
        <p:nvPicPr>
          <p:cNvPr id="399384" name="Picture 24">
            <a:extLst>
              <a:ext uri="{FF2B5EF4-FFF2-40B4-BE49-F238E27FC236}">
                <a16:creationId xmlns:a16="http://schemas.microsoft.com/office/drawing/2014/main" id="{4AEE30F7-56C1-9F47-9698-3F67EBE3DE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0271" y="3195754"/>
            <a:ext cx="2726654" cy="1595715"/>
          </a:xfrm>
          <a:prstGeom prst="rect">
            <a:avLst/>
          </a:prstGeom>
          <a:noFill/>
          <a:extLst>
            <a:ext uri="{909E8E84-426E-40DD-AFC4-6F175D3DCCD1}">
              <a14:hiddenFill xmlns:a14="http://schemas.microsoft.com/office/drawing/2010/main">
                <a:solidFill>
                  <a:srgbClr val="FFFFFF"/>
                </a:solidFill>
              </a14:hiddenFill>
            </a:ext>
          </a:extLst>
        </p:spPr>
      </p:pic>
      <p:pic>
        <p:nvPicPr>
          <p:cNvPr id="399386" name="Picture 26">
            <a:extLst>
              <a:ext uri="{FF2B5EF4-FFF2-40B4-BE49-F238E27FC236}">
                <a16:creationId xmlns:a16="http://schemas.microsoft.com/office/drawing/2014/main" id="{6BFEE720-944A-3546-8825-E710B0CD2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12321" y="1544633"/>
            <a:ext cx="2726654" cy="1595717"/>
          </a:xfrm>
          <a:prstGeom prst="rect">
            <a:avLst/>
          </a:prstGeom>
          <a:noFill/>
          <a:extLst>
            <a:ext uri="{909E8E84-426E-40DD-AFC4-6F175D3DCCD1}">
              <a14:hiddenFill xmlns:a14="http://schemas.microsoft.com/office/drawing/2010/main">
                <a:solidFill>
                  <a:srgbClr val="FFFFFF"/>
                </a:solidFill>
              </a14:hiddenFill>
            </a:ext>
          </a:extLst>
        </p:spPr>
      </p:pic>
      <p:pic>
        <p:nvPicPr>
          <p:cNvPr id="399388" name="Picture 28">
            <a:extLst>
              <a:ext uri="{FF2B5EF4-FFF2-40B4-BE49-F238E27FC236}">
                <a16:creationId xmlns:a16="http://schemas.microsoft.com/office/drawing/2014/main" id="{7A2F70D8-C924-7041-BDE6-4C5535CDC1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0266" y="4856202"/>
            <a:ext cx="2726657" cy="1595717"/>
          </a:xfrm>
          <a:prstGeom prst="rect">
            <a:avLst/>
          </a:prstGeom>
          <a:noFill/>
          <a:extLst>
            <a:ext uri="{909E8E84-426E-40DD-AFC4-6F175D3DCCD1}">
              <a14:hiddenFill xmlns:a14="http://schemas.microsoft.com/office/drawing/2010/main">
                <a:solidFill>
                  <a:srgbClr val="FFFFFF"/>
                </a:solidFill>
              </a14:hiddenFill>
            </a:ext>
          </a:extLst>
        </p:spPr>
      </p:pic>
      <p:pic>
        <p:nvPicPr>
          <p:cNvPr id="399390" name="Picture 30">
            <a:extLst>
              <a:ext uri="{FF2B5EF4-FFF2-40B4-BE49-F238E27FC236}">
                <a16:creationId xmlns:a16="http://schemas.microsoft.com/office/drawing/2014/main" id="{ECB0D8DE-8A3C-404C-89BD-476E1147ED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2321" y="3195753"/>
            <a:ext cx="2726654" cy="1595715"/>
          </a:xfrm>
          <a:prstGeom prst="rect">
            <a:avLst/>
          </a:prstGeom>
          <a:noFill/>
          <a:extLst>
            <a:ext uri="{909E8E84-426E-40DD-AFC4-6F175D3DCCD1}">
              <a14:hiddenFill xmlns:a14="http://schemas.microsoft.com/office/drawing/2010/main">
                <a:solidFill>
                  <a:srgbClr val="FFFFFF"/>
                </a:solidFill>
              </a14:hiddenFill>
            </a:ext>
          </a:extLst>
        </p:spPr>
      </p:pic>
      <p:sp>
        <p:nvSpPr>
          <p:cNvPr id="44" name="矩形 5">
            <a:extLst>
              <a:ext uri="{FF2B5EF4-FFF2-40B4-BE49-F238E27FC236}">
                <a16:creationId xmlns:a16="http://schemas.microsoft.com/office/drawing/2014/main" id="{201DBDD8-EB1C-4746-B014-0CF42C09980F}"/>
              </a:ext>
            </a:extLst>
          </p:cNvPr>
          <p:cNvSpPr/>
          <p:nvPr/>
        </p:nvSpPr>
        <p:spPr>
          <a:xfrm>
            <a:off x="3868281" y="3659876"/>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b="1" dirty="0">
                <a:solidFill>
                  <a:schemeClr val="accent2"/>
                </a:solidFill>
                <a:latin typeface="Calibri" panose="020F0502020204030204" pitchFamily="34" charset="0"/>
                <a:cs typeface="Calibri" panose="020F0502020204030204" pitchFamily="34" charset="0"/>
              </a:rPr>
              <a:t>Neural</a:t>
            </a:r>
          </a:p>
          <a:p>
            <a:pPr algn="ctr"/>
            <a:r>
              <a:rPr kumimoji="1" lang="en-US" altLang="zh-CN" sz="2000" b="1" dirty="0">
                <a:solidFill>
                  <a:schemeClr val="accent2"/>
                </a:solidFill>
                <a:latin typeface="Calibri" panose="020F0502020204030204" pitchFamily="34" charset="0"/>
                <a:cs typeface="Calibri" panose="020F0502020204030204" pitchFamily="34" charset="0"/>
              </a:rPr>
              <a:t>Network</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45" name="矩形 40">
            <a:extLst>
              <a:ext uri="{FF2B5EF4-FFF2-40B4-BE49-F238E27FC236}">
                <a16:creationId xmlns:a16="http://schemas.microsoft.com/office/drawing/2014/main" id="{1C6D3DB9-A6E1-0943-9D50-6A7537AF963A}"/>
              </a:ext>
            </a:extLst>
          </p:cNvPr>
          <p:cNvSpPr/>
          <p:nvPr/>
        </p:nvSpPr>
        <p:spPr>
          <a:xfrm>
            <a:off x="4613564" y="4904133"/>
            <a:ext cx="7813963" cy="1641600"/>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kumimoji="1" lang="en-US" altLang="zh-CN" sz="1200" b="1" dirty="0">
                <a:solidFill>
                  <a:schemeClr val="accent2">
                    <a:lumMod val="75000"/>
                  </a:schemeClr>
                </a:solidFill>
                <a:latin typeface="Calibri" panose="020F0502020204030204" pitchFamily="34" charset="0"/>
                <a:cs typeface="Calibri" panose="020F0502020204030204" pitchFamily="34" charset="0"/>
              </a:rPr>
              <a:t>Data set: </a:t>
            </a:r>
            <a:r>
              <a:rPr kumimoji="1" lang="en-US" altLang="zh-CN" sz="1200" dirty="0">
                <a:solidFill>
                  <a:schemeClr val="accent2">
                    <a:lumMod val="75000"/>
                  </a:schemeClr>
                </a:solidFill>
                <a:latin typeface="Calibri" panose="020F0502020204030204" pitchFamily="34" charset="0"/>
                <a:cs typeface="Calibri" panose="020F0502020204030204" pitchFamily="34" charset="0"/>
              </a:rPr>
              <a:t>daily PEP share price from 2013-1 to 2021-7</a:t>
            </a:r>
          </a:p>
          <a:p>
            <a:r>
              <a:rPr kumimoji="1" lang="en-US" altLang="zh-CN" sz="1200" b="1" dirty="0">
                <a:solidFill>
                  <a:schemeClr val="accent2">
                    <a:lumMod val="75000"/>
                  </a:schemeClr>
                </a:solidFill>
                <a:latin typeface="Calibri" panose="020F0502020204030204" pitchFamily="34" charset="0"/>
                <a:cs typeface="Calibri" panose="020F0502020204030204" pitchFamily="34" charset="0"/>
              </a:rPr>
              <a:t>Train</a:t>
            </a:r>
            <a:r>
              <a:rPr kumimoji="1" lang="zh-CN" altLang="en-US" sz="1200" b="1" dirty="0">
                <a:solidFill>
                  <a:schemeClr val="accent2">
                    <a:lumMod val="75000"/>
                  </a:schemeClr>
                </a:solidFill>
                <a:latin typeface="Calibri" panose="020F0502020204030204" pitchFamily="34" charset="0"/>
                <a:cs typeface="Calibri" panose="020F0502020204030204" pitchFamily="34" charset="0"/>
              </a:rPr>
              <a:t> </a:t>
            </a:r>
            <a:r>
              <a:rPr kumimoji="1" lang="en-US" altLang="zh-CN" sz="1200" b="1" dirty="0">
                <a:solidFill>
                  <a:schemeClr val="accent2">
                    <a:lumMod val="75000"/>
                  </a:schemeClr>
                </a:solidFill>
                <a:latin typeface="Calibri" panose="020F0502020204030204" pitchFamily="34" charset="0"/>
                <a:cs typeface="Calibri" panose="020F0502020204030204" pitchFamily="34" charset="0"/>
              </a:rPr>
              <a:t>: test </a:t>
            </a:r>
            <a:r>
              <a:rPr kumimoji="1" lang="en-US" altLang="zh-CN" sz="1200" dirty="0">
                <a:solidFill>
                  <a:schemeClr val="accent2">
                    <a:lumMod val="75000"/>
                  </a:schemeClr>
                </a:solidFill>
                <a:latin typeface="Calibri" panose="020F0502020204030204" pitchFamily="34" charset="0"/>
                <a:cs typeface="Calibri" panose="020F0502020204030204" pitchFamily="34" charset="0"/>
              </a:rPr>
              <a:t>= 9 : 1</a:t>
            </a:r>
          </a:p>
          <a:p>
            <a:r>
              <a:rPr kumimoji="1" lang="en-US" altLang="zh-CN" sz="1200" b="1" dirty="0">
                <a:solidFill>
                  <a:schemeClr val="accent2">
                    <a:lumMod val="75000"/>
                  </a:schemeClr>
                </a:solidFill>
                <a:latin typeface="Calibri" panose="020F0502020204030204" pitchFamily="34" charset="0"/>
                <a:cs typeface="Calibri" panose="020F0502020204030204" pitchFamily="34" charset="0"/>
              </a:rPr>
              <a:t>Features: </a:t>
            </a:r>
            <a:r>
              <a:rPr kumimoji="1" lang="en-US" altLang="zh-CN" sz="1200" dirty="0">
                <a:solidFill>
                  <a:schemeClr val="accent2">
                    <a:lumMod val="75000"/>
                  </a:schemeClr>
                </a:solidFill>
                <a:latin typeface="Calibri" panose="020F0502020204030204" pitchFamily="34" charset="0"/>
                <a:cs typeface="Calibri" panose="020F0502020204030204" pitchFamily="34" charset="0"/>
              </a:rPr>
              <a:t>stock market-related features (hypo1), financial features (hypo2), news sentiment features (partially hypo3)</a:t>
            </a:r>
          </a:p>
          <a:p>
            <a:r>
              <a:rPr kumimoji="1" lang="en-US" altLang="zh-CN" sz="1200" dirty="0">
                <a:solidFill>
                  <a:schemeClr val="accent2">
                    <a:lumMod val="75000"/>
                  </a:schemeClr>
                </a:solidFill>
                <a:latin typeface="Calibri" panose="020F0502020204030204" pitchFamily="34" charset="0"/>
                <a:cs typeface="Calibri" panose="020F0502020204030204" pitchFamily="34" charset="0"/>
              </a:rPr>
              <a:t>Best performance model: neural network (the model used for this project)</a:t>
            </a:r>
          </a:p>
          <a:p>
            <a:endParaRPr kumimoji="1" lang="en-US" altLang="zh-CN" sz="1200" dirty="0">
              <a:solidFill>
                <a:schemeClr val="accent2">
                  <a:lumMod val="75000"/>
                </a:schemeClr>
              </a:solidFill>
              <a:latin typeface="Calibri" panose="020F0502020204030204" pitchFamily="34" charset="0"/>
              <a:cs typeface="Calibri" panose="020F0502020204030204" pitchFamily="34" charset="0"/>
            </a:endParaRPr>
          </a:p>
          <a:p>
            <a:r>
              <a:rPr kumimoji="1" lang="en-US" altLang="zh-CN" sz="1200" dirty="0">
                <a:solidFill>
                  <a:schemeClr val="accent2">
                    <a:lumMod val="75000"/>
                  </a:schemeClr>
                </a:solidFill>
                <a:latin typeface="Calibri" panose="020F0502020204030204" pitchFamily="34" charset="0"/>
                <a:cs typeface="Calibri" panose="020F0502020204030204" pitchFamily="34" charset="0"/>
              </a:rPr>
              <a:t>Through data analysis, share price is highly correlated with S&amp;P 500 and the performance of linear models and tree-based models indicates the relationship between share price and our features is majorly linear and partially non-linear.</a:t>
            </a:r>
          </a:p>
        </p:txBody>
      </p:sp>
      <p:graphicFrame>
        <p:nvGraphicFramePr>
          <p:cNvPr id="16" name="Table 19">
            <a:extLst>
              <a:ext uri="{FF2B5EF4-FFF2-40B4-BE49-F238E27FC236}">
                <a16:creationId xmlns:a16="http://schemas.microsoft.com/office/drawing/2014/main" id="{9F8C4E1F-8614-C641-899B-A540B53F6FD2}"/>
              </a:ext>
            </a:extLst>
          </p:cNvPr>
          <p:cNvGraphicFramePr>
            <a:graphicFrameLocks noGrp="1"/>
          </p:cNvGraphicFramePr>
          <p:nvPr/>
        </p:nvGraphicFramePr>
        <p:xfrm>
          <a:off x="8589819" y="1717964"/>
          <a:ext cx="3837708" cy="2988425"/>
        </p:xfrm>
        <a:graphic>
          <a:graphicData uri="http://schemas.openxmlformats.org/drawingml/2006/table">
            <a:tbl>
              <a:tblPr firstRow="1" bandRow="1">
                <a:tableStyleId>{9DCAF9ED-07DC-4A11-8D7F-57B35C25682E}</a:tableStyleId>
              </a:tblPr>
              <a:tblGrid>
                <a:gridCol w="1279236">
                  <a:extLst>
                    <a:ext uri="{9D8B030D-6E8A-4147-A177-3AD203B41FA5}">
                      <a16:colId xmlns:a16="http://schemas.microsoft.com/office/drawing/2014/main" val="2015011154"/>
                    </a:ext>
                  </a:extLst>
                </a:gridCol>
                <a:gridCol w="1279236">
                  <a:extLst>
                    <a:ext uri="{9D8B030D-6E8A-4147-A177-3AD203B41FA5}">
                      <a16:colId xmlns:a16="http://schemas.microsoft.com/office/drawing/2014/main" val="408302460"/>
                    </a:ext>
                  </a:extLst>
                </a:gridCol>
                <a:gridCol w="1279236">
                  <a:extLst>
                    <a:ext uri="{9D8B030D-6E8A-4147-A177-3AD203B41FA5}">
                      <a16:colId xmlns:a16="http://schemas.microsoft.com/office/drawing/2014/main" val="1281083863"/>
                    </a:ext>
                  </a:extLst>
                </a:gridCol>
              </a:tblGrid>
              <a:tr h="464125">
                <a:tc>
                  <a:txBody>
                    <a:bodyPr/>
                    <a:lstStyle/>
                    <a:p>
                      <a:pPr algn="ctr"/>
                      <a:r>
                        <a:rPr lang="en-CN" sz="1400" dirty="0"/>
                        <a:t>Model</a:t>
                      </a:r>
                    </a:p>
                  </a:txBody>
                  <a:tcPr anchor="ctr"/>
                </a:tc>
                <a:tc>
                  <a:txBody>
                    <a:bodyPr/>
                    <a:lstStyle/>
                    <a:p>
                      <a:pPr algn="ctr"/>
                      <a:r>
                        <a:rPr lang="en-CN" sz="1400" dirty="0"/>
                        <a:t>MSE</a:t>
                      </a:r>
                    </a:p>
                    <a:p>
                      <a:pPr algn="ctr"/>
                      <a:r>
                        <a:rPr lang="en-US" sz="1200" dirty="0"/>
                        <a:t>O</a:t>
                      </a:r>
                      <a:r>
                        <a:rPr lang="en-CN" sz="1200" dirty="0"/>
                        <a:t>n all data</a:t>
                      </a:r>
                    </a:p>
                  </a:txBody>
                  <a:tcPr anchor="ctr"/>
                </a:tc>
                <a:tc>
                  <a:txBody>
                    <a:bodyPr/>
                    <a:lstStyle/>
                    <a:p>
                      <a:pPr algn="ctr"/>
                      <a:r>
                        <a:rPr lang="en-CN" sz="1400" dirty="0"/>
                        <a:t>R</a:t>
                      </a:r>
                      <a:r>
                        <a:rPr lang="en-CN" sz="1400" baseline="30000" dirty="0"/>
                        <a:t>2</a:t>
                      </a:r>
                    </a:p>
                    <a:p>
                      <a:pPr marL="0" marR="0" lvl="0" indent="0" algn="ctr" defTabSz="1216363" rtl="0" eaLnBrk="1" fontAlgn="auto" latinLnBrk="0" hangingPunct="1">
                        <a:lnSpc>
                          <a:spcPct val="100000"/>
                        </a:lnSpc>
                        <a:spcBef>
                          <a:spcPts val="0"/>
                        </a:spcBef>
                        <a:spcAft>
                          <a:spcPts val="0"/>
                        </a:spcAft>
                        <a:buClrTx/>
                        <a:buSzTx/>
                        <a:buFontTx/>
                        <a:buNone/>
                        <a:tabLst/>
                        <a:defRPr/>
                      </a:pPr>
                      <a:r>
                        <a:rPr lang="en-US" sz="1200" dirty="0"/>
                        <a:t>O</a:t>
                      </a:r>
                      <a:r>
                        <a:rPr lang="en-CN" sz="1200" dirty="0"/>
                        <a:t>n all data</a:t>
                      </a:r>
                    </a:p>
                  </a:txBody>
                  <a:tcPr anchor="ctr"/>
                </a:tc>
                <a:extLst>
                  <a:ext uri="{0D108BD9-81ED-4DB2-BD59-A6C34878D82A}">
                    <a16:rowId xmlns:a16="http://schemas.microsoft.com/office/drawing/2014/main" val="4256211242"/>
                  </a:ext>
                </a:extLst>
              </a:tr>
              <a:tr h="500149">
                <a:tc>
                  <a:txBody>
                    <a:bodyPr/>
                    <a:lstStyle/>
                    <a:p>
                      <a:pPr algn="ctr"/>
                      <a:r>
                        <a:rPr lang="en-CN" sz="1200" dirty="0">
                          <a:solidFill>
                            <a:schemeClr val="accent2">
                              <a:lumMod val="75000"/>
                            </a:schemeClr>
                          </a:solidFill>
                        </a:rPr>
                        <a:t>Linear Model</a:t>
                      </a:r>
                    </a:p>
                  </a:txBody>
                  <a:tcPr anchor="ctr"/>
                </a:tc>
                <a:tc>
                  <a:txBody>
                    <a:bodyPr/>
                    <a:lstStyle/>
                    <a:p>
                      <a:pPr algn="ctr"/>
                      <a:r>
                        <a:rPr lang="en-CN" sz="1200" dirty="0">
                          <a:solidFill>
                            <a:schemeClr val="accent2">
                              <a:lumMod val="75000"/>
                            </a:schemeClr>
                          </a:solidFill>
                        </a:rPr>
                        <a:t>39.4715</a:t>
                      </a:r>
                    </a:p>
                  </a:txBody>
                  <a:tcPr anchor="ctr"/>
                </a:tc>
                <a:tc>
                  <a:txBody>
                    <a:bodyPr/>
                    <a:lstStyle/>
                    <a:p>
                      <a:pPr algn="ctr"/>
                      <a:r>
                        <a:rPr lang="en-CN" sz="1200" dirty="0">
                          <a:solidFill>
                            <a:schemeClr val="accent2">
                              <a:lumMod val="75000"/>
                            </a:schemeClr>
                          </a:solidFill>
                        </a:rPr>
                        <a:t>0.9339</a:t>
                      </a:r>
                    </a:p>
                  </a:txBody>
                  <a:tcPr anchor="ctr"/>
                </a:tc>
                <a:extLst>
                  <a:ext uri="{0D108BD9-81ED-4DB2-BD59-A6C34878D82A}">
                    <a16:rowId xmlns:a16="http://schemas.microsoft.com/office/drawing/2014/main" val="1056075033"/>
                  </a:ext>
                </a:extLst>
              </a:tr>
              <a:tr h="500149">
                <a:tc>
                  <a:txBody>
                    <a:bodyPr/>
                    <a:lstStyle/>
                    <a:p>
                      <a:pPr algn="ctr"/>
                      <a:r>
                        <a:rPr lang="en-CN" sz="1200" dirty="0">
                          <a:solidFill>
                            <a:schemeClr val="accent2">
                              <a:lumMod val="75000"/>
                            </a:schemeClr>
                          </a:solidFill>
                        </a:rPr>
                        <a:t>SVM</a:t>
                      </a:r>
                    </a:p>
                  </a:txBody>
                  <a:tcPr anchor="ctr"/>
                </a:tc>
                <a:tc>
                  <a:txBody>
                    <a:bodyPr/>
                    <a:lstStyle/>
                    <a:p>
                      <a:pPr algn="ctr"/>
                      <a:r>
                        <a:rPr lang="en-CN" sz="1200" dirty="0">
                          <a:solidFill>
                            <a:schemeClr val="accent2">
                              <a:lumMod val="75000"/>
                            </a:schemeClr>
                          </a:solidFill>
                        </a:rPr>
                        <a:t>29.5397</a:t>
                      </a:r>
                    </a:p>
                  </a:txBody>
                  <a:tcPr anchor="ctr"/>
                </a:tc>
                <a:tc>
                  <a:txBody>
                    <a:bodyPr/>
                    <a:lstStyle/>
                    <a:p>
                      <a:pPr algn="ctr"/>
                      <a:r>
                        <a:rPr lang="en-CN" sz="1200" dirty="0">
                          <a:solidFill>
                            <a:schemeClr val="accent2">
                              <a:lumMod val="75000"/>
                            </a:schemeClr>
                          </a:solidFill>
                        </a:rPr>
                        <a:t>0.9157</a:t>
                      </a:r>
                    </a:p>
                  </a:txBody>
                  <a:tcPr anchor="ctr"/>
                </a:tc>
                <a:extLst>
                  <a:ext uri="{0D108BD9-81ED-4DB2-BD59-A6C34878D82A}">
                    <a16:rowId xmlns:a16="http://schemas.microsoft.com/office/drawing/2014/main" val="2236183580"/>
                  </a:ext>
                </a:extLst>
              </a:tr>
              <a:tr h="500149">
                <a:tc>
                  <a:txBody>
                    <a:bodyPr/>
                    <a:lstStyle/>
                    <a:p>
                      <a:pPr algn="ctr"/>
                      <a:r>
                        <a:rPr lang="en-CN" sz="1200" dirty="0">
                          <a:solidFill>
                            <a:schemeClr val="accent2">
                              <a:lumMod val="75000"/>
                            </a:schemeClr>
                          </a:solidFill>
                        </a:rPr>
                        <a:t>XGBoost</a:t>
                      </a:r>
                    </a:p>
                  </a:txBody>
                  <a:tcPr anchor="ctr"/>
                </a:tc>
                <a:tc>
                  <a:txBody>
                    <a:bodyPr/>
                    <a:lstStyle/>
                    <a:p>
                      <a:pPr algn="ctr"/>
                      <a:r>
                        <a:rPr lang="en-CN" sz="1200" dirty="0">
                          <a:solidFill>
                            <a:schemeClr val="accent2">
                              <a:lumMod val="75000"/>
                            </a:schemeClr>
                          </a:solidFill>
                        </a:rPr>
                        <a:t>47.8047</a:t>
                      </a:r>
                    </a:p>
                  </a:txBody>
                  <a:tcPr anchor="ctr"/>
                </a:tc>
                <a:tc>
                  <a:txBody>
                    <a:bodyPr/>
                    <a:lstStyle/>
                    <a:p>
                      <a:pPr algn="ctr"/>
                      <a:r>
                        <a:rPr lang="en-CN" sz="1200" dirty="0">
                          <a:solidFill>
                            <a:schemeClr val="accent2">
                              <a:lumMod val="75000"/>
                            </a:schemeClr>
                          </a:solidFill>
                        </a:rPr>
                        <a:t>0.8635</a:t>
                      </a:r>
                    </a:p>
                  </a:txBody>
                  <a:tcPr anchor="ctr"/>
                </a:tc>
                <a:extLst>
                  <a:ext uri="{0D108BD9-81ED-4DB2-BD59-A6C34878D82A}">
                    <a16:rowId xmlns:a16="http://schemas.microsoft.com/office/drawing/2014/main" val="1183632756"/>
                  </a:ext>
                </a:extLst>
              </a:tr>
              <a:tr h="500149">
                <a:tc>
                  <a:txBody>
                    <a:bodyPr/>
                    <a:lstStyle/>
                    <a:p>
                      <a:pPr algn="ctr"/>
                      <a:r>
                        <a:rPr lang="en-CN" sz="1200" dirty="0">
                          <a:solidFill>
                            <a:schemeClr val="accent2">
                              <a:lumMod val="75000"/>
                            </a:schemeClr>
                          </a:solidFill>
                        </a:rPr>
                        <a:t>Random Forest</a:t>
                      </a:r>
                    </a:p>
                  </a:txBody>
                  <a:tcPr anchor="ctr"/>
                </a:tc>
                <a:tc>
                  <a:txBody>
                    <a:bodyPr/>
                    <a:lstStyle/>
                    <a:p>
                      <a:pPr algn="ctr"/>
                      <a:r>
                        <a:rPr lang="en-CN" sz="1200" dirty="0">
                          <a:solidFill>
                            <a:schemeClr val="accent2">
                              <a:lumMod val="75000"/>
                            </a:schemeClr>
                          </a:solidFill>
                        </a:rPr>
                        <a:t>43.1071</a:t>
                      </a:r>
                    </a:p>
                  </a:txBody>
                  <a:tcPr anchor="ctr"/>
                </a:tc>
                <a:tc>
                  <a:txBody>
                    <a:bodyPr/>
                    <a:lstStyle/>
                    <a:p>
                      <a:pPr algn="ctr"/>
                      <a:r>
                        <a:rPr lang="en-CN" sz="1200" dirty="0">
                          <a:solidFill>
                            <a:schemeClr val="accent2">
                              <a:lumMod val="75000"/>
                            </a:schemeClr>
                          </a:solidFill>
                        </a:rPr>
                        <a:t>0.8769</a:t>
                      </a:r>
                    </a:p>
                  </a:txBody>
                  <a:tcPr anchor="ctr"/>
                </a:tc>
                <a:extLst>
                  <a:ext uri="{0D108BD9-81ED-4DB2-BD59-A6C34878D82A}">
                    <a16:rowId xmlns:a16="http://schemas.microsoft.com/office/drawing/2014/main" val="408387991"/>
                  </a:ext>
                </a:extLst>
              </a:tr>
              <a:tr h="500149">
                <a:tc>
                  <a:txBody>
                    <a:bodyPr/>
                    <a:lstStyle/>
                    <a:p>
                      <a:pPr algn="ctr"/>
                      <a:r>
                        <a:rPr lang="en-CN" sz="1200" dirty="0">
                          <a:solidFill>
                            <a:schemeClr val="accent2">
                              <a:lumMod val="75000"/>
                            </a:schemeClr>
                          </a:solidFill>
                        </a:rPr>
                        <a:t>Neural Network</a:t>
                      </a:r>
                    </a:p>
                  </a:txBody>
                  <a:tcPr anchor="ctr"/>
                </a:tc>
                <a:tc>
                  <a:txBody>
                    <a:bodyPr/>
                    <a:lstStyle/>
                    <a:p>
                      <a:pPr algn="ctr"/>
                      <a:r>
                        <a:rPr lang="en-CN" sz="1200" dirty="0">
                          <a:solidFill>
                            <a:schemeClr val="accent2">
                              <a:lumMod val="75000"/>
                            </a:schemeClr>
                          </a:solidFill>
                        </a:rPr>
                        <a:t>21.2276</a:t>
                      </a:r>
                    </a:p>
                  </a:txBody>
                  <a:tcPr anchor="ctr"/>
                </a:tc>
                <a:tc>
                  <a:txBody>
                    <a:bodyPr/>
                    <a:lstStyle/>
                    <a:p>
                      <a:pPr algn="ctr"/>
                      <a:r>
                        <a:rPr lang="en-CN" sz="1200" dirty="0">
                          <a:solidFill>
                            <a:schemeClr val="accent2">
                              <a:lumMod val="75000"/>
                            </a:schemeClr>
                          </a:solidFill>
                        </a:rPr>
                        <a:t>0.9633</a:t>
                      </a:r>
                    </a:p>
                  </a:txBody>
                  <a:tcPr anchor="ctr"/>
                </a:tc>
                <a:extLst>
                  <a:ext uri="{0D108BD9-81ED-4DB2-BD59-A6C34878D82A}">
                    <a16:rowId xmlns:a16="http://schemas.microsoft.com/office/drawing/2014/main" val="2689201723"/>
                  </a:ext>
                </a:extLst>
              </a:tr>
            </a:tbl>
          </a:graphicData>
        </a:graphic>
      </p:graphicFrame>
      <p:sp>
        <p:nvSpPr>
          <p:cNvPr id="17" name="矩形 16">
            <a:extLst>
              <a:ext uri="{FF2B5EF4-FFF2-40B4-BE49-F238E27FC236}">
                <a16:creationId xmlns:a16="http://schemas.microsoft.com/office/drawing/2014/main" id="{F1D32214-8917-7649-885B-4602A10B9D1D}"/>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18" name="TextBox 58">
            <a:extLst>
              <a:ext uri="{FF2B5EF4-FFF2-40B4-BE49-F238E27FC236}">
                <a16:creationId xmlns:a16="http://schemas.microsoft.com/office/drawing/2014/main" id="{D0536B3B-C884-F248-919B-BEF0B584C970}"/>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Appendix: </a:t>
            </a:r>
            <a:r>
              <a:rPr lang="en-US" altLang="zh-CN" sz="1600" dirty="0">
                <a:solidFill>
                  <a:schemeClr val="accent6"/>
                </a:solidFill>
                <a:latin typeface="Calibri" panose="020F0502020204030204" pitchFamily="34" charset="0"/>
                <a:cs typeface="Calibri" panose="020F0502020204030204" pitchFamily="34" charset="0"/>
              </a:rPr>
              <a:t>Company </a:t>
            </a:r>
            <a:r>
              <a:rPr lang="en-US" altLang="zh-CN" sz="1600" b="1" dirty="0">
                <a:latin typeface="Calibri" panose="020F0502020204030204" pitchFamily="34" charset="0"/>
                <a:cs typeface="Calibri" panose="020F0502020204030204" pitchFamily="34" charset="0"/>
                <a:sym typeface="Wingdings" pitchFamily="2" charset="2"/>
              </a:rPr>
              <a:t> Modeling</a:t>
            </a:r>
            <a:endParaRPr lang="zh-CN" altLang="en-US" sz="1600" dirty="0">
              <a:solidFill>
                <a:schemeClr val="accent6"/>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1626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BAD8172-9264-AA44-9862-29F61BB9B2CB}"/>
              </a:ext>
            </a:extLst>
          </p:cNvPr>
          <p:cNvSpPr>
            <a:spLocks noGrp="1"/>
          </p:cNvSpPr>
          <p:nvPr>
            <p:ph type="ftr" sz="quarter" idx="11"/>
          </p:nvPr>
        </p:nvSpPr>
        <p:spPr/>
        <p:txBody>
          <a:bodyPr/>
          <a:lstStyle/>
          <a:p>
            <a:endParaRPr lang="zh-CN" altLang="en-US"/>
          </a:p>
        </p:txBody>
      </p:sp>
      <p:sp>
        <p:nvSpPr>
          <p:cNvPr id="3" name="Title 1">
            <a:extLst>
              <a:ext uri="{FF2B5EF4-FFF2-40B4-BE49-F238E27FC236}">
                <a16:creationId xmlns:a16="http://schemas.microsoft.com/office/drawing/2014/main" id="{7ACD42EF-93AE-EC49-9AE2-57A120CE681E}"/>
              </a:ext>
            </a:extLst>
          </p:cNvPr>
          <p:cNvSpPr txBox="1">
            <a:spLocks/>
          </p:cNvSpPr>
          <p:nvPr/>
        </p:nvSpPr>
        <p:spPr>
          <a:xfrm>
            <a:off x="386590" y="373063"/>
            <a:ext cx="11801407" cy="862012"/>
          </a:xfrm>
          <a:prstGeom prst="rect">
            <a:avLst/>
          </a:prstGeom>
        </p:spPr>
        <p:txBody>
          <a:bodyPr anchor="ctr"/>
          <a:lstStyle>
            <a:lvl1pPr algn="l" defTabSz="981334" rtl="0" eaLnBrk="1" latinLnBrk="0" hangingPunct="1">
              <a:spcBef>
                <a:spcPct val="0"/>
              </a:spcBef>
              <a:buNone/>
              <a:defRPr sz="2600" b="1" kern="1200">
                <a:solidFill>
                  <a:schemeClr val="bg2"/>
                </a:solidFill>
                <a:latin typeface="Calibri" panose="020F0502020204030204" pitchFamily="34" charset="0"/>
                <a:ea typeface="+mj-ea"/>
                <a:cs typeface="Calibri" panose="020F0502020204030204" pitchFamily="34" charset="0"/>
              </a:defRPr>
            </a:lvl1pPr>
          </a:lstStyle>
          <a:p>
            <a:r>
              <a:rPr lang="en-US" altLang="zh-CN" sz="2800" dirty="0"/>
              <a:t>Appendix: </a:t>
            </a:r>
            <a:r>
              <a:rPr lang="en-US" altLang="zh-CN" sz="2800"/>
              <a:t>How to </a:t>
            </a:r>
            <a:r>
              <a:rPr lang="en-US" altLang="zh-CN" sz="2800" dirty="0"/>
              <a:t>incorporate quarterly data into our model?</a:t>
            </a:r>
            <a:endParaRPr lang="zh-CN" altLang="en-US" sz="2800" dirty="0"/>
          </a:p>
        </p:txBody>
      </p:sp>
      <p:sp>
        <p:nvSpPr>
          <p:cNvPr id="4" name="TextBox 3">
            <a:extLst>
              <a:ext uri="{FF2B5EF4-FFF2-40B4-BE49-F238E27FC236}">
                <a16:creationId xmlns:a16="http://schemas.microsoft.com/office/drawing/2014/main" id="{FA62BE45-330E-1B44-9787-844EFC4D1491}"/>
              </a:ext>
            </a:extLst>
          </p:cNvPr>
          <p:cNvSpPr txBox="1"/>
          <p:nvPr/>
        </p:nvSpPr>
        <p:spPr>
          <a:xfrm>
            <a:off x="386590" y="1440873"/>
            <a:ext cx="12054792" cy="3085516"/>
          </a:xfrm>
          <a:prstGeom prst="rect">
            <a:avLst/>
          </a:prstGeom>
          <a:noFill/>
        </p:spPr>
        <p:txBody>
          <a:bodyPr wrap="square" lIns="36000" tIns="36000" rIns="36000" bIns="36000" rtlCol="0">
            <a:spAutoFit/>
          </a:bodyPr>
          <a:lstStyle/>
          <a:p>
            <a:pPr>
              <a:lnSpc>
                <a:spcPct val="150000"/>
              </a:lnSpc>
            </a:pPr>
            <a:r>
              <a:rPr lang="en-CN" sz="1200" b="1" dirty="0">
                <a:solidFill>
                  <a:schemeClr val="accent2"/>
                </a:solidFill>
              </a:rPr>
              <a:t>One difficulty is to deal with quarterly financial data</a:t>
            </a:r>
            <a:r>
              <a:rPr lang="en-US" sz="1200" b="1" dirty="0">
                <a:solidFill>
                  <a:schemeClr val="accent2"/>
                </a:solidFill>
              </a:rPr>
              <a:t> and put it</a:t>
            </a:r>
            <a:r>
              <a:rPr lang="en-CN" sz="1200" b="1" dirty="0">
                <a:solidFill>
                  <a:schemeClr val="accent2"/>
                </a:solidFill>
              </a:rPr>
              <a:t> into </a:t>
            </a:r>
            <a:r>
              <a:rPr lang="en-US" sz="1200" b="1" dirty="0">
                <a:solidFill>
                  <a:schemeClr val="accent2"/>
                </a:solidFill>
              </a:rPr>
              <a:t>daily </a:t>
            </a:r>
            <a:r>
              <a:rPr lang="en-CN" sz="1200" b="1" dirty="0">
                <a:solidFill>
                  <a:schemeClr val="accent2"/>
                </a:solidFill>
              </a:rPr>
              <a:t>model</a:t>
            </a:r>
            <a:r>
              <a:rPr lang="en-US" sz="1200" b="1" dirty="0">
                <a:solidFill>
                  <a:schemeClr val="accent2"/>
                </a:solidFill>
              </a:rPr>
              <a:t>s. Here is</a:t>
            </a:r>
            <a:r>
              <a:rPr lang="en-CN" sz="1200" b="1" dirty="0">
                <a:solidFill>
                  <a:schemeClr val="accent2"/>
                </a:solidFill>
              </a:rPr>
              <a:t> </a:t>
            </a:r>
            <a:r>
              <a:rPr lang="en-US" sz="1200" b="1" dirty="0">
                <a:solidFill>
                  <a:schemeClr val="accent2"/>
                </a:solidFill>
              </a:rPr>
              <a:t>the</a:t>
            </a:r>
            <a:r>
              <a:rPr lang="en-CN" sz="1200" b="1" dirty="0">
                <a:solidFill>
                  <a:schemeClr val="accent2"/>
                </a:solidFill>
              </a:rPr>
              <a:t> dilemma:</a:t>
            </a:r>
          </a:p>
          <a:p>
            <a:pPr marL="228600" indent="-228600">
              <a:lnSpc>
                <a:spcPct val="150000"/>
              </a:lnSpc>
              <a:buAutoNum type="arabicPeriod"/>
            </a:pPr>
            <a:r>
              <a:rPr lang="en-US" sz="1200" dirty="0"/>
              <a:t>Daily data should not be aggregated to quarters because the sample scale would be greatly reduced, raising unreliable neural network model. </a:t>
            </a:r>
          </a:p>
          <a:p>
            <a:pPr marL="228600" indent="-228600">
              <a:lnSpc>
                <a:spcPct val="150000"/>
              </a:lnSpc>
              <a:buAutoNum type="arabicPeriod"/>
            </a:pPr>
            <a:r>
              <a:rPr lang="en-US" sz="1200" dirty="0"/>
              <a:t>Financial data is sparse with non-zero value in a few days, so it cannot be treated as features. </a:t>
            </a:r>
          </a:p>
          <a:p>
            <a:pPr>
              <a:lnSpc>
                <a:spcPct val="150000"/>
              </a:lnSpc>
            </a:pPr>
            <a:r>
              <a:rPr lang="en-US" sz="1200" b="1" dirty="0">
                <a:solidFill>
                  <a:schemeClr val="accent2"/>
                </a:solidFill>
              </a:rPr>
              <a:t>We can either:</a:t>
            </a:r>
          </a:p>
          <a:p>
            <a:pPr marL="228600" indent="-228600">
              <a:lnSpc>
                <a:spcPct val="150000"/>
              </a:lnSpc>
              <a:buAutoNum type="arabicPeriod"/>
            </a:pPr>
            <a:r>
              <a:rPr lang="en-US" sz="1200" dirty="0"/>
              <a:t>Use quarterly data and change our model to other tree-based or linear model but we have to discard the power of neural network.</a:t>
            </a:r>
          </a:p>
          <a:p>
            <a:pPr marL="228600" indent="-228600">
              <a:lnSpc>
                <a:spcPct val="150000"/>
              </a:lnSpc>
              <a:buAutoNum type="arabicPeriod"/>
            </a:pPr>
            <a:r>
              <a:rPr lang="en-CN" sz="1200" dirty="0"/>
              <a:t>Find a way to transform quarterly data into daily data or at leat incorporate ‘time’ term and let the neural network to learn the hidden pattern.</a:t>
            </a:r>
          </a:p>
          <a:p>
            <a:pPr>
              <a:lnSpc>
                <a:spcPct val="150000"/>
              </a:lnSpc>
            </a:pPr>
            <a:r>
              <a:rPr lang="en-US" sz="1200" b="1" dirty="0">
                <a:solidFill>
                  <a:schemeClr val="accent2"/>
                </a:solidFill>
              </a:rPr>
              <a:t>S</a:t>
            </a:r>
            <a:r>
              <a:rPr lang="en-CN" sz="1200" b="1" dirty="0">
                <a:solidFill>
                  <a:schemeClr val="accent2"/>
                </a:solidFill>
              </a:rPr>
              <a:t>econd method</a:t>
            </a:r>
            <a:r>
              <a:rPr lang="en-US" sz="1200" b="1" dirty="0">
                <a:solidFill>
                  <a:schemeClr val="accent2"/>
                </a:solidFill>
              </a:rPr>
              <a:t> is selected</a:t>
            </a:r>
            <a:r>
              <a:rPr lang="en-CN" sz="1200" b="1" dirty="0">
                <a:solidFill>
                  <a:schemeClr val="accent2"/>
                </a:solidFill>
              </a:rPr>
              <a:t>, and </a:t>
            </a:r>
            <a:r>
              <a:rPr lang="en-US" sz="1200" b="1" dirty="0">
                <a:solidFill>
                  <a:schemeClr val="accent2"/>
                </a:solidFill>
              </a:rPr>
              <a:t>following is data </a:t>
            </a:r>
            <a:r>
              <a:rPr lang="en-US" sz="1200" b="1">
                <a:solidFill>
                  <a:schemeClr val="accent2"/>
                </a:solidFill>
              </a:rPr>
              <a:t>processing steps</a:t>
            </a:r>
            <a:r>
              <a:rPr lang="en-CN" sz="1200" b="1">
                <a:solidFill>
                  <a:schemeClr val="accent2"/>
                </a:solidFill>
              </a:rPr>
              <a:t>:</a:t>
            </a:r>
            <a:r>
              <a:rPr lang="en-CN" altLang="zh-CN" sz="1200">
                <a:solidFill>
                  <a:schemeClr val="accent2"/>
                </a:solidFill>
              </a:rPr>
              <a:t> </a:t>
            </a:r>
            <a:endParaRPr lang="en-CN" sz="1200" b="1" dirty="0">
              <a:solidFill>
                <a:schemeClr val="accent2"/>
              </a:solidFill>
            </a:endParaRPr>
          </a:p>
          <a:p>
            <a:pPr marL="228600" indent="-228600">
              <a:lnSpc>
                <a:spcPct val="150000"/>
              </a:lnSpc>
              <a:buAutoNum type="arabicPeriod"/>
            </a:pPr>
            <a:r>
              <a:rPr lang="en-CN" sz="1200" dirty="0"/>
              <a:t>Left join quarterly data to share price data on daily basis,</a:t>
            </a:r>
          </a:p>
          <a:p>
            <a:pPr marL="228600" indent="-228600">
              <a:lnSpc>
                <a:spcPct val="150000"/>
              </a:lnSpc>
              <a:buAutoNum type="arabicPeriod"/>
            </a:pPr>
            <a:r>
              <a:rPr lang="en-CN" sz="1200" dirty="0"/>
              <a:t>Pad-fill null entries with its last financial data,</a:t>
            </a:r>
          </a:p>
          <a:p>
            <a:pPr marL="228600" indent="-228600">
              <a:lnSpc>
                <a:spcPct val="150000"/>
              </a:lnSpc>
              <a:buAutoNum type="arabicPeriod"/>
            </a:pPr>
            <a:r>
              <a:rPr lang="en-CN" sz="1200" dirty="0"/>
              <a:t>Create a column specify how many days have past since last financial statement was issued</a:t>
            </a:r>
            <a:r>
              <a:rPr lang="zh-CN" altLang="en-US" sz="1200" dirty="0"/>
              <a:t> </a:t>
            </a:r>
            <a:r>
              <a:rPr lang="en-CN" sz="1200" dirty="0"/>
              <a:t>and let the neural network to learn the linear / non-linear relationship.</a:t>
            </a:r>
          </a:p>
          <a:p>
            <a:pPr>
              <a:lnSpc>
                <a:spcPct val="150000"/>
              </a:lnSpc>
            </a:pPr>
            <a:r>
              <a:rPr lang="en-CN" sz="1200" b="1" dirty="0">
                <a:solidFill>
                  <a:schemeClr val="accent2"/>
                </a:solidFill>
              </a:rPr>
              <a:t>Visualize the learned pattern for each company:</a:t>
            </a:r>
          </a:p>
        </p:txBody>
      </p:sp>
      <p:pic>
        <p:nvPicPr>
          <p:cNvPr id="322562" name="Picture 2">
            <a:extLst>
              <a:ext uri="{FF2B5EF4-FFF2-40B4-BE49-F238E27FC236}">
                <a16:creationId xmlns:a16="http://schemas.microsoft.com/office/drawing/2014/main" id="{8F8A086F-F97E-8E4A-BC06-2B7AE37FDE7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7425" y="5051316"/>
            <a:ext cx="3925028" cy="1775943"/>
          </a:xfrm>
          <a:prstGeom prst="rect">
            <a:avLst/>
          </a:prstGeom>
          <a:noFill/>
          <a:extLst>
            <a:ext uri="{909E8E84-426E-40DD-AFC4-6F175D3DCCD1}">
              <a14:hiddenFill xmlns:a14="http://schemas.microsoft.com/office/drawing/2010/main">
                <a:solidFill>
                  <a:srgbClr val="FFFFFF"/>
                </a:solidFill>
              </a14:hiddenFill>
            </a:ext>
          </a:extLst>
        </p:spPr>
      </p:pic>
      <p:pic>
        <p:nvPicPr>
          <p:cNvPr id="322564" name="Picture 4">
            <a:extLst>
              <a:ext uri="{FF2B5EF4-FFF2-40B4-BE49-F238E27FC236}">
                <a16:creationId xmlns:a16="http://schemas.microsoft.com/office/drawing/2014/main" id="{BAE6D043-EBEC-1447-AD0A-4499DCD34F6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2350" y="5051315"/>
            <a:ext cx="3904758" cy="1775943"/>
          </a:xfrm>
          <a:prstGeom prst="rect">
            <a:avLst/>
          </a:prstGeom>
          <a:noFill/>
          <a:extLst>
            <a:ext uri="{909E8E84-426E-40DD-AFC4-6F175D3DCCD1}">
              <a14:hiddenFill xmlns:a14="http://schemas.microsoft.com/office/drawing/2010/main">
                <a:solidFill>
                  <a:srgbClr val="FFFFFF"/>
                </a:solidFill>
              </a14:hiddenFill>
            </a:ext>
          </a:extLst>
        </p:spPr>
      </p:pic>
      <p:pic>
        <p:nvPicPr>
          <p:cNvPr id="322568" name="Picture 8">
            <a:extLst>
              <a:ext uri="{FF2B5EF4-FFF2-40B4-BE49-F238E27FC236}">
                <a16:creationId xmlns:a16="http://schemas.microsoft.com/office/drawing/2014/main" id="{636C1080-66D4-3D40-9CD1-2FF573AFB0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07005" y="5009753"/>
            <a:ext cx="3925029" cy="1775943"/>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5">
            <a:extLst>
              <a:ext uri="{FF2B5EF4-FFF2-40B4-BE49-F238E27FC236}">
                <a16:creationId xmlns:a16="http://schemas.microsoft.com/office/drawing/2014/main" id="{017DCD8D-A306-684E-B227-035F50EB8AA9}"/>
              </a:ext>
            </a:extLst>
          </p:cNvPr>
          <p:cNvSpPr/>
          <p:nvPr/>
        </p:nvSpPr>
        <p:spPr>
          <a:xfrm>
            <a:off x="1340821" y="4429639"/>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2000" b="1" dirty="0">
                <a:solidFill>
                  <a:schemeClr val="accent2"/>
                </a:solidFill>
                <a:latin typeface="Calibri" panose="020F0502020204030204" pitchFamily="34" charset="0"/>
                <a:cs typeface="Calibri" panose="020F0502020204030204" pitchFamily="34" charset="0"/>
              </a:rPr>
              <a:t>PEP</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10" name="矩形 5">
            <a:extLst>
              <a:ext uri="{FF2B5EF4-FFF2-40B4-BE49-F238E27FC236}">
                <a16:creationId xmlns:a16="http://schemas.microsoft.com/office/drawing/2014/main" id="{50893222-93C1-BF46-875D-C8FD46B3D53E}"/>
              </a:ext>
            </a:extLst>
          </p:cNvPr>
          <p:cNvSpPr/>
          <p:nvPr/>
        </p:nvSpPr>
        <p:spPr>
          <a:xfrm>
            <a:off x="5301526" y="4429639"/>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2000" b="1" dirty="0">
                <a:solidFill>
                  <a:schemeClr val="accent2"/>
                </a:solidFill>
                <a:latin typeface="Calibri" panose="020F0502020204030204" pitchFamily="34" charset="0"/>
                <a:cs typeface="Calibri" panose="020F0502020204030204" pitchFamily="34" charset="0"/>
              </a:rPr>
              <a:t>AAL</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11" name="矩形 5">
            <a:extLst>
              <a:ext uri="{FF2B5EF4-FFF2-40B4-BE49-F238E27FC236}">
                <a16:creationId xmlns:a16="http://schemas.microsoft.com/office/drawing/2014/main" id="{945B18F3-0917-884C-8F82-EE9A96910BDC}"/>
              </a:ext>
            </a:extLst>
          </p:cNvPr>
          <p:cNvSpPr/>
          <p:nvPr/>
        </p:nvSpPr>
        <p:spPr>
          <a:xfrm>
            <a:off x="9350401" y="4374515"/>
            <a:ext cx="2238236" cy="6768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2000" b="1" dirty="0">
                <a:solidFill>
                  <a:schemeClr val="accent2"/>
                </a:solidFill>
                <a:latin typeface="Calibri" panose="020F0502020204030204" pitchFamily="34" charset="0"/>
                <a:cs typeface="Calibri" panose="020F0502020204030204" pitchFamily="34" charset="0"/>
              </a:rPr>
              <a:t>DIS</a:t>
            </a:r>
            <a:endParaRPr kumimoji="1" lang="zh-CN" altLang="en-US" sz="2000" b="1" dirty="0">
              <a:solidFill>
                <a:schemeClr val="accent2"/>
              </a:solidFill>
              <a:latin typeface="Calibri" panose="020F0502020204030204" pitchFamily="34" charset="0"/>
              <a:cs typeface="Calibri" panose="020F0502020204030204" pitchFamily="34" charset="0"/>
            </a:endParaRPr>
          </a:p>
        </p:txBody>
      </p:sp>
      <p:sp>
        <p:nvSpPr>
          <p:cNvPr id="12" name="矩形 11">
            <a:extLst>
              <a:ext uri="{FF2B5EF4-FFF2-40B4-BE49-F238E27FC236}">
                <a16:creationId xmlns:a16="http://schemas.microsoft.com/office/drawing/2014/main" id="{87C8E58A-9512-CC4B-A248-427DEA17C6D3}"/>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13" name="TextBox 58">
            <a:extLst>
              <a:ext uri="{FF2B5EF4-FFF2-40B4-BE49-F238E27FC236}">
                <a16:creationId xmlns:a16="http://schemas.microsoft.com/office/drawing/2014/main" id="{5F18E78C-11B0-254C-99B8-76A8ADE9B72A}"/>
              </a:ext>
            </a:extLst>
          </p:cNvPr>
          <p:cNvSpPr txBox="1"/>
          <p:nvPr/>
        </p:nvSpPr>
        <p:spPr>
          <a:xfrm>
            <a:off x="501103" y="38754"/>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Appendix: </a:t>
            </a:r>
            <a:r>
              <a:rPr lang="en-US" altLang="zh-CN" sz="1600" dirty="0">
                <a:solidFill>
                  <a:schemeClr val="accent6"/>
                </a:solidFill>
                <a:latin typeface="Calibri" panose="020F0502020204030204" pitchFamily="34" charset="0"/>
                <a:cs typeface="Calibri" panose="020F0502020204030204" pitchFamily="34" charset="0"/>
              </a:rPr>
              <a:t>Company </a:t>
            </a:r>
            <a:r>
              <a:rPr lang="en-US" altLang="zh-CN" sz="1600" b="1" dirty="0">
                <a:latin typeface="Calibri" panose="020F0502020204030204" pitchFamily="34" charset="0"/>
                <a:cs typeface="Calibri" panose="020F0502020204030204" pitchFamily="34" charset="0"/>
                <a:sym typeface="Wingdings" pitchFamily="2" charset="2"/>
              </a:rPr>
              <a:t> Modeling</a:t>
            </a:r>
            <a:endParaRPr lang="zh-CN" altLang="en-US" sz="1600" dirty="0">
              <a:solidFill>
                <a:schemeClr val="accent6"/>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84033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B8E2B1AC-2503-2D4A-9AA1-732C9A322175}"/>
              </a:ext>
            </a:extLst>
          </p:cNvPr>
          <p:cNvSpPr/>
          <p:nvPr/>
        </p:nvSpPr>
        <p:spPr>
          <a:xfrm>
            <a:off x="4976758" y="3863204"/>
            <a:ext cx="3810156" cy="2988443"/>
          </a:xfrm>
          <a:prstGeom prst="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4" name="三角形 3">
            <a:extLst>
              <a:ext uri="{FF2B5EF4-FFF2-40B4-BE49-F238E27FC236}">
                <a16:creationId xmlns:a16="http://schemas.microsoft.com/office/drawing/2014/main" id="{7EE957C1-F0A6-EB4D-902B-1221B9FAE79F}"/>
              </a:ext>
            </a:extLst>
          </p:cNvPr>
          <p:cNvSpPr/>
          <p:nvPr/>
        </p:nvSpPr>
        <p:spPr>
          <a:xfrm rot="16200000">
            <a:off x="3277693" y="5139816"/>
            <a:ext cx="3002009" cy="421651"/>
          </a:xfrm>
          <a:prstGeom prst="triangle">
            <a:avLst>
              <a:gd name="adj" fmla="val 49587"/>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5" name="矩形 4">
            <a:extLst>
              <a:ext uri="{FF2B5EF4-FFF2-40B4-BE49-F238E27FC236}">
                <a16:creationId xmlns:a16="http://schemas.microsoft.com/office/drawing/2014/main" id="{827C4DD5-31A1-644B-ABAD-0268AEC770AA}"/>
              </a:ext>
            </a:extLst>
          </p:cNvPr>
          <p:cNvSpPr/>
          <p:nvPr/>
        </p:nvSpPr>
        <p:spPr>
          <a:xfrm>
            <a:off x="4974396" y="1730540"/>
            <a:ext cx="3772312" cy="1976223"/>
          </a:xfrm>
          <a:prstGeom prst="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6" name="矩形 5">
            <a:extLst>
              <a:ext uri="{FF2B5EF4-FFF2-40B4-BE49-F238E27FC236}">
                <a16:creationId xmlns:a16="http://schemas.microsoft.com/office/drawing/2014/main" id="{B07A718B-B9D9-5646-9A32-652213A5F6C4}"/>
              </a:ext>
            </a:extLst>
          </p:cNvPr>
          <p:cNvSpPr/>
          <p:nvPr/>
        </p:nvSpPr>
        <p:spPr>
          <a:xfrm>
            <a:off x="4987030" y="2715769"/>
            <a:ext cx="3662790" cy="932305"/>
          </a:xfrm>
          <a:prstGeom prst="rect">
            <a:avLst/>
          </a:prstGeom>
          <a:solidFill>
            <a:schemeClr val="bg1"/>
          </a:solidFill>
          <a:ln w="12700">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7" name="三角形 6">
            <a:extLst>
              <a:ext uri="{FF2B5EF4-FFF2-40B4-BE49-F238E27FC236}">
                <a16:creationId xmlns:a16="http://schemas.microsoft.com/office/drawing/2014/main" id="{FF3442B4-EF1D-674D-B7B3-0100CB29C5F0}"/>
              </a:ext>
            </a:extLst>
          </p:cNvPr>
          <p:cNvSpPr/>
          <p:nvPr/>
        </p:nvSpPr>
        <p:spPr>
          <a:xfrm rot="16200000">
            <a:off x="3792618" y="2510777"/>
            <a:ext cx="1969668" cy="419157"/>
          </a:xfrm>
          <a:prstGeom prst="triangle">
            <a:avLst>
              <a:gd name="adj" fmla="val 49587"/>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8" name="矩形 7">
            <a:extLst>
              <a:ext uri="{FF2B5EF4-FFF2-40B4-BE49-F238E27FC236}">
                <a16:creationId xmlns:a16="http://schemas.microsoft.com/office/drawing/2014/main" id="{A6D4D3AE-781A-9744-86F5-C9548E16550E}"/>
              </a:ext>
            </a:extLst>
          </p:cNvPr>
          <p:cNvSpPr/>
          <p:nvPr/>
        </p:nvSpPr>
        <p:spPr>
          <a:xfrm>
            <a:off x="1828911" y="1751085"/>
            <a:ext cx="1637999" cy="4983835"/>
          </a:xfrm>
          <a:prstGeom prst="rect">
            <a:avLst/>
          </a:prstGeom>
          <a:solidFill>
            <a:schemeClr val="accent3">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9" name="TextBox 29">
            <a:extLst>
              <a:ext uri="{FF2B5EF4-FFF2-40B4-BE49-F238E27FC236}">
                <a16:creationId xmlns:a16="http://schemas.microsoft.com/office/drawing/2014/main" id="{03724F9F-9172-1442-B0F8-62340C9D0FD3}"/>
              </a:ext>
            </a:extLst>
          </p:cNvPr>
          <p:cNvSpPr txBox="1"/>
          <p:nvPr/>
        </p:nvSpPr>
        <p:spPr>
          <a:xfrm>
            <a:off x="5682133" y="1295205"/>
            <a:ext cx="2272582" cy="367114"/>
          </a:xfrm>
          <a:prstGeom prst="rect">
            <a:avLst/>
          </a:prstGeom>
          <a:noFill/>
        </p:spPr>
        <p:txBody>
          <a:bodyPr wrap="square" lIns="0" tIns="44622" rIns="0" bIns="44622" rtlCol="0">
            <a:spAutoFit/>
          </a:bodyPr>
          <a:lstStyle>
            <a:defPPr>
              <a:defRPr lang="en-US"/>
            </a:defPPr>
            <a:lvl1pPr>
              <a:defRPr sz="1600" b="1">
                <a:solidFill>
                  <a:schemeClr val="accent2"/>
                </a:solidFill>
                <a:latin typeface="Calibri" panose="020F0502020204030204" pitchFamily="34" charset="0"/>
                <a:cs typeface="Calibri" panose="020F0502020204030204" pitchFamily="34" charset="0"/>
              </a:defRPr>
            </a:lvl1pPr>
          </a:lstStyle>
          <a:p>
            <a:pPr algn="ctr"/>
            <a:r>
              <a:rPr lang="en-US" altLang="zh-CN" sz="1800" dirty="0"/>
              <a:t>Methodology</a:t>
            </a:r>
            <a:endParaRPr lang="zh-CN" altLang="en-US" sz="1800" dirty="0"/>
          </a:p>
        </p:txBody>
      </p:sp>
      <p:sp>
        <p:nvSpPr>
          <p:cNvPr id="10" name="TextBox 48">
            <a:extLst>
              <a:ext uri="{FF2B5EF4-FFF2-40B4-BE49-F238E27FC236}">
                <a16:creationId xmlns:a16="http://schemas.microsoft.com/office/drawing/2014/main" id="{FF28AF41-3D41-DB4C-BC42-1A4A0E1FAA02}"/>
              </a:ext>
            </a:extLst>
          </p:cNvPr>
          <p:cNvSpPr txBox="1"/>
          <p:nvPr/>
        </p:nvSpPr>
        <p:spPr>
          <a:xfrm>
            <a:off x="10114624" y="1295205"/>
            <a:ext cx="1350000" cy="367114"/>
          </a:xfrm>
          <a:prstGeom prst="rect">
            <a:avLst/>
          </a:prstGeom>
          <a:noFill/>
        </p:spPr>
        <p:txBody>
          <a:bodyPr wrap="square" lIns="0" tIns="44622" rIns="0" bIns="44622" rtlCol="0">
            <a:spAutoFit/>
          </a:bodyPr>
          <a:lstStyle>
            <a:defPPr>
              <a:defRPr lang="en-US"/>
            </a:defPPr>
            <a:lvl1pPr>
              <a:defRPr sz="1600" b="1">
                <a:solidFill>
                  <a:schemeClr val="accent2"/>
                </a:solidFill>
                <a:latin typeface="Calibri" panose="020F0502020204030204" pitchFamily="34" charset="0"/>
                <a:cs typeface="Calibri" panose="020F0502020204030204" pitchFamily="34" charset="0"/>
              </a:defRPr>
            </a:lvl1pPr>
          </a:lstStyle>
          <a:p>
            <a:pPr algn="ctr"/>
            <a:r>
              <a:rPr lang="en-US" altLang="zh-CN" sz="1800" dirty="0"/>
              <a:t>Highlights</a:t>
            </a:r>
            <a:endParaRPr lang="zh-CN" altLang="en-US" sz="1800" dirty="0"/>
          </a:p>
        </p:txBody>
      </p:sp>
      <p:sp>
        <p:nvSpPr>
          <p:cNvPr id="11" name="矩形 10">
            <a:extLst>
              <a:ext uri="{FF2B5EF4-FFF2-40B4-BE49-F238E27FC236}">
                <a16:creationId xmlns:a16="http://schemas.microsoft.com/office/drawing/2014/main" id="{5467CD20-682D-E941-BFD8-2E43D543EEC9}"/>
              </a:ext>
            </a:extLst>
          </p:cNvPr>
          <p:cNvSpPr/>
          <p:nvPr/>
        </p:nvSpPr>
        <p:spPr>
          <a:xfrm>
            <a:off x="1824973" y="1751087"/>
            <a:ext cx="1638000" cy="900000"/>
          </a:xfrm>
          <a:prstGeom prst="rect">
            <a:avLst/>
          </a:prstGeom>
          <a:solidFill>
            <a:schemeClr val="bg1"/>
          </a:solidFill>
          <a:ln w="19050">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lstStyle/>
          <a:p>
            <a:pPr algn="ctr"/>
            <a:r>
              <a:rPr kumimoji="1" lang="en-US" altLang="zh-CN" sz="1200" dirty="0">
                <a:solidFill>
                  <a:schemeClr val="tx1"/>
                </a:solidFill>
                <a:latin typeface="Calibri" panose="020F0502020204030204" pitchFamily="34" charset="0"/>
                <a:cs typeface="Calibri" panose="020F0502020204030204" pitchFamily="34" charset="0"/>
              </a:rPr>
              <a:t>To determine a company’s </a:t>
            </a:r>
          </a:p>
          <a:p>
            <a:pPr algn="ctr"/>
            <a:r>
              <a:rPr kumimoji="1" lang="en-US" altLang="zh-CN" sz="1200" dirty="0">
                <a:solidFill>
                  <a:schemeClr val="tx1"/>
                </a:solidFill>
                <a:latin typeface="Calibri" panose="020F0502020204030204" pitchFamily="34" charset="0"/>
                <a:cs typeface="Calibri" panose="020F0502020204030204" pitchFamily="34" charset="0"/>
              </a:rPr>
              <a:t>stock performance</a:t>
            </a: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2" name="矩形 11">
            <a:extLst>
              <a:ext uri="{FF2B5EF4-FFF2-40B4-BE49-F238E27FC236}">
                <a16:creationId xmlns:a16="http://schemas.microsoft.com/office/drawing/2014/main" id="{D4B74D43-2C62-4345-B254-E094C468F39B}"/>
              </a:ext>
            </a:extLst>
          </p:cNvPr>
          <p:cNvSpPr/>
          <p:nvPr/>
        </p:nvSpPr>
        <p:spPr>
          <a:xfrm>
            <a:off x="1824973" y="2807147"/>
            <a:ext cx="1638000" cy="900000"/>
          </a:xfrm>
          <a:prstGeom prst="rect">
            <a:avLst/>
          </a:prstGeom>
          <a:solidFill>
            <a:schemeClr val="bg1"/>
          </a:solidFill>
          <a:ln w="19050">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lstStyle/>
          <a:p>
            <a:pPr algn="ctr"/>
            <a:r>
              <a:rPr kumimoji="1" lang="en-US" altLang="zh-CN" sz="1200" dirty="0">
                <a:solidFill>
                  <a:schemeClr val="tx1"/>
                </a:solidFill>
                <a:latin typeface="Calibri" panose="020F0502020204030204" pitchFamily="34" charset="0"/>
                <a:cs typeface="Calibri" panose="020F0502020204030204" pitchFamily="34" charset="0"/>
              </a:rPr>
              <a:t>To identify noteworthy information that may have contributed to the stock’s volatility</a:t>
            </a: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3" name="矩形 12">
            <a:extLst>
              <a:ext uri="{FF2B5EF4-FFF2-40B4-BE49-F238E27FC236}">
                <a16:creationId xmlns:a16="http://schemas.microsoft.com/office/drawing/2014/main" id="{AFDBC784-F565-1246-B66E-C023F78285DC}"/>
              </a:ext>
            </a:extLst>
          </p:cNvPr>
          <p:cNvSpPr/>
          <p:nvPr/>
        </p:nvSpPr>
        <p:spPr>
          <a:xfrm>
            <a:off x="1824973" y="3863207"/>
            <a:ext cx="1638000" cy="900000"/>
          </a:xfrm>
          <a:prstGeom prst="rect">
            <a:avLst/>
          </a:prstGeom>
          <a:solidFill>
            <a:schemeClr val="bg1"/>
          </a:solidFill>
          <a:ln w="19050">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lstStyle/>
          <a:p>
            <a:pPr algn="ctr"/>
            <a:r>
              <a:rPr kumimoji="1" lang="en-US" altLang="zh-CN" sz="1200" dirty="0">
                <a:solidFill>
                  <a:schemeClr val="tx1"/>
                </a:solidFill>
                <a:latin typeface="Calibri" panose="020F0502020204030204" pitchFamily="34" charset="0"/>
                <a:cs typeface="Calibri" panose="020F0502020204030204" pitchFamily="34" charset="0"/>
              </a:rPr>
              <a:t>To simulate stock prices and identify important features  with modeling</a:t>
            </a: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4" name="矩形 13">
            <a:extLst>
              <a:ext uri="{FF2B5EF4-FFF2-40B4-BE49-F238E27FC236}">
                <a16:creationId xmlns:a16="http://schemas.microsoft.com/office/drawing/2014/main" id="{FD3E9FA9-6508-CB45-932B-8DDD2CCE610B}"/>
              </a:ext>
            </a:extLst>
          </p:cNvPr>
          <p:cNvSpPr/>
          <p:nvPr/>
        </p:nvSpPr>
        <p:spPr>
          <a:xfrm>
            <a:off x="1824973" y="5975325"/>
            <a:ext cx="1638000" cy="900000"/>
          </a:xfrm>
          <a:prstGeom prst="rect">
            <a:avLst/>
          </a:prstGeom>
          <a:solidFill>
            <a:schemeClr val="bg1"/>
          </a:solidFill>
          <a:ln w="19050">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lstStyle/>
          <a:p>
            <a:pPr algn="ctr"/>
            <a:r>
              <a:rPr kumimoji="1" lang="en-US" altLang="zh-CN" sz="1200" dirty="0">
                <a:solidFill>
                  <a:schemeClr val="tx1"/>
                </a:solidFill>
                <a:latin typeface="Calibri" panose="020F0502020204030204" pitchFamily="34" charset="0"/>
                <a:cs typeface="Calibri" panose="020F0502020204030204" pitchFamily="34" charset="0"/>
              </a:rPr>
              <a:t>To evaluate the models’ implication on real-world problems</a:t>
            </a: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5" name="矩形 14">
            <a:extLst>
              <a:ext uri="{FF2B5EF4-FFF2-40B4-BE49-F238E27FC236}">
                <a16:creationId xmlns:a16="http://schemas.microsoft.com/office/drawing/2014/main" id="{A7C8F3AE-7885-BE4D-99F3-67010B4B4556}"/>
              </a:ext>
            </a:extLst>
          </p:cNvPr>
          <p:cNvSpPr/>
          <p:nvPr/>
        </p:nvSpPr>
        <p:spPr>
          <a:xfrm>
            <a:off x="1824973" y="4919267"/>
            <a:ext cx="1638000" cy="900000"/>
          </a:xfrm>
          <a:prstGeom prst="rect">
            <a:avLst/>
          </a:prstGeom>
          <a:solidFill>
            <a:schemeClr val="bg1"/>
          </a:solidFill>
          <a:ln w="19050">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lstStyle/>
          <a:p>
            <a:pPr algn="ctr"/>
            <a:r>
              <a:rPr kumimoji="1" lang="en-US" altLang="zh-CN" sz="1200" dirty="0">
                <a:solidFill>
                  <a:schemeClr val="tx1"/>
                </a:solidFill>
                <a:latin typeface="Calibri" panose="020F0502020204030204" pitchFamily="34" charset="0"/>
                <a:cs typeface="Calibri" panose="020F0502020204030204" pitchFamily="34" charset="0"/>
              </a:rPr>
              <a:t>To evaluate results and</a:t>
            </a:r>
          </a:p>
          <a:p>
            <a:pPr algn="ctr"/>
            <a:r>
              <a:rPr kumimoji="1" lang="en-US" altLang="zh-CN" sz="1200" dirty="0">
                <a:solidFill>
                  <a:schemeClr val="tx1"/>
                </a:solidFill>
                <a:latin typeface="Calibri" panose="020F0502020204030204" pitchFamily="34" charset="0"/>
                <a:cs typeface="Calibri" panose="020F0502020204030204" pitchFamily="34" charset="0"/>
              </a:rPr>
              <a:t> robustness of the models </a:t>
            </a: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6" name="矩形 15">
            <a:extLst>
              <a:ext uri="{FF2B5EF4-FFF2-40B4-BE49-F238E27FC236}">
                <a16:creationId xmlns:a16="http://schemas.microsoft.com/office/drawing/2014/main" id="{DCCECEE7-9C31-B741-AFDA-C448AAA0079C}"/>
              </a:ext>
            </a:extLst>
          </p:cNvPr>
          <p:cNvSpPr/>
          <p:nvPr/>
        </p:nvSpPr>
        <p:spPr>
          <a:xfrm>
            <a:off x="9085263" y="1735521"/>
            <a:ext cx="3419476" cy="1969669"/>
          </a:xfrm>
          <a:prstGeom prst="rect">
            <a:avLst/>
          </a:prstGeom>
          <a:solidFill>
            <a:schemeClr val="accent6">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b="1" dirty="0">
                <a:solidFill>
                  <a:schemeClr val="accent2"/>
                </a:solidFill>
                <a:latin typeface="Calibri" panose="020F0502020204030204" pitchFamily="34" charset="0"/>
                <a:cs typeface="Calibri" panose="020F0502020204030204" pitchFamily="34" charset="0"/>
              </a:rPr>
              <a:t>AAL: </a:t>
            </a:r>
            <a:r>
              <a:rPr kumimoji="1" lang="en-US" altLang="zh-CN" sz="1200" dirty="0">
                <a:solidFill>
                  <a:schemeClr val="tx1"/>
                </a:solidFill>
                <a:latin typeface="Calibri" panose="020F0502020204030204" pitchFamily="34" charset="0"/>
                <a:cs typeface="Calibri" panose="020F0502020204030204" pitchFamily="34" charset="0"/>
              </a:rPr>
              <a:t>Strongly affected by suppliers and competitions, AAL returns to neutral after merger in 2013</a:t>
            </a:r>
          </a:p>
          <a:p>
            <a:pPr marL="171450" indent="-171450">
              <a:buFont typeface="Arial" panose="020B0604020202020204" pitchFamily="34" charset="0"/>
              <a:buChar char="•"/>
            </a:pPr>
            <a:r>
              <a:rPr kumimoji="1" lang="en-US" altLang="zh-CN" sz="1200" b="1" dirty="0">
                <a:solidFill>
                  <a:schemeClr val="accent2"/>
                </a:solidFill>
                <a:latin typeface="Calibri" panose="020F0502020204030204" pitchFamily="34" charset="0"/>
                <a:cs typeface="Calibri" panose="020F0502020204030204" pitchFamily="34" charset="0"/>
              </a:rPr>
              <a:t>DIS: </a:t>
            </a:r>
            <a:r>
              <a:rPr kumimoji="1" lang="en-US" altLang="zh-CN" sz="1200" dirty="0">
                <a:solidFill>
                  <a:schemeClr val="tx1"/>
                </a:solidFill>
                <a:latin typeface="Calibri" panose="020F0502020204030204" pitchFamily="34" charset="0"/>
                <a:cs typeface="Calibri" panose="020F0502020204030204" pitchFamily="34" charset="0"/>
              </a:rPr>
              <a:t>Outperformed the market, high intrinsic value</a:t>
            </a:r>
          </a:p>
          <a:p>
            <a:pPr marL="171450" indent="-171450">
              <a:buFont typeface="Arial" panose="020B0604020202020204" pitchFamily="34" charset="0"/>
              <a:buChar char="•"/>
            </a:pPr>
            <a:r>
              <a:rPr kumimoji="1" lang="en-US" altLang="zh-CN" sz="1200" b="1" dirty="0">
                <a:solidFill>
                  <a:schemeClr val="accent2"/>
                </a:solidFill>
                <a:latin typeface="Calibri" panose="020F0502020204030204" pitchFamily="34" charset="0"/>
                <a:cs typeface="Calibri" panose="020F0502020204030204" pitchFamily="34" charset="0"/>
              </a:rPr>
              <a:t>PEP: </a:t>
            </a:r>
            <a:r>
              <a:rPr kumimoji="1" lang="en-US" altLang="zh-CN" sz="1200" dirty="0">
                <a:solidFill>
                  <a:schemeClr val="tx1"/>
                </a:solidFill>
                <a:latin typeface="Calibri" panose="020F0502020204030204" pitchFamily="34" charset="0"/>
                <a:cs typeface="Calibri" panose="020F0502020204030204" pitchFamily="34" charset="0"/>
              </a:rPr>
              <a:t>Underperformed the market, but its strong financial performance raised its value</a:t>
            </a:r>
          </a:p>
        </p:txBody>
      </p:sp>
      <p:sp>
        <p:nvSpPr>
          <p:cNvPr id="17" name="Content Placeholder 11">
            <a:extLst>
              <a:ext uri="{FF2B5EF4-FFF2-40B4-BE49-F238E27FC236}">
                <a16:creationId xmlns:a16="http://schemas.microsoft.com/office/drawing/2014/main" id="{6432B709-D754-5B45-9CF0-5DBCE9E11B96}"/>
              </a:ext>
            </a:extLst>
          </p:cNvPr>
          <p:cNvSpPr txBox="1">
            <a:spLocks/>
          </p:cNvSpPr>
          <p:nvPr/>
        </p:nvSpPr>
        <p:spPr>
          <a:xfrm>
            <a:off x="5052682" y="2769768"/>
            <a:ext cx="2309980" cy="486000"/>
          </a:xfrm>
          <a:prstGeom prst="rect">
            <a:avLst/>
          </a:prstGeom>
          <a:solidFill>
            <a:schemeClr val="accent3">
              <a:lumMod val="20000"/>
              <a:lumOff val="80000"/>
            </a:schemeClr>
          </a:solidFill>
          <a:ln w="12700">
            <a:noFill/>
            <a:prstDash val="dash"/>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ts val="0"/>
              </a:spcBef>
              <a:buNone/>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Hypothesis</a:t>
            </a:r>
            <a:r>
              <a:rPr lang="zh-CN" altLang="en-US"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 </a:t>
            </a: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list</a:t>
            </a:r>
            <a:r>
              <a:rPr lang="zh-CN" altLang="en-US"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 </a:t>
            </a: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of features in market, industry, and company level</a:t>
            </a:r>
          </a:p>
        </p:txBody>
      </p:sp>
      <p:sp>
        <p:nvSpPr>
          <p:cNvPr id="18" name="Content Placeholder 11">
            <a:extLst>
              <a:ext uri="{FF2B5EF4-FFF2-40B4-BE49-F238E27FC236}">
                <a16:creationId xmlns:a16="http://schemas.microsoft.com/office/drawing/2014/main" id="{99BBAA5B-D898-3F4D-A2FB-6208B09B43CB}"/>
              </a:ext>
            </a:extLst>
          </p:cNvPr>
          <p:cNvSpPr txBox="1">
            <a:spLocks/>
          </p:cNvSpPr>
          <p:nvPr/>
        </p:nvSpPr>
        <p:spPr>
          <a:xfrm>
            <a:off x="5038617" y="3309766"/>
            <a:ext cx="2324045" cy="285202"/>
          </a:xfrm>
          <a:prstGeom prst="rect">
            <a:avLst/>
          </a:prstGeom>
          <a:solidFill>
            <a:schemeClr val="accent3">
              <a:lumMod val="20000"/>
              <a:lumOff val="80000"/>
            </a:schemeClr>
          </a:solidFill>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ts val="0"/>
              </a:spcBef>
              <a:buNone/>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Trends &amp; changes in stock prices </a:t>
            </a:r>
          </a:p>
        </p:txBody>
      </p:sp>
      <p:sp>
        <p:nvSpPr>
          <p:cNvPr id="19" name="Content Placeholder 11">
            <a:extLst>
              <a:ext uri="{FF2B5EF4-FFF2-40B4-BE49-F238E27FC236}">
                <a16:creationId xmlns:a16="http://schemas.microsoft.com/office/drawing/2014/main" id="{E343F68A-2B3D-7E41-9985-B2FEC3CDF273}"/>
              </a:ext>
            </a:extLst>
          </p:cNvPr>
          <p:cNvSpPr txBox="1">
            <a:spLocks/>
          </p:cNvSpPr>
          <p:nvPr/>
        </p:nvSpPr>
        <p:spPr>
          <a:xfrm>
            <a:off x="7586363" y="2781031"/>
            <a:ext cx="1012447" cy="813938"/>
          </a:xfrm>
          <a:prstGeom prst="rect">
            <a:avLst/>
          </a:prstGeom>
          <a:solidFill>
            <a:schemeClr val="accent3">
              <a:lumMod val="20000"/>
              <a:lumOff val="80000"/>
            </a:schemeClr>
          </a:solidFill>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Analyze the trends and changes with features</a:t>
            </a:r>
          </a:p>
        </p:txBody>
      </p:sp>
      <p:sp>
        <p:nvSpPr>
          <p:cNvPr id="20" name="矩形 19">
            <a:extLst>
              <a:ext uri="{FF2B5EF4-FFF2-40B4-BE49-F238E27FC236}">
                <a16:creationId xmlns:a16="http://schemas.microsoft.com/office/drawing/2014/main" id="{C11EFC7A-ADE1-D144-B84D-C48787AFC7EE}"/>
              </a:ext>
            </a:extLst>
          </p:cNvPr>
          <p:cNvSpPr/>
          <p:nvPr/>
        </p:nvSpPr>
        <p:spPr>
          <a:xfrm>
            <a:off x="4987030" y="1796657"/>
            <a:ext cx="3662790" cy="770691"/>
          </a:xfrm>
          <a:prstGeom prst="rect">
            <a:avLst/>
          </a:prstGeom>
          <a:solidFill>
            <a:schemeClr val="bg1"/>
          </a:solidFill>
          <a:ln w="12700">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lnSpc>
                <a:spcPct val="100000"/>
              </a:lnSpc>
              <a:spcBef>
                <a:spcPts val="0"/>
              </a:spcBef>
              <a:buFont typeface="Arial" panose="020B0604020202020204" pitchFamily="34" charset="0"/>
              <a:buChar char="•"/>
              <a:defRPr/>
            </a:pPr>
            <a:endParaRPr lang="en-US" altLang="zh-CN" sz="1400" dirty="0">
              <a:solidFill>
                <a:prstClr val="black"/>
              </a:solidFill>
              <a:latin typeface="Calibri" panose="020F0502020204030204" pitchFamily="34" charset="0"/>
              <a:ea typeface="华文楷体" panose="02010600040101010101" pitchFamily="2" charset="-122"/>
              <a:cs typeface="Calibri" panose="020F0502020204030204" pitchFamily="34" charset="0"/>
            </a:endParaRPr>
          </a:p>
        </p:txBody>
      </p:sp>
      <p:sp>
        <p:nvSpPr>
          <p:cNvPr id="21" name="矩形 20">
            <a:extLst>
              <a:ext uri="{FF2B5EF4-FFF2-40B4-BE49-F238E27FC236}">
                <a16:creationId xmlns:a16="http://schemas.microsoft.com/office/drawing/2014/main" id="{7CD45BA3-396F-0547-878D-2F7CFDC73DB9}"/>
              </a:ext>
            </a:extLst>
          </p:cNvPr>
          <p:cNvSpPr/>
          <p:nvPr/>
        </p:nvSpPr>
        <p:spPr>
          <a:xfrm>
            <a:off x="4987029" y="3916597"/>
            <a:ext cx="3662790" cy="900000"/>
          </a:xfrm>
          <a:prstGeom prst="rect">
            <a:avLst/>
          </a:prstGeom>
          <a:solidFill>
            <a:schemeClr val="bg1"/>
          </a:solidFill>
          <a:ln w="12700">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22" name="iconfont-11261-3544158">
            <a:extLst>
              <a:ext uri="{FF2B5EF4-FFF2-40B4-BE49-F238E27FC236}">
                <a16:creationId xmlns:a16="http://schemas.microsoft.com/office/drawing/2014/main" id="{0B73708D-A2E3-4940-9FE3-BBD7579F220B}"/>
              </a:ext>
            </a:extLst>
          </p:cNvPr>
          <p:cNvSpPr>
            <a:spLocks noChangeAspect="1"/>
          </p:cNvSpPr>
          <p:nvPr/>
        </p:nvSpPr>
        <p:spPr>
          <a:xfrm>
            <a:off x="2339131" y="5773493"/>
            <a:ext cx="609685" cy="252414"/>
          </a:xfrm>
          <a:custGeom>
            <a:avLst/>
            <a:gdLst>
              <a:gd name="T0" fmla="*/ 0 w 12204"/>
              <a:gd name="T1" fmla="*/ 0 h 7627"/>
              <a:gd name="T2" fmla="*/ 12204 w 12204"/>
              <a:gd name="T3" fmla="*/ 0 h 7627"/>
              <a:gd name="T4" fmla="*/ 6102 w 12204"/>
              <a:gd name="T5" fmla="*/ 7627 h 7627"/>
              <a:gd name="T6" fmla="*/ 0 w 12204"/>
              <a:gd name="T7" fmla="*/ 0 h 7627"/>
            </a:gdLst>
            <a:ahLst/>
            <a:cxnLst>
              <a:cxn ang="0">
                <a:pos x="T0" y="T1"/>
              </a:cxn>
              <a:cxn ang="0">
                <a:pos x="T2" y="T3"/>
              </a:cxn>
              <a:cxn ang="0">
                <a:pos x="T4" y="T5"/>
              </a:cxn>
              <a:cxn ang="0">
                <a:pos x="T6" y="T7"/>
              </a:cxn>
            </a:cxnLst>
            <a:rect l="0" t="0" r="r" b="b"/>
            <a:pathLst>
              <a:path w="12204" h="7627">
                <a:moveTo>
                  <a:pt x="0" y="0"/>
                </a:moveTo>
                <a:lnTo>
                  <a:pt x="12204" y="0"/>
                </a:lnTo>
                <a:lnTo>
                  <a:pt x="6102" y="7627"/>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3" name="iconfont-11261-3544158">
            <a:extLst>
              <a:ext uri="{FF2B5EF4-FFF2-40B4-BE49-F238E27FC236}">
                <a16:creationId xmlns:a16="http://schemas.microsoft.com/office/drawing/2014/main" id="{243B6A09-8E0E-EF4F-A405-1BC41683A72E}"/>
              </a:ext>
            </a:extLst>
          </p:cNvPr>
          <p:cNvSpPr>
            <a:spLocks noChangeAspect="1"/>
          </p:cNvSpPr>
          <p:nvPr/>
        </p:nvSpPr>
        <p:spPr>
          <a:xfrm>
            <a:off x="2339131" y="4710174"/>
            <a:ext cx="609685" cy="252414"/>
          </a:xfrm>
          <a:custGeom>
            <a:avLst/>
            <a:gdLst>
              <a:gd name="T0" fmla="*/ 0 w 12204"/>
              <a:gd name="T1" fmla="*/ 0 h 7627"/>
              <a:gd name="T2" fmla="*/ 12204 w 12204"/>
              <a:gd name="T3" fmla="*/ 0 h 7627"/>
              <a:gd name="T4" fmla="*/ 6102 w 12204"/>
              <a:gd name="T5" fmla="*/ 7627 h 7627"/>
              <a:gd name="T6" fmla="*/ 0 w 12204"/>
              <a:gd name="T7" fmla="*/ 0 h 7627"/>
            </a:gdLst>
            <a:ahLst/>
            <a:cxnLst>
              <a:cxn ang="0">
                <a:pos x="T0" y="T1"/>
              </a:cxn>
              <a:cxn ang="0">
                <a:pos x="T2" y="T3"/>
              </a:cxn>
              <a:cxn ang="0">
                <a:pos x="T4" y="T5"/>
              </a:cxn>
              <a:cxn ang="0">
                <a:pos x="T6" y="T7"/>
              </a:cxn>
            </a:cxnLst>
            <a:rect l="0" t="0" r="r" b="b"/>
            <a:pathLst>
              <a:path w="12204" h="7627">
                <a:moveTo>
                  <a:pt x="0" y="0"/>
                </a:moveTo>
                <a:lnTo>
                  <a:pt x="12204" y="0"/>
                </a:lnTo>
                <a:lnTo>
                  <a:pt x="6102" y="7627"/>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24" name="Content Placeholder 11">
            <a:extLst>
              <a:ext uri="{FF2B5EF4-FFF2-40B4-BE49-F238E27FC236}">
                <a16:creationId xmlns:a16="http://schemas.microsoft.com/office/drawing/2014/main" id="{F8415A9C-99F0-6840-ABA7-4FC58415B697}"/>
              </a:ext>
            </a:extLst>
          </p:cNvPr>
          <p:cNvSpPr txBox="1">
            <a:spLocks/>
          </p:cNvSpPr>
          <p:nvPr/>
        </p:nvSpPr>
        <p:spPr>
          <a:xfrm>
            <a:off x="5067673" y="1802558"/>
            <a:ext cx="3165107" cy="793818"/>
          </a:xfrm>
          <a:prstGeom prst="rect">
            <a:avLst/>
          </a:prstGeom>
          <a:ln w="12700">
            <a:noFill/>
            <a:prstDash val="dash"/>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0000"/>
              </a:lnSpc>
              <a:spcBef>
                <a:spcPts val="0"/>
              </a:spcBef>
              <a:defRPr/>
            </a:pPr>
            <a:endParaRPr lang="en-US" altLang="zh-CN" sz="1400" dirty="0">
              <a:solidFill>
                <a:prstClr val="black"/>
              </a:solidFill>
              <a:latin typeface="Calibri" panose="020F0502020204030204" pitchFamily="34" charset="0"/>
              <a:ea typeface="华文楷体" panose="02010600040101010101" pitchFamily="2" charset="-122"/>
              <a:cs typeface="Calibri" panose="020F0502020204030204" pitchFamily="34" charset="0"/>
            </a:endParaRPr>
          </a:p>
        </p:txBody>
      </p:sp>
      <p:sp>
        <p:nvSpPr>
          <p:cNvPr id="25" name="Content Placeholder 11">
            <a:extLst>
              <a:ext uri="{FF2B5EF4-FFF2-40B4-BE49-F238E27FC236}">
                <a16:creationId xmlns:a16="http://schemas.microsoft.com/office/drawing/2014/main" id="{BAE338E5-5415-5140-AEB7-C6BD90E25EEF}"/>
              </a:ext>
            </a:extLst>
          </p:cNvPr>
          <p:cNvSpPr txBox="1">
            <a:spLocks/>
          </p:cNvSpPr>
          <p:nvPr/>
        </p:nvSpPr>
        <p:spPr>
          <a:xfrm>
            <a:off x="5034647" y="3916597"/>
            <a:ext cx="1763279" cy="900000"/>
          </a:xfrm>
          <a:prstGeom prst="rect">
            <a:avLst/>
          </a:prstGeom>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u="sng" dirty="0">
                <a:solidFill>
                  <a:prstClr val="black"/>
                </a:solidFill>
                <a:latin typeface="Calibri" panose="020F0502020204030204" pitchFamily="34" charset="0"/>
                <a:ea typeface="华文楷体" panose="02010600040101010101" pitchFamily="2" charset="-122"/>
                <a:cs typeface="Calibri" panose="020F0502020204030204" pitchFamily="34" charset="0"/>
              </a:rPr>
              <a:t>Hypothesis</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Stock and market metrics</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Firm’s  published data</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News</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Social Media (tweets)</a:t>
            </a:r>
          </a:p>
        </p:txBody>
      </p:sp>
      <p:sp>
        <p:nvSpPr>
          <p:cNvPr id="26" name="Content Placeholder 11">
            <a:extLst>
              <a:ext uri="{FF2B5EF4-FFF2-40B4-BE49-F238E27FC236}">
                <a16:creationId xmlns:a16="http://schemas.microsoft.com/office/drawing/2014/main" id="{011998CB-95AC-BA40-A111-0A236DD29CDE}"/>
              </a:ext>
            </a:extLst>
          </p:cNvPr>
          <p:cNvSpPr txBox="1">
            <a:spLocks/>
          </p:cNvSpPr>
          <p:nvPr/>
        </p:nvSpPr>
        <p:spPr>
          <a:xfrm>
            <a:off x="6879995" y="3916597"/>
            <a:ext cx="1713689" cy="881206"/>
          </a:xfrm>
          <a:prstGeom prst="rect">
            <a:avLst/>
          </a:prstGeom>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u="sng" dirty="0">
                <a:solidFill>
                  <a:prstClr val="black"/>
                </a:solidFill>
                <a:latin typeface="Calibri" panose="020F0502020204030204" pitchFamily="34" charset="0"/>
                <a:ea typeface="华文楷体" panose="02010600040101010101" pitchFamily="2" charset="-122"/>
                <a:cs typeface="Calibri" panose="020F0502020204030204" pitchFamily="34" charset="0"/>
              </a:rPr>
              <a:t>Modeling Techniques</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LSTM</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NLP –Sentiment Analysis</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Complex NN </a:t>
            </a:r>
          </a:p>
          <a:p>
            <a:pPr>
              <a:lnSpc>
                <a:spcPct val="100000"/>
              </a:lnSpc>
              <a:spcBef>
                <a:spcPts val="0"/>
              </a:spcBef>
              <a:defRPr/>
            </a:pPr>
            <a:endPar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endParaRPr>
          </a:p>
        </p:txBody>
      </p:sp>
      <p:grpSp>
        <p:nvGrpSpPr>
          <p:cNvPr id="27" name="Group 2">
            <a:extLst>
              <a:ext uri="{FF2B5EF4-FFF2-40B4-BE49-F238E27FC236}">
                <a16:creationId xmlns:a16="http://schemas.microsoft.com/office/drawing/2014/main" id="{B5F4979D-6753-A04D-84CA-1CDA96C8CB47}"/>
              </a:ext>
            </a:extLst>
          </p:cNvPr>
          <p:cNvGrpSpPr/>
          <p:nvPr/>
        </p:nvGrpSpPr>
        <p:grpSpPr>
          <a:xfrm>
            <a:off x="4981960" y="4898777"/>
            <a:ext cx="3662791" cy="1004422"/>
            <a:chOff x="4987029" y="5904721"/>
            <a:chExt cx="3662791" cy="900001"/>
          </a:xfrm>
        </p:grpSpPr>
        <p:sp>
          <p:nvSpPr>
            <p:cNvPr id="28" name="矩形 27">
              <a:extLst>
                <a:ext uri="{FF2B5EF4-FFF2-40B4-BE49-F238E27FC236}">
                  <a16:creationId xmlns:a16="http://schemas.microsoft.com/office/drawing/2014/main" id="{FF276B18-541C-4F4F-AF4D-3DE0A6D00EA5}"/>
                </a:ext>
              </a:extLst>
            </p:cNvPr>
            <p:cNvSpPr/>
            <p:nvPr/>
          </p:nvSpPr>
          <p:spPr>
            <a:xfrm>
              <a:off x="4987029" y="5904722"/>
              <a:ext cx="3662791" cy="900000"/>
            </a:xfrm>
            <a:prstGeom prst="rect">
              <a:avLst/>
            </a:prstGeom>
            <a:solidFill>
              <a:schemeClr val="bg1"/>
            </a:solidFill>
            <a:ln w="12700">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29" name="Content Placeholder 11">
              <a:extLst>
                <a:ext uri="{FF2B5EF4-FFF2-40B4-BE49-F238E27FC236}">
                  <a16:creationId xmlns:a16="http://schemas.microsoft.com/office/drawing/2014/main" id="{9F7D0B37-9068-ED4C-BC06-7B730E873A9B}"/>
                </a:ext>
              </a:extLst>
            </p:cNvPr>
            <p:cNvSpPr txBox="1">
              <a:spLocks/>
            </p:cNvSpPr>
            <p:nvPr/>
          </p:nvSpPr>
          <p:spPr>
            <a:xfrm>
              <a:off x="5016456" y="5904721"/>
              <a:ext cx="1781470" cy="900000"/>
            </a:xfrm>
            <a:prstGeom prst="rect">
              <a:avLst/>
            </a:prstGeom>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u="sng" dirty="0">
                  <a:solidFill>
                    <a:prstClr val="black"/>
                  </a:solidFill>
                  <a:latin typeface="Calibri" panose="020F0502020204030204" pitchFamily="34" charset="0"/>
                  <a:ea typeface="华文楷体" panose="02010600040101010101" pitchFamily="2" charset="-122"/>
                  <a:cs typeface="Calibri" panose="020F0502020204030204" pitchFamily="34" charset="0"/>
                </a:rPr>
                <a:t>Analysis on Competitors</a:t>
              </a:r>
            </a:p>
            <a:p>
              <a:pPr>
                <a:lnSpc>
                  <a:spcPct val="100000"/>
                </a:lnSpc>
                <a:spcBef>
                  <a:spcPts val="0"/>
                </a:spcBef>
                <a:defRPr/>
              </a:pPr>
              <a:r>
                <a:rPr kumimoji="1" lang="en-US" altLang="zh-CN" sz="1200" dirty="0">
                  <a:latin typeface="Calibri" panose="020F0502020204030204" pitchFamily="34" charset="0"/>
                  <a:cs typeface="Calibri" panose="020F0502020204030204" pitchFamily="34" charset="0"/>
                </a:rPr>
                <a:t>Train our model with target stock and predict the competitor stock</a:t>
              </a:r>
            </a:p>
            <a:p>
              <a:pPr>
                <a:lnSpc>
                  <a:spcPct val="100000"/>
                </a:lnSpc>
                <a:spcBef>
                  <a:spcPts val="0"/>
                </a:spcBef>
                <a:defRPr/>
              </a:pPr>
              <a:endParaRPr lang="en-US" altLang="zh-CN" sz="1200" dirty="0">
                <a:solidFill>
                  <a:srgbClr val="FF0000"/>
                </a:solidFill>
                <a:latin typeface="Calibri" panose="020F0502020204030204" pitchFamily="34" charset="0"/>
                <a:ea typeface="华文楷体" panose="02010600040101010101" pitchFamily="2" charset="-122"/>
                <a:cs typeface="Calibri" panose="020F0502020204030204" pitchFamily="34" charset="0"/>
              </a:endParaRPr>
            </a:p>
          </p:txBody>
        </p:sp>
        <p:sp>
          <p:nvSpPr>
            <p:cNvPr id="30" name="Content Placeholder 11">
              <a:extLst>
                <a:ext uri="{FF2B5EF4-FFF2-40B4-BE49-F238E27FC236}">
                  <a16:creationId xmlns:a16="http://schemas.microsoft.com/office/drawing/2014/main" id="{8D1A03FF-7A2F-B649-8ACB-E8F671A47D06}"/>
                </a:ext>
              </a:extLst>
            </p:cNvPr>
            <p:cNvSpPr txBox="1">
              <a:spLocks/>
            </p:cNvSpPr>
            <p:nvPr/>
          </p:nvSpPr>
          <p:spPr>
            <a:xfrm>
              <a:off x="6879995" y="5904721"/>
              <a:ext cx="1706125" cy="900000"/>
            </a:xfrm>
            <a:prstGeom prst="rect">
              <a:avLst/>
            </a:prstGeom>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u="sng" dirty="0">
                  <a:solidFill>
                    <a:prstClr val="black"/>
                  </a:solidFill>
                  <a:latin typeface="Calibri" panose="020F0502020204030204" pitchFamily="34" charset="0"/>
                  <a:ea typeface="华文楷体" panose="02010600040101010101" pitchFamily="2" charset="-122"/>
                  <a:cs typeface="Calibri" panose="020F0502020204030204" pitchFamily="34" charset="0"/>
                </a:rPr>
                <a:t>Analysis on COVID-19</a:t>
              </a:r>
            </a:p>
            <a:p>
              <a:pPr>
                <a:lnSpc>
                  <a:spcPct val="100000"/>
                </a:lnSpc>
                <a:spcBef>
                  <a:spcPts val="0"/>
                </a:spcBef>
                <a:defRPr/>
              </a:pPr>
              <a:r>
                <a:rPr kumimoji="1" lang="en-US" altLang="zh-CN" sz="1200" dirty="0">
                  <a:latin typeface="Calibri" panose="020F0502020204030204" pitchFamily="34" charset="0"/>
                  <a:cs typeface="Calibri" panose="020F0502020204030204" pitchFamily="34" charset="0"/>
                </a:rPr>
                <a:t>train our model with data before the COVID-19 and predict the price after the COVID-19</a:t>
              </a:r>
            </a:p>
          </p:txBody>
        </p:sp>
      </p:grpSp>
      <p:grpSp>
        <p:nvGrpSpPr>
          <p:cNvPr id="31" name="Group 101">
            <a:extLst>
              <a:ext uri="{FF2B5EF4-FFF2-40B4-BE49-F238E27FC236}">
                <a16:creationId xmlns:a16="http://schemas.microsoft.com/office/drawing/2014/main" id="{B2FFFB7B-31EE-E142-9D95-14120490A41E}"/>
              </a:ext>
            </a:extLst>
          </p:cNvPr>
          <p:cNvGrpSpPr/>
          <p:nvPr/>
        </p:nvGrpSpPr>
        <p:grpSpPr>
          <a:xfrm rot="16200000">
            <a:off x="6372487" y="4210705"/>
            <a:ext cx="5108200" cy="188957"/>
            <a:chOff x="5181571" y="5190643"/>
            <a:chExt cx="4206647" cy="152446"/>
          </a:xfrm>
        </p:grpSpPr>
        <p:cxnSp>
          <p:nvCxnSpPr>
            <p:cNvPr id="32" name="Straight Connector 102">
              <a:extLst>
                <a:ext uri="{FF2B5EF4-FFF2-40B4-BE49-F238E27FC236}">
                  <a16:creationId xmlns:a16="http://schemas.microsoft.com/office/drawing/2014/main" id="{3C943D15-2204-8041-B184-CD918AA4AF15}"/>
                </a:ext>
              </a:extLst>
            </p:cNvPr>
            <p:cNvCxnSpPr>
              <a:cxnSpLocks/>
            </p:cNvCxnSpPr>
            <p:nvPr/>
          </p:nvCxnSpPr>
          <p:spPr>
            <a:xfrm rot="5400000" flipV="1">
              <a:off x="7284895" y="3130438"/>
              <a:ext cx="0" cy="420664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Isosceles Triangle 103">
              <a:extLst>
                <a:ext uri="{FF2B5EF4-FFF2-40B4-BE49-F238E27FC236}">
                  <a16:creationId xmlns:a16="http://schemas.microsoft.com/office/drawing/2014/main" id="{456EE69C-9618-1F42-A72C-0F4374D20693}"/>
                </a:ext>
              </a:extLst>
            </p:cNvPr>
            <p:cNvSpPr/>
            <p:nvPr/>
          </p:nvSpPr>
          <p:spPr>
            <a:xfrm flipV="1">
              <a:off x="7442877" y="5190643"/>
              <a:ext cx="365909" cy="152446"/>
            </a:xfrm>
            <a:prstGeom prst="triangl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133399">
                <a:defRPr/>
              </a:pPr>
              <a:endParaRPr lang="zh-CN" altLang="en-US" sz="2479">
                <a:solidFill>
                  <a:prstClr val="black"/>
                </a:solidFill>
                <a:latin typeface="Calibri" panose="020F0502020204030204" pitchFamily="34" charset="0"/>
                <a:cs typeface="Calibri" panose="020F0502020204030204" pitchFamily="34" charset="0"/>
              </a:endParaRPr>
            </a:p>
          </p:txBody>
        </p:sp>
      </p:grpSp>
      <p:sp>
        <p:nvSpPr>
          <p:cNvPr id="34" name="矩形 33">
            <a:extLst>
              <a:ext uri="{FF2B5EF4-FFF2-40B4-BE49-F238E27FC236}">
                <a16:creationId xmlns:a16="http://schemas.microsoft.com/office/drawing/2014/main" id="{5145160E-807C-834D-A50D-9E96273AEE89}"/>
              </a:ext>
            </a:extLst>
          </p:cNvPr>
          <p:cNvSpPr/>
          <p:nvPr/>
        </p:nvSpPr>
        <p:spPr>
          <a:xfrm>
            <a:off x="9074511" y="3863204"/>
            <a:ext cx="3430227" cy="2988441"/>
          </a:xfrm>
          <a:prstGeom prst="rect">
            <a:avLst/>
          </a:prstGeom>
          <a:solidFill>
            <a:schemeClr val="accent6">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r>
              <a:rPr kumimoji="1" lang="en-US" altLang="zh-CN" sz="1200" b="1" dirty="0">
                <a:solidFill>
                  <a:schemeClr val="accent2"/>
                </a:solidFill>
                <a:latin typeface="Calibri" panose="020F0502020204030204" pitchFamily="34" charset="0"/>
                <a:cs typeface="Calibri" panose="020F0502020204030204" pitchFamily="34" charset="0"/>
              </a:rPr>
              <a:t>Highlights from models</a:t>
            </a:r>
          </a:p>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Market data reflects trends</a:t>
            </a:r>
          </a:p>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Financial data narrows errors</a:t>
            </a:r>
          </a:p>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News adds daily details</a:t>
            </a:r>
          </a:p>
          <a:p>
            <a:pPr algn="l"/>
            <a:r>
              <a:rPr kumimoji="1" lang="en-US" altLang="zh-CN" sz="1200" b="1" dirty="0">
                <a:solidFill>
                  <a:schemeClr val="accent2"/>
                </a:solidFill>
                <a:latin typeface="Calibri" panose="020F0502020204030204" pitchFamily="34" charset="0"/>
                <a:cs typeface="Calibri" panose="020F0502020204030204" pitchFamily="34" charset="0"/>
              </a:rPr>
              <a:t>Implications of models</a:t>
            </a:r>
          </a:p>
          <a:p>
            <a:pPr marL="171450" indent="-171450" algn="l">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The model provides insights on whether the target share price is over/under/neutral valued relative to its competitor share price</a:t>
            </a:r>
          </a:p>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The model provides insights on whether the target share price relative to S&amp;P 500 is over/under/neutral valued after COVID-19</a:t>
            </a:r>
          </a:p>
          <a:p>
            <a:r>
              <a:rPr kumimoji="1" lang="en-US" altLang="zh-CN" sz="1200" b="1" dirty="0">
                <a:solidFill>
                  <a:schemeClr val="accent2"/>
                </a:solidFill>
                <a:latin typeface="Calibri" panose="020F0502020204030204" pitchFamily="34" charset="0"/>
                <a:cs typeface="Calibri" panose="020F0502020204030204" pitchFamily="34" charset="0"/>
              </a:rPr>
              <a:t>Evaluation on models</a:t>
            </a:r>
          </a:p>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Among different linear, tree-based and neural network models, neural network performs best and our model has least error</a:t>
            </a:r>
          </a:p>
        </p:txBody>
      </p:sp>
      <p:sp>
        <p:nvSpPr>
          <p:cNvPr id="35" name="Title 1">
            <a:extLst>
              <a:ext uri="{FF2B5EF4-FFF2-40B4-BE49-F238E27FC236}">
                <a16:creationId xmlns:a16="http://schemas.microsoft.com/office/drawing/2014/main" id="{886C91B8-2389-C744-9E44-16DF8B4360CC}"/>
              </a:ext>
            </a:extLst>
          </p:cNvPr>
          <p:cNvSpPr txBox="1">
            <a:spLocks/>
          </p:cNvSpPr>
          <p:nvPr/>
        </p:nvSpPr>
        <p:spPr>
          <a:xfrm>
            <a:off x="336551" y="334962"/>
            <a:ext cx="11601428" cy="880811"/>
          </a:xfrm>
          <a:prstGeom prst="rect">
            <a:avLst/>
          </a:prstGeom>
        </p:spPr>
        <p:txBody>
          <a:bodyPr anchor="ctr"/>
          <a:lstStyle/>
          <a:p>
            <a:pPr defTabSz="1216363">
              <a:spcBef>
                <a:spcPct val="0"/>
              </a:spcBef>
              <a:defRPr/>
            </a:pPr>
            <a:r>
              <a:rPr lang="en-US" altLang="zh-CN" sz="2800" b="1" dirty="0">
                <a:solidFill>
                  <a:schemeClr val="bg2"/>
                </a:solidFill>
                <a:latin typeface="Calibri" panose="020F0502020204030204" pitchFamily="34" charset="0"/>
                <a:ea typeface="+mj-ea"/>
                <a:cs typeface="Calibri" panose="020F0502020204030204" pitchFamily="34" charset="0"/>
              </a:rPr>
              <a:t>Executive Summary</a:t>
            </a:r>
            <a:endParaRPr lang="zh-CN" altLang="en-US" sz="2800" b="1" dirty="0">
              <a:solidFill>
                <a:schemeClr val="bg2"/>
              </a:solidFill>
              <a:latin typeface="Calibri" panose="020F0502020204030204" pitchFamily="34" charset="0"/>
              <a:ea typeface="+mj-ea"/>
              <a:cs typeface="Calibri" panose="020F0502020204030204" pitchFamily="34" charset="0"/>
            </a:endParaRPr>
          </a:p>
        </p:txBody>
      </p:sp>
      <p:sp>
        <p:nvSpPr>
          <p:cNvPr id="36" name="TextBox 29">
            <a:extLst>
              <a:ext uri="{FF2B5EF4-FFF2-40B4-BE49-F238E27FC236}">
                <a16:creationId xmlns:a16="http://schemas.microsoft.com/office/drawing/2014/main" id="{EA740C9C-6096-F94D-94B1-13DB72D0A344}"/>
              </a:ext>
            </a:extLst>
          </p:cNvPr>
          <p:cNvSpPr txBox="1"/>
          <p:nvPr/>
        </p:nvSpPr>
        <p:spPr>
          <a:xfrm>
            <a:off x="356428" y="1295205"/>
            <a:ext cx="1239571" cy="367114"/>
          </a:xfrm>
          <a:prstGeom prst="rect">
            <a:avLst/>
          </a:prstGeom>
          <a:noFill/>
        </p:spPr>
        <p:txBody>
          <a:bodyPr wrap="square" lIns="0" tIns="44622" rIns="0" bIns="44622" rtlCol="0">
            <a:spAutoFit/>
          </a:bodyPr>
          <a:lstStyle>
            <a:defPPr>
              <a:defRPr lang="en-US"/>
            </a:defPPr>
            <a:lvl1pPr>
              <a:defRPr sz="1600" b="1">
                <a:solidFill>
                  <a:schemeClr val="accent2"/>
                </a:solidFill>
                <a:latin typeface="Calibri" panose="020F0502020204030204" pitchFamily="34" charset="0"/>
                <a:cs typeface="Calibri" panose="020F0502020204030204" pitchFamily="34" charset="0"/>
              </a:defRPr>
            </a:lvl1pPr>
          </a:lstStyle>
          <a:p>
            <a:pPr algn="ctr"/>
            <a:r>
              <a:rPr lang="en-US" altLang="zh-CN" sz="1800" dirty="0"/>
              <a:t>Objective</a:t>
            </a:r>
            <a:endParaRPr lang="zh-CN" altLang="en-US" sz="1800" dirty="0"/>
          </a:p>
        </p:txBody>
      </p:sp>
      <p:sp>
        <p:nvSpPr>
          <p:cNvPr id="37" name="TextBox 29">
            <a:extLst>
              <a:ext uri="{FF2B5EF4-FFF2-40B4-BE49-F238E27FC236}">
                <a16:creationId xmlns:a16="http://schemas.microsoft.com/office/drawing/2014/main" id="{C857A6B7-4B4E-AD4C-842C-8AD16EE975DA}"/>
              </a:ext>
            </a:extLst>
          </p:cNvPr>
          <p:cNvSpPr txBox="1"/>
          <p:nvPr/>
        </p:nvSpPr>
        <p:spPr>
          <a:xfrm>
            <a:off x="1846452" y="1295205"/>
            <a:ext cx="1595041" cy="367114"/>
          </a:xfrm>
          <a:prstGeom prst="rect">
            <a:avLst/>
          </a:prstGeom>
          <a:noFill/>
        </p:spPr>
        <p:txBody>
          <a:bodyPr wrap="square" lIns="0" tIns="44622" rIns="0" bIns="44622" rtlCol="0">
            <a:spAutoFit/>
          </a:bodyPr>
          <a:lstStyle>
            <a:defPPr>
              <a:defRPr lang="en-US"/>
            </a:defPPr>
            <a:lvl1pPr>
              <a:defRPr sz="1600" b="1">
                <a:solidFill>
                  <a:schemeClr val="accent2"/>
                </a:solidFill>
                <a:latin typeface="Calibri" panose="020F0502020204030204" pitchFamily="34" charset="0"/>
                <a:cs typeface="Calibri" panose="020F0502020204030204" pitchFamily="34" charset="0"/>
              </a:defRPr>
            </a:lvl1pPr>
          </a:lstStyle>
          <a:p>
            <a:pPr algn="ctr"/>
            <a:r>
              <a:rPr lang="en-US" altLang="zh-CN" sz="1800" dirty="0"/>
              <a:t>Sub-objectives</a:t>
            </a:r>
            <a:endParaRPr lang="zh-CN" altLang="en-US" sz="1800" dirty="0"/>
          </a:p>
        </p:txBody>
      </p:sp>
      <p:sp>
        <p:nvSpPr>
          <p:cNvPr id="38" name="三角形 37">
            <a:extLst>
              <a:ext uri="{FF2B5EF4-FFF2-40B4-BE49-F238E27FC236}">
                <a16:creationId xmlns:a16="http://schemas.microsoft.com/office/drawing/2014/main" id="{74C2AB8C-031B-AA45-8B67-82FEC94CA497}"/>
              </a:ext>
            </a:extLst>
          </p:cNvPr>
          <p:cNvSpPr/>
          <p:nvPr/>
        </p:nvSpPr>
        <p:spPr>
          <a:xfrm rot="16200000">
            <a:off x="-1020261" y="3996523"/>
            <a:ext cx="5100564" cy="609686"/>
          </a:xfrm>
          <a:prstGeom prst="triangle">
            <a:avLst>
              <a:gd name="adj" fmla="val 50399"/>
            </a:avLst>
          </a:prstGeom>
          <a:solidFill>
            <a:schemeClr val="accent3">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39" name="矩形 38">
            <a:extLst>
              <a:ext uri="{FF2B5EF4-FFF2-40B4-BE49-F238E27FC236}">
                <a16:creationId xmlns:a16="http://schemas.microsoft.com/office/drawing/2014/main" id="{D3B69DFF-1585-0B46-8F94-2C85D2F3A9DA}"/>
              </a:ext>
            </a:extLst>
          </p:cNvPr>
          <p:cNvSpPr/>
          <p:nvPr/>
        </p:nvSpPr>
        <p:spPr>
          <a:xfrm>
            <a:off x="353999" y="1751086"/>
            <a:ext cx="1242000" cy="5100563"/>
          </a:xfrm>
          <a:prstGeom prst="rect">
            <a:avLst/>
          </a:prstGeom>
          <a:solidFill>
            <a:schemeClr val="bg1"/>
          </a:solid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lnSpc>
                <a:spcPct val="150000"/>
              </a:lnSpc>
            </a:pPr>
            <a:r>
              <a:rPr kumimoji="1" lang="en-US" altLang="zh-CN" sz="1400" b="1" dirty="0">
                <a:solidFill>
                  <a:schemeClr val="accent2"/>
                </a:solidFill>
                <a:latin typeface="Calibri" panose="020F0502020204030204" pitchFamily="34" charset="0"/>
                <a:cs typeface="Calibri" panose="020F0502020204030204" pitchFamily="34" charset="0"/>
              </a:rPr>
              <a:t>Evaluate the performance of AAL, DIS, and PEP compared with S&amp;P 500 </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40" name="矩形 39">
            <a:extLst>
              <a:ext uri="{FF2B5EF4-FFF2-40B4-BE49-F238E27FC236}">
                <a16:creationId xmlns:a16="http://schemas.microsoft.com/office/drawing/2014/main" id="{1FF3B52F-EBD1-754C-9D68-B9D9DE15961F}"/>
              </a:ext>
            </a:extLst>
          </p:cNvPr>
          <p:cNvSpPr/>
          <p:nvPr/>
        </p:nvSpPr>
        <p:spPr>
          <a:xfrm>
            <a:off x="1828910" y="1751083"/>
            <a:ext cx="1634063" cy="1956061"/>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41" name="矩形 40">
            <a:extLst>
              <a:ext uri="{FF2B5EF4-FFF2-40B4-BE49-F238E27FC236}">
                <a16:creationId xmlns:a16="http://schemas.microsoft.com/office/drawing/2014/main" id="{1167CEF4-3890-5349-B4BA-D88DE7108831}"/>
              </a:ext>
            </a:extLst>
          </p:cNvPr>
          <p:cNvSpPr/>
          <p:nvPr/>
        </p:nvSpPr>
        <p:spPr>
          <a:xfrm>
            <a:off x="1832191" y="3863205"/>
            <a:ext cx="1630782" cy="2988444"/>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42" name="TextBox 29">
            <a:extLst>
              <a:ext uri="{FF2B5EF4-FFF2-40B4-BE49-F238E27FC236}">
                <a16:creationId xmlns:a16="http://schemas.microsoft.com/office/drawing/2014/main" id="{2A6C03B5-B066-1E47-BBAB-536CF3B2249B}"/>
              </a:ext>
            </a:extLst>
          </p:cNvPr>
          <p:cNvSpPr txBox="1"/>
          <p:nvPr/>
        </p:nvSpPr>
        <p:spPr>
          <a:xfrm>
            <a:off x="3537881" y="1295205"/>
            <a:ext cx="1239571" cy="367114"/>
          </a:xfrm>
          <a:prstGeom prst="rect">
            <a:avLst/>
          </a:prstGeom>
          <a:noFill/>
        </p:spPr>
        <p:txBody>
          <a:bodyPr wrap="square" lIns="0" tIns="44622" rIns="0" bIns="44622" rtlCol="0">
            <a:spAutoFit/>
          </a:bodyPr>
          <a:lstStyle>
            <a:defPPr>
              <a:defRPr lang="en-US"/>
            </a:defPPr>
            <a:lvl1pPr>
              <a:defRPr sz="1600" b="1">
                <a:solidFill>
                  <a:schemeClr val="accent2"/>
                </a:solidFill>
                <a:latin typeface="Calibri" panose="020F0502020204030204" pitchFamily="34" charset="0"/>
                <a:cs typeface="Calibri" panose="020F0502020204030204" pitchFamily="34" charset="0"/>
              </a:defRPr>
            </a:lvl1pPr>
          </a:lstStyle>
          <a:p>
            <a:pPr algn="ctr"/>
            <a:r>
              <a:rPr lang="en-US" altLang="zh-CN" sz="1800" dirty="0"/>
              <a:t>Components </a:t>
            </a:r>
            <a:endParaRPr lang="zh-CN" altLang="en-US" sz="1800" dirty="0"/>
          </a:p>
        </p:txBody>
      </p:sp>
      <p:sp>
        <p:nvSpPr>
          <p:cNvPr id="43" name="三角形 42">
            <a:extLst>
              <a:ext uri="{FF2B5EF4-FFF2-40B4-BE49-F238E27FC236}">
                <a16:creationId xmlns:a16="http://schemas.microsoft.com/office/drawing/2014/main" id="{8A9A64AF-F3DC-1F46-A4BA-A9BB4905CA1E}"/>
              </a:ext>
            </a:extLst>
          </p:cNvPr>
          <p:cNvSpPr/>
          <p:nvPr/>
        </p:nvSpPr>
        <p:spPr>
          <a:xfrm rot="5400000">
            <a:off x="2625206" y="2607114"/>
            <a:ext cx="1969668" cy="230400"/>
          </a:xfrm>
          <a:prstGeom prst="triangle">
            <a:avLst/>
          </a:prstGeom>
          <a:solidFill>
            <a:schemeClr val="accent2">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44" name="Freeform: Shape 46">
            <a:extLst>
              <a:ext uri="{FF2B5EF4-FFF2-40B4-BE49-F238E27FC236}">
                <a16:creationId xmlns:a16="http://schemas.microsoft.com/office/drawing/2014/main" id="{9D9A0015-BCCB-134B-A04F-007485C2077D}"/>
              </a:ext>
            </a:extLst>
          </p:cNvPr>
          <p:cNvSpPr/>
          <p:nvPr/>
        </p:nvSpPr>
        <p:spPr>
          <a:xfrm rot="5400000">
            <a:off x="3175645" y="2324113"/>
            <a:ext cx="1956061" cy="810001"/>
          </a:xfrm>
          <a:custGeom>
            <a:avLst/>
            <a:gdLst>
              <a:gd name="connsiteX0" fmla="*/ 0 w 900439"/>
              <a:gd name="connsiteY0" fmla="*/ 0 h 376928"/>
              <a:gd name="connsiteX1" fmla="*/ 711975 w 900439"/>
              <a:gd name="connsiteY1" fmla="*/ 0 h 376928"/>
              <a:gd name="connsiteX2" fmla="*/ 900439 w 900439"/>
              <a:gd name="connsiteY2" fmla="*/ 188464 h 376928"/>
              <a:gd name="connsiteX3" fmla="*/ 711975 w 900439"/>
              <a:gd name="connsiteY3" fmla="*/ 376928 h 376928"/>
              <a:gd name="connsiteX4" fmla="*/ 6980 w 900439"/>
              <a:gd name="connsiteY4" fmla="*/ 376928 h 376928"/>
              <a:gd name="connsiteX0" fmla="*/ 6980 w 907419"/>
              <a:gd name="connsiteY0" fmla="*/ 0 h 376928"/>
              <a:gd name="connsiteX1" fmla="*/ 718955 w 907419"/>
              <a:gd name="connsiteY1" fmla="*/ 0 h 376928"/>
              <a:gd name="connsiteX2" fmla="*/ 907419 w 907419"/>
              <a:gd name="connsiteY2" fmla="*/ 188464 h 376928"/>
              <a:gd name="connsiteX3" fmla="*/ 718955 w 907419"/>
              <a:gd name="connsiteY3" fmla="*/ 376928 h 376928"/>
              <a:gd name="connsiteX4" fmla="*/ 0 w 907419"/>
              <a:gd name="connsiteY4" fmla="*/ 376928 h 376928"/>
              <a:gd name="connsiteX0" fmla="*/ 6980 w 831224"/>
              <a:gd name="connsiteY0" fmla="*/ 0 h 376928"/>
              <a:gd name="connsiteX1" fmla="*/ 718955 w 831224"/>
              <a:gd name="connsiteY1" fmla="*/ 0 h 376928"/>
              <a:gd name="connsiteX2" fmla="*/ 831224 w 831224"/>
              <a:gd name="connsiteY2" fmla="*/ 184046 h 376928"/>
              <a:gd name="connsiteX3" fmla="*/ 718955 w 831224"/>
              <a:gd name="connsiteY3" fmla="*/ 376928 h 376928"/>
              <a:gd name="connsiteX4" fmla="*/ 0 w 831224"/>
              <a:gd name="connsiteY4" fmla="*/ 376928 h 376928"/>
              <a:gd name="connsiteX0" fmla="*/ 6980 w 792906"/>
              <a:gd name="connsiteY0" fmla="*/ 0 h 376928"/>
              <a:gd name="connsiteX1" fmla="*/ 718955 w 792906"/>
              <a:gd name="connsiteY1" fmla="*/ 0 h 376928"/>
              <a:gd name="connsiteX2" fmla="*/ 792906 w 792906"/>
              <a:gd name="connsiteY2" fmla="*/ 184046 h 376928"/>
              <a:gd name="connsiteX3" fmla="*/ 718955 w 792906"/>
              <a:gd name="connsiteY3" fmla="*/ 376928 h 376928"/>
              <a:gd name="connsiteX4" fmla="*/ 0 w 792906"/>
              <a:gd name="connsiteY4" fmla="*/ 376928 h 376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06" h="376928">
                <a:moveTo>
                  <a:pt x="6980" y="0"/>
                </a:moveTo>
                <a:lnTo>
                  <a:pt x="718955" y="0"/>
                </a:lnTo>
                <a:lnTo>
                  <a:pt x="792906" y="184046"/>
                </a:lnTo>
                <a:lnTo>
                  <a:pt x="718955" y="376928"/>
                </a:lnTo>
                <a:lnTo>
                  <a:pt x="0" y="376928"/>
                </a:lnTo>
              </a:path>
            </a:pathLst>
          </a:cu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altLang="zh-CN" sz="1400" b="1" dirty="0">
                <a:solidFill>
                  <a:srgbClr val="1E4E79"/>
                </a:solidFill>
                <a:latin typeface="Calibri" panose="020F0502020204030204" pitchFamily="34" charset="0"/>
                <a:cs typeface="Calibri" panose="020F0502020204030204" pitchFamily="34" charset="0"/>
              </a:rPr>
              <a:t>Market Research</a:t>
            </a:r>
          </a:p>
        </p:txBody>
      </p:sp>
      <p:sp>
        <p:nvSpPr>
          <p:cNvPr id="45" name="三角形 44">
            <a:extLst>
              <a:ext uri="{FF2B5EF4-FFF2-40B4-BE49-F238E27FC236}">
                <a16:creationId xmlns:a16="http://schemas.microsoft.com/office/drawing/2014/main" id="{9314A397-98C4-0C4D-89A2-F8485CF0385C}"/>
              </a:ext>
            </a:extLst>
          </p:cNvPr>
          <p:cNvSpPr/>
          <p:nvPr/>
        </p:nvSpPr>
        <p:spPr>
          <a:xfrm rot="5400000">
            <a:off x="2115820" y="5242228"/>
            <a:ext cx="2988442" cy="230400"/>
          </a:xfrm>
          <a:prstGeom prst="triangle">
            <a:avLst/>
          </a:prstGeom>
          <a:solidFill>
            <a:schemeClr val="accent2">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46" name="Freeform: Shape 46">
            <a:extLst>
              <a:ext uri="{FF2B5EF4-FFF2-40B4-BE49-F238E27FC236}">
                <a16:creationId xmlns:a16="http://schemas.microsoft.com/office/drawing/2014/main" id="{C2B819B0-0645-3841-B2DA-E07D249EA81A}"/>
              </a:ext>
            </a:extLst>
          </p:cNvPr>
          <p:cNvSpPr/>
          <p:nvPr/>
        </p:nvSpPr>
        <p:spPr>
          <a:xfrm rot="5400000">
            <a:off x="2668102" y="4943778"/>
            <a:ext cx="2971146" cy="810000"/>
          </a:xfrm>
          <a:custGeom>
            <a:avLst/>
            <a:gdLst>
              <a:gd name="connsiteX0" fmla="*/ 0 w 900439"/>
              <a:gd name="connsiteY0" fmla="*/ 0 h 376928"/>
              <a:gd name="connsiteX1" fmla="*/ 711975 w 900439"/>
              <a:gd name="connsiteY1" fmla="*/ 0 h 376928"/>
              <a:gd name="connsiteX2" fmla="*/ 900439 w 900439"/>
              <a:gd name="connsiteY2" fmla="*/ 188464 h 376928"/>
              <a:gd name="connsiteX3" fmla="*/ 711975 w 900439"/>
              <a:gd name="connsiteY3" fmla="*/ 376928 h 376928"/>
              <a:gd name="connsiteX4" fmla="*/ 6980 w 900439"/>
              <a:gd name="connsiteY4" fmla="*/ 376928 h 376928"/>
              <a:gd name="connsiteX0" fmla="*/ 6980 w 907419"/>
              <a:gd name="connsiteY0" fmla="*/ 0 h 376928"/>
              <a:gd name="connsiteX1" fmla="*/ 718955 w 907419"/>
              <a:gd name="connsiteY1" fmla="*/ 0 h 376928"/>
              <a:gd name="connsiteX2" fmla="*/ 907419 w 907419"/>
              <a:gd name="connsiteY2" fmla="*/ 188464 h 376928"/>
              <a:gd name="connsiteX3" fmla="*/ 718955 w 907419"/>
              <a:gd name="connsiteY3" fmla="*/ 376928 h 376928"/>
              <a:gd name="connsiteX4" fmla="*/ 0 w 907419"/>
              <a:gd name="connsiteY4" fmla="*/ 376928 h 376928"/>
              <a:gd name="connsiteX0" fmla="*/ 6980 w 831224"/>
              <a:gd name="connsiteY0" fmla="*/ 0 h 376928"/>
              <a:gd name="connsiteX1" fmla="*/ 718955 w 831224"/>
              <a:gd name="connsiteY1" fmla="*/ 0 h 376928"/>
              <a:gd name="connsiteX2" fmla="*/ 831224 w 831224"/>
              <a:gd name="connsiteY2" fmla="*/ 184046 h 376928"/>
              <a:gd name="connsiteX3" fmla="*/ 718955 w 831224"/>
              <a:gd name="connsiteY3" fmla="*/ 376928 h 376928"/>
              <a:gd name="connsiteX4" fmla="*/ 0 w 831224"/>
              <a:gd name="connsiteY4" fmla="*/ 376928 h 376928"/>
              <a:gd name="connsiteX0" fmla="*/ 6980 w 792906"/>
              <a:gd name="connsiteY0" fmla="*/ 0 h 376928"/>
              <a:gd name="connsiteX1" fmla="*/ 718955 w 792906"/>
              <a:gd name="connsiteY1" fmla="*/ 0 h 376928"/>
              <a:gd name="connsiteX2" fmla="*/ 792906 w 792906"/>
              <a:gd name="connsiteY2" fmla="*/ 184046 h 376928"/>
              <a:gd name="connsiteX3" fmla="*/ 718955 w 792906"/>
              <a:gd name="connsiteY3" fmla="*/ 376928 h 376928"/>
              <a:gd name="connsiteX4" fmla="*/ 0 w 792906"/>
              <a:gd name="connsiteY4" fmla="*/ 376928 h 376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06" h="376928">
                <a:moveTo>
                  <a:pt x="6980" y="0"/>
                </a:moveTo>
                <a:lnTo>
                  <a:pt x="718955" y="0"/>
                </a:lnTo>
                <a:lnTo>
                  <a:pt x="792906" y="184046"/>
                </a:lnTo>
                <a:lnTo>
                  <a:pt x="718955" y="376928"/>
                </a:lnTo>
                <a:lnTo>
                  <a:pt x="0" y="376928"/>
                </a:lnTo>
              </a:path>
            </a:pathLst>
          </a:cu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altLang="zh-CN" sz="1400" b="1" dirty="0">
                <a:solidFill>
                  <a:srgbClr val="1E4E79"/>
                </a:solidFill>
                <a:latin typeface="Calibri" panose="020F0502020204030204" pitchFamily="34" charset="0"/>
                <a:cs typeface="Calibri" panose="020F0502020204030204" pitchFamily="34" charset="0"/>
              </a:rPr>
              <a:t>Modeling</a:t>
            </a:r>
          </a:p>
        </p:txBody>
      </p:sp>
      <p:sp>
        <p:nvSpPr>
          <p:cNvPr id="47" name="Content Placeholder 11">
            <a:extLst>
              <a:ext uri="{FF2B5EF4-FFF2-40B4-BE49-F238E27FC236}">
                <a16:creationId xmlns:a16="http://schemas.microsoft.com/office/drawing/2014/main" id="{FD68FEFB-8C1C-9A42-8D05-B191FF15D100}"/>
              </a:ext>
            </a:extLst>
          </p:cNvPr>
          <p:cNvSpPr txBox="1">
            <a:spLocks/>
          </p:cNvSpPr>
          <p:nvPr/>
        </p:nvSpPr>
        <p:spPr>
          <a:xfrm>
            <a:off x="5016457" y="1757695"/>
            <a:ext cx="3456032" cy="873508"/>
          </a:xfrm>
          <a:prstGeom prst="rect">
            <a:avLst/>
          </a:prstGeom>
          <a:ln w="12700">
            <a:noFill/>
            <a:prstDash val="dash"/>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Absolute valuation</a:t>
            </a:r>
          </a:p>
          <a:p>
            <a:pPr lvl="1">
              <a:lnSpc>
                <a:spcPct val="100000"/>
              </a:lnSpc>
              <a:spcBef>
                <a:spcPts val="0"/>
              </a:spcBef>
              <a:defRPr/>
            </a:pPr>
            <a:r>
              <a:rPr lang="en-US" altLang="zh-CN" dirty="0">
                <a:solidFill>
                  <a:prstClr val="black"/>
                </a:solidFill>
                <a:latin typeface="Calibri" panose="020F0502020204030204" pitchFamily="34" charset="0"/>
                <a:ea typeface="华文楷体" panose="02010600040101010101" pitchFamily="2" charset="-122"/>
                <a:cs typeface="Calibri" panose="020F0502020204030204" pitchFamily="34" charset="0"/>
              </a:rPr>
              <a:t>Discounted Cash Flow (DCF) Model</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Relative valuation</a:t>
            </a:r>
          </a:p>
          <a:p>
            <a:pPr lvl="1">
              <a:lnSpc>
                <a:spcPct val="100000"/>
              </a:lnSpc>
              <a:spcBef>
                <a:spcPts val="0"/>
              </a:spcBef>
              <a:defRPr/>
            </a:pPr>
            <a:r>
              <a:rPr lang="en-US" altLang="zh-CN" dirty="0">
                <a:solidFill>
                  <a:prstClr val="black"/>
                </a:solidFill>
                <a:latin typeface="Calibri" panose="020F0502020204030204" pitchFamily="34" charset="0"/>
                <a:ea typeface="华文楷体" panose="02010600040101010101" pitchFamily="2" charset="-122"/>
                <a:cs typeface="Calibri" panose="020F0502020204030204" pitchFamily="34" charset="0"/>
              </a:rPr>
              <a:t>P/E ratio &amp; P/B ratio</a:t>
            </a:r>
          </a:p>
        </p:txBody>
      </p:sp>
      <p:sp>
        <p:nvSpPr>
          <p:cNvPr id="48" name="三角形 47">
            <a:extLst>
              <a:ext uri="{FF2B5EF4-FFF2-40B4-BE49-F238E27FC236}">
                <a16:creationId xmlns:a16="http://schemas.microsoft.com/office/drawing/2014/main" id="{7B120A19-4C21-BF43-A50C-5500F5A49817}"/>
              </a:ext>
            </a:extLst>
          </p:cNvPr>
          <p:cNvSpPr/>
          <p:nvPr/>
        </p:nvSpPr>
        <p:spPr>
          <a:xfrm rot="5400000">
            <a:off x="7041181" y="3117042"/>
            <a:ext cx="885833" cy="146443"/>
          </a:xfrm>
          <a:prstGeom prst="triangle">
            <a:avLst/>
          </a:prstGeom>
          <a:solidFill>
            <a:schemeClr val="accent2">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49" name="文本框 48">
            <a:extLst>
              <a:ext uri="{FF2B5EF4-FFF2-40B4-BE49-F238E27FC236}">
                <a16:creationId xmlns:a16="http://schemas.microsoft.com/office/drawing/2014/main" id="{162BE812-A7A4-5F49-846D-1F641449A730}"/>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1</a:t>
            </a:r>
            <a:endParaRPr kumimoji="1" lang="zh-CN" altLang="en-US" sz="1000" dirty="0" err="1">
              <a:latin typeface="Calibri" panose="020F0502020204030204" pitchFamily="34" charset="0"/>
              <a:cs typeface="Calibri" panose="020F0502020204030204" pitchFamily="34" charset="0"/>
            </a:endParaRPr>
          </a:p>
        </p:txBody>
      </p:sp>
      <p:grpSp>
        <p:nvGrpSpPr>
          <p:cNvPr id="50" name="Group 3">
            <a:extLst>
              <a:ext uri="{FF2B5EF4-FFF2-40B4-BE49-F238E27FC236}">
                <a16:creationId xmlns:a16="http://schemas.microsoft.com/office/drawing/2014/main" id="{2F5C6026-7F22-534F-9E04-DEC9995EA517}"/>
              </a:ext>
            </a:extLst>
          </p:cNvPr>
          <p:cNvGrpSpPr/>
          <p:nvPr/>
        </p:nvGrpSpPr>
        <p:grpSpPr>
          <a:xfrm>
            <a:off x="4974396" y="5989872"/>
            <a:ext cx="3662791" cy="900000"/>
            <a:chOff x="4987029" y="4910659"/>
            <a:chExt cx="3662791" cy="900000"/>
          </a:xfrm>
        </p:grpSpPr>
        <p:sp>
          <p:nvSpPr>
            <p:cNvPr id="51" name="矩形 50">
              <a:extLst>
                <a:ext uri="{FF2B5EF4-FFF2-40B4-BE49-F238E27FC236}">
                  <a16:creationId xmlns:a16="http://schemas.microsoft.com/office/drawing/2014/main" id="{CEFD0A66-89BD-6642-A272-6D82C1C30AE6}"/>
                </a:ext>
              </a:extLst>
            </p:cNvPr>
            <p:cNvSpPr/>
            <p:nvPr/>
          </p:nvSpPr>
          <p:spPr>
            <a:xfrm>
              <a:off x="4987029" y="4910659"/>
              <a:ext cx="3662791" cy="728141"/>
            </a:xfrm>
            <a:prstGeom prst="rect">
              <a:avLst/>
            </a:prstGeom>
            <a:solidFill>
              <a:schemeClr val="bg1"/>
            </a:solidFill>
            <a:ln w="12700">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52" name="Content Placeholder 11">
              <a:extLst>
                <a:ext uri="{FF2B5EF4-FFF2-40B4-BE49-F238E27FC236}">
                  <a16:creationId xmlns:a16="http://schemas.microsoft.com/office/drawing/2014/main" id="{5BAD4410-7079-2F48-8578-554E51DB43B2}"/>
                </a:ext>
              </a:extLst>
            </p:cNvPr>
            <p:cNvSpPr txBox="1">
              <a:spLocks/>
            </p:cNvSpPr>
            <p:nvPr/>
          </p:nvSpPr>
          <p:spPr>
            <a:xfrm>
              <a:off x="5034647" y="4910659"/>
              <a:ext cx="1763279" cy="900000"/>
            </a:xfrm>
            <a:prstGeom prst="rect">
              <a:avLst/>
            </a:prstGeom>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u="sng" dirty="0">
                  <a:solidFill>
                    <a:prstClr val="black"/>
                  </a:solidFill>
                  <a:latin typeface="Calibri" panose="020F0502020204030204" pitchFamily="34" charset="0"/>
                  <a:ea typeface="华文楷体" panose="02010600040101010101" pitchFamily="2" charset="-122"/>
                  <a:cs typeface="Calibri" panose="020F0502020204030204" pitchFamily="34" charset="0"/>
                </a:rPr>
                <a:t>Robustness Testing</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Predictive accurateness among different models</a:t>
              </a:r>
            </a:p>
            <a:p>
              <a:pPr>
                <a:lnSpc>
                  <a:spcPct val="100000"/>
                </a:lnSpc>
                <a:spcBef>
                  <a:spcPts val="0"/>
                </a:spcBef>
                <a:defRPr/>
              </a:pPr>
              <a:endPar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endParaRPr>
            </a:p>
          </p:txBody>
        </p:sp>
        <p:sp>
          <p:nvSpPr>
            <p:cNvPr id="53" name="Content Placeholder 11">
              <a:extLst>
                <a:ext uri="{FF2B5EF4-FFF2-40B4-BE49-F238E27FC236}">
                  <a16:creationId xmlns:a16="http://schemas.microsoft.com/office/drawing/2014/main" id="{702F6759-A6F2-B440-A4F9-D71843A86F84}"/>
                </a:ext>
              </a:extLst>
            </p:cNvPr>
            <p:cNvSpPr txBox="1">
              <a:spLocks/>
            </p:cNvSpPr>
            <p:nvPr/>
          </p:nvSpPr>
          <p:spPr>
            <a:xfrm>
              <a:off x="6879995" y="4919268"/>
              <a:ext cx="1713689" cy="877128"/>
            </a:xfrm>
            <a:prstGeom prst="rect">
              <a:avLst/>
            </a:prstGeom>
            <a:ln w="12700">
              <a:noFill/>
            </a:ln>
          </p:spPr>
          <p:txBody>
            <a:bodyPr vert="horz" lIns="0" tIns="0" rIns="0" bIns="0" rtlCol="0" anchor="ctr">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4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2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2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2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defRPr/>
              </a:pPr>
              <a:r>
                <a:rPr lang="en-US" altLang="zh-CN" sz="1200" u="sng" dirty="0">
                  <a:solidFill>
                    <a:prstClr val="black"/>
                  </a:solidFill>
                  <a:latin typeface="Calibri" panose="020F0502020204030204" pitchFamily="34" charset="0"/>
                  <a:ea typeface="华文楷体" panose="02010600040101010101" pitchFamily="2" charset="-122"/>
                  <a:cs typeface="Calibri" panose="020F0502020204030204" pitchFamily="34" charset="0"/>
                </a:rPr>
                <a:t>Prediction Evaluation </a:t>
              </a:r>
            </a:p>
            <a:p>
              <a:pPr>
                <a:lnSpc>
                  <a:spcPct val="100000"/>
                </a:lnSpc>
                <a:spcBef>
                  <a:spcPts val="0"/>
                </a:spcBef>
                <a:defRPr/>
              </a:pPr>
              <a:r>
                <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rPr>
                <a:t>Train/test evaluation with MAPE, R square</a:t>
              </a:r>
            </a:p>
            <a:p>
              <a:pPr>
                <a:lnSpc>
                  <a:spcPct val="100000"/>
                </a:lnSpc>
                <a:spcBef>
                  <a:spcPts val="0"/>
                </a:spcBef>
                <a:defRPr/>
              </a:pPr>
              <a:endParaRPr lang="en-US" altLang="zh-CN" sz="1200" dirty="0">
                <a:solidFill>
                  <a:prstClr val="black"/>
                </a:solidFill>
                <a:latin typeface="Calibri" panose="020F0502020204030204" pitchFamily="34" charset="0"/>
                <a:ea typeface="华文楷体" panose="02010600040101010101" pitchFamily="2" charset="-122"/>
                <a:cs typeface="Calibri" panose="020F0502020204030204" pitchFamily="34" charset="0"/>
              </a:endParaRPr>
            </a:p>
          </p:txBody>
        </p:sp>
      </p:grpSp>
      <p:sp>
        <p:nvSpPr>
          <p:cNvPr id="54" name="矩形 53">
            <a:extLst>
              <a:ext uri="{FF2B5EF4-FFF2-40B4-BE49-F238E27FC236}">
                <a16:creationId xmlns:a16="http://schemas.microsoft.com/office/drawing/2014/main" id="{4982E2DA-24A7-2E40-8CD7-70BF574548BC}"/>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8674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图表 99">
            <a:extLst>
              <a:ext uri="{FF2B5EF4-FFF2-40B4-BE49-F238E27FC236}">
                <a16:creationId xmlns:a16="http://schemas.microsoft.com/office/drawing/2014/main" id="{CDF7FB56-C9A2-4B4A-815A-E887BA102C38}"/>
              </a:ext>
            </a:extLst>
          </p:cNvPr>
          <p:cNvGraphicFramePr/>
          <p:nvPr/>
        </p:nvGraphicFramePr>
        <p:xfrm>
          <a:off x="329797" y="1954721"/>
          <a:ext cx="11734062" cy="22796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5" name="Object 84" hidden="1"/>
          <p:cNvGraphicFramePr>
            <a:graphicFrameLocks noChangeAspect="1"/>
          </p:cNvGraphicFramePr>
          <p:nvPr>
            <p:custDataLst>
              <p:tags r:id="rId2"/>
            </p:custDataLst>
          </p:nvPr>
        </p:nvGraphicFramePr>
        <p:xfrm>
          <a:off x="1970" y="-863013"/>
          <a:ext cx="1967" cy="1967"/>
        </p:xfrm>
        <a:graphic>
          <a:graphicData uri="http://schemas.openxmlformats.org/presentationml/2006/ole">
            <mc:AlternateContent xmlns:mc="http://schemas.openxmlformats.org/markup-compatibility/2006">
              <mc:Choice xmlns:v="urn:schemas-microsoft-com:vml" Requires="v">
                <p:oleObj spid="_x0000_s416900" name="think-cell Slide" r:id="rId7" imgW="526" imgH="526" progId="TCLayout.ActiveDocument.1">
                  <p:embed/>
                </p:oleObj>
              </mc:Choice>
              <mc:Fallback>
                <p:oleObj name="think-cell Slide" r:id="rId7" imgW="526" imgH="526" progId="TCLayout.ActiveDocument.1">
                  <p:embed/>
                  <p:pic>
                    <p:nvPicPr>
                      <p:cNvPr id="85" name="Object 84" hidden="1"/>
                      <p:cNvPicPr/>
                      <p:nvPr/>
                    </p:nvPicPr>
                    <p:blipFill>
                      <a:blip r:embed="rId8"/>
                      <a:stretch>
                        <a:fillRect/>
                      </a:stretch>
                    </p:blipFill>
                    <p:spPr>
                      <a:xfrm>
                        <a:off x="1970" y="-863013"/>
                        <a:ext cx="1967" cy="1967"/>
                      </a:xfrm>
                      <a:prstGeom prst="rect">
                        <a:avLst/>
                      </a:prstGeom>
                    </p:spPr>
                  </p:pic>
                </p:oleObj>
              </mc:Fallback>
            </mc:AlternateContent>
          </a:graphicData>
        </a:graphic>
      </p:graphicFrame>
      <p:sp>
        <p:nvSpPr>
          <p:cNvPr id="72" name="Rectangle 71" hidden="1"/>
          <p:cNvSpPr/>
          <p:nvPr>
            <p:custDataLst>
              <p:tags r:id="rId3"/>
            </p:custDataLst>
          </p:nvPr>
        </p:nvSpPr>
        <p:spPr bwMode="auto">
          <a:xfrm>
            <a:off x="1" y="-864982"/>
            <a:ext cx="196771" cy="196771"/>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zh-CN" altLang="en-US" sz="1735" b="1">
              <a:solidFill>
                <a:prstClr val="black"/>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355600" y="379413"/>
            <a:ext cx="11675761" cy="900112"/>
          </a:xfrm>
        </p:spPr>
        <p:txBody>
          <a:bodyPr anchor="ctr"/>
          <a:lstStyle/>
          <a:p>
            <a:r>
              <a:rPr lang="en-US" altLang="zh-CN" sz="2800" dirty="0"/>
              <a:t>AAL has a neutral performance and is</a:t>
            </a:r>
            <a:r>
              <a:rPr lang="zh-CN" altLang="en-US" sz="2800" dirty="0"/>
              <a:t> </a:t>
            </a:r>
            <a:r>
              <a:rPr lang="en-US" altLang="zh-CN" sz="2800" dirty="0"/>
              <a:t>more</a:t>
            </a:r>
            <a:r>
              <a:rPr lang="zh-CN" altLang="en-US" sz="2800" dirty="0"/>
              <a:t> </a:t>
            </a:r>
            <a:r>
              <a:rPr lang="en-US" altLang="zh-CN" sz="2800" dirty="0"/>
              <a:t>volatile than the market due to uncertainty about suppliers, travel policies and fierce competitions</a:t>
            </a:r>
            <a:endParaRPr lang="zh-CN" altLang="en-US" sz="2800" dirty="0"/>
          </a:p>
        </p:txBody>
      </p:sp>
      <p:sp>
        <p:nvSpPr>
          <p:cNvPr id="7" name="TextBox 58">
            <a:extLst>
              <a:ext uri="{FF2B5EF4-FFF2-40B4-BE49-F238E27FC236}">
                <a16:creationId xmlns:a16="http://schemas.microsoft.com/office/drawing/2014/main" id="{057106DD-83B3-1D41-A622-04F44FD6892B}"/>
              </a:ext>
            </a:extLst>
          </p:cNvPr>
          <p:cNvSpPr txBox="1"/>
          <p:nvPr/>
        </p:nvSpPr>
        <p:spPr>
          <a:xfrm>
            <a:off x="359405" y="15951"/>
            <a:ext cx="8476645"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arket Research: American Airlines</a:t>
            </a:r>
            <a:r>
              <a:rPr lang="zh-CN" altLang="en-US" sz="1600" b="1" dirty="0">
                <a:solidFill>
                  <a:prstClr val="black"/>
                </a:solidFill>
                <a:latin typeface="Calibri" panose="020F0502020204030204" pitchFamily="34" charset="0"/>
                <a:cs typeface="Calibri" panose="020F0502020204030204" pitchFamily="34" charset="0"/>
              </a:rPr>
              <a:t> </a:t>
            </a:r>
            <a:r>
              <a:rPr lang="en-US" altLang="zh-CN" sz="1600" b="1" dirty="0">
                <a:solidFill>
                  <a:prstClr val="black"/>
                </a:solidFill>
                <a:latin typeface="Calibri" panose="020F0502020204030204" pitchFamily="34" charset="0"/>
                <a:cs typeface="Calibri" panose="020F0502020204030204" pitchFamily="34" charset="0"/>
              </a:rPr>
              <a:t>(AAL)</a:t>
            </a:r>
            <a:endParaRPr lang="zh-CN" altLang="en-US" sz="1600" dirty="0">
              <a:solidFill>
                <a:srgbClr val="FFFFFF">
                  <a:lumMod val="65000"/>
                </a:srgbClr>
              </a:solidFill>
              <a:latin typeface="Calibri" panose="020F0502020204030204" pitchFamily="34" charset="0"/>
              <a:cs typeface="Calibri" panose="020F0502020204030204" pitchFamily="34" charset="0"/>
            </a:endParaRPr>
          </a:p>
        </p:txBody>
      </p:sp>
      <p:graphicFrame>
        <p:nvGraphicFramePr>
          <p:cNvPr id="19" name="图表 18">
            <a:extLst>
              <a:ext uri="{FF2B5EF4-FFF2-40B4-BE49-F238E27FC236}">
                <a16:creationId xmlns:a16="http://schemas.microsoft.com/office/drawing/2014/main" id="{7B41CC02-26CF-8640-AB96-694D265AB43E}"/>
              </a:ext>
            </a:extLst>
          </p:cNvPr>
          <p:cNvGraphicFramePr/>
          <p:nvPr/>
        </p:nvGraphicFramePr>
        <p:xfrm>
          <a:off x="345478" y="5059629"/>
          <a:ext cx="5943600" cy="1336864"/>
        </p:xfrm>
        <a:graphic>
          <a:graphicData uri="http://schemas.openxmlformats.org/drawingml/2006/chart">
            <c:chart xmlns:c="http://schemas.openxmlformats.org/drawingml/2006/chart" xmlns:r="http://schemas.openxmlformats.org/officeDocument/2006/relationships" r:id="rId9"/>
          </a:graphicData>
        </a:graphic>
      </p:graphicFrame>
      <p:grpSp>
        <p:nvGrpSpPr>
          <p:cNvPr id="42" name="Group 3">
            <a:extLst>
              <a:ext uri="{FF2B5EF4-FFF2-40B4-BE49-F238E27FC236}">
                <a16:creationId xmlns:a16="http://schemas.microsoft.com/office/drawing/2014/main" id="{9390FFD3-FBF2-BA49-A4D1-CBFA7E61C4E9}"/>
              </a:ext>
            </a:extLst>
          </p:cNvPr>
          <p:cNvGrpSpPr/>
          <p:nvPr/>
        </p:nvGrpSpPr>
        <p:grpSpPr>
          <a:xfrm>
            <a:off x="354045" y="1346690"/>
            <a:ext cx="6201493" cy="416294"/>
            <a:chOff x="260073" y="1362432"/>
            <a:chExt cx="5976854" cy="416294"/>
          </a:xfrm>
        </p:grpSpPr>
        <p:sp>
          <p:nvSpPr>
            <p:cNvPr id="43" name="Rectangle 4">
              <a:extLst>
                <a:ext uri="{FF2B5EF4-FFF2-40B4-BE49-F238E27FC236}">
                  <a16:creationId xmlns:a16="http://schemas.microsoft.com/office/drawing/2014/main" id="{494E34C4-903E-814E-AFD8-6B6FFA1A8653}"/>
                </a:ext>
              </a:extLst>
            </p:cNvPr>
            <p:cNvSpPr/>
            <p:nvPr/>
          </p:nvSpPr>
          <p:spPr>
            <a:xfrm>
              <a:off x="624840" y="1362432"/>
              <a:ext cx="561208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600" b="1" dirty="0">
                  <a:solidFill>
                    <a:prstClr val="black"/>
                  </a:solidFill>
                  <a:latin typeface="Calibri" panose="020F0502020204030204" pitchFamily="34" charset="0"/>
                  <a:cs typeface="Calibri" panose="020F0502020204030204" pitchFamily="34" charset="0"/>
                </a:rPr>
                <a:t>AAL benefits from merger but calms down in intensive completions </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44" name="Straight Connector 6">
              <a:extLst>
                <a:ext uri="{FF2B5EF4-FFF2-40B4-BE49-F238E27FC236}">
                  <a16:creationId xmlns:a16="http://schemas.microsoft.com/office/drawing/2014/main" id="{0236ADBC-3F17-6540-A704-72A07C00ABB3}"/>
                </a:ext>
              </a:extLst>
            </p:cNvPr>
            <p:cNvCxnSpPr>
              <a:cxnSpLocks/>
            </p:cNvCxnSpPr>
            <p:nvPr/>
          </p:nvCxnSpPr>
          <p:spPr>
            <a:xfrm>
              <a:off x="260073" y="1778726"/>
              <a:ext cx="595785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Rectangle 34">
            <a:extLst>
              <a:ext uri="{FF2B5EF4-FFF2-40B4-BE49-F238E27FC236}">
                <a16:creationId xmlns:a16="http://schemas.microsoft.com/office/drawing/2014/main" id="{19FE3757-5043-3F42-813D-80EC8E5B5021}"/>
              </a:ext>
            </a:extLst>
          </p:cNvPr>
          <p:cNvSpPr/>
          <p:nvPr/>
        </p:nvSpPr>
        <p:spPr>
          <a:xfrm>
            <a:off x="335047" y="1419431"/>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1</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51" name="Group 3">
            <a:extLst>
              <a:ext uri="{FF2B5EF4-FFF2-40B4-BE49-F238E27FC236}">
                <a16:creationId xmlns:a16="http://schemas.microsoft.com/office/drawing/2014/main" id="{F8165DE1-7D2C-3C4B-8AE3-B0397F953761}"/>
              </a:ext>
            </a:extLst>
          </p:cNvPr>
          <p:cNvGrpSpPr/>
          <p:nvPr/>
        </p:nvGrpSpPr>
        <p:grpSpPr>
          <a:xfrm>
            <a:off x="6440437" y="4285421"/>
            <a:ext cx="6098976" cy="393072"/>
            <a:chOff x="260073" y="1397601"/>
            <a:chExt cx="6098976" cy="393072"/>
          </a:xfrm>
        </p:grpSpPr>
        <p:sp>
          <p:nvSpPr>
            <p:cNvPr id="52" name="Rectangle 4">
              <a:extLst>
                <a:ext uri="{FF2B5EF4-FFF2-40B4-BE49-F238E27FC236}">
                  <a16:creationId xmlns:a16="http://schemas.microsoft.com/office/drawing/2014/main" id="{91471235-2BAE-D145-923D-274833FA8495}"/>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black"/>
                  </a:solidFill>
                  <a:latin typeface="Calibri" panose="020F0502020204030204" pitchFamily="34" charset="0"/>
                  <a:cs typeface="Calibri" panose="020F0502020204030204" pitchFamily="34" charset="0"/>
                </a:rPr>
                <a:t>Compared to industry, AAL has neutral intrinsic value </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56" name="Straight Connector 6">
              <a:extLst>
                <a:ext uri="{FF2B5EF4-FFF2-40B4-BE49-F238E27FC236}">
                  <a16:creationId xmlns:a16="http://schemas.microsoft.com/office/drawing/2014/main" id="{84CF8DD7-DBE3-6942-BD72-A466894D1A77}"/>
                </a:ext>
              </a:extLst>
            </p:cNvPr>
            <p:cNvCxnSpPr>
              <a:cxnSpLocks/>
            </p:cNvCxnSpPr>
            <p:nvPr/>
          </p:nvCxnSpPr>
          <p:spPr>
            <a:xfrm>
              <a:off x="260073" y="1778726"/>
              <a:ext cx="6098976" cy="1194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ectangle 34">
            <a:extLst>
              <a:ext uri="{FF2B5EF4-FFF2-40B4-BE49-F238E27FC236}">
                <a16:creationId xmlns:a16="http://schemas.microsoft.com/office/drawing/2014/main" id="{69347EEF-D644-5E40-8058-26F4387CAADD}"/>
              </a:ext>
            </a:extLst>
          </p:cNvPr>
          <p:cNvSpPr/>
          <p:nvPr/>
        </p:nvSpPr>
        <p:spPr>
          <a:xfrm>
            <a:off x="6421438" y="4322993"/>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3</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aphicFrame>
        <p:nvGraphicFramePr>
          <p:cNvPr id="58" name="图表 57">
            <a:extLst>
              <a:ext uri="{FF2B5EF4-FFF2-40B4-BE49-F238E27FC236}">
                <a16:creationId xmlns:a16="http://schemas.microsoft.com/office/drawing/2014/main" id="{93E1BD26-62EA-764A-AC10-B6297B078008}"/>
              </a:ext>
            </a:extLst>
          </p:cNvPr>
          <p:cNvGraphicFramePr/>
          <p:nvPr/>
        </p:nvGraphicFramePr>
        <p:xfrm>
          <a:off x="6440437" y="5020468"/>
          <a:ext cx="3005188" cy="134976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3" name="图表 62">
            <a:extLst>
              <a:ext uri="{FF2B5EF4-FFF2-40B4-BE49-F238E27FC236}">
                <a16:creationId xmlns:a16="http://schemas.microsoft.com/office/drawing/2014/main" id="{EF46855D-07E6-044D-85CB-869E4B83CC3E}"/>
              </a:ext>
            </a:extLst>
          </p:cNvPr>
          <p:cNvGraphicFramePr/>
          <p:nvPr/>
        </p:nvGraphicFramePr>
        <p:xfrm>
          <a:off x="9445625" y="5020468"/>
          <a:ext cx="3059113" cy="1349764"/>
        </p:xfrm>
        <a:graphic>
          <a:graphicData uri="http://schemas.openxmlformats.org/drawingml/2006/chart">
            <c:chart xmlns:c="http://schemas.openxmlformats.org/drawingml/2006/chart" xmlns:r="http://schemas.openxmlformats.org/officeDocument/2006/relationships" r:id="rId11"/>
          </a:graphicData>
        </a:graphic>
      </p:graphicFrame>
      <p:sp>
        <p:nvSpPr>
          <p:cNvPr id="68" name="文本框 67">
            <a:extLst>
              <a:ext uri="{FF2B5EF4-FFF2-40B4-BE49-F238E27FC236}">
                <a16:creationId xmlns:a16="http://schemas.microsoft.com/office/drawing/2014/main" id="{871983E9-00CC-3544-8A77-3737393DCCF4}"/>
              </a:ext>
            </a:extLst>
          </p:cNvPr>
          <p:cNvSpPr txBox="1"/>
          <p:nvPr/>
        </p:nvSpPr>
        <p:spPr>
          <a:xfrm>
            <a:off x="7476564" y="4674457"/>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P/B Ratio</a:t>
            </a:r>
            <a:endParaRPr kumimoji="1" lang="zh-CN" altLang="en-US" sz="1200" dirty="0" err="1">
              <a:latin typeface="Calibri" panose="020F0502020204030204" pitchFamily="34" charset="0"/>
              <a:cs typeface="Calibri" panose="020F0502020204030204" pitchFamily="34" charset="0"/>
            </a:endParaRPr>
          </a:p>
        </p:txBody>
      </p:sp>
      <p:sp>
        <p:nvSpPr>
          <p:cNvPr id="69" name="文本框 68">
            <a:extLst>
              <a:ext uri="{FF2B5EF4-FFF2-40B4-BE49-F238E27FC236}">
                <a16:creationId xmlns:a16="http://schemas.microsoft.com/office/drawing/2014/main" id="{D44F7746-A684-7344-9D64-77080D45259D}"/>
              </a:ext>
            </a:extLst>
          </p:cNvPr>
          <p:cNvSpPr txBox="1"/>
          <p:nvPr/>
        </p:nvSpPr>
        <p:spPr>
          <a:xfrm>
            <a:off x="10369397" y="4681564"/>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P/E Ratio</a:t>
            </a:r>
            <a:endParaRPr kumimoji="1" lang="zh-CN" altLang="en-US" sz="1200" dirty="0" err="1">
              <a:latin typeface="Calibri" panose="020F0502020204030204" pitchFamily="34" charset="0"/>
              <a:cs typeface="Calibri" panose="020F0502020204030204" pitchFamily="34" charset="0"/>
            </a:endParaRPr>
          </a:p>
        </p:txBody>
      </p:sp>
      <p:grpSp>
        <p:nvGrpSpPr>
          <p:cNvPr id="70" name="组合 69">
            <a:extLst>
              <a:ext uri="{FF2B5EF4-FFF2-40B4-BE49-F238E27FC236}">
                <a16:creationId xmlns:a16="http://schemas.microsoft.com/office/drawing/2014/main" id="{1FDBDB69-EE3F-6442-8872-DDCD49ECDB5A}"/>
              </a:ext>
            </a:extLst>
          </p:cNvPr>
          <p:cNvGrpSpPr/>
          <p:nvPr/>
        </p:nvGrpSpPr>
        <p:grpSpPr>
          <a:xfrm>
            <a:off x="8671300" y="4848426"/>
            <a:ext cx="782592" cy="211203"/>
            <a:chOff x="4443882" y="2772070"/>
            <a:chExt cx="782592" cy="211203"/>
          </a:xfrm>
        </p:grpSpPr>
        <p:cxnSp>
          <p:nvCxnSpPr>
            <p:cNvPr id="71" name="直线连接符 70">
              <a:extLst>
                <a:ext uri="{FF2B5EF4-FFF2-40B4-BE49-F238E27FC236}">
                  <a16:creationId xmlns:a16="http://schemas.microsoft.com/office/drawing/2014/main" id="{5FF4A23F-4D65-8D48-A208-5F6DFBA3083F}"/>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3" name="文本框 72">
              <a:extLst>
                <a:ext uri="{FF2B5EF4-FFF2-40B4-BE49-F238E27FC236}">
                  <a16:creationId xmlns:a16="http://schemas.microsoft.com/office/drawing/2014/main" id="{D9EAEAF1-9627-E04A-92F3-AAD4FB981A89}"/>
                </a:ext>
              </a:extLst>
            </p:cNvPr>
            <p:cNvSpPr txBox="1"/>
            <p:nvPr/>
          </p:nvSpPr>
          <p:spPr>
            <a:xfrm>
              <a:off x="4742379" y="2772070"/>
              <a:ext cx="484095"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AL</a:t>
              </a:r>
              <a:endParaRPr kumimoji="1" lang="zh-CN" altLang="en-US" sz="900" dirty="0" err="1">
                <a:latin typeface="Calibri" panose="020F0502020204030204" pitchFamily="34" charset="0"/>
                <a:cs typeface="Calibri" panose="020F0502020204030204" pitchFamily="34" charset="0"/>
              </a:endParaRPr>
            </a:p>
          </p:txBody>
        </p:sp>
      </p:grpSp>
      <p:grpSp>
        <p:nvGrpSpPr>
          <p:cNvPr id="74" name="组合 73">
            <a:extLst>
              <a:ext uri="{FF2B5EF4-FFF2-40B4-BE49-F238E27FC236}">
                <a16:creationId xmlns:a16="http://schemas.microsoft.com/office/drawing/2014/main" id="{E46645EA-0241-A74C-8FC1-059CDF3A73BB}"/>
              </a:ext>
            </a:extLst>
          </p:cNvPr>
          <p:cNvGrpSpPr/>
          <p:nvPr/>
        </p:nvGrpSpPr>
        <p:grpSpPr>
          <a:xfrm>
            <a:off x="9724259" y="4848426"/>
            <a:ext cx="1919781" cy="211203"/>
            <a:chOff x="4443882" y="2772070"/>
            <a:chExt cx="1919781" cy="211203"/>
          </a:xfrm>
        </p:grpSpPr>
        <p:cxnSp>
          <p:nvCxnSpPr>
            <p:cNvPr id="75" name="直线连接符 74">
              <a:extLst>
                <a:ext uri="{FF2B5EF4-FFF2-40B4-BE49-F238E27FC236}">
                  <a16:creationId xmlns:a16="http://schemas.microsoft.com/office/drawing/2014/main" id="{4754A27F-F513-A44C-B987-88C8AC0115B1}"/>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6" name="文本框 75">
              <a:extLst>
                <a:ext uri="{FF2B5EF4-FFF2-40B4-BE49-F238E27FC236}">
                  <a16:creationId xmlns:a16="http://schemas.microsoft.com/office/drawing/2014/main" id="{9884E980-E142-C44C-9EBC-D07AF4964293}"/>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Comparable Companies</a:t>
              </a:r>
              <a:endParaRPr kumimoji="1" lang="zh-CN" altLang="en-US" sz="900" dirty="0" err="1">
                <a:latin typeface="Calibri" panose="020F0502020204030204" pitchFamily="34" charset="0"/>
                <a:cs typeface="Calibri" panose="020F0502020204030204" pitchFamily="34" charset="0"/>
              </a:endParaRPr>
            </a:p>
          </p:txBody>
        </p:sp>
      </p:grpSp>
      <p:sp>
        <p:nvSpPr>
          <p:cNvPr id="48" name="圆角矩形 47">
            <a:extLst>
              <a:ext uri="{FF2B5EF4-FFF2-40B4-BE49-F238E27FC236}">
                <a16:creationId xmlns:a16="http://schemas.microsoft.com/office/drawing/2014/main" id="{DB9E61D0-0527-8348-9E28-D87E363D86A0}"/>
              </a:ext>
            </a:extLst>
          </p:cNvPr>
          <p:cNvSpPr/>
          <p:nvPr/>
        </p:nvSpPr>
        <p:spPr>
          <a:xfrm>
            <a:off x="6421439" y="6330593"/>
            <a:ext cx="6083299" cy="559158"/>
          </a:xfrm>
          <a:prstGeom prst="roundRect">
            <a:avLst>
              <a:gd name="adj" fmla="val 12772"/>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AAL’s P/B ratio fluctuates violently, reaching extreme high in 2013-2015 and extreme low in 2018-2020, while P/E ratio has periodic fluctuation, which reflects under-valuation before 2015 and neutral afterwards</a:t>
            </a:r>
          </a:p>
        </p:txBody>
      </p:sp>
      <p:grpSp>
        <p:nvGrpSpPr>
          <p:cNvPr id="78" name="Group 3">
            <a:extLst>
              <a:ext uri="{FF2B5EF4-FFF2-40B4-BE49-F238E27FC236}">
                <a16:creationId xmlns:a16="http://schemas.microsoft.com/office/drawing/2014/main" id="{8BD9ADA1-95DC-3447-AD31-2481AA1EF876}"/>
              </a:ext>
            </a:extLst>
          </p:cNvPr>
          <p:cNvGrpSpPr/>
          <p:nvPr/>
        </p:nvGrpSpPr>
        <p:grpSpPr>
          <a:xfrm>
            <a:off x="352880" y="4288246"/>
            <a:ext cx="6098976" cy="392179"/>
            <a:chOff x="260073" y="1397601"/>
            <a:chExt cx="6098976" cy="392179"/>
          </a:xfrm>
        </p:grpSpPr>
        <p:sp>
          <p:nvSpPr>
            <p:cNvPr id="79" name="Rectangle 4">
              <a:extLst>
                <a:ext uri="{FF2B5EF4-FFF2-40B4-BE49-F238E27FC236}">
                  <a16:creationId xmlns:a16="http://schemas.microsoft.com/office/drawing/2014/main" id="{57D85C80-2ED3-7448-A195-57A5D3833523}"/>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AL </a:t>
              </a:r>
              <a:r>
                <a:rPr lang="en-US" altLang="zh-CN" sz="1600" b="1" dirty="0">
                  <a:solidFill>
                    <a:prstClr val="black"/>
                  </a:solidFill>
                  <a:latin typeface="Calibri" panose="020F0502020204030204" pitchFamily="34" charset="0"/>
                  <a:cs typeface="Calibri" panose="020F0502020204030204" pitchFamily="34" charset="0"/>
                </a:rPr>
                <a:t>was under-valued before merger in 2014 and became neutral</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80" name="Straight Connector 6">
              <a:extLst>
                <a:ext uri="{FF2B5EF4-FFF2-40B4-BE49-F238E27FC236}">
                  <a16:creationId xmlns:a16="http://schemas.microsoft.com/office/drawing/2014/main" id="{B9B3568C-C476-134A-BB1A-80AE8788254B}"/>
                </a:ext>
              </a:extLst>
            </p:cNvPr>
            <p:cNvCxnSpPr>
              <a:cxnSpLocks/>
            </p:cNvCxnSpPr>
            <p:nvPr/>
          </p:nvCxnSpPr>
          <p:spPr>
            <a:xfrm>
              <a:off x="260073" y="1778726"/>
              <a:ext cx="594687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4" name="Rectangle 34">
            <a:extLst>
              <a:ext uri="{FF2B5EF4-FFF2-40B4-BE49-F238E27FC236}">
                <a16:creationId xmlns:a16="http://schemas.microsoft.com/office/drawing/2014/main" id="{BF8DA7B8-3D9C-7B46-9312-15AD13550593}"/>
              </a:ext>
            </a:extLst>
          </p:cNvPr>
          <p:cNvSpPr/>
          <p:nvPr/>
        </p:nvSpPr>
        <p:spPr>
          <a:xfrm>
            <a:off x="333881" y="4325818"/>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90" name="文本框 89">
            <a:extLst>
              <a:ext uri="{FF2B5EF4-FFF2-40B4-BE49-F238E27FC236}">
                <a16:creationId xmlns:a16="http://schemas.microsoft.com/office/drawing/2014/main" id="{E75AFA44-9E02-2943-936A-A12070053712}"/>
              </a:ext>
            </a:extLst>
          </p:cNvPr>
          <p:cNvSpPr txBox="1"/>
          <p:nvPr/>
        </p:nvSpPr>
        <p:spPr>
          <a:xfrm>
            <a:off x="2851884" y="4704437"/>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DCF Valuation</a:t>
            </a:r>
            <a:endParaRPr kumimoji="1" lang="zh-CN" altLang="en-US" sz="1200" dirty="0" err="1">
              <a:latin typeface="Calibri" panose="020F0502020204030204" pitchFamily="34" charset="0"/>
              <a:cs typeface="Calibri" panose="020F0502020204030204" pitchFamily="34" charset="0"/>
            </a:endParaRPr>
          </a:p>
        </p:txBody>
      </p:sp>
      <p:grpSp>
        <p:nvGrpSpPr>
          <p:cNvPr id="91" name="组合 90">
            <a:extLst>
              <a:ext uri="{FF2B5EF4-FFF2-40B4-BE49-F238E27FC236}">
                <a16:creationId xmlns:a16="http://schemas.microsoft.com/office/drawing/2014/main" id="{DE8F2E6B-9374-6941-B27D-C81AD8397346}"/>
              </a:ext>
            </a:extLst>
          </p:cNvPr>
          <p:cNvGrpSpPr/>
          <p:nvPr/>
        </p:nvGrpSpPr>
        <p:grpSpPr>
          <a:xfrm>
            <a:off x="1993613" y="4863415"/>
            <a:ext cx="1007608" cy="211203"/>
            <a:chOff x="4443882" y="2772069"/>
            <a:chExt cx="1007608" cy="211203"/>
          </a:xfrm>
        </p:grpSpPr>
        <p:cxnSp>
          <p:nvCxnSpPr>
            <p:cNvPr id="92" name="直线连接符 91">
              <a:extLst>
                <a:ext uri="{FF2B5EF4-FFF2-40B4-BE49-F238E27FC236}">
                  <a16:creationId xmlns:a16="http://schemas.microsoft.com/office/drawing/2014/main" id="{83A37892-9884-2643-A2CF-BEB92228EC0F}"/>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42F39632-720F-C647-84B6-5A5974838232}"/>
                </a:ext>
              </a:extLst>
            </p:cNvPr>
            <p:cNvSpPr txBox="1"/>
            <p:nvPr/>
          </p:nvSpPr>
          <p:spPr>
            <a:xfrm>
              <a:off x="4742379" y="2772069"/>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hare Price</a:t>
              </a:r>
              <a:endParaRPr kumimoji="1" lang="zh-CN" altLang="en-US" sz="900" dirty="0" err="1">
                <a:latin typeface="Calibri" panose="020F0502020204030204" pitchFamily="34" charset="0"/>
                <a:cs typeface="Calibri" panose="020F0502020204030204" pitchFamily="34" charset="0"/>
              </a:endParaRPr>
            </a:p>
          </p:txBody>
        </p:sp>
      </p:grpSp>
      <p:grpSp>
        <p:nvGrpSpPr>
          <p:cNvPr id="94" name="组合 93">
            <a:extLst>
              <a:ext uri="{FF2B5EF4-FFF2-40B4-BE49-F238E27FC236}">
                <a16:creationId xmlns:a16="http://schemas.microsoft.com/office/drawing/2014/main" id="{E251B809-3B1D-2E41-8B3E-A5FF8DD43832}"/>
              </a:ext>
            </a:extLst>
          </p:cNvPr>
          <p:cNvGrpSpPr/>
          <p:nvPr/>
        </p:nvGrpSpPr>
        <p:grpSpPr>
          <a:xfrm>
            <a:off x="4025922" y="4878946"/>
            <a:ext cx="1919781" cy="211203"/>
            <a:chOff x="4443882" y="2772070"/>
            <a:chExt cx="1919781" cy="211203"/>
          </a:xfrm>
        </p:grpSpPr>
        <p:cxnSp>
          <p:nvCxnSpPr>
            <p:cNvPr id="95" name="直线连接符 94">
              <a:extLst>
                <a:ext uri="{FF2B5EF4-FFF2-40B4-BE49-F238E27FC236}">
                  <a16:creationId xmlns:a16="http://schemas.microsoft.com/office/drawing/2014/main" id="{E107D111-C5ED-F544-BA7B-EC7630FEF49F}"/>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AD6BD074-5112-FD46-BC14-B9ACE99B8E2F}"/>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DCF</a:t>
              </a:r>
              <a:endParaRPr kumimoji="1" lang="zh-CN" altLang="en-US" sz="900" dirty="0" err="1">
                <a:latin typeface="Calibri" panose="020F0502020204030204" pitchFamily="34" charset="0"/>
                <a:cs typeface="Calibri" panose="020F0502020204030204" pitchFamily="34" charset="0"/>
              </a:endParaRPr>
            </a:p>
          </p:txBody>
        </p:sp>
      </p:grpSp>
      <p:sp>
        <p:nvSpPr>
          <p:cNvPr id="97" name="文本框 96">
            <a:extLst>
              <a:ext uri="{FF2B5EF4-FFF2-40B4-BE49-F238E27FC236}">
                <a16:creationId xmlns:a16="http://schemas.microsoft.com/office/drawing/2014/main" id="{CA266D8E-7D5F-AA40-867C-E6C70C4DC649}"/>
              </a:ext>
            </a:extLst>
          </p:cNvPr>
          <p:cNvSpPr txBox="1"/>
          <p:nvPr/>
        </p:nvSpPr>
        <p:spPr>
          <a:xfrm>
            <a:off x="329796" y="4863415"/>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hare Price ($)</a:t>
            </a:r>
            <a:endParaRPr kumimoji="1" lang="zh-CN" altLang="en-US" sz="900" dirty="0" err="1">
              <a:latin typeface="Calibri" panose="020F0502020204030204" pitchFamily="34" charset="0"/>
              <a:cs typeface="Calibri" panose="020F0502020204030204" pitchFamily="34" charset="0"/>
            </a:endParaRPr>
          </a:p>
        </p:txBody>
      </p:sp>
      <p:sp>
        <p:nvSpPr>
          <p:cNvPr id="98" name="文本框 97">
            <a:extLst>
              <a:ext uri="{FF2B5EF4-FFF2-40B4-BE49-F238E27FC236}">
                <a16:creationId xmlns:a16="http://schemas.microsoft.com/office/drawing/2014/main" id="{2804322F-4063-6644-BD96-569BC4A70848}"/>
              </a:ext>
            </a:extLst>
          </p:cNvPr>
          <p:cNvSpPr txBox="1"/>
          <p:nvPr/>
        </p:nvSpPr>
        <p:spPr>
          <a:xfrm>
            <a:off x="6431780" y="4779496"/>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P/B Ratio (%)</a:t>
            </a:r>
            <a:endParaRPr kumimoji="1" lang="zh-CN" altLang="en-US" sz="900" dirty="0" err="1">
              <a:latin typeface="Calibri" panose="020F0502020204030204" pitchFamily="34" charset="0"/>
              <a:cs typeface="Calibri" panose="020F0502020204030204" pitchFamily="34" charset="0"/>
            </a:endParaRPr>
          </a:p>
        </p:txBody>
      </p:sp>
      <p:sp>
        <p:nvSpPr>
          <p:cNvPr id="99" name="文本框 98">
            <a:extLst>
              <a:ext uri="{FF2B5EF4-FFF2-40B4-BE49-F238E27FC236}">
                <a16:creationId xmlns:a16="http://schemas.microsoft.com/office/drawing/2014/main" id="{E8453361-AD3C-8A40-A83B-C1E8202D6D62}"/>
              </a:ext>
            </a:extLst>
          </p:cNvPr>
          <p:cNvSpPr txBox="1"/>
          <p:nvPr/>
        </p:nvSpPr>
        <p:spPr>
          <a:xfrm>
            <a:off x="9422529" y="4810248"/>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t>
            </a:r>
            <a:endParaRPr kumimoji="1" lang="zh-CN" altLang="en-US" sz="900" dirty="0" err="1">
              <a:latin typeface="Calibri" panose="020F0502020204030204" pitchFamily="34" charset="0"/>
              <a:cs typeface="Calibri" panose="020F0502020204030204" pitchFamily="34" charset="0"/>
            </a:endParaRPr>
          </a:p>
        </p:txBody>
      </p:sp>
      <p:sp>
        <p:nvSpPr>
          <p:cNvPr id="101" name="文本框 100">
            <a:extLst>
              <a:ext uri="{FF2B5EF4-FFF2-40B4-BE49-F238E27FC236}">
                <a16:creationId xmlns:a16="http://schemas.microsoft.com/office/drawing/2014/main" id="{6B8EAF0B-18E7-5444-93C6-4224D7A53AB9}"/>
              </a:ext>
            </a:extLst>
          </p:cNvPr>
          <p:cNvSpPr txBox="1"/>
          <p:nvPr/>
        </p:nvSpPr>
        <p:spPr>
          <a:xfrm>
            <a:off x="324311" y="1767852"/>
            <a:ext cx="3337234"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Monthly Average Share Price Indexed to 2010-January (%)</a:t>
            </a:r>
            <a:endParaRPr kumimoji="1" lang="zh-CN" altLang="en-US" sz="1000" dirty="0" err="1">
              <a:latin typeface="Calibri" panose="020F0502020204030204" pitchFamily="34" charset="0"/>
              <a:cs typeface="Calibri" panose="020F0502020204030204" pitchFamily="34" charset="0"/>
            </a:endParaRPr>
          </a:p>
        </p:txBody>
      </p:sp>
      <p:sp>
        <p:nvSpPr>
          <p:cNvPr id="11" name="矩形 10">
            <a:extLst>
              <a:ext uri="{FF2B5EF4-FFF2-40B4-BE49-F238E27FC236}">
                <a16:creationId xmlns:a16="http://schemas.microsoft.com/office/drawing/2014/main" id="{EB7E392B-47F1-1D45-9040-0BD81B654FA5}"/>
              </a:ext>
            </a:extLst>
          </p:cNvPr>
          <p:cNvSpPr/>
          <p:nvPr/>
        </p:nvSpPr>
        <p:spPr>
          <a:xfrm>
            <a:off x="866899" y="2201006"/>
            <a:ext cx="593766" cy="909279"/>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26" name="矩形 125">
            <a:extLst>
              <a:ext uri="{FF2B5EF4-FFF2-40B4-BE49-F238E27FC236}">
                <a16:creationId xmlns:a16="http://schemas.microsoft.com/office/drawing/2014/main" id="{DD9EC4FC-51EF-EB44-9088-B7337A26FE32}"/>
              </a:ext>
            </a:extLst>
          </p:cNvPr>
          <p:cNvSpPr/>
          <p:nvPr/>
        </p:nvSpPr>
        <p:spPr>
          <a:xfrm>
            <a:off x="11942937" y="2708347"/>
            <a:ext cx="658023" cy="229356"/>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000" dirty="0">
                <a:solidFill>
                  <a:schemeClr val="accent4"/>
                </a:solidFill>
                <a:latin typeface="Calibri" panose="020F0502020204030204" pitchFamily="34" charset="0"/>
                <a:cs typeface="Calibri" panose="020F0502020204030204" pitchFamily="34" charset="0"/>
              </a:rPr>
              <a:t>AAL</a:t>
            </a:r>
          </a:p>
          <a:p>
            <a:pPr algn="l"/>
            <a:r>
              <a:rPr kumimoji="1" lang="en-US" altLang="zh-CN" sz="1000" dirty="0">
                <a:solidFill>
                  <a:schemeClr val="accent4"/>
                </a:solidFill>
                <a:latin typeface="Calibri" panose="020F0502020204030204" pitchFamily="34" charset="0"/>
                <a:cs typeface="Calibri" panose="020F0502020204030204" pitchFamily="34" charset="0"/>
              </a:rPr>
              <a:t>+  320.09%</a:t>
            </a:r>
          </a:p>
        </p:txBody>
      </p:sp>
      <p:sp>
        <p:nvSpPr>
          <p:cNvPr id="127" name="矩形 126">
            <a:extLst>
              <a:ext uri="{FF2B5EF4-FFF2-40B4-BE49-F238E27FC236}">
                <a16:creationId xmlns:a16="http://schemas.microsoft.com/office/drawing/2014/main" id="{00AFFFBB-586B-7D49-A85A-642508EAEF9F}"/>
              </a:ext>
            </a:extLst>
          </p:cNvPr>
          <p:cNvSpPr/>
          <p:nvPr/>
        </p:nvSpPr>
        <p:spPr>
          <a:xfrm>
            <a:off x="11950194" y="3033886"/>
            <a:ext cx="593767" cy="402059"/>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000" dirty="0">
                <a:solidFill>
                  <a:schemeClr val="accent2"/>
                </a:solidFill>
                <a:latin typeface="Calibri" panose="020F0502020204030204" pitchFamily="34" charset="0"/>
                <a:cs typeface="Calibri" panose="020F0502020204030204" pitchFamily="34" charset="0"/>
              </a:rPr>
              <a:t>S&amp;P 500</a:t>
            </a:r>
          </a:p>
          <a:p>
            <a:pPr algn="l"/>
            <a:r>
              <a:rPr kumimoji="1" lang="en-US" altLang="zh-CN" sz="1000" dirty="0">
                <a:solidFill>
                  <a:schemeClr val="accent2"/>
                </a:solidFill>
                <a:latin typeface="Calibri" panose="020F0502020204030204" pitchFamily="34" charset="0"/>
                <a:cs typeface="Calibri" panose="020F0502020204030204" pitchFamily="34" charset="0"/>
              </a:rPr>
              <a:t>+  309.29%</a:t>
            </a:r>
          </a:p>
        </p:txBody>
      </p:sp>
      <p:sp>
        <p:nvSpPr>
          <p:cNvPr id="128" name="圆角矩形 127">
            <a:extLst>
              <a:ext uri="{FF2B5EF4-FFF2-40B4-BE49-F238E27FC236}">
                <a16:creationId xmlns:a16="http://schemas.microsoft.com/office/drawing/2014/main" id="{C3824ABB-6C28-C84F-BB33-3F61EE86E4EE}"/>
              </a:ext>
            </a:extLst>
          </p:cNvPr>
          <p:cNvSpPr/>
          <p:nvPr/>
        </p:nvSpPr>
        <p:spPr>
          <a:xfrm>
            <a:off x="352881" y="6426906"/>
            <a:ext cx="5959020" cy="417624"/>
          </a:xfrm>
          <a:prstGeom prst="roundRect">
            <a:avLst>
              <a:gd name="adj" fmla="val 12772"/>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The gap between AAL’s price and DCF is narrowed after 2014, with value from under to neutral </a:t>
            </a:r>
            <a:endParaRPr kumimoji="1" lang="en-US" altLang="zh-CN" sz="1200" dirty="0">
              <a:solidFill>
                <a:schemeClr val="tx1"/>
              </a:solidFill>
              <a:highlight>
                <a:srgbClr val="FF0000"/>
              </a:highlight>
              <a:latin typeface="Calibri" panose="020F0502020204030204" pitchFamily="34" charset="0"/>
              <a:cs typeface="Calibri" panose="020F0502020204030204" pitchFamily="34" charset="0"/>
            </a:endParaRPr>
          </a:p>
        </p:txBody>
      </p:sp>
      <p:sp>
        <p:nvSpPr>
          <p:cNvPr id="86" name="矩形 85">
            <a:extLst>
              <a:ext uri="{FF2B5EF4-FFF2-40B4-BE49-F238E27FC236}">
                <a16:creationId xmlns:a16="http://schemas.microsoft.com/office/drawing/2014/main" id="{1AA6883D-80ED-415C-A497-9490D22420FE}"/>
              </a:ext>
            </a:extLst>
          </p:cNvPr>
          <p:cNvSpPr/>
          <p:nvPr/>
        </p:nvSpPr>
        <p:spPr>
          <a:xfrm>
            <a:off x="2042783" y="2557789"/>
            <a:ext cx="1294669" cy="339084"/>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3/12: AMR and US Airways  got </a:t>
            </a:r>
            <a:r>
              <a:rPr lang="en-US" altLang="zh-CN" sz="1000" b="1" dirty="0">
                <a:solidFill>
                  <a:schemeClr val="tx1"/>
                </a:solidFill>
                <a:latin typeface="Calibri" panose="020F0502020204030204" pitchFamily="34" charset="0"/>
                <a:cs typeface="Calibri" panose="020F0502020204030204" pitchFamily="34" charset="0"/>
              </a:rPr>
              <a:t>merged</a:t>
            </a:r>
            <a:r>
              <a:rPr lang="en-US" altLang="zh-CN" sz="1000" dirty="0">
                <a:solidFill>
                  <a:schemeClr val="tx1"/>
                </a:solidFill>
                <a:latin typeface="Calibri" panose="020F0502020204030204" pitchFamily="34" charset="0"/>
                <a:cs typeface="Calibri" panose="020F0502020204030204" pitchFamily="34" charset="0"/>
              </a:rPr>
              <a:t>. </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87" name="矩形 86">
            <a:extLst>
              <a:ext uri="{FF2B5EF4-FFF2-40B4-BE49-F238E27FC236}">
                <a16:creationId xmlns:a16="http://schemas.microsoft.com/office/drawing/2014/main" id="{3DD8DED1-5316-495B-88E5-AE08FBF69347}"/>
              </a:ext>
            </a:extLst>
          </p:cNvPr>
          <p:cNvSpPr/>
          <p:nvPr/>
        </p:nvSpPr>
        <p:spPr>
          <a:xfrm>
            <a:off x="5230597" y="2839867"/>
            <a:ext cx="959302" cy="504254"/>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5/3: AAL was added to S&amp;P 500 index</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88" name="矩形 87">
            <a:extLst>
              <a:ext uri="{FF2B5EF4-FFF2-40B4-BE49-F238E27FC236}">
                <a16:creationId xmlns:a16="http://schemas.microsoft.com/office/drawing/2014/main" id="{C5D8973E-D8D0-42D0-A077-192D560E304F}"/>
              </a:ext>
            </a:extLst>
          </p:cNvPr>
          <p:cNvSpPr/>
          <p:nvPr/>
        </p:nvSpPr>
        <p:spPr>
          <a:xfrm>
            <a:off x="6362944" y="1682248"/>
            <a:ext cx="1141243" cy="638499"/>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6/7: AAL </a:t>
            </a:r>
            <a:r>
              <a:rPr lang="en-US" altLang="zh-CN" sz="1000" b="1" dirty="0">
                <a:solidFill>
                  <a:schemeClr val="tx1"/>
                </a:solidFill>
                <a:latin typeface="Calibri" panose="020F0502020204030204" pitchFamily="34" charset="0"/>
                <a:cs typeface="Calibri" panose="020F0502020204030204" pitchFamily="34" charset="0"/>
              </a:rPr>
              <a:t>firstly launched Premium Economy seating </a:t>
            </a:r>
            <a:r>
              <a:rPr lang="en-US" altLang="zh-CN" sz="1000" dirty="0">
                <a:solidFill>
                  <a:schemeClr val="tx1"/>
                </a:solidFill>
                <a:latin typeface="Calibri" panose="020F0502020204030204" pitchFamily="34" charset="0"/>
                <a:cs typeface="Calibri" panose="020F0502020204030204" pitchFamily="34" charset="0"/>
              </a:rPr>
              <a:t>on international flights. </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02" name="矩形 101">
            <a:extLst>
              <a:ext uri="{FF2B5EF4-FFF2-40B4-BE49-F238E27FC236}">
                <a16:creationId xmlns:a16="http://schemas.microsoft.com/office/drawing/2014/main" id="{02DEE30A-C919-4708-AC1C-29EFD7C8A51B}"/>
              </a:ext>
            </a:extLst>
          </p:cNvPr>
          <p:cNvSpPr/>
          <p:nvPr/>
        </p:nvSpPr>
        <p:spPr>
          <a:xfrm>
            <a:off x="8066751" y="1331207"/>
            <a:ext cx="1311300" cy="789290"/>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8/6: AAL greatly </a:t>
            </a:r>
            <a:r>
              <a:rPr lang="en-US" altLang="zh-CN" sz="1000" b="1" dirty="0">
                <a:solidFill>
                  <a:schemeClr val="tx1"/>
                </a:solidFill>
                <a:latin typeface="Calibri" panose="020F0502020204030204" pitchFamily="34" charset="0"/>
                <a:cs typeface="Calibri" panose="020F0502020204030204" pitchFamily="34" charset="0"/>
              </a:rPr>
              <a:t>changed international networks </a:t>
            </a:r>
            <a:r>
              <a:rPr lang="en-US" altLang="zh-CN" sz="1000" dirty="0">
                <a:solidFill>
                  <a:schemeClr val="tx1"/>
                </a:solidFill>
                <a:latin typeface="Calibri" panose="020F0502020204030204" pitchFamily="34" charset="0"/>
                <a:cs typeface="Calibri" panose="020F0502020204030204" pitchFamily="34" charset="0"/>
              </a:rPr>
              <a:t>due to increasing fuel price and financial crisis </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03" name="矩形 102">
            <a:extLst>
              <a:ext uri="{FF2B5EF4-FFF2-40B4-BE49-F238E27FC236}">
                <a16:creationId xmlns:a16="http://schemas.microsoft.com/office/drawing/2014/main" id="{232FF695-DE4E-4A0C-A686-07EFB949815B}"/>
              </a:ext>
            </a:extLst>
          </p:cNvPr>
          <p:cNvSpPr/>
          <p:nvPr/>
        </p:nvSpPr>
        <p:spPr>
          <a:xfrm>
            <a:off x="9439691" y="1794148"/>
            <a:ext cx="1229338" cy="629064"/>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9/6: AAL </a:t>
            </a:r>
            <a:r>
              <a:rPr lang="en-US" altLang="zh-CN" sz="1000" b="1" dirty="0">
                <a:solidFill>
                  <a:schemeClr val="tx1"/>
                </a:solidFill>
                <a:latin typeface="Calibri" panose="020F0502020204030204" pitchFamily="34" charset="0"/>
                <a:cs typeface="Calibri" panose="020F0502020204030204" pitchFamily="34" charset="0"/>
              </a:rPr>
              <a:t>impaired revenue </a:t>
            </a:r>
            <a:r>
              <a:rPr lang="en-US" altLang="zh-CN" sz="1000" dirty="0">
                <a:solidFill>
                  <a:schemeClr val="tx1"/>
                </a:solidFill>
                <a:latin typeface="Calibri" panose="020F0502020204030204" pitchFamily="34" charset="0"/>
                <a:cs typeface="Calibri" panose="020F0502020204030204" pitchFamily="34" charset="0"/>
              </a:rPr>
              <a:t>by grounded Boeing 737 MAX for 8 months</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11" name="矩形 110">
            <a:extLst>
              <a:ext uri="{FF2B5EF4-FFF2-40B4-BE49-F238E27FC236}">
                <a16:creationId xmlns:a16="http://schemas.microsoft.com/office/drawing/2014/main" id="{DB6F0D51-08E1-4BCD-B2B4-0AB2290BC421}"/>
              </a:ext>
            </a:extLst>
          </p:cNvPr>
          <p:cNvSpPr/>
          <p:nvPr/>
        </p:nvSpPr>
        <p:spPr>
          <a:xfrm>
            <a:off x="6555539" y="3244646"/>
            <a:ext cx="1329772" cy="212761"/>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6/6: </a:t>
            </a:r>
            <a:r>
              <a:rPr lang="en-US" altLang="zh-CN" sz="1000" b="0" i="0" dirty="0">
                <a:solidFill>
                  <a:srgbClr val="000000"/>
                </a:solidFill>
                <a:effectLst/>
                <a:latin typeface="Calibri" panose="020F0502020204030204" pitchFamily="34" charset="0"/>
                <a:cs typeface="Calibri" panose="020F0502020204030204" pitchFamily="34" charset="0"/>
              </a:rPr>
              <a:t>Terrorism fears</a:t>
            </a:r>
            <a:endParaRPr kumimoji="1" lang="en-US" altLang="zh-CN" sz="1000" dirty="0">
              <a:solidFill>
                <a:schemeClr val="tx1"/>
              </a:solidFill>
              <a:latin typeface="Calibri" panose="020F0502020204030204" pitchFamily="34" charset="0"/>
              <a:cs typeface="Calibri" panose="020F0502020204030204" pitchFamily="34" charset="0"/>
            </a:endParaRPr>
          </a:p>
        </p:txBody>
      </p:sp>
      <p:sp>
        <p:nvSpPr>
          <p:cNvPr id="115" name="矩形 114">
            <a:extLst>
              <a:ext uri="{FF2B5EF4-FFF2-40B4-BE49-F238E27FC236}">
                <a16:creationId xmlns:a16="http://schemas.microsoft.com/office/drawing/2014/main" id="{5083CA7B-2EC2-406A-AE40-3629B0DAAFFE}"/>
              </a:ext>
            </a:extLst>
          </p:cNvPr>
          <p:cNvSpPr/>
          <p:nvPr/>
        </p:nvSpPr>
        <p:spPr>
          <a:xfrm>
            <a:off x="3867354" y="3524763"/>
            <a:ext cx="1162800" cy="417018"/>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4/6: Increased tension in Iraq raise </a:t>
            </a:r>
            <a:r>
              <a:rPr lang="en-US" altLang="zh-CN" sz="1000" b="1" dirty="0">
                <a:solidFill>
                  <a:schemeClr val="tx1"/>
                </a:solidFill>
                <a:latin typeface="Calibri" panose="020F0502020204030204" pitchFamily="34" charset="0"/>
                <a:cs typeface="Calibri" panose="020F0502020204030204" pitchFamily="34" charset="0"/>
              </a:rPr>
              <a:t>oil price </a:t>
            </a:r>
            <a:endParaRPr kumimoji="1" lang="en-US" altLang="zh-CN" sz="1000" b="1" dirty="0">
              <a:solidFill>
                <a:schemeClr val="tx1"/>
              </a:solidFill>
              <a:latin typeface="Calibri" panose="020F0502020204030204" pitchFamily="34" charset="0"/>
              <a:cs typeface="Calibri" panose="020F0502020204030204" pitchFamily="34" charset="0"/>
            </a:endParaRPr>
          </a:p>
        </p:txBody>
      </p:sp>
      <p:sp>
        <p:nvSpPr>
          <p:cNvPr id="116" name="矩形 115">
            <a:extLst>
              <a:ext uri="{FF2B5EF4-FFF2-40B4-BE49-F238E27FC236}">
                <a16:creationId xmlns:a16="http://schemas.microsoft.com/office/drawing/2014/main" id="{9E7DF345-0943-46BB-B8D7-9DF28A3DE729}"/>
              </a:ext>
            </a:extLst>
          </p:cNvPr>
          <p:cNvSpPr/>
          <p:nvPr/>
        </p:nvSpPr>
        <p:spPr>
          <a:xfrm>
            <a:off x="10224939" y="2516652"/>
            <a:ext cx="1316707" cy="504254"/>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20/1: Airlines temporarily </a:t>
            </a:r>
            <a:r>
              <a:rPr lang="en-US" altLang="zh-CN" sz="1000" b="1" dirty="0">
                <a:solidFill>
                  <a:schemeClr val="tx1"/>
                </a:solidFill>
                <a:latin typeface="Calibri" panose="020F0502020204030204" pitchFamily="34" charset="0"/>
                <a:cs typeface="Calibri" panose="020F0502020204030204" pitchFamily="34" charset="0"/>
              </a:rPr>
              <a:t>suspended flights</a:t>
            </a:r>
            <a:r>
              <a:rPr lang="en-US" altLang="zh-CN" sz="1000" dirty="0">
                <a:solidFill>
                  <a:schemeClr val="tx1"/>
                </a:solidFill>
                <a:latin typeface="Calibri" panose="020F0502020204030204" pitchFamily="34" charset="0"/>
                <a:cs typeface="Calibri" panose="020F0502020204030204" pitchFamily="34" charset="0"/>
              </a:rPr>
              <a:t> due to COVID-19</a:t>
            </a:r>
            <a:endParaRPr kumimoji="1" lang="en-US" altLang="zh-CN" sz="1000" dirty="0">
              <a:solidFill>
                <a:schemeClr val="tx1"/>
              </a:solidFill>
              <a:latin typeface="Calibri" panose="020F0502020204030204" pitchFamily="34" charset="0"/>
              <a:cs typeface="Calibri" panose="020F0502020204030204" pitchFamily="34" charset="0"/>
            </a:endParaRPr>
          </a:p>
        </p:txBody>
      </p:sp>
      <p:grpSp>
        <p:nvGrpSpPr>
          <p:cNvPr id="13" name="组合 12">
            <a:extLst>
              <a:ext uri="{FF2B5EF4-FFF2-40B4-BE49-F238E27FC236}">
                <a16:creationId xmlns:a16="http://schemas.microsoft.com/office/drawing/2014/main" id="{7DD1A583-082B-44B9-8A28-A662BF03053D}"/>
              </a:ext>
            </a:extLst>
          </p:cNvPr>
          <p:cNvGrpSpPr/>
          <p:nvPr/>
        </p:nvGrpSpPr>
        <p:grpSpPr>
          <a:xfrm>
            <a:off x="3623160" y="1856898"/>
            <a:ext cx="1713943" cy="660830"/>
            <a:chOff x="4461716" y="1790346"/>
            <a:chExt cx="1713943" cy="660830"/>
          </a:xfrm>
        </p:grpSpPr>
        <p:sp>
          <p:nvSpPr>
            <p:cNvPr id="144" name="矩形 143">
              <a:extLst>
                <a:ext uri="{FF2B5EF4-FFF2-40B4-BE49-F238E27FC236}">
                  <a16:creationId xmlns:a16="http://schemas.microsoft.com/office/drawing/2014/main" id="{CEAE3BC1-E844-4B89-B5A2-79D59360C949}"/>
                </a:ext>
              </a:extLst>
            </p:cNvPr>
            <p:cNvSpPr/>
            <p:nvPr/>
          </p:nvSpPr>
          <p:spPr>
            <a:xfrm>
              <a:off x="4461716" y="1790346"/>
              <a:ext cx="268941" cy="196981"/>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45" name="文本框 144">
              <a:extLst>
                <a:ext uri="{FF2B5EF4-FFF2-40B4-BE49-F238E27FC236}">
                  <a16:creationId xmlns:a16="http://schemas.microsoft.com/office/drawing/2014/main" id="{3BBA7C59-5B93-4589-B80A-960E810B38AA}"/>
                </a:ext>
              </a:extLst>
            </p:cNvPr>
            <p:cNvSpPr txBox="1"/>
            <p:nvPr/>
          </p:nvSpPr>
          <p:spPr>
            <a:xfrm>
              <a:off x="4865577" y="1808535"/>
              <a:ext cx="1094550"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News information</a:t>
              </a:r>
              <a:endParaRPr kumimoji="1" lang="zh-CN" altLang="en-US" sz="900" dirty="0" err="1">
                <a:latin typeface="Calibri" panose="020F0502020204030204" pitchFamily="34" charset="0"/>
                <a:cs typeface="Calibri" panose="020F0502020204030204" pitchFamily="34" charset="0"/>
              </a:endParaRPr>
            </a:p>
          </p:txBody>
        </p:sp>
        <p:sp>
          <p:nvSpPr>
            <p:cNvPr id="146" name="矩形 145">
              <a:extLst>
                <a:ext uri="{FF2B5EF4-FFF2-40B4-BE49-F238E27FC236}">
                  <a16:creationId xmlns:a16="http://schemas.microsoft.com/office/drawing/2014/main" id="{0A9E1A18-8B30-4B41-8D5E-8A219C88F2FE}"/>
                </a:ext>
              </a:extLst>
            </p:cNvPr>
            <p:cNvSpPr/>
            <p:nvPr/>
          </p:nvSpPr>
          <p:spPr>
            <a:xfrm>
              <a:off x="4461716" y="2021503"/>
              <a:ext cx="268941" cy="196981"/>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47" name="文本框 146">
              <a:extLst>
                <a:ext uri="{FF2B5EF4-FFF2-40B4-BE49-F238E27FC236}">
                  <a16:creationId xmlns:a16="http://schemas.microsoft.com/office/drawing/2014/main" id="{E7B91231-DB7B-4357-80B5-901DAE8702DE}"/>
                </a:ext>
              </a:extLst>
            </p:cNvPr>
            <p:cNvSpPr txBox="1"/>
            <p:nvPr/>
          </p:nvSpPr>
          <p:spPr>
            <a:xfrm>
              <a:off x="4865577" y="2053817"/>
              <a:ext cx="1310082"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Market information</a:t>
              </a:r>
              <a:endParaRPr kumimoji="1" lang="zh-CN" altLang="en-US" sz="900" dirty="0" err="1">
                <a:latin typeface="Calibri" panose="020F0502020204030204" pitchFamily="34" charset="0"/>
                <a:cs typeface="Calibri" panose="020F0502020204030204" pitchFamily="34" charset="0"/>
              </a:endParaRPr>
            </a:p>
          </p:txBody>
        </p:sp>
        <p:sp>
          <p:nvSpPr>
            <p:cNvPr id="148" name="文本框 147">
              <a:extLst>
                <a:ext uri="{FF2B5EF4-FFF2-40B4-BE49-F238E27FC236}">
                  <a16:creationId xmlns:a16="http://schemas.microsoft.com/office/drawing/2014/main" id="{7B005B6C-D4C0-4AB3-A700-498CEFC3677F}"/>
                </a:ext>
              </a:extLst>
            </p:cNvPr>
            <p:cNvSpPr txBox="1"/>
            <p:nvPr/>
          </p:nvSpPr>
          <p:spPr>
            <a:xfrm>
              <a:off x="4865577" y="2291382"/>
              <a:ext cx="1094550"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Financial information</a:t>
              </a:r>
              <a:endParaRPr kumimoji="1" lang="zh-CN" altLang="en-US" sz="900" dirty="0" err="1">
                <a:latin typeface="Calibri" panose="020F0502020204030204" pitchFamily="34" charset="0"/>
                <a:cs typeface="Calibri" panose="020F0502020204030204" pitchFamily="34" charset="0"/>
              </a:endParaRPr>
            </a:p>
          </p:txBody>
        </p:sp>
        <p:sp>
          <p:nvSpPr>
            <p:cNvPr id="149" name="矩形 148">
              <a:extLst>
                <a:ext uri="{FF2B5EF4-FFF2-40B4-BE49-F238E27FC236}">
                  <a16:creationId xmlns:a16="http://schemas.microsoft.com/office/drawing/2014/main" id="{1A2BF5B2-DBE4-498C-B43E-439C6D7B1C43}"/>
                </a:ext>
              </a:extLst>
            </p:cNvPr>
            <p:cNvSpPr/>
            <p:nvPr/>
          </p:nvSpPr>
          <p:spPr>
            <a:xfrm>
              <a:off x="4461716" y="2254195"/>
              <a:ext cx="268941" cy="196981"/>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grpSp>
      <p:sp>
        <p:nvSpPr>
          <p:cNvPr id="151" name="矩形 150">
            <a:extLst>
              <a:ext uri="{FF2B5EF4-FFF2-40B4-BE49-F238E27FC236}">
                <a16:creationId xmlns:a16="http://schemas.microsoft.com/office/drawing/2014/main" id="{E3D91B78-74AC-46AE-84D3-DF295FD64367}"/>
              </a:ext>
            </a:extLst>
          </p:cNvPr>
          <p:cNvSpPr/>
          <p:nvPr/>
        </p:nvSpPr>
        <p:spPr>
          <a:xfrm>
            <a:off x="11173204" y="3515579"/>
            <a:ext cx="1363500" cy="476047"/>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21/1: As people getting vaccinations, traveling got </a:t>
            </a:r>
            <a:r>
              <a:rPr lang="en-US" altLang="zh-CN" sz="1000" b="1" dirty="0">
                <a:solidFill>
                  <a:schemeClr val="tx1"/>
                </a:solidFill>
                <a:latin typeface="Calibri" panose="020F0502020204030204" pitchFamily="34" charset="0"/>
                <a:cs typeface="Calibri" panose="020F0502020204030204" pitchFamily="34" charset="0"/>
              </a:rPr>
              <a:t>recovered </a:t>
            </a:r>
            <a:endParaRPr kumimoji="1" lang="en-US" altLang="zh-CN" sz="1000" b="1" dirty="0">
              <a:solidFill>
                <a:schemeClr val="tx1"/>
              </a:solidFill>
              <a:latin typeface="Calibri" panose="020F0502020204030204" pitchFamily="34" charset="0"/>
              <a:cs typeface="Calibri" panose="020F0502020204030204" pitchFamily="34" charset="0"/>
            </a:endParaRPr>
          </a:p>
        </p:txBody>
      </p:sp>
      <p:sp>
        <p:nvSpPr>
          <p:cNvPr id="153" name="矩形 152">
            <a:extLst>
              <a:ext uri="{FF2B5EF4-FFF2-40B4-BE49-F238E27FC236}">
                <a16:creationId xmlns:a16="http://schemas.microsoft.com/office/drawing/2014/main" id="{BEE72CCF-F08E-4735-A35D-E068923A3E17}"/>
              </a:ext>
            </a:extLst>
          </p:cNvPr>
          <p:cNvSpPr/>
          <p:nvPr/>
        </p:nvSpPr>
        <p:spPr>
          <a:xfrm>
            <a:off x="7991648" y="2894984"/>
            <a:ext cx="1512269" cy="368319"/>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8/3: Price war triggered fierce competition</a:t>
            </a:r>
            <a:endParaRPr kumimoji="1" lang="en-US" altLang="zh-CN" sz="1000" dirty="0">
              <a:solidFill>
                <a:schemeClr val="tx1"/>
              </a:solidFill>
              <a:latin typeface="Calibri" panose="020F0502020204030204" pitchFamily="34" charset="0"/>
              <a:cs typeface="Calibri" panose="020F0502020204030204" pitchFamily="34" charset="0"/>
            </a:endParaRPr>
          </a:p>
        </p:txBody>
      </p:sp>
      <p:sp>
        <p:nvSpPr>
          <p:cNvPr id="154" name="矩形 153">
            <a:extLst>
              <a:ext uri="{FF2B5EF4-FFF2-40B4-BE49-F238E27FC236}">
                <a16:creationId xmlns:a16="http://schemas.microsoft.com/office/drawing/2014/main" id="{C09D5EEB-CAE5-46F9-A149-C3F519A27300}"/>
              </a:ext>
            </a:extLst>
          </p:cNvPr>
          <p:cNvSpPr/>
          <p:nvPr/>
        </p:nvSpPr>
        <p:spPr>
          <a:xfrm>
            <a:off x="823733" y="2908086"/>
            <a:ext cx="1036022" cy="516238"/>
          </a:xfrm>
          <a:prstGeom prst="rect">
            <a:avLst/>
          </a:prstGeom>
          <a:solidFill>
            <a:srgbClr val="C9DEF1"/>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1/11: AMR filed for </a:t>
            </a:r>
            <a:r>
              <a:rPr lang="en-US" altLang="zh-CN" sz="1000" b="1" dirty="0">
                <a:solidFill>
                  <a:schemeClr val="tx1"/>
                </a:solidFill>
                <a:latin typeface="Calibri" panose="020F0502020204030204" pitchFamily="34" charset="0"/>
                <a:cs typeface="Calibri" panose="020F0502020204030204" pitchFamily="34" charset="0"/>
              </a:rPr>
              <a:t>bankruptcy</a:t>
            </a:r>
            <a:r>
              <a:rPr lang="en-US" altLang="zh-CN" sz="1000" dirty="0">
                <a:solidFill>
                  <a:schemeClr val="tx1"/>
                </a:solidFill>
                <a:latin typeface="Calibri" panose="020F0502020204030204" pitchFamily="34" charset="0"/>
                <a:cs typeface="Calibri" panose="020F0502020204030204" pitchFamily="34" charset="0"/>
              </a:rPr>
              <a:t> protection</a:t>
            </a:r>
            <a:endParaRPr lang="zh-CN" altLang="zh-CN" sz="1000" dirty="0">
              <a:solidFill>
                <a:schemeClr val="tx1"/>
              </a:solidFill>
              <a:latin typeface="Calibri" panose="020F0502020204030204" pitchFamily="34" charset="0"/>
              <a:cs typeface="Calibri" panose="020F0502020204030204" pitchFamily="34" charset="0"/>
            </a:endParaRPr>
          </a:p>
        </p:txBody>
      </p:sp>
      <p:grpSp>
        <p:nvGrpSpPr>
          <p:cNvPr id="14" name="组合 13">
            <a:extLst>
              <a:ext uri="{FF2B5EF4-FFF2-40B4-BE49-F238E27FC236}">
                <a16:creationId xmlns:a16="http://schemas.microsoft.com/office/drawing/2014/main" id="{82839B96-A166-4D22-A4EA-A15D8EDA0A40}"/>
              </a:ext>
            </a:extLst>
          </p:cNvPr>
          <p:cNvGrpSpPr/>
          <p:nvPr/>
        </p:nvGrpSpPr>
        <p:grpSpPr>
          <a:xfrm>
            <a:off x="832915" y="1992302"/>
            <a:ext cx="2790245" cy="214519"/>
            <a:chOff x="832915" y="1992302"/>
            <a:chExt cx="2790245" cy="214519"/>
          </a:xfrm>
        </p:grpSpPr>
        <p:grpSp>
          <p:nvGrpSpPr>
            <p:cNvPr id="159" name="组合 158">
              <a:extLst>
                <a:ext uri="{FF2B5EF4-FFF2-40B4-BE49-F238E27FC236}">
                  <a16:creationId xmlns:a16="http://schemas.microsoft.com/office/drawing/2014/main" id="{4AE73C31-579D-4BF6-A3B0-62BFF6FDA700}"/>
                </a:ext>
              </a:extLst>
            </p:cNvPr>
            <p:cNvGrpSpPr/>
            <p:nvPr/>
          </p:nvGrpSpPr>
          <p:grpSpPr>
            <a:xfrm>
              <a:off x="832915" y="1995618"/>
              <a:ext cx="1007608" cy="211203"/>
              <a:chOff x="1542914" y="2931117"/>
              <a:chExt cx="1007608" cy="211203"/>
            </a:xfrm>
          </p:grpSpPr>
          <p:cxnSp>
            <p:nvCxnSpPr>
              <p:cNvPr id="160" name="直线连接符 281">
                <a:extLst>
                  <a:ext uri="{FF2B5EF4-FFF2-40B4-BE49-F238E27FC236}">
                    <a16:creationId xmlns:a16="http://schemas.microsoft.com/office/drawing/2014/main" id="{174F621B-60C3-492D-957C-FCFE8F516700}"/>
                  </a:ext>
                </a:extLst>
              </p:cNvPr>
              <p:cNvCxnSpPr>
                <a:cxnSpLocks/>
              </p:cNvCxnSpPr>
              <p:nvPr/>
            </p:nvCxnSpPr>
            <p:spPr>
              <a:xfrm>
                <a:off x="1542914" y="3044413"/>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2" name="文本框 161">
                <a:extLst>
                  <a:ext uri="{FF2B5EF4-FFF2-40B4-BE49-F238E27FC236}">
                    <a16:creationId xmlns:a16="http://schemas.microsoft.com/office/drawing/2014/main" id="{54E813F1-77A0-4D26-9064-BA6F1722EB80}"/>
                  </a:ext>
                </a:extLst>
              </p:cNvPr>
              <p:cNvSpPr txBox="1"/>
              <p:nvPr/>
            </p:nvSpPr>
            <p:spPr>
              <a:xfrm>
                <a:off x="1841411" y="2931117"/>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AL</a:t>
                </a:r>
                <a:endParaRPr kumimoji="1" lang="zh-CN" altLang="en-US" sz="900" dirty="0" err="1">
                  <a:latin typeface="Calibri" panose="020F0502020204030204" pitchFamily="34" charset="0"/>
                  <a:cs typeface="Calibri" panose="020F0502020204030204" pitchFamily="34" charset="0"/>
                </a:endParaRPr>
              </a:p>
            </p:txBody>
          </p:sp>
        </p:grpSp>
        <p:grpSp>
          <p:nvGrpSpPr>
            <p:cNvPr id="163" name="组合 162">
              <a:extLst>
                <a:ext uri="{FF2B5EF4-FFF2-40B4-BE49-F238E27FC236}">
                  <a16:creationId xmlns:a16="http://schemas.microsoft.com/office/drawing/2014/main" id="{0FF1110E-F33C-41D0-9E7E-62FA97904AC5}"/>
                </a:ext>
              </a:extLst>
            </p:cNvPr>
            <p:cNvGrpSpPr/>
            <p:nvPr/>
          </p:nvGrpSpPr>
          <p:grpSpPr>
            <a:xfrm>
              <a:off x="1703379" y="1992302"/>
              <a:ext cx="1919781" cy="211203"/>
              <a:chOff x="4443882" y="2772070"/>
              <a:chExt cx="1919781" cy="211203"/>
            </a:xfrm>
          </p:grpSpPr>
          <p:cxnSp>
            <p:nvCxnSpPr>
              <p:cNvPr id="165" name="直线连接符 284">
                <a:extLst>
                  <a:ext uri="{FF2B5EF4-FFF2-40B4-BE49-F238E27FC236}">
                    <a16:creationId xmlns:a16="http://schemas.microsoft.com/office/drawing/2014/main" id="{AD7D38A1-D1D4-4245-A0C8-572264024B36}"/>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7" name="文本框 166">
                <a:extLst>
                  <a:ext uri="{FF2B5EF4-FFF2-40B4-BE49-F238E27FC236}">
                    <a16:creationId xmlns:a16="http://schemas.microsoft.com/office/drawing/2014/main" id="{64FC6EE0-4F78-477D-9B7A-5D75BE5061CB}"/>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amp;P 500</a:t>
                </a:r>
                <a:endParaRPr kumimoji="1" lang="zh-CN" altLang="en-US" sz="900" dirty="0" err="1">
                  <a:latin typeface="Calibri" panose="020F0502020204030204" pitchFamily="34" charset="0"/>
                  <a:cs typeface="Calibri" panose="020F0502020204030204" pitchFamily="34" charset="0"/>
                </a:endParaRPr>
              </a:p>
            </p:txBody>
          </p:sp>
        </p:grpSp>
      </p:grpSp>
      <p:sp>
        <p:nvSpPr>
          <p:cNvPr id="168" name="矩形 167">
            <a:extLst>
              <a:ext uri="{FF2B5EF4-FFF2-40B4-BE49-F238E27FC236}">
                <a16:creationId xmlns:a16="http://schemas.microsoft.com/office/drawing/2014/main" id="{87B0AAF9-95DD-4903-BB59-427DBFBA44B7}"/>
              </a:ext>
            </a:extLst>
          </p:cNvPr>
          <p:cNvSpPr/>
          <p:nvPr/>
        </p:nvSpPr>
        <p:spPr>
          <a:xfrm>
            <a:off x="11548358" y="1692456"/>
            <a:ext cx="1162800" cy="614033"/>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21/4: AAL reported </a:t>
            </a:r>
            <a:r>
              <a:rPr lang="en-US" altLang="zh-CN" sz="1000" b="1" dirty="0">
                <a:solidFill>
                  <a:schemeClr val="tx1"/>
                </a:solidFill>
                <a:latin typeface="Calibri" panose="020F0502020204030204" pitchFamily="34" charset="0"/>
                <a:cs typeface="Calibri" panose="020F0502020204030204" pitchFamily="34" charset="0"/>
              </a:rPr>
              <a:t>a full-year net loss </a:t>
            </a:r>
            <a:r>
              <a:rPr lang="en-US" altLang="zh-CN" sz="1000" dirty="0">
                <a:solidFill>
                  <a:schemeClr val="tx1"/>
                </a:solidFill>
                <a:latin typeface="Calibri" panose="020F0502020204030204" pitchFamily="34" charset="0"/>
                <a:cs typeface="Calibri" panose="020F0502020204030204" pitchFamily="34" charset="0"/>
              </a:rPr>
              <a:t>of around 9 billion under COVID-19</a:t>
            </a:r>
          </a:p>
        </p:txBody>
      </p:sp>
      <p:cxnSp>
        <p:nvCxnSpPr>
          <p:cNvPr id="169" name="肘形连接符 21">
            <a:extLst>
              <a:ext uri="{FF2B5EF4-FFF2-40B4-BE49-F238E27FC236}">
                <a16:creationId xmlns:a16="http://schemas.microsoft.com/office/drawing/2014/main" id="{08BF6A61-BE2F-46C1-A7E5-CB939749F78B}"/>
              </a:ext>
            </a:extLst>
          </p:cNvPr>
          <p:cNvCxnSpPr>
            <a:cxnSpLocks/>
            <a:stCxn id="154" idx="2"/>
            <a:endCxn id="170" idx="6"/>
          </p:cNvCxnSpPr>
          <p:nvPr/>
        </p:nvCxnSpPr>
        <p:spPr>
          <a:xfrm rot="16200000" flipH="1">
            <a:off x="1748942" y="3017125"/>
            <a:ext cx="331351" cy="1145747"/>
          </a:xfrm>
          <a:prstGeom prst="bentConnector4">
            <a:avLst>
              <a:gd name="adj1" fmla="val 44568"/>
              <a:gd name="adj2" fmla="val 96051"/>
            </a:avLst>
          </a:prstGeom>
          <a:ln w="12700">
            <a:solidFill>
              <a:srgbClr val="C9DEF1">
                <a:alpha val="50000"/>
              </a:srgbClr>
            </a:solidFill>
          </a:ln>
        </p:spPr>
        <p:style>
          <a:lnRef idx="1">
            <a:schemeClr val="accent1"/>
          </a:lnRef>
          <a:fillRef idx="0">
            <a:schemeClr val="accent1"/>
          </a:fillRef>
          <a:effectRef idx="0">
            <a:schemeClr val="accent1"/>
          </a:effectRef>
          <a:fontRef idx="minor">
            <a:schemeClr val="tx1"/>
          </a:fontRef>
        </p:style>
      </p:cxnSp>
      <p:sp>
        <p:nvSpPr>
          <p:cNvPr id="170" name="椭圆 169">
            <a:extLst>
              <a:ext uri="{FF2B5EF4-FFF2-40B4-BE49-F238E27FC236}">
                <a16:creationId xmlns:a16="http://schemas.microsoft.com/office/drawing/2014/main" id="{BA4500E6-6BCF-433E-914B-C8E9CB8EEBCE}"/>
              </a:ext>
            </a:extLst>
          </p:cNvPr>
          <p:cNvSpPr>
            <a:spLocks noChangeAspect="1"/>
          </p:cNvSpPr>
          <p:nvPr/>
        </p:nvSpPr>
        <p:spPr>
          <a:xfrm>
            <a:off x="2415491" y="3719675"/>
            <a:ext cx="72000" cy="72000"/>
          </a:xfrm>
          <a:prstGeom prst="ellipse">
            <a:avLst/>
          </a:prstGeom>
          <a:solidFill>
            <a:srgbClr val="C9DEF1">
              <a:alpha val="40000"/>
            </a:srgbClr>
          </a:solidFill>
          <a:ln w="19050">
            <a:solidFill>
              <a:srgbClr val="C9DEF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71" name="椭圆 170">
            <a:extLst>
              <a:ext uri="{FF2B5EF4-FFF2-40B4-BE49-F238E27FC236}">
                <a16:creationId xmlns:a16="http://schemas.microsoft.com/office/drawing/2014/main" id="{F4E9496A-0860-4121-AE8D-0A84E2BF4DAA}"/>
              </a:ext>
            </a:extLst>
          </p:cNvPr>
          <p:cNvSpPr>
            <a:spLocks noChangeAspect="1"/>
          </p:cNvSpPr>
          <p:nvPr/>
        </p:nvSpPr>
        <p:spPr>
          <a:xfrm>
            <a:off x="4502296" y="3105437"/>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72" name="肘形连接符 21">
            <a:extLst>
              <a:ext uri="{FF2B5EF4-FFF2-40B4-BE49-F238E27FC236}">
                <a16:creationId xmlns:a16="http://schemas.microsoft.com/office/drawing/2014/main" id="{BF3D00FD-0F34-4624-8E6A-8D93A9E461FC}"/>
              </a:ext>
            </a:extLst>
          </p:cNvPr>
          <p:cNvCxnSpPr>
            <a:cxnSpLocks/>
            <a:stCxn id="86" idx="2"/>
            <a:endCxn id="171" idx="1"/>
          </p:cNvCxnSpPr>
          <p:nvPr/>
        </p:nvCxnSpPr>
        <p:spPr>
          <a:xfrm rot="16200000" flipH="1">
            <a:off x="3491925" y="2095066"/>
            <a:ext cx="219108" cy="1822722"/>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73" name="椭圆 172">
            <a:extLst>
              <a:ext uri="{FF2B5EF4-FFF2-40B4-BE49-F238E27FC236}">
                <a16:creationId xmlns:a16="http://schemas.microsoft.com/office/drawing/2014/main" id="{39B15402-2571-40A0-A3AB-A2FB7A83950B}"/>
              </a:ext>
            </a:extLst>
          </p:cNvPr>
          <p:cNvSpPr>
            <a:spLocks noChangeAspect="1"/>
          </p:cNvSpPr>
          <p:nvPr/>
        </p:nvSpPr>
        <p:spPr>
          <a:xfrm>
            <a:off x="5706023" y="2270489"/>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74" name="椭圆 173">
            <a:extLst>
              <a:ext uri="{FF2B5EF4-FFF2-40B4-BE49-F238E27FC236}">
                <a16:creationId xmlns:a16="http://schemas.microsoft.com/office/drawing/2014/main" id="{6174EC68-4BE9-42CB-ABA2-2209C060DF35}"/>
              </a:ext>
            </a:extLst>
          </p:cNvPr>
          <p:cNvSpPr>
            <a:spLocks noChangeAspect="1"/>
          </p:cNvSpPr>
          <p:nvPr/>
        </p:nvSpPr>
        <p:spPr>
          <a:xfrm>
            <a:off x="7002061" y="2783779"/>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75" name="椭圆 174">
            <a:extLst>
              <a:ext uri="{FF2B5EF4-FFF2-40B4-BE49-F238E27FC236}">
                <a16:creationId xmlns:a16="http://schemas.microsoft.com/office/drawing/2014/main" id="{5A7BA56A-E9D2-4865-AD5A-BD10C86F4894}"/>
              </a:ext>
            </a:extLst>
          </p:cNvPr>
          <p:cNvSpPr>
            <a:spLocks noChangeAspect="1"/>
          </p:cNvSpPr>
          <p:nvPr/>
        </p:nvSpPr>
        <p:spPr>
          <a:xfrm>
            <a:off x="8834900" y="2533746"/>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76" name="椭圆 175">
            <a:extLst>
              <a:ext uri="{FF2B5EF4-FFF2-40B4-BE49-F238E27FC236}">
                <a16:creationId xmlns:a16="http://schemas.microsoft.com/office/drawing/2014/main" id="{FC7AF35D-7818-4306-80E1-40922E59726A}"/>
              </a:ext>
            </a:extLst>
          </p:cNvPr>
          <p:cNvSpPr>
            <a:spLocks noChangeAspect="1"/>
          </p:cNvSpPr>
          <p:nvPr/>
        </p:nvSpPr>
        <p:spPr>
          <a:xfrm>
            <a:off x="9822729" y="2836086"/>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77" name="肘形连接符 21">
            <a:extLst>
              <a:ext uri="{FF2B5EF4-FFF2-40B4-BE49-F238E27FC236}">
                <a16:creationId xmlns:a16="http://schemas.microsoft.com/office/drawing/2014/main" id="{5E63C88C-900F-4770-A144-2895778272F8}"/>
              </a:ext>
            </a:extLst>
          </p:cNvPr>
          <p:cNvCxnSpPr>
            <a:cxnSpLocks/>
            <a:stCxn id="173" idx="4"/>
            <a:endCxn id="87" idx="0"/>
          </p:cNvCxnSpPr>
          <p:nvPr/>
        </p:nvCxnSpPr>
        <p:spPr>
          <a:xfrm rot="5400000">
            <a:off x="5477447" y="2575291"/>
            <a:ext cx="497378" cy="31775"/>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178" name="肘形连接符 21">
            <a:extLst>
              <a:ext uri="{FF2B5EF4-FFF2-40B4-BE49-F238E27FC236}">
                <a16:creationId xmlns:a16="http://schemas.microsoft.com/office/drawing/2014/main" id="{429DFDDE-8400-4775-9A63-AAD32F87DF00}"/>
              </a:ext>
            </a:extLst>
          </p:cNvPr>
          <p:cNvCxnSpPr>
            <a:cxnSpLocks/>
            <a:stCxn id="88" idx="2"/>
            <a:endCxn id="174" idx="0"/>
          </p:cNvCxnSpPr>
          <p:nvPr/>
        </p:nvCxnSpPr>
        <p:spPr>
          <a:xfrm rot="16200000" flipH="1">
            <a:off x="6754297" y="2500015"/>
            <a:ext cx="463032" cy="104495"/>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179" name="肘形连接符 21">
            <a:extLst>
              <a:ext uri="{FF2B5EF4-FFF2-40B4-BE49-F238E27FC236}">
                <a16:creationId xmlns:a16="http://schemas.microsoft.com/office/drawing/2014/main" id="{FD34264C-8900-4330-BF06-13D0BE6B6259}"/>
              </a:ext>
            </a:extLst>
          </p:cNvPr>
          <p:cNvCxnSpPr>
            <a:cxnSpLocks/>
            <a:stCxn id="102" idx="2"/>
            <a:endCxn id="175" idx="0"/>
          </p:cNvCxnSpPr>
          <p:nvPr/>
        </p:nvCxnSpPr>
        <p:spPr>
          <a:xfrm rot="16200000" flipH="1">
            <a:off x="8590026" y="2252871"/>
            <a:ext cx="413249" cy="148499"/>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180" name="肘形连接符 21">
            <a:extLst>
              <a:ext uri="{FF2B5EF4-FFF2-40B4-BE49-F238E27FC236}">
                <a16:creationId xmlns:a16="http://schemas.microsoft.com/office/drawing/2014/main" id="{BE038639-45C0-4528-A5A0-344AB683FF06}"/>
              </a:ext>
            </a:extLst>
          </p:cNvPr>
          <p:cNvCxnSpPr>
            <a:cxnSpLocks/>
            <a:stCxn id="103" idx="2"/>
            <a:endCxn id="176" idx="0"/>
          </p:cNvCxnSpPr>
          <p:nvPr/>
        </p:nvCxnSpPr>
        <p:spPr>
          <a:xfrm rot="5400000">
            <a:off x="9750108" y="2531834"/>
            <a:ext cx="412874" cy="195631"/>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81" name="椭圆 180">
            <a:extLst>
              <a:ext uri="{FF2B5EF4-FFF2-40B4-BE49-F238E27FC236}">
                <a16:creationId xmlns:a16="http://schemas.microsoft.com/office/drawing/2014/main" id="{A58D6A1F-AFA8-4DA6-9CDF-B63B805EF358}"/>
              </a:ext>
            </a:extLst>
          </p:cNvPr>
          <p:cNvSpPr>
            <a:spLocks noChangeAspect="1"/>
          </p:cNvSpPr>
          <p:nvPr/>
        </p:nvSpPr>
        <p:spPr>
          <a:xfrm>
            <a:off x="4983059" y="2558777"/>
            <a:ext cx="72000" cy="72000"/>
          </a:xfrm>
          <a:prstGeom prst="ellipse">
            <a:avLst/>
          </a:prstGeom>
          <a:solidFill>
            <a:schemeClr val="accent5">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82" name="肘形连接符 142">
            <a:extLst>
              <a:ext uri="{FF2B5EF4-FFF2-40B4-BE49-F238E27FC236}">
                <a16:creationId xmlns:a16="http://schemas.microsoft.com/office/drawing/2014/main" id="{1E7F8F9F-20E0-4D2E-823E-6D5DAB063266}"/>
              </a:ext>
            </a:extLst>
          </p:cNvPr>
          <p:cNvCxnSpPr>
            <a:cxnSpLocks/>
            <a:stCxn id="181" idx="3"/>
            <a:endCxn id="115" idx="0"/>
          </p:cNvCxnSpPr>
          <p:nvPr/>
        </p:nvCxnSpPr>
        <p:spPr>
          <a:xfrm rot="5400000">
            <a:off x="4268914" y="2800074"/>
            <a:ext cx="904530" cy="544849"/>
          </a:xfrm>
          <a:prstGeom prst="bentConnector3">
            <a:avLst>
              <a:gd name="adj1" fmla="val 72816"/>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183" name="椭圆 182">
            <a:extLst>
              <a:ext uri="{FF2B5EF4-FFF2-40B4-BE49-F238E27FC236}">
                <a16:creationId xmlns:a16="http://schemas.microsoft.com/office/drawing/2014/main" id="{6FBB4A50-B641-478A-9CC9-6A9810B64D76}"/>
              </a:ext>
            </a:extLst>
          </p:cNvPr>
          <p:cNvSpPr>
            <a:spLocks noChangeAspect="1"/>
          </p:cNvSpPr>
          <p:nvPr/>
        </p:nvSpPr>
        <p:spPr>
          <a:xfrm>
            <a:off x="6904068" y="2933167"/>
            <a:ext cx="72000" cy="72000"/>
          </a:xfrm>
          <a:prstGeom prst="ellipse">
            <a:avLst/>
          </a:prstGeom>
          <a:solidFill>
            <a:schemeClr val="accent5">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84" name="椭圆 183">
            <a:extLst>
              <a:ext uri="{FF2B5EF4-FFF2-40B4-BE49-F238E27FC236}">
                <a16:creationId xmlns:a16="http://schemas.microsoft.com/office/drawing/2014/main" id="{72674C40-2D4C-4F87-B3D9-F17674570790}"/>
              </a:ext>
            </a:extLst>
          </p:cNvPr>
          <p:cNvSpPr>
            <a:spLocks noChangeAspect="1"/>
          </p:cNvSpPr>
          <p:nvPr/>
        </p:nvSpPr>
        <p:spPr>
          <a:xfrm>
            <a:off x="8573557" y="2151502"/>
            <a:ext cx="72000" cy="72000"/>
          </a:xfrm>
          <a:prstGeom prst="ellipse">
            <a:avLst/>
          </a:prstGeom>
          <a:solidFill>
            <a:schemeClr val="accent5">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85" name="椭圆 184">
            <a:extLst>
              <a:ext uri="{FF2B5EF4-FFF2-40B4-BE49-F238E27FC236}">
                <a16:creationId xmlns:a16="http://schemas.microsoft.com/office/drawing/2014/main" id="{1A5F602D-1A68-4062-9052-8E83A5F69AF7}"/>
              </a:ext>
            </a:extLst>
          </p:cNvPr>
          <p:cNvSpPr>
            <a:spLocks noChangeAspect="1"/>
          </p:cNvSpPr>
          <p:nvPr/>
        </p:nvSpPr>
        <p:spPr>
          <a:xfrm>
            <a:off x="10290087" y="2950783"/>
            <a:ext cx="72000" cy="72000"/>
          </a:xfrm>
          <a:prstGeom prst="ellipse">
            <a:avLst/>
          </a:prstGeom>
          <a:solidFill>
            <a:schemeClr val="accent5">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86" name="椭圆 185">
            <a:extLst>
              <a:ext uri="{FF2B5EF4-FFF2-40B4-BE49-F238E27FC236}">
                <a16:creationId xmlns:a16="http://schemas.microsoft.com/office/drawing/2014/main" id="{62B991F7-1C52-42FF-8AF0-05E7EAE15798}"/>
              </a:ext>
            </a:extLst>
          </p:cNvPr>
          <p:cNvSpPr>
            <a:spLocks noChangeAspect="1"/>
          </p:cNvSpPr>
          <p:nvPr/>
        </p:nvSpPr>
        <p:spPr>
          <a:xfrm>
            <a:off x="11148924" y="3425643"/>
            <a:ext cx="72000" cy="72000"/>
          </a:xfrm>
          <a:prstGeom prst="ellipse">
            <a:avLst/>
          </a:prstGeom>
          <a:solidFill>
            <a:schemeClr val="accent5">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87" name="肘形连接符 142">
            <a:extLst>
              <a:ext uri="{FF2B5EF4-FFF2-40B4-BE49-F238E27FC236}">
                <a16:creationId xmlns:a16="http://schemas.microsoft.com/office/drawing/2014/main" id="{991323C5-D918-4AF4-BB06-41AEDB7539D7}"/>
              </a:ext>
            </a:extLst>
          </p:cNvPr>
          <p:cNvCxnSpPr>
            <a:cxnSpLocks/>
            <a:stCxn id="183" idx="6"/>
            <a:endCxn id="111" idx="0"/>
          </p:cNvCxnSpPr>
          <p:nvPr/>
        </p:nvCxnSpPr>
        <p:spPr>
          <a:xfrm>
            <a:off x="6976068" y="2969167"/>
            <a:ext cx="244357" cy="275479"/>
          </a:xfrm>
          <a:prstGeom prst="bentConnector2">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cxnSp>
        <p:nvCxnSpPr>
          <p:cNvPr id="189" name="肘形连接符 142">
            <a:extLst>
              <a:ext uri="{FF2B5EF4-FFF2-40B4-BE49-F238E27FC236}">
                <a16:creationId xmlns:a16="http://schemas.microsoft.com/office/drawing/2014/main" id="{0DD99508-0F94-410A-8ADE-81A0832DBEB2}"/>
              </a:ext>
            </a:extLst>
          </p:cNvPr>
          <p:cNvCxnSpPr>
            <a:cxnSpLocks/>
            <a:stCxn id="184" idx="3"/>
            <a:endCxn id="153" idx="0"/>
          </p:cNvCxnSpPr>
          <p:nvPr/>
        </p:nvCxnSpPr>
        <p:spPr>
          <a:xfrm rot="16200000" flipH="1">
            <a:off x="8324929" y="2472130"/>
            <a:ext cx="682026" cy="163682"/>
          </a:xfrm>
          <a:prstGeom prst="bentConnector3">
            <a:avLst>
              <a:gd name="adj1" fmla="val 50000"/>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cxnSp>
        <p:nvCxnSpPr>
          <p:cNvPr id="192" name="肘形连接符 142">
            <a:extLst>
              <a:ext uri="{FF2B5EF4-FFF2-40B4-BE49-F238E27FC236}">
                <a16:creationId xmlns:a16="http://schemas.microsoft.com/office/drawing/2014/main" id="{43B13368-8804-45DB-9611-C1F7D38CFB4A}"/>
              </a:ext>
            </a:extLst>
          </p:cNvPr>
          <p:cNvCxnSpPr>
            <a:cxnSpLocks/>
            <a:stCxn id="185" idx="4"/>
            <a:endCxn id="116" idx="2"/>
          </p:cNvCxnSpPr>
          <p:nvPr/>
        </p:nvCxnSpPr>
        <p:spPr>
          <a:xfrm rot="5400000" flipH="1" flipV="1">
            <a:off x="10603751" y="2743242"/>
            <a:ext cx="1877" cy="557206"/>
          </a:xfrm>
          <a:prstGeom prst="bentConnector3">
            <a:avLst>
              <a:gd name="adj1" fmla="val -12179009"/>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cxnSp>
        <p:nvCxnSpPr>
          <p:cNvPr id="195" name="肘形连接符 142">
            <a:extLst>
              <a:ext uri="{FF2B5EF4-FFF2-40B4-BE49-F238E27FC236}">
                <a16:creationId xmlns:a16="http://schemas.microsoft.com/office/drawing/2014/main" id="{7A85458F-CE19-41A1-A2AE-21533612BB4E}"/>
              </a:ext>
            </a:extLst>
          </p:cNvPr>
          <p:cNvCxnSpPr>
            <a:cxnSpLocks/>
            <a:stCxn id="186" idx="2"/>
            <a:endCxn id="151" idx="1"/>
          </p:cNvCxnSpPr>
          <p:nvPr/>
        </p:nvCxnSpPr>
        <p:spPr>
          <a:xfrm rot="10800000" flipH="1" flipV="1">
            <a:off x="11148924" y="3461643"/>
            <a:ext cx="24280" cy="291960"/>
          </a:xfrm>
          <a:prstGeom prst="bentConnector3">
            <a:avLst>
              <a:gd name="adj1" fmla="val -941516"/>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199" name="椭圆 198">
            <a:extLst>
              <a:ext uri="{FF2B5EF4-FFF2-40B4-BE49-F238E27FC236}">
                <a16:creationId xmlns:a16="http://schemas.microsoft.com/office/drawing/2014/main" id="{79AEE280-5F71-440C-B7CA-ACD64AE6F5ED}"/>
              </a:ext>
            </a:extLst>
          </p:cNvPr>
          <p:cNvSpPr>
            <a:spLocks noChangeAspect="1"/>
          </p:cNvSpPr>
          <p:nvPr/>
        </p:nvSpPr>
        <p:spPr>
          <a:xfrm>
            <a:off x="11576727" y="3160149"/>
            <a:ext cx="72000" cy="72000"/>
          </a:xfrm>
          <a:prstGeom prst="ellipse">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201" name="肘形连接符 120">
            <a:extLst>
              <a:ext uri="{FF2B5EF4-FFF2-40B4-BE49-F238E27FC236}">
                <a16:creationId xmlns:a16="http://schemas.microsoft.com/office/drawing/2014/main" id="{0A31558A-5FA9-418B-A2A6-F32221333298}"/>
              </a:ext>
            </a:extLst>
          </p:cNvPr>
          <p:cNvCxnSpPr>
            <a:cxnSpLocks/>
            <a:stCxn id="168" idx="2"/>
            <a:endCxn id="199" idx="0"/>
          </p:cNvCxnSpPr>
          <p:nvPr/>
        </p:nvCxnSpPr>
        <p:spPr>
          <a:xfrm rot="5400000">
            <a:off x="11444413" y="2474804"/>
            <a:ext cx="853660" cy="517031"/>
          </a:xfrm>
          <a:prstGeom prst="bentConnector3">
            <a:avLst>
              <a:gd name="adj1" fmla="val 50000"/>
            </a:avLst>
          </a:prstGeom>
          <a:ln w="12700">
            <a:solidFill>
              <a:schemeClr val="accent3">
                <a:alpha val="40000"/>
              </a:schemeClr>
            </a:solidFill>
          </a:ln>
        </p:spPr>
        <p:style>
          <a:lnRef idx="1">
            <a:schemeClr val="accent1"/>
          </a:lnRef>
          <a:fillRef idx="0">
            <a:schemeClr val="accent1"/>
          </a:fillRef>
          <a:effectRef idx="0">
            <a:schemeClr val="accent1"/>
          </a:effectRef>
          <a:fontRef idx="minor">
            <a:schemeClr val="tx1"/>
          </a:fontRef>
        </p:style>
      </p:cxnSp>
      <p:sp>
        <p:nvSpPr>
          <p:cNvPr id="202" name="TextBox 61">
            <a:extLst>
              <a:ext uri="{FF2B5EF4-FFF2-40B4-BE49-F238E27FC236}">
                <a16:creationId xmlns:a16="http://schemas.microsoft.com/office/drawing/2014/main" id="{606C9FE1-CEDA-422A-8EB2-0FFAADD60985}"/>
              </a:ext>
            </a:extLst>
          </p:cNvPr>
          <p:cNvSpPr txBox="1"/>
          <p:nvPr/>
        </p:nvSpPr>
        <p:spPr>
          <a:xfrm>
            <a:off x="312995" y="6905331"/>
            <a:ext cx="8149809" cy="244004"/>
          </a:xfrm>
          <a:prstGeom prst="rect">
            <a:avLst/>
          </a:prstGeom>
          <a:noFill/>
        </p:spPr>
        <p:txBody>
          <a:bodyPr wrap="square" lIns="44622" tIns="44622" rIns="44622" bIns="44622" rtlCol="0">
            <a:spAutoFit/>
          </a:bodyPr>
          <a:lstStyle/>
          <a:p>
            <a:pPr lvl="0">
              <a:defRPr/>
            </a:pPr>
            <a:r>
              <a:rPr lang="en-US" altLang="zh-CN" sz="1000" i="1" dirty="0">
                <a:solidFill>
                  <a:prstClr val="black"/>
                </a:solidFill>
                <a:latin typeface="Calibri" panose="020F0502020204030204" pitchFamily="34" charset="0"/>
                <a:cs typeface="Calibri" panose="020F0502020204030204" pitchFamily="34" charset="0"/>
              </a:rPr>
              <a:t>Source: Yahoo Finance; Financial Modelling Prep; Macrotrends; Desk research; CNN; AAL</a:t>
            </a:r>
            <a:endParaRPr lang="zh-CN" altLang="en-US" sz="1000" i="1" dirty="0">
              <a:solidFill>
                <a:prstClr val="black"/>
              </a:solidFill>
              <a:latin typeface="Calibri" panose="020F0502020204030204" pitchFamily="34" charset="0"/>
              <a:cs typeface="Calibri" panose="020F0502020204030204" pitchFamily="34" charset="0"/>
            </a:endParaRPr>
          </a:p>
        </p:txBody>
      </p:sp>
      <p:sp>
        <p:nvSpPr>
          <p:cNvPr id="104" name="矩形 103">
            <a:extLst>
              <a:ext uri="{FF2B5EF4-FFF2-40B4-BE49-F238E27FC236}">
                <a16:creationId xmlns:a16="http://schemas.microsoft.com/office/drawing/2014/main" id="{E861BC3E-0F39-4DFE-9D87-D88071B15290}"/>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latin typeface="Calibri" panose="020F0502020204030204" pitchFamily="34" charset="0"/>
              <a:cs typeface="Calibri" panose="020F0502020204030204" pitchFamily="34" charset="0"/>
            </a:endParaRPr>
          </a:p>
        </p:txBody>
      </p:sp>
      <p:sp>
        <p:nvSpPr>
          <p:cNvPr id="105" name="TextBox 61">
            <a:extLst>
              <a:ext uri="{FF2B5EF4-FFF2-40B4-BE49-F238E27FC236}">
                <a16:creationId xmlns:a16="http://schemas.microsoft.com/office/drawing/2014/main" id="{0693C028-C335-4FBD-B14B-540C9A2317C1}"/>
              </a:ext>
            </a:extLst>
          </p:cNvPr>
          <p:cNvSpPr txBox="1"/>
          <p:nvPr/>
        </p:nvSpPr>
        <p:spPr>
          <a:xfrm>
            <a:off x="6435716" y="6868809"/>
            <a:ext cx="5832484" cy="244004"/>
          </a:xfrm>
          <a:prstGeom prst="rect">
            <a:avLst/>
          </a:prstGeom>
          <a:noFill/>
        </p:spPr>
        <p:txBody>
          <a:bodyPr wrap="square" lIns="44622" tIns="44622" rIns="44622" bIns="44622" rtlCol="0">
            <a:spAutoFit/>
          </a:bodyPr>
          <a:lstStyle/>
          <a:p>
            <a:r>
              <a:rPr lang="en-US" altLang="zh-CN" sz="1000" i="1" dirty="0">
                <a:solidFill>
                  <a:prstClr val="black"/>
                </a:solidFill>
                <a:latin typeface="Calibri" panose="020F0502020204030204" pitchFamily="34" charset="0"/>
                <a:cs typeface="Calibri" panose="020F0502020204030204" pitchFamily="34" charset="0"/>
              </a:rPr>
              <a:t>Note: ratios of comparable companies are the medians of </a:t>
            </a:r>
            <a:r>
              <a:rPr lang="en-US" altLang="zh-CN" sz="1000" dirty="0">
                <a:effectLst/>
                <a:latin typeface="Calibri" panose="020F0502020204030204" pitchFamily="34" charset="0"/>
                <a:cs typeface="Calibri" panose="020F0502020204030204" pitchFamily="34" charset="0"/>
              </a:rPr>
              <a:t>LUV</a:t>
            </a:r>
            <a:r>
              <a:rPr lang="en-US" altLang="zh-CN" sz="1000" dirty="0">
                <a:latin typeface="Calibri" panose="020F0502020204030204" pitchFamily="34" charset="0"/>
                <a:cs typeface="Calibri" panose="020F0502020204030204" pitchFamily="34" charset="0"/>
              </a:rPr>
              <a:t>, </a:t>
            </a:r>
            <a:r>
              <a:rPr lang="en-US" altLang="zh-CN" sz="1000" dirty="0">
                <a:effectLst/>
                <a:latin typeface="Calibri" panose="020F0502020204030204" pitchFamily="34" charset="0"/>
                <a:cs typeface="Calibri" panose="020F0502020204030204" pitchFamily="34" charset="0"/>
              </a:rPr>
              <a:t>DAL</a:t>
            </a:r>
            <a:r>
              <a:rPr lang="en-US" altLang="zh-CN" sz="1000" dirty="0">
                <a:latin typeface="Calibri" panose="020F0502020204030204" pitchFamily="34" charset="0"/>
                <a:cs typeface="Calibri" panose="020F0502020204030204" pitchFamily="34" charset="0"/>
              </a:rPr>
              <a:t>, </a:t>
            </a:r>
            <a:r>
              <a:rPr lang="en-US" altLang="zh-CN" sz="1000" dirty="0">
                <a:effectLst/>
                <a:latin typeface="Calibri" panose="020F0502020204030204" pitchFamily="34" charset="0"/>
                <a:cs typeface="Calibri" panose="020F0502020204030204" pitchFamily="34" charset="0"/>
              </a:rPr>
              <a:t>UAL, ALK, JBLU, ULCC, ALGT, SAVE, SKYW</a:t>
            </a:r>
            <a:endParaRPr lang="zh-CN" altLang="en-US" sz="1000" i="1" dirty="0">
              <a:solidFill>
                <a:prstClr val="black"/>
              </a:solidFill>
              <a:latin typeface="Calibri" panose="020F0502020204030204" pitchFamily="34" charset="0"/>
              <a:cs typeface="Calibri" panose="020F0502020204030204" pitchFamily="34" charset="0"/>
            </a:endParaRPr>
          </a:p>
        </p:txBody>
      </p:sp>
      <p:sp>
        <p:nvSpPr>
          <p:cNvPr id="106" name="文本框 105">
            <a:extLst>
              <a:ext uri="{FF2B5EF4-FFF2-40B4-BE49-F238E27FC236}">
                <a16:creationId xmlns:a16="http://schemas.microsoft.com/office/drawing/2014/main" id="{641EA6B4-311B-FC42-97CF-F7F93F07AE6E}"/>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2</a:t>
            </a:r>
            <a:endParaRPr kumimoji="1" lang="zh-CN" altLang="en-US" sz="1000" dirty="0" err="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3669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ct 84" hidden="1"/>
          <p:cNvGraphicFramePr>
            <a:graphicFrameLocks noChangeAspect="1"/>
          </p:cNvGraphicFramePr>
          <p:nvPr>
            <p:custDataLst>
              <p:tags r:id="rId2"/>
            </p:custDataLst>
          </p:nvPr>
        </p:nvGraphicFramePr>
        <p:xfrm>
          <a:off x="1970" y="-863013"/>
          <a:ext cx="1967" cy="1967"/>
        </p:xfrm>
        <a:graphic>
          <a:graphicData uri="http://schemas.openxmlformats.org/presentationml/2006/ole">
            <mc:AlternateContent xmlns:mc="http://schemas.openxmlformats.org/markup-compatibility/2006">
              <mc:Choice xmlns:v="urn:schemas-microsoft-com:vml" Requires="v">
                <p:oleObj spid="_x0000_s413848" name="think-cell Slide" r:id="rId6" imgW="526" imgH="526" progId="TCLayout.ActiveDocument.1">
                  <p:embed/>
                </p:oleObj>
              </mc:Choice>
              <mc:Fallback>
                <p:oleObj name="think-cell Slide" r:id="rId6" imgW="526" imgH="526" progId="TCLayout.ActiveDocument.1">
                  <p:embed/>
                  <p:pic>
                    <p:nvPicPr>
                      <p:cNvPr id="85" name="Object 84" hidden="1"/>
                      <p:cNvPicPr/>
                      <p:nvPr/>
                    </p:nvPicPr>
                    <p:blipFill>
                      <a:blip r:embed="rId7"/>
                      <a:stretch>
                        <a:fillRect/>
                      </a:stretch>
                    </p:blipFill>
                    <p:spPr>
                      <a:xfrm>
                        <a:off x="1970" y="-863013"/>
                        <a:ext cx="1967" cy="1967"/>
                      </a:xfrm>
                      <a:prstGeom prst="rect">
                        <a:avLst/>
                      </a:prstGeom>
                    </p:spPr>
                  </p:pic>
                </p:oleObj>
              </mc:Fallback>
            </mc:AlternateContent>
          </a:graphicData>
        </a:graphic>
      </p:graphicFrame>
      <p:sp>
        <p:nvSpPr>
          <p:cNvPr id="72" name="Rectangle 71" hidden="1"/>
          <p:cNvSpPr/>
          <p:nvPr>
            <p:custDataLst>
              <p:tags r:id="rId3"/>
            </p:custDataLst>
          </p:nvPr>
        </p:nvSpPr>
        <p:spPr bwMode="auto">
          <a:xfrm>
            <a:off x="1" y="-864982"/>
            <a:ext cx="196771" cy="196771"/>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zh-CN" altLang="en-US" sz="1735" b="1">
              <a:solidFill>
                <a:prstClr val="black"/>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355600" y="334963"/>
            <a:ext cx="12126283" cy="900112"/>
          </a:xfrm>
        </p:spPr>
        <p:txBody>
          <a:bodyPr anchor="ctr"/>
          <a:lstStyle/>
          <a:p>
            <a:r>
              <a:rPr lang="en-US" altLang="zh-CN" sz="2800" dirty="0">
                <a:latin typeface="Calibri" panose="020F0502020204030204" pitchFamily="34" charset="0"/>
                <a:cs typeface="Calibri" panose="020F0502020204030204" pitchFamily="34" charset="0"/>
              </a:rPr>
              <a:t>DIS P</a:t>
            </a:r>
            <a:r>
              <a:rPr lang="en-US" altLang="zh-CN" sz="2800" dirty="0"/>
              <a:t>erforms Stronger than the Market Especially</a:t>
            </a:r>
            <a:r>
              <a:rPr lang="zh-CN" altLang="en-US" sz="2800" dirty="0"/>
              <a:t> </a:t>
            </a:r>
            <a:r>
              <a:rPr lang="en-US" altLang="zh-CN" sz="2800" dirty="0"/>
              <a:t>during the</a:t>
            </a:r>
            <a:r>
              <a:rPr lang="zh-CN" altLang="en-US" sz="2800" dirty="0"/>
              <a:t> </a:t>
            </a:r>
            <a:r>
              <a:rPr lang="en-US" altLang="zh-CN" sz="2800" dirty="0"/>
              <a:t>Pandemic</a:t>
            </a:r>
            <a:endParaRPr lang="zh-CN" altLang="en-US" sz="2800" dirty="0">
              <a:latin typeface="Calibri" panose="020F0502020204030204" pitchFamily="34" charset="0"/>
              <a:cs typeface="Calibri" panose="020F0502020204030204" pitchFamily="34" charset="0"/>
            </a:endParaRPr>
          </a:p>
        </p:txBody>
      </p:sp>
      <p:sp>
        <p:nvSpPr>
          <p:cNvPr id="7" name="TextBox 58">
            <a:extLst>
              <a:ext uri="{FF2B5EF4-FFF2-40B4-BE49-F238E27FC236}">
                <a16:creationId xmlns:a16="http://schemas.microsoft.com/office/drawing/2014/main" id="{057106DD-83B3-1D41-A622-04F44FD6892B}"/>
              </a:ext>
            </a:extLst>
          </p:cNvPr>
          <p:cNvSpPr txBox="1"/>
          <p:nvPr/>
        </p:nvSpPr>
        <p:spPr>
          <a:xfrm>
            <a:off x="359405" y="15951"/>
            <a:ext cx="8476645"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arket Research: The Walt Disney Co.</a:t>
            </a:r>
            <a:r>
              <a:rPr lang="zh-CN" altLang="en-US" sz="1600" b="1" dirty="0">
                <a:solidFill>
                  <a:prstClr val="black"/>
                </a:solidFill>
                <a:latin typeface="Calibri" panose="020F0502020204030204" pitchFamily="34" charset="0"/>
                <a:cs typeface="Calibri" panose="020F0502020204030204" pitchFamily="34" charset="0"/>
              </a:rPr>
              <a:t> </a:t>
            </a:r>
            <a:r>
              <a:rPr lang="en-US" altLang="zh-CN" sz="1600" b="1" dirty="0">
                <a:solidFill>
                  <a:prstClr val="black"/>
                </a:solidFill>
                <a:latin typeface="Calibri" panose="020F0502020204030204" pitchFamily="34" charset="0"/>
                <a:cs typeface="Calibri" panose="020F0502020204030204" pitchFamily="34" charset="0"/>
              </a:rPr>
              <a:t>(DIS)</a:t>
            </a:r>
            <a:endParaRPr lang="zh-CN" altLang="en-US" sz="1600" dirty="0">
              <a:solidFill>
                <a:srgbClr val="FFFFFF">
                  <a:lumMod val="65000"/>
                </a:srgbClr>
              </a:solidFill>
              <a:latin typeface="Calibri" panose="020F0502020204030204" pitchFamily="34" charset="0"/>
              <a:cs typeface="Calibri" panose="020F0502020204030204" pitchFamily="34" charset="0"/>
            </a:endParaRPr>
          </a:p>
        </p:txBody>
      </p:sp>
      <p:grpSp>
        <p:nvGrpSpPr>
          <p:cNvPr id="42" name="Group 3">
            <a:extLst>
              <a:ext uri="{FF2B5EF4-FFF2-40B4-BE49-F238E27FC236}">
                <a16:creationId xmlns:a16="http://schemas.microsoft.com/office/drawing/2014/main" id="{9390FFD3-FBF2-BA49-A4D1-CBFA7E61C4E9}"/>
              </a:ext>
            </a:extLst>
          </p:cNvPr>
          <p:cNvGrpSpPr/>
          <p:nvPr/>
        </p:nvGrpSpPr>
        <p:grpSpPr>
          <a:xfrm>
            <a:off x="354046" y="1346690"/>
            <a:ext cx="5976854" cy="416294"/>
            <a:chOff x="260073" y="1362432"/>
            <a:chExt cx="5976854" cy="416294"/>
          </a:xfrm>
        </p:grpSpPr>
        <p:sp>
          <p:nvSpPr>
            <p:cNvPr id="43" name="Rectangle 4">
              <a:extLst>
                <a:ext uri="{FF2B5EF4-FFF2-40B4-BE49-F238E27FC236}">
                  <a16:creationId xmlns:a16="http://schemas.microsoft.com/office/drawing/2014/main" id="{494E34C4-903E-814E-AFD8-6B6FFA1A8653}"/>
                </a:ext>
              </a:extLst>
            </p:cNvPr>
            <p:cNvSpPr/>
            <p:nvPr/>
          </p:nvSpPr>
          <p:spPr>
            <a:xfrm>
              <a:off x="624840" y="1362432"/>
              <a:ext cx="561208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44" name="Straight Connector 6">
              <a:extLst>
                <a:ext uri="{FF2B5EF4-FFF2-40B4-BE49-F238E27FC236}">
                  <a16:creationId xmlns:a16="http://schemas.microsoft.com/office/drawing/2014/main" id="{0236ADBC-3F17-6540-A704-72A07C00ABB3}"/>
                </a:ext>
              </a:extLst>
            </p:cNvPr>
            <p:cNvCxnSpPr>
              <a:cxnSpLocks/>
            </p:cNvCxnSpPr>
            <p:nvPr/>
          </p:nvCxnSpPr>
          <p:spPr>
            <a:xfrm>
              <a:off x="260073" y="1778726"/>
              <a:ext cx="595785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Rectangle 34">
            <a:extLst>
              <a:ext uri="{FF2B5EF4-FFF2-40B4-BE49-F238E27FC236}">
                <a16:creationId xmlns:a16="http://schemas.microsoft.com/office/drawing/2014/main" id="{19FE3757-5043-3F42-813D-80EC8E5B5021}"/>
              </a:ext>
            </a:extLst>
          </p:cNvPr>
          <p:cNvSpPr/>
          <p:nvPr/>
        </p:nvSpPr>
        <p:spPr>
          <a:xfrm>
            <a:off x="335047" y="1419431"/>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1</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51" name="Group 3">
            <a:extLst>
              <a:ext uri="{FF2B5EF4-FFF2-40B4-BE49-F238E27FC236}">
                <a16:creationId xmlns:a16="http://schemas.microsoft.com/office/drawing/2014/main" id="{F8165DE1-7D2C-3C4B-8AE3-B0397F953761}"/>
              </a:ext>
            </a:extLst>
          </p:cNvPr>
          <p:cNvGrpSpPr/>
          <p:nvPr/>
        </p:nvGrpSpPr>
        <p:grpSpPr>
          <a:xfrm>
            <a:off x="6440437" y="4285421"/>
            <a:ext cx="6098976" cy="393072"/>
            <a:chOff x="260073" y="1397601"/>
            <a:chExt cx="6098976" cy="393072"/>
          </a:xfrm>
        </p:grpSpPr>
        <p:sp>
          <p:nvSpPr>
            <p:cNvPr id="52" name="Rectangle 4">
              <a:extLst>
                <a:ext uri="{FF2B5EF4-FFF2-40B4-BE49-F238E27FC236}">
                  <a16:creationId xmlns:a16="http://schemas.microsoft.com/office/drawing/2014/main" id="{91471235-2BAE-D145-923D-274833FA8495}"/>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black"/>
                  </a:solidFill>
                  <a:latin typeface="Calibri" panose="020F0502020204030204" pitchFamily="34" charset="0"/>
                  <a:cs typeface="Calibri" panose="020F0502020204030204" pitchFamily="34" charset="0"/>
                </a:rPr>
                <a:t>Compared to industry, DIS has a relatively high intrinsic value </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56" name="Straight Connector 6">
              <a:extLst>
                <a:ext uri="{FF2B5EF4-FFF2-40B4-BE49-F238E27FC236}">
                  <a16:creationId xmlns:a16="http://schemas.microsoft.com/office/drawing/2014/main" id="{84CF8DD7-DBE3-6942-BD72-A466894D1A77}"/>
                </a:ext>
              </a:extLst>
            </p:cNvPr>
            <p:cNvCxnSpPr>
              <a:cxnSpLocks/>
            </p:cNvCxnSpPr>
            <p:nvPr/>
          </p:nvCxnSpPr>
          <p:spPr>
            <a:xfrm>
              <a:off x="260073" y="1778726"/>
              <a:ext cx="6098976" cy="1194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ectangle 34">
            <a:extLst>
              <a:ext uri="{FF2B5EF4-FFF2-40B4-BE49-F238E27FC236}">
                <a16:creationId xmlns:a16="http://schemas.microsoft.com/office/drawing/2014/main" id="{69347EEF-D644-5E40-8058-26F4387CAADD}"/>
              </a:ext>
            </a:extLst>
          </p:cNvPr>
          <p:cNvSpPr/>
          <p:nvPr/>
        </p:nvSpPr>
        <p:spPr>
          <a:xfrm>
            <a:off x="6421438" y="4322993"/>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3</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68" name="文本框 67">
            <a:extLst>
              <a:ext uri="{FF2B5EF4-FFF2-40B4-BE49-F238E27FC236}">
                <a16:creationId xmlns:a16="http://schemas.microsoft.com/office/drawing/2014/main" id="{871983E9-00CC-3544-8A77-3737393DCCF4}"/>
              </a:ext>
            </a:extLst>
          </p:cNvPr>
          <p:cNvSpPr txBox="1"/>
          <p:nvPr/>
        </p:nvSpPr>
        <p:spPr>
          <a:xfrm>
            <a:off x="7476564" y="4674457"/>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P/B Ratio</a:t>
            </a:r>
            <a:endParaRPr kumimoji="1" lang="zh-CN" altLang="en-US" sz="1200" dirty="0" err="1">
              <a:latin typeface="Calibri" panose="020F0502020204030204" pitchFamily="34" charset="0"/>
              <a:cs typeface="Calibri" panose="020F0502020204030204" pitchFamily="34" charset="0"/>
            </a:endParaRPr>
          </a:p>
        </p:txBody>
      </p:sp>
      <p:sp>
        <p:nvSpPr>
          <p:cNvPr id="69" name="文本框 68">
            <a:extLst>
              <a:ext uri="{FF2B5EF4-FFF2-40B4-BE49-F238E27FC236}">
                <a16:creationId xmlns:a16="http://schemas.microsoft.com/office/drawing/2014/main" id="{D44F7746-A684-7344-9D64-77080D45259D}"/>
              </a:ext>
            </a:extLst>
          </p:cNvPr>
          <p:cNvSpPr txBox="1"/>
          <p:nvPr/>
        </p:nvSpPr>
        <p:spPr>
          <a:xfrm>
            <a:off x="10369397" y="4681564"/>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P/E Ratio</a:t>
            </a:r>
            <a:endParaRPr kumimoji="1" lang="zh-CN" altLang="en-US" sz="1200" dirty="0" err="1">
              <a:latin typeface="Calibri" panose="020F0502020204030204" pitchFamily="34" charset="0"/>
              <a:cs typeface="Calibri" panose="020F0502020204030204" pitchFamily="34" charset="0"/>
            </a:endParaRPr>
          </a:p>
        </p:txBody>
      </p:sp>
      <p:grpSp>
        <p:nvGrpSpPr>
          <p:cNvPr id="70" name="组合 69">
            <a:extLst>
              <a:ext uri="{FF2B5EF4-FFF2-40B4-BE49-F238E27FC236}">
                <a16:creationId xmlns:a16="http://schemas.microsoft.com/office/drawing/2014/main" id="{1FDBDB69-EE3F-6442-8872-DDCD49ECDB5A}"/>
              </a:ext>
            </a:extLst>
          </p:cNvPr>
          <p:cNvGrpSpPr/>
          <p:nvPr/>
        </p:nvGrpSpPr>
        <p:grpSpPr>
          <a:xfrm>
            <a:off x="8671300" y="4848426"/>
            <a:ext cx="782592" cy="211203"/>
            <a:chOff x="4443882" y="2772070"/>
            <a:chExt cx="782592" cy="211203"/>
          </a:xfrm>
        </p:grpSpPr>
        <p:cxnSp>
          <p:nvCxnSpPr>
            <p:cNvPr id="71" name="直线连接符 70">
              <a:extLst>
                <a:ext uri="{FF2B5EF4-FFF2-40B4-BE49-F238E27FC236}">
                  <a16:creationId xmlns:a16="http://schemas.microsoft.com/office/drawing/2014/main" id="{5FF4A23F-4D65-8D48-A208-5F6DFBA3083F}"/>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3" name="文本框 72">
              <a:extLst>
                <a:ext uri="{FF2B5EF4-FFF2-40B4-BE49-F238E27FC236}">
                  <a16:creationId xmlns:a16="http://schemas.microsoft.com/office/drawing/2014/main" id="{D9EAEAF1-9627-E04A-92F3-AAD4FB981A89}"/>
                </a:ext>
              </a:extLst>
            </p:cNvPr>
            <p:cNvSpPr txBox="1"/>
            <p:nvPr/>
          </p:nvSpPr>
          <p:spPr>
            <a:xfrm>
              <a:off x="4742379" y="2772070"/>
              <a:ext cx="484095"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DIS</a:t>
              </a:r>
              <a:endParaRPr kumimoji="1" lang="zh-CN" altLang="en-US" sz="900" dirty="0" err="1">
                <a:latin typeface="Calibri" panose="020F0502020204030204" pitchFamily="34" charset="0"/>
                <a:cs typeface="Calibri" panose="020F0502020204030204" pitchFamily="34" charset="0"/>
              </a:endParaRPr>
            </a:p>
          </p:txBody>
        </p:sp>
      </p:grpSp>
      <p:grpSp>
        <p:nvGrpSpPr>
          <p:cNvPr id="74" name="组合 73">
            <a:extLst>
              <a:ext uri="{FF2B5EF4-FFF2-40B4-BE49-F238E27FC236}">
                <a16:creationId xmlns:a16="http://schemas.microsoft.com/office/drawing/2014/main" id="{E46645EA-0241-A74C-8FC1-059CDF3A73BB}"/>
              </a:ext>
            </a:extLst>
          </p:cNvPr>
          <p:cNvGrpSpPr/>
          <p:nvPr/>
        </p:nvGrpSpPr>
        <p:grpSpPr>
          <a:xfrm>
            <a:off x="9724259" y="4848426"/>
            <a:ext cx="1919781" cy="211203"/>
            <a:chOff x="4443882" y="2772070"/>
            <a:chExt cx="1919781" cy="211203"/>
          </a:xfrm>
        </p:grpSpPr>
        <p:cxnSp>
          <p:nvCxnSpPr>
            <p:cNvPr id="75" name="直线连接符 74">
              <a:extLst>
                <a:ext uri="{FF2B5EF4-FFF2-40B4-BE49-F238E27FC236}">
                  <a16:creationId xmlns:a16="http://schemas.microsoft.com/office/drawing/2014/main" id="{4754A27F-F513-A44C-B987-88C8AC0115B1}"/>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6" name="文本框 75">
              <a:extLst>
                <a:ext uri="{FF2B5EF4-FFF2-40B4-BE49-F238E27FC236}">
                  <a16:creationId xmlns:a16="http://schemas.microsoft.com/office/drawing/2014/main" id="{9884E980-E142-C44C-9EBC-D07AF4964293}"/>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Comparable Companies</a:t>
              </a:r>
              <a:endParaRPr kumimoji="1" lang="zh-CN" altLang="en-US" sz="900" dirty="0" err="1">
                <a:latin typeface="Calibri" panose="020F0502020204030204" pitchFamily="34" charset="0"/>
                <a:cs typeface="Calibri" panose="020F0502020204030204" pitchFamily="34" charset="0"/>
              </a:endParaRPr>
            </a:p>
          </p:txBody>
        </p:sp>
      </p:grpSp>
      <p:sp>
        <p:nvSpPr>
          <p:cNvPr id="48" name="圆角矩形 47">
            <a:extLst>
              <a:ext uri="{FF2B5EF4-FFF2-40B4-BE49-F238E27FC236}">
                <a16:creationId xmlns:a16="http://schemas.microsoft.com/office/drawing/2014/main" id="{DB9E61D0-0527-8348-9E28-D87E363D86A0}"/>
              </a:ext>
            </a:extLst>
          </p:cNvPr>
          <p:cNvSpPr/>
          <p:nvPr/>
        </p:nvSpPr>
        <p:spPr>
          <a:xfrm>
            <a:off x="6516635" y="6356713"/>
            <a:ext cx="5959020" cy="534819"/>
          </a:xfrm>
          <a:prstGeom prst="roundRect">
            <a:avLst>
              <a:gd name="adj" fmla="val 12772"/>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DIS has a relatively low P/B and P/E ratio which shows great potential. After the COVID-19 (2020), DIS performs much better than the industry average value. The reason behind is the</a:t>
            </a:r>
            <a:r>
              <a:rPr kumimoji="1" lang="zh-CN" altLang="en-US" sz="1200" dirty="0">
                <a:solidFill>
                  <a:schemeClr val="tx1"/>
                </a:solidFill>
                <a:latin typeface="Calibri" panose="020F0502020204030204" pitchFamily="34" charset="0"/>
                <a:cs typeface="Calibri" panose="020F0502020204030204" pitchFamily="34" charset="0"/>
              </a:rPr>
              <a:t> </a:t>
            </a:r>
            <a:r>
              <a:rPr kumimoji="1" lang="en-US" altLang="zh-CN" sz="1200" dirty="0">
                <a:solidFill>
                  <a:schemeClr val="tx1"/>
                </a:solidFill>
                <a:latin typeface="Calibri" panose="020F0502020204030204" pitchFamily="34" charset="0"/>
                <a:cs typeface="Calibri" panose="020F0502020204030204" pitchFamily="34" charset="0"/>
              </a:rPr>
              <a:t>streaming business has</a:t>
            </a:r>
            <a:r>
              <a:rPr kumimoji="1" lang="zh-CN" altLang="en-US" sz="1200" dirty="0">
                <a:solidFill>
                  <a:schemeClr val="tx1"/>
                </a:solidFill>
                <a:latin typeface="Calibri" panose="020F0502020204030204" pitchFamily="34" charset="0"/>
                <a:cs typeface="Calibri" panose="020F0502020204030204" pitchFamily="34" charset="0"/>
              </a:rPr>
              <a:t> </a:t>
            </a:r>
            <a:r>
              <a:rPr kumimoji="1" lang="en-US" altLang="zh-CN" sz="1200" dirty="0">
                <a:solidFill>
                  <a:schemeClr val="tx1"/>
                </a:solidFill>
                <a:latin typeface="Calibri" panose="020F0502020204030204" pitchFamily="34" charset="0"/>
                <a:cs typeface="Calibri" panose="020F0502020204030204" pitchFamily="34" charset="0"/>
              </a:rPr>
              <a:t>developed</a:t>
            </a:r>
            <a:r>
              <a:rPr kumimoji="1" lang="zh-CN" altLang="en-US" sz="1200" dirty="0">
                <a:solidFill>
                  <a:schemeClr val="tx1"/>
                </a:solidFill>
                <a:latin typeface="Calibri" panose="020F0502020204030204" pitchFamily="34" charset="0"/>
                <a:cs typeface="Calibri" panose="020F0502020204030204" pitchFamily="34" charset="0"/>
              </a:rPr>
              <a:t> </a:t>
            </a:r>
            <a:r>
              <a:rPr kumimoji="1" lang="en-US" altLang="zh-CN" sz="1200" dirty="0">
                <a:solidFill>
                  <a:schemeClr val="tx1"/>
                </a:solidFill>
                <a:latin typeface="Calibri" panose="020F0502020204030204" pitchFamily="34" charset="0"/>
                <a:cs typeface="Calibri" panose="020F0502020204030204" pitchFamily="34" charset="0"/>
              </a:rPr>
              <a:t>faster</a:t>
            </a:r>
            <a:r>
              <a:rPr kumimoji="1" lang="zh-CN" altLang="en-US" sz="1200" dirty="0">
                <a:solidFill>
                  <a:schemeClr val="tx1"/>
                </a:solidFill>
                <a:latin typeface="Calibri" panose="020F0502020204030204" pitchFamily="34" charset="0"/>
                <a:cs typeface="Calibri" panose="020F0502020204030204" pitchFamily="34" charset="0"/>
              </a:rPr>
              <a:t> </a:t>
            </a:r>
            <a:r>
              <a:rPr kumimoji="1" lang="en-US" altLang="zh-CN" sz="1200" dirty="0">
                <a:solidFill>
                  <a:schemeClr val="tx1"/>
                </a:solidFill>
                <a:latin typeface="Calibri" panose="020F0502020204030204" pitchFamily="34" charset="0"/>
                <a:cs typeface="Calibri" panose="020F0502020204030204" pitchFamily="34" charset="0"/>
              </a:rPr>
              <a:t>than expected amid the pandemic</a:t>
            </a:r>
          </a:p>
        </p:txBody>
      </p:sp>
      <p:grpSp>
        <p:nvGrpSpPr>
          <p:cNvPr id="78" name="Group 3">
            <a:extLst>
              <a:ext uri="{FF2B5EF4-FFF2-40B4-BE49-F238E27FC236}">
                <a16:creationId xmlns:a16="http://schemas.microsoft.com/office/drawing/2014/main" id="{8BD9ADA1-95DC-3447-AD31-2481AA1EF876}"/>
              </a:ext>
            </a:extLst>
          </p:cNvPr>
          <p:cNvGrpSpPr/>
          <p:nvPr/>
        </p:nvGrpSpPr>
        <p:grpSpPr>
          <a:xfrm>
            <a:off x="352880" y="4288246"/>
            <a:ext cx="6098976" cy="392179"/>
            <a:chOff x="260073" y="1397601"/>
            <a:chExt cx="6098976" cy="392179"/>
          </a:xfrm>
        </p:grpSpPr>
        <p:sp>
          <p:nvSpPr>
            <p:cNvPr id="79" name="Rectangle 4">
              <a:extLst>
                <a:ext uri="{FF2B5EF4-FFF2-40B4-BE49-F238E27FC236}">
                  <a16:creationId xmlns:a16="http://schemas.microsoft.com/office/drawing/2014/main" id="{57D85C80-2ED3-7448-A195-57A5D3833523}"/>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DIS has been</a:t>
              </a:r>
              <a:r>
                <a:rPr lang="en-US" altLang="zh-CN" sz="1600" b="1" dirty="0">
                  <a:solidFill>
                    <a:prstClr val="black"/>
                  </a:solidFill>
                  <a:latin typeface="Calibri" panose="020F0502020204030204" pitchFamily="34" charset="0"/>
                  <a:cs typeface="Calibri" panose="020F0502020204030204" pitchFamily="34" charset="0"/>
                </a:rPr>
                <a:t> </a:t>
              </a: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under-valued since 2020 </a:t>
              </a:r>
            </a:p>
          </p:txBody>
        </p:sp>
        <p:cxnSp>
          <p:nvCxnSpPr>
            <p:cNvPr id="80" name="Straight Connector 6">
              <a:extLst>
                <a:ext uri="{FF2B5EF4-FFF2-40B4-BE49-F238E27FC236}">
                  <a16:creationId xmlns:a16="http://schemas.microsoft.com/office/drawing/2014/main" id="{B9B3568C-C476-134A-BB1A-80AE8788254B}"/>
                </a:ext>
              </a:extLst>
            </p:cNvPr>
            <p:cNvCxnSpPr>
              <a:cxnSpLocks/>
            </p:cNvCxnSpPr>
            <p:nvPr/>
          </p:nvCxnSpPr>
          <p:spPr>
            <a:xfrm>
              <a:off x="260073" y="1778726"/>
              <a:ext cx="594687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4" name="Rectangle 34">
            <a:extLst>
              <a:ext uri="{FF2B5EF4-FFF2-40B4-BE49-F238E27FC236}">
                <a16:creationId xmlns:a16="http://schemas.microsoft.com/office/drawing/2014/main" id="{BF8DA7B8-3D9C-7B46-9312-15AD13550593}"/>
              </a:ext>
            </a:extLst>
          </p:cNvPr>
          <p:cNvSpPr/>
          <p:nvPr/>
        </p:nvSpPr>
        <p:spPr>
          <a:xfrm>
            <a:off x="333881" y="4325818"/>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90" name="文本框 89">
            <a:extLst>
              <a:ext uri="{FF2B5EF4-FFF2-40B4-BE49-F238E27FC236}">
                <a16:creationId xmlns:a16="http://schemas.microsoft.com/office/drawing/2014/main" id="{E75AFA44-9E02-2943-936A-A12070053712}"/>
              </a:ext>
            </a:extLst>
          </p:cNvPr>
          <p:cNvSpPr txBox="1"/>
          <p:nvPr/>
        </p:nvSpPr>
        <p:spPr>
          <a:xfrm>
            <a:off x="2851884" y="4704437"/>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DCF Valuation</a:t>
            </a:r>
            <a:endParaRPr kumimoji="1" lang="zh-CN" altLang="en-US" sz="1200" dirty="0" err="1">
              <a:latin typeface="Calibri" panose="020F0502020204030204" pitchFamily="34" charset="0"/>
              <a:cs typeface="Calibri" panose="020F0502020204030204" pitchFamily="34" charset="0"/>
            </a:endParaRPr>
          </a:p>
        </p:txBody>
      </p:sp>
      <p:grpSp>
        <p:nvGrpSpPr>
          <p:cNvPr id="91" name="组合 90">
            <a:extLst>
              <a:ext uri="{FF2B5EF4-FFF2-40B4-BE49-F238E27FC236}">
                <a16:creationId xmlns:a16="http://schemas.microsoft.com/office/drawing/2014/main" id="{DE8F2E6B-9374-6941-B27D-C81AD8397346}"/>
              </a:ext>
            </a:extLst>
          </p:cNvPr>
          <p:cNvGrpSpPr/>
          <p:nvPr/>
        </p:nvGrpSpPr>
        <p:grpSpPr>
          <a:xfrm>
            <a:off x="1993613" y="4863415"/>
            <a:ext cx="1007608" cy="211203"/>
            <a:chOff x="4443882" y="2772069"/>
            <a:chExt cx="1007608" cy="211203"/>
          </a:xfrm>
        </p:grpSpPr>
        <p:cxnSp>
          <p:nvCxnSpPr>
            <p:cNvPr id="92" name="直线连接符 91">
              <a:extLst>
                <a:ext uri="{FF2B5EF4-FFF2-40B4-BE49-F238E27FC236}">
                  <a16:creationId xmlns:a16="http://schemas.microsoft.com/office/drawing/2014/main" id="{83A37892-9884-2643-A2CF-BEB92228EC0F}"/>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42F39632-720F-C647-84B6-5A5974838232}"/>
                </a:ext>
              </a:extLst>
            </p:cNvPr>
            <p:cNvSpPr txBox="1"/>
            <p:nvPr/>
          </p:nvSpPr>
          <p:spPr>
            <a:xfrm>
              <a:off x="4742379" y="2772069"/>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hare Price</a:t>
              </a:r>
              <a:endParaRPr kumimoji="1" lang="zh-CN" altLang="en-US" sz="900" dirty="0" err="1">
                <a:latin typeface="Calibri" panose="020F0502020204030204" pitchFamily="34" charset="0"/>
                <a:cs typeface="Calibri" panose="020F0502020204030204" pitchFamily="34" charset="0"/>
              </a:endParaRPr>
            </a:p>
          </p:txBody>
        </p:sp>
      </p:grpSp>
      <p:grpSp>
        <p:nvGrpSpPr>
          <p:cNvPr id="94" name="组合 93">
            <a:extLst>
              <a:ext uri="{FF2B5EF4-FFF2-40B4-BE49-F238E27FC236}">
                <a16:creationId xmlns:a16="http://schemas.microsoft.com/office/drawing/2014/main" id="{E251B809-3B1D-2E41-8B3E-A5FF8DD43832}"/>
              </a:ext>
            </a:extLst>
          </p:cNvPr>
          <p:cNvGrpSpPr/>
          <p:nvPr/>
        </p:nvGrpSpPr>
        <p:grpSpPr>
          <a:xfrm>
            <a:off x="4025922" y="4878946"/>
            <a:ext cx="1919781" cy="211203"/>
            <a:chOff x="4443882" y="2772070"/>
            <a:chExt cx="1919781" cy="211203"/>
          </a:xfrm>
        </p:grpSpPr>
        <p:cxnSp>
          <p:nvCxnSpPr>
            <p:cNvPr id="95" name="直线连接符 94">
              <a:extLst>
                <a:ext uri="{FF2B5EF4-FFF2-40B4-BE49-F238E27FC236}">
                  <a16:creationId xmlns:a16="http://schemas.microsoft.com/office/drawing/2014/main" id="{E107D111-C5ED-F544-BA7B-EC7630FEF49F}"/>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AD6BD074-5112-FD46-BC14-B9ACE99B8E2F}"/>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DCF</a:t>
              </a:r>
              <a:endParaRPr kumimoji="1" lang="zh-CN" altLang="en-US" sz="900" dirty="0" err="1">
                <a:latin typeface="Calibri" panose="020F0502020204030204" pitchFamily="34" charset="0"/>
                <a:cs typeface="Calibri" panose="020F0502020204030204" pitchFamily="34" charset="0"/>
              </a:endParaRPr>
            </a:p>
          </p:txBody>
        </p:sp>
      </p:grpSp>
      <p:sp>
        <p:nvSpPr>
          <p:cNvPr id="97" name="文本框 96">
            <a:extLst>
              <a:ext uri="{FF2B5EF4-FFF2-40B4-BE49-F238E27FC236}">
                <a16:creationId xmlns:a16="http://schemas.microsoft.com/office/drawing/2014/main" id="{CA266D8E-7D5F-AA40-867C-E6C70C4DC649}"/>
              </a:ext>
            </a:extLst>
          </p:cNvPr>
          <p:cNvSpPr txBox="1"/>
          <p:nvPr/>
        </p:nvSpPr>
        <p:spPr>
          <a:xfrm>
            <a:off x="329796" y="4863415"/>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hare Price ($)</a:t>
            </a:r>
            <a:endParaRPr kumimoji="1" lang="zh-CN" altLang="en-US" sz="900" dirty="0" err="1">
              <a:latin typeface="Calibri" panose="020F0502020204030204" pitchFamily="34" charset="0"/>
              <a:cs typeface="Calibri" panose="020F0502020204030204" pitchFamily="34" charset="0"/>
            </a:endParaRPr>
          </a:p>
        </p:txBody>
      </p:sp>
      <p:sp>
        <p:nvSpPr>
          <p:cNvPr id="98" name="文本框 97">
            <a:extLst>
              <a:ext uri="{FF2B5EF4-FFF2-40B4-BE49-F238E27FC236}">
                <a16:creationId xmlns:a16="http://schemas.microsoft.com/office/drawing/2014/main" id="{2804322F-4063-6644-BD96-569BC4A70848}"/>
              </a:ext>
            </a:extLst>
          </p:cNvPr>
          <p:cNvSpPr txBox="1"/>
          <p:nvPr/>
        </p:nvSpPr>
        <p:spPr>
          <a:xfrm>
            <a:off x="6431780" y="4779496"/>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P/B Ratio (%)</a:t>
            </a:r>
            <a:endParaRPr kumimoji="1" lang="zh-CN" altLang="en-US" sz="900" dirty="0" err="1">
              <a:latin typeface="Calibri" panose="020F0502020204030204" pitchFamily="34" charset="0"/>
              <a:cs typeface="Calibri" panose="020F0502020204030204" pitchFamily="34" charset="0"/>
            </a:endParaRPr>
          </a:p>
        </p:txBody>
      </p:sp>
      <p:sp>
        <p:nvSpPr>
          <p:cNvPr id="99" name="文本框 98">
            <a:extLst>
              <a:ext uri="{FF2B5EF4-FFF2-40B4-BE49-F238E27FC236}">
                <a16:creationId xmlns:a16="http://schemas.microsoft.com/office/drawing/2014/main" id="{E8453361-AD3C-8A40-A83B-C1E8202D6D62}"/>
              </a:ext>
            </a:extLst>
          </p:cNvPr>
          <p:cNvSpPr txBox="1"/>
          <p:nvPr/>
        </p:nvSpPr>
        <p:spPr>
          <a:xfrm>
            <a:off x="9422529" y="4810248"/>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t>
            </a:r>
            <a:endParaRPr kumimoji="1" lang="zh-CN" altLang="en-US" sz="900" dirty="0" err="1">
              <a:latin typeface="Calibri" panose="020F0502020204030204" pitchFamily="34" charset="0"/>
              <a:cs typeface="Calibri" panose="020F0502020204030204" pitchFamily="34" charset="0"/>
            </a:endParaRPr>
          </a:p>
        </p:txBody>
      </p:sp>
      <p:graphicFrame>
        <p:nvGraphicFramePr>
          <p:cNvPr id="100" name="图表 99">
            <a:extLst>
              <a:ext uri="{FF2B5EF4-FFF2-40B4-BE49-F238E27FC236}">
                <a16:creationId xmlns:a16="http://schemas.microsoft.com/office/drawing/2014/main" id="{CDF7FB56-C9A2-4B4A-815A-E887BA102C38}"/>
              </a:ext>
            </a:extLst>
          </p:cNvPr>
          <p:cNvGraphicFramePr/>
          <p:nvPr/>
        </p:nvGraphicFramePr>
        <p:xfrm>
          <a:off x="329797" y="1954721"/>
          <a:ext cx="11734062" cy="2279630"/>
        </p:xfrm>
        <a:graphic>
          <a:graphicData uri="http://schemas.openxmlformats.org/drawingml/2006/chart">
            <c:chart xmlns:c="http://schemas.openxmlformats.org/drawingml/2006/chart" xmlns:r="http://schemas.openxmlformats.org/officeDocument/2006/relationships" r:id="rId8"/>
          </a:graphicData>
        </a:graphic>
      </p:graphicFrame>
      <p:sp>
        <p:nvSpPr>
          <p:cNvPr id="101" name="文本框 100">
            <a:extLst>
              <a:ext uri="{FF2B5EF4-FFF2-40B4-BE49-F238E27FC236}">
                <a16:creationId xmlns:a16="http://schemas.microsoft.com/office/drawing/2014/main" id="{6B8EAF0B-18E7-5444-93C6-4224D7A53AB9}"/>
              </a:ext>
            </a:extLst>
          </p:cNvPr>
          <p:cNvSpPr txBox="1"/>
          <p:nvPr/>
        </p:nvSpPr>
        <p:spPr>
          <a:xfrm>
            <a:off x="324311" y="1767852"/>
            <a:ext cx="3337234"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Monthly Average Share Price Indexed to 2010-January (%)</a:t>
            </a:r>
            <a:endParaRPr kumimoji="1" lang="zh-CN" altLang="en-US" sz="1000" dirty="0" err="1">
              <a:latin typeface="Calibri" panose="020F0502020204030204" pitchFamily="34" charset="0"/>
              <a:cs typeface="Calibri" panose="020F0502020204030204" pitchFamily="34" charset="0"/>
            </a:endParaRPr>
          </a:p>
        </p:txBody>
      </p:sp>
      <p:sp>
        <p:nvSpPr>
          <p:cNvPr id="11" name="矩形 10">
            <a:extLst>
              <a:ext uri="{FF2B5EF4-FFF2-40B4-BE49-F238E27FC236}">
                <a16:creationId xmlns:a16="http://schemas.microsoft.com/office/drawing/2014/main" id="{EB7E392B-47F1-1D45-9040-0BD81B654FA5}"/>
              </a:ext>
            </a:extLst>
          </p:cNvPr>
          <p:cNvSpPr/>
          <p:nvPr/>
        </p:nvSpPr>
        <p:spPr>
          <a:xfrm>
            <a:off x="866899" y="2201006"/>
            <a:ext cx="593766" cy="909279"/>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26" name="矩形 125">
            <a:extLst>
              <a:ext uri="{FF2B5EF4-FFF2-40B4-BE49-F238E27FC236}">
                <a16:creationId xmlns:a16="http://schemas.microsoft.com/office/drawing/2014/main" id="{DD9EC4FC-51EF-EB44-9088-B7337A26FE32}"/>
              </a:ext>
            </a:extLst>
          </p:cNvPr>
          <p:cNvSpPr/>
          <p:nvPr/>
        </p:nvSpPr>
        <p:spPr>
          <a:xfrm>
            <a:off x="11958708" y="2125711"/>
            <a:ext cx="622431" cy="322278"/>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000" dirty="0">
                <a:solidFill>
                  <a:schemeClr val="accent4"/>
                </a:solidFill>
                <a:latin typeface="Calibri" panose="020F0502020204030204" pitchFamily="34" charset="0"/>
                <a:cs typeface="Calibri" panose="020F0502020204030204" pitchFamily="34" charset="0"/>
              </a:rPr>
              <a:t>DIS</a:t>
            </a:r>
          </a:p>
          <a:p>
            <a:pPr algn="l"/>
            <a:r>
              <a:rPr kumimoji="1" lang="en-US" altLang="zh-CN" sz="1000" dirty="0">
                <a:solidFill>
                  <a:schemeClr val="accent4"/>
                </a:solidFill>
                <a:latin typeface="Calibri" panose="020F0502020204030204" pitchFamily="34" charset="0"/>
                <a:cs typeface="Calibri" panose="020F0502020204030204" pitchFamily="34" charset="0"/>
              </a:rPr>
              <a:t>+  477.42%</a:t>
            </a:r>
          </a:p>
        </p:txBody>
      </p:sp>
      <p:sp>
        <p:nvSpPr>
          <p:cNvPr id="127" name="矩形 126">
            <a:extLst>
              <a:ext uri="{FF2B5EF4-FFF2-40B4-BE49-F238E27FC236}">
                <a16:creationId xmlns:a16="http://schemas.microsoft.com/office/drawing/2014/main" id="{00AFFFBB-586B-7D49-A85A-642508EAEF9F}"/>
              </a:ext>
            </a:extLst>
          </p:cNvPr>
          <p:cNvSpPr/>
          <p:nvPr/>
        </p:nvSpPr>
        <p:spPr>
          <a:xfrm>
            <a:off x="11945646" y="2560731"/>
            <a:ext cx="593767" cy="402059"/>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000" dirty="0">
                <a:solidFill>
                  <a:schemeClr val="accent2"/>
                </a:solidFill>
                <a:latin typeface="Calibri" panose="020F0502020204030204" pitchFamily="34" charset="0"/>
                <a:cs typeface="Calibri" panose="020F0502020204030204" pitchFamily="34" charset="0"/>
              </a:rPr>
              <a:t>S&amp;P 500</a:t>
            </a:r>
          </a:p>
          <a:p>
            <a:pPr algn="l"/>
            <a:r>
              <a:rPr kumimoji="1" lang="en-US" altLang="zh-CN" sz="1000" dirty="0">
                <a:solidFill>
                  <a:schemeClr val="accent2"/>
                </a:solidFill>
                <a:latin typeface="Calibri" panose="020F0502020204030204" pitchFamily="34" charset="0"/>
                <a:cs typeface="Calibri" panose="020F0502020204030204" pitchFamily="34" charset="0"/>
              </a:rPr>
              <a:t>+  309.29%</a:t>
            </a:r>
          </a:p>
        </p:txBody>
      </p:sp>
      <p:sp>
        <p:nvSpPr>
          <p:cNvPr id="128" name="圆角矩形 127">
            <a:extLst>
              <a:ext uri="{FF2B5EF4-FFF2-40B4-BE49-F238E27FC236}">
                <a16:creationId xmlns:a16="http://schemas.microsoft.com/office/drawing/2014/main" id="{C3824ABB-6C28-C84F-BB33-3F61EE86E4EE}"/>
              </a:ext>
            </a:extLst>
          </p:cNvPr>
          <p:cNvSpPr/>
          <p:nvPr/>
        </p:nvSpPr>
        <p:spPr>
          <a:xfrm>
            <a:off x="330058" y="6513478"/>
            <a:ext cx="5959020" cy="248818"/>
          </a:xfrm>
          <a:prstGeom prst="roundRect">
            <a:avLst>
              <a:gd name="adj" fmla="val 12772"/>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DIS is neutrally valued before 2020 and undervalued since 2020 under DCF model</a:t>
            </a:r>
          </a:p>
        </p:txBody>
      </p:sp>
      <p:sp>
        <p:nvSpPr>
          <p:cNvPr id="140" name="矩形 139">
            <a:extLst>
              <a:ext uri="{FF2B5EF4-FFF2-40B4-BE49-F238E27FC236}">
                <a16:creationId xmlns:a16="http://schemas.microsoft.com/office/drawing/2014/main" id="{7B5E323C-F653-C549-A277-75F6C67931C1}"/>
              </a:ext>
            </a:extLst>
          </p:cNvPr>
          <p:cNvSpPr/>
          <p:nvPr/>
        </p:nvSpPr>
        <p:spPr>
          <a:xfrm>
            <a:off x="2647725" y="2815144"/>
            <a:ext cx="1087174" cy="365820"/>
          </a:xfrm>
          <a:prstGeom prst="rect">
            <a:avLst/>
          </a:prstGeom>
          <a:solidFill>
            <a:srgbClr val="D4EEBC"/>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3/06: ‘Monsters University’ released</a:t>
            </a:r>
            <a:endParaRPr kumimoji="1" lang="en-US" altLang="zh-CN" sz="1000" dirty="0">
              <a:solidFill>
                <a:schemeClr val="tx1"/>
              </a:solidFill>
              <a:latin typeface="Calibri" panose="020F0502020204030204" pitchFamily="34" charset="0"/>
              <a:cs typeface="Calibri" panose="020F0502020204030204" pitchFamily="34" charset="0"/>
            </a:endParaRPr>
          </a:p>
        </p:txBody>
      </p:sp>
      <p:sp>
        <p:nvSpPr>
          <p:cNvPr id="129" name="文本框 128">
            <a:extLst>
              <a:ext uri="{FF2B5EF4-FFF2-40B4-BE49-F238E27FC236}">
                <a16:creationId xmlns:a16="http://schemas.microsoft.com/office/drawing/2014/main" id="{1B7731C6-29B3-6A42-BE7C-B24A3435CE78}"/>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3</a:t>
            </a:r>
            <a:endParaRPr kumimoji="1" lang="zh-CN" altLang="en-US" sz="1000" dirty="0" err="1">
              <a:latin typeface="Calibri" panose="020F0502020204030204" pitchFamily="34" charset="0"/>
              <a:cs typeface="Calibri" panose="020F0502020204030204" pitchFamily="34" charset="0"/>
            </a:endParaRPr>
          </a:p>
        </p:txBody>
      </p:sp>
      <p:sp>
        <p:nvSpPr>
          <p:cNvPr id="125" name="矩形 124">
            <a:extLst>
              <a:ext uri="{FF2B5EF4-FFF2-40B4-BE49-F238E27FC236}">
                <a16:creationId xmlns:a16="http://schemas.microsoft.com/office/drawing/2014/main" id="{A37FAE8A-14CD-264A-A16E-A24D368BBA38}"/>
              </a:ext>
            </a:extLst>
          </p:cNvPr>
          <p:cNvSpPr/>
          <p:nvPr/>
        </p:nvSpPr>
        <p:spPr>
          <a:xfrm>
            <a:off x="8455997" y="1367536"/>
            <a:ext cx="1144602" cy="600397"/>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8/10: acquisition of </a:t>
            </a:r>
            <a:r>
              <a:rPr lang="en-US" altLang="zh-CN" sz="1000" b="1" dirty="0">
                <a:solidFill>
                  <a:schemeClr val="tx1"/>
                </a:solidFill>
                <a:latin typeface="Calibri" panose="020F0502020204030204" pitchFamily="34" charset="0"/>
                <a:cs typeface="Calibri" panose="020F0502020204030204" pitchFamily="34" charset="0"/>
              </a:rPr>
              <a:t>BAMTech</a:t>
            </a:r>
            <a:r>
              <a:rPr lang="en-US" altLang="zh-CN" sz="1000" dirty="0">
                <a:solidFill>
                  <a:schemeClr val="tx1"/>
                </a:solidFill>
                <a:latin typeface="Calibri" panose="020F0502020204030204" pitchFamily="34" charset="0"/>
                <a:cs typeface="Calibri" panose="020F0502020204030204" pitchFamily="34" charset="0"/>
              </a:rPr>
              <a:t> renamed as </a:t>
            </a:r>
            <a:r>
              <a:rPr lang="en-US" altLang="zh-CN" sz="1000" b="1" dirty="0">
                <a:solidFill>
                  <a:schemeClr val="tx1"/>
                </a:solidFill>
                <a:latin typeface="Calibri" panose="020F0502020204030204" pitchFamily="34" charset="0"/>
                <a:cs typeface="Calibri" panose="020F0502020204030204" pitchFamily="34" charset="0"/>
              </a:rPr>
              <a:t>Disney Streaming Services.</a:t>
            </a:r>
          </a:p>
        </p:txBody>
      </p:sp>
      <p:sp>
        <p:nvSpPr>
          <p:cNvPr id="130" name="矩形 129">
            <a:extLst>
              <a:ext uri="{FF2B5EF4-FFF2-40B4-BE49-F238E27FC236}">
                <a16:creationId xmlns:a16="http://schemas.microsoft.com/office/drawing/2014/main" id="{B683867E-DE8D-304A-8D1C-055B45A227FD}"/>
              </a:ext>
            </a:extLst>
          </p:cNvPr>
          <p:cNvSpPr/>
          <p:nvPr/>
        </p:nvSpPr>
        <p:spPr>
          <a:xfrm>
            <a:off x="6108936" y="1360439"/>
            <a:ext cx="1247786" cy="790209"/>
          </a:xfrm>
          <a:prstGeom prst="rect">
            <a:avLst/>
          </a:prstGeom>
          <a:solidFill>
            <a:srgbClr val="C6DCF2"/>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5/11/5: 2015 Disney delivered the </a:t>
            </a:r>
            <a:r>
              <a:rPr lang="en-US" altLang="zh-CN" sz="1000" b="1" dirty="0">
                <a:solidFill>
                  <a:schemeClr val="tx1"/>
                </a:solidFill>
                <a:latin typeface="Calibri" panose="020F0502020204030204" pitchFamily="34" charset="0"/>
                <a:cs typeface="Calibri" panose="020F0502020204030204" pitchFamily="34" charset="0"/>
              </a:rPr>
              <a:t>highest revenue, net income , </a:t>
            </a:r>
            <a:r>
              <a:rPr lang="en-US" altLang="zh-CN" sz="1000" dirty="0">
                <a:solidFill>
                  <a:schemeClr val="tx1"/>
                </a:solidFill>
                <a:latin typeface="Calibri" panose="020F0502020204030204" pitchFamily="34" charset="0"/>
                <a:cs typeface="Calibri" panose="020F0502020204030204" pitchFamily="34" charset="0"/>
              </a:rPr>
              <a:t>and adjusted </a:t>
            </a:r>
            <a:r>
              <a:rPr lang="en-US" altLang="zh-CN" sz="1000" b="1" dirty="0">
                <a:solidFill>
                  <a:schemeClr val="tx1"/>
                </a:solidFill>
                <a:latin typeface="Calibri" panose="020F0502020204030204" pitchFamily="34" charset="0"/>
                <a:cs typeface="Calibri" panose="020F0502020204030204" pitchFamily="34" charset="0"/>
              </a:rPr>
              <a:t>EPS </a:t>
            </a:r>
            <a:r>
              <a:rPr lang="en-US" altLang="zh-CN" sz="1000" dirty="0">
                <a:solidFill>
                  <a:schemeClr val="tx1"/>
                </a:solidFill>
                <a:latin typeface="Calibri" panose="020F0502020204030204" pitchFamily="34" charset="0"/>
                <a:cs typeface="Calibri" panose="020F0502020204030204" pitchFamily="34" charset="0"/>
              </a:rPr>
              <a:t>in the Company’s history.</a:t>
            </a:r>
            <a:endParaRPr lang="zh-CN" altLang="zh-CN" sz="1000" dirty="0">
              <a:solidFill>
                <a:schemeClr val="tx1"/>
              </a:solidFill>
              <a:latin typeface="Calibri" panose="020F0502020204030204" pitchFamily="34" charset="0"/>
              <a:cs typeface="Calibri" panose="020F0502020204030204" pitchFamily="34" charset="0"/>
            </a:endParaRPr>
          </a:p>
        </p:txBody>
      </p:sp>
      <p:cxnSp>
        <p:nvCxnSpPr>
          <p:cNvPr id="143" name="肘形连接符 142">
            <a:extLst>
              <a:ext uri="{FF2B5EF4-FFF2-40B4-BE49-F238E27FC236}">
                <a16:creationId xmlns:a16="http://schemas.microsoft.com/office/drawing/2014/main" id="{BB3B483B-6089-9A4F-AC27-8AF3923E43F7}"/>
              </a:ext>
            </a:extLst>
          </p:cNvPr>
          <p:cNvCxnSpPr>
            <a:cxnSpLocks/>
            <a:stCxn id="140" idx="2"/>
            <a:endCxn id="102" idx="7"/>
          </p:cNvCxnSpPr>
          <p:nvPr/>
        </p:nvCxnSpPr>
        <p:spPr>
          <a:xfrm rot="16200000" flipH="1">
            <a:off x="3493199" y="2879077"/>
            <a:ext cx="181797" cy="785570"/>
          </a:xfrm>
          <a:prstGeom prst="bentConnector3">
            <a:avLst>
              <a:gd name="adj1" fmla="val 50000"/>
            </a:avLst>
          </a:prstGeom>
          <a:ln w="12700">
            <a:solidFill>
              <a:srgbClr val="C9E7AA"/>
            </a:solidFill>
          </a:ln>
        </p:spPr>
        <p:style>
          <a:lnRef idx="1">
            <a:schemeClr val="accent1"/>
          </a:lnRef>
          <a:fillRef idx="0">
            <a:schemeClr val="accent1"/>
          </a:fillRef>
          <a:effectRef idx="0">
            <a:schemeClr val="accent1"/>
          </a:effectRef>
          <a:fontRef idx="minor">
            <a:schemeClr val="tx1"/>
          </a:fontRef>
        </p:style>
      </p:cxnSp>
      <p:sp>
        <p:nvSpPr>
          <p:cNvPr id="81" name="椭圆 80">
            <a:extLst>
              <a:ext uri="{FF2B5EF4-FFF2-40B4-BE49-F238E27FC236}">
                <a16:creationId xmlns:a16="http://schemas.microsoft.com/office/drawing/2014/main" id="{61C6F01D-2504-1F4E-B03A-40084B956241}"/>
              </a:ext>
            </a:extLst>
          </p:cNvPr>
          <p:cNvSpPr>
            <a:spLocks noChangeAspect="1"/>
          </p:cNvSpPr>
          <p:nvPr/>
        </p:nvSpPr>
        <p:spPr>
          <a:xfrm flipV="1">
            <a:off x="6317615" y="2585668"/>
            <a:ext cx="78424" cy="78424"/>
          </a:xfrm>
          <a:prstGeom prst="ellipse">
            <a:avLst/>
          </a:prstGeom>
          <a:solidFill>
            <a:srgbClr val="C6DCF2">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83" name="肘形连接符 82">
            <a:extLst>
              <a:ext uri="{FF2B5EF4-FFF2-40B4-BE49-F238E27FC236}">
                <a16:creationId xmlns:a16="http://schemas.microsoft.com/office/drawing/2014/main" id="{4BCBCB39-9CFA-2E48-B58A-4D0EDA5B1C6B}"/>
              </a:ext>
            </a:extLst>
          </p:cNvPr>
          <p:cNvCxnSpPr>
            <a:cxnSpLocks/>
            <a:stCxn id="113" idx="3"/>
            <a:endCxn id="165" idx="0"/>
          </p:cNvCxnSpPr>
          <p:nvPr/>
        </p:nvCxnSpPr>
        <p:spPr>
          <a:xfrm rot="5400000">
            <a:off x="8652255" y="3205316"/>
            <a:ext cx="354499" cy="269448"/>
          </a:xfrm>
          <a:prstGeom prst="bentConnector3">
            <a:avLst>
              <a:gd name="adj1" fmla="val 50000"/>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113" name="椭圆 112">
            <a:extLst>
              <a:ext uri="{FF2B5EF4-FFF2-40B4-BE49-F238E27FC236}">
                <a16:creationId xmlns:a16="http://schemas.microsoft.com/office/drawing/2014/main" id="{10260F8D-1873-BB48-BBAD-B164FEEB5C3E}"/>
              </a:ext>
            </a:extLst>
          </p:cNvPr>
          <p:cNvSpPr>
            <a:spLocks noChangeAspect="1"/>
          </p:cNvSpPr>
          <p:nvPr/>
        </p:nvSpPr>
        <p:spPr>
          <a:xfrm>
            <a:off x="8951893" y="3090894"/>
            <a:ext cx="84232" cy="84232"/>
          </a:xfrm>
          <a:prstGeom prst="ellipse">
            <a:avLst/>
          </a:prstGeom>
          <a:solidFill>
            <a:srgbClr val="C9C9C9">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18" name="肘形连接符 117">
            <a:extLst>
              <a:ext uri="{FF2B5EF4-FFF2-40B4-BE49-F238E27FC236}">
                <a16:creationId xmlns:a16="http://schemas.microsoft.com/office/drawing/2014/main" id="{261B3BBE-0C4C-8649-865B-18513BFC487E}"/>
              </a:ext>
            </a:extLst>
          </p:cNvPr>
          <p:cNvCxnSpPr>
            <a:cxnSpLocks/>
            <a:stCxn id="125" idx="2"/>
            <a:endCxn id="131" idx="0"/>
          </p:cNvCxnSpPr>
          <p:nvPr/>
        </p:nvCxnSpPr>
        <p:spPr>
          <a:xfrm rot="16200000" flipH="1">
            <a:off x="8803852" y="2192379"/>
            <a:ext cx="632439" cy="183546"/>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20" name="椭圆 119">
            <a:extLst>
              <a:ext uri="{FF2B5EF4-FFF2-40B4-BE49-F238E27FC236}">
                <a16:creationId xmlns:a16="http://schemas.microsoft.com/office/drawing/2014/main" id="{688DF20E-6F4A-B046-BEB9-97EAD4713435}"/>
              </a:ext>
            </a:extLst>
          </p:cNvPr>
          <p:cNvSpPr>
            <a:spLocks noChangeAspect="1"/>
          </p:cNvSpPr>
          <p:nvPr/>
        </p:nvSpPr>
        <p:spPr>
          <a:xfrm>
            <a:off x="11058265" y="2913213"/>
            <a:ext cx="79037" cy="79037"/>
          </a:xfrm>
          <a:prstGeom prst="ellipse">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21" name="肘形连接符 120">
            <a:extLst>
              <a:ext uri="{FF2B5EF4-FFF2-40B4-BE49-F238E27FC236}">
                <a16:creationId xmlns:a16="http://schemas.microsoft.com/office/drawing/2014/main" id="{301AE840-83FA-6244-82FD-67A0D38ED840}"/>
              </a:ext>
            </a:extLst>
          </p:cNvPr>
          <p:cNvCxnSpPr>
            <a:cxnSpLocks/>
            <a:stCxn id="148" idx="0"/>
            <a:endCxn id="120" idx="5"/>
          </p:cNvCxnSpPr>
          <p:nvPr/>
        </p:nvCxnSpPr>
        <p:spPr>
          <a:xfrm rot="16200000" flipV="1">
            <a:off x="10875439" y="3230964"/>
            <a:ext cx="500731" cy="154"/>
          </a:xfrm>
          <a:prstGeom prst="bentConnector3">
            <a:avLst>
              <a:gd name="adj1" fmla="val 50000"/>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157" name="椭圆 156">
            <a:extLst>
              <a:ext uri="{FF2B5EF4-FFF2-40B4-BE49-F238E27FC236}">
                <a16:creationId xmlns:a16="http://schemas.microsoft.com/office/drawing/2014/main" id="{D100CCE8-FEC2-B449-96DF-7688E6C28EDD}"/>
              </a:ext>
            </a:extLst>
          </p:cNvPr>
          <p:cNvSpPr>
            <a:spLocks noChangeAspect="1"/>
          </p:cNvSpPr>
          <p:nvPr/>
        </p:nvSpPr>
        <p:spPr>
          <a:xfrm rot="1016457" flipH="1">
            <a:off x="5995818" y="2565104"/>
            <a:ext cx="69696" cy="69696"/>
          </a:xfrm>
          <a:prstGeom prst="ellipse">
            <a:avLst/>
          </a:prstGeom>
          <a:solidFill>
            <a:srgbClr val="D1E4F3"/>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58" name="肘形连接符 157">
            <a:extLst>
              <a:ext uri="{FF2B5EF4-FFF2-40B4-BE49-F238E27FC236}">
                <a16:creationId xmlns:a16="http://schemas.microsoft.com/office/drawing/2014/main" id="{337AF4AB-E112-4544-BEE7-C2CF70419786}"/>
              </a:ext>
            </a:extLst>
          </p:cNvPr>
          <p:cNvCxnSpPr>
            <a:cxnSpLocks/>
            <a:stCxn id="161" idx="2"/>
            <a:endCxn id="157" idx="5"/>
          </p:cNvCxnSpPr>
          <p:nvPr/>
        </p:nvCxnSpPr>
        <p:spPr>
          <a:xfrm rot="5400000" flipH="1" flipV="1">
            <a:off x="5223079" y="2214743"/>
            <a:ext cx="375233" cy="1178436"/>
          </a:xfrm>
          <a:prstGeom prst="bentConnector3">
            <a:avLst>
              <a:gd name="adj1" fmla="val -60922"/>
            </a:avLst>
          </a:prstGeom>
          <a:ln w="12700">
            <a:solidFill>
              <a:schemeClr val="accent2">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sp>
        <p:nvSpPr>
          <p:cNvPr id="161" name="矩形 160">
            <a:extLst>
              <a:ext uri="{FF2B5EF4-FFF2-40B4-BE49-F238E27FC236}">
                <a16:creationId xmlns:a16="http://schemas.microsoft.com/office/drawing/2014/main" id="{EA9BDD72-7D30-E74E-AC6C-EA81CF62AAF7}"/>
              </a:ext>
            </a:extLst>
          </p:cNvPr>
          <p:cNvSpPr/>
          <p:nvPr/>
        </p:nvSpPr>
        <p:spPr>
          <a:xfrm>
            <a:off x="4168912" y="2523578"/>
            <a:ext cx="1305132" cy="467999"/>
          </a:xfrm>
          <a:prstGeom prst="rect">
            <a:avLst/>
          </a:prstGeom>
          <a:solidFill>
            <a:schemeClr val="accent2">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5/08/4: record</a:t>
            </a:r>
            <a:r>
              <a:rPr lang="zh-CN" altLang="en-US" sz="1000" dirty="0">
                <a:solidFill>
                  <a:schemeClr val="tx1"/>
                </a:solidFill>
                <a:latin typeface="Calibri" panose="020F0502020204030204" pitchFamily="34" charset="0"/>
                <a:cs typeface="Calibri" panose="020F0502020204030204" pitchFamily="34" charset="0"/>
              </a:rPr>
              <a:t> </a:t>
            </a:r>
            <a:r>
              <a:rPr lang="en-US" altLang="zh-CN" sz="1000" dirty="0">
                <a:solidFill>
                  <a:schemeClr val="tx1"/>
                </a:solidFill>
                <a:latin typeface="Calibri" panose="020F0502020204030204" pitchFamily="34" charset="0"/>
                <a:cs typeface="Calibri" panose="020F0502020204030204" pitchFamily="34" charset="0"/>
              </a:rPr>
              <a:t>net income and diluted EPS up 13% in</a:t>
            </a:r>
            <a:r>
              <a:rPr lang="zh-CN" altLang="en-US" sz="1000" dirty="0">
                <a:solidFill>
                  <a:schemeClr val="tx1"/>
                </a:solidFill>
                <a:latin typeface="Calibri" panose="020F0502020204030204" pitchFamily="34" charset="0"/>
                <a:cs typeface="Calibri" panose="020F0502020204030204" pitchFamily="34" charset="0"/>
              </a:rPr>
              <a:t> </a:t>
            </a:r>
            <a:r>
              <a:rPr lang="en-US" altLang="zh-CN" sz="1000" dirty="0">
                <a:solidFill>
                  <a:schemeClr val="tx1"/>
                </a:solidFill>
                <a:latin typeface="Calibri" panose="020F0502020204030204" pitchFamily="34" charset="0"/>
                <a:cs typeface="Calibri" panose="020F0502020204030204" pitchFamily="34" charset="0"/>
              </a:rPr>
              <a:t>2015Q3</a:t>
            </a:r>
          </a:p>
        </p:txBody>
      </p:sp>
      <p:sp>
        <p:nvSpPr>
          <p:cNvPr id="166" name="矩形 165">
            <a:extLst>
              <a:ext uri="{FF2B5EF4-FFF2-40B4-BE49-F238E27FC236}">
                <a16:creationId xmlns:a16="http://schemas.microsoft.com/office/drawing/2014/main" id="{8002185A-5A8D-5141-B7DE-FCF7CA6F5572}"/>
              </a:ext>
            </a:extLst>
          </p:cNvPr>
          <p:cNvSpPr/>
          <p:nvPr/>
        </p:nvSpPr>
        <p:spPr>
          <a:xfrm>
            <a:off x="9287440" y="2704006"/>
            <a:ext cx="1736057" cy="184601"/>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9/11: </a:t>
            </a:r>
            <a:r>
              <a:rPr lang="en-US" altLang="zh-CN" sz="1000" b="1" dirty="0">
                <a:solidFill>
                  <a:schemeClr val="tx1"/>
                </a:solidFill>
                <a:latin typeface="Calibri" panose="020F0502020204030204" pitchFamily="34" charset="0"/>
                <a:cs typeface="Calibri" panose="020F0502020204030204" pitchFamily="34" charset="0"/>
              </a:rPr>
              <a:t>Disney+ </a:t>
            </a:r>
            <a:r>
              <a:rPr lang="en-US" altLang="zh-CN" sz="1000" dirty="0">
                <a:solidFill>
                  <a:schemeClr val="tx1"/>
                </a:solidFill>
                <a:latin typeface="Calibri" panose="020F0502020204030204" pitchFamily="34" charset="0"/>
                <a:cs typeface="Calibri" panose="020F0502020204030204" pitchFamily="34" charset="0"/>
              </a:rPr>
              <a:t>was launched</a:t>
            </a:r>
            <a:endParaRPr lang="zh-CN" altLang="zh-CN" sz="1000" b="1" dirty="0">
              <a:solidFill>
                <a:schemeClr val="tx1"/>
              </a:solidFill>
              <a:latin typeface="Calibri" panose="020F0502020204030204" pitchFamily="34" charset="0"/>
              <a:cs typeface="Calibri" panose="020F0502020204030204" pitchFamily="34" charset="0"/>
            </a:endParaRPr>
          </a:p>
        </p:txBody>
      </p:sp>
      <p:cxnSp>
        <p:nvCxnSpPr>
          <p:cNvPr id="200" name="肘形连接符 199">
            <a:extLst>
              <a:ext uri="{FF2B5EF4-FFF2-40B4-BE49-F238E27FC236}">
                <a16:creationId xmlns:a16="http://schemas.microsoft.com/office/drawing/2014/main" id="{EE54BF7A-9642-504D-AFD3-A716732A8E67}"/>
              </a:ext>
            </a:extLst>
          </p:cNvPr>
          <p:cNvCxnSpPr>
            <a:cxnSpLocks/>
            <a:stCxn id="138" idx="4"/>
            <a:endCxn id="166" idx="0"/>
          </p:cNvCxnSpPr>
          <p:nvPr/>
        </p:nvCxnSpPr>
        <p:spPr>
          <a:xfrm rot="5400000">
            <a:off x="9991032" y="2366080"/>
            <a:ext cx="502363" cy="173488"/>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grpSp>
        <p:nvGrpSpPr>
          <p:cNvPr id="281" name="组合 280">
            <a:extLst>
              <a:ext uri="{FF2B5EF4-FFF2-40B4-BE49-F238E27FC236}">
                <a16:creationId xmlns:a16="http://schemas.microsoft.com/office/drawing/2014/main" id="{B517D4E1-BBE8-E144-AE8F-39581871837D}"/>
              </a:ext>
            </a:extLst>
          </p:cNvPr>
          <p:cNvGrpSpPr/>
          <p:nvPr/>
        </p:nvGrpSpPr>
        <p:grpSpPr>
          <a:xfrm>
            <a:off x="1770706" y="1984390"/>
            <a:ext cx="1007608" cy="211203"/>
            <a:chOff x="4443882" y="2772069"/>
            <a:chExt cx="1007608" cy="211203"/>
          </a:xfrm>
        </p:grpSpPr>
        <p:cxnSp>
          <p:nvCxnSpPr>
            <p:cNvPr id="282" name="直线连接符 281">
              <a:extLst>
                <a:ext uri="{FF2B5EF4-FFF2-40B4-BE49-F238E27FC236}">
                  <a16:creationId xmlns:a16="http://schemas.microsoft.com/office/drawing/2014/main" id="{9D23C956-CA65-7F4B-8553-00FE51A08DD9}"/>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3" name="文本框 282">
              <a:extLst>
                <a:ext uri="{FF2B5EF4-FFF2-40B4-BE49-F238E27FC236}">
                  <a16:creationId xmlns:a16="http://schemas.microsoft.com/office/drawing/2014/main" id="{9032F23C-59F2-B943-BB10-1D6E5996A501}"/>
                </a:ext>
              </a:extLst>
            </p:cNvPr>
            <p:cNvSpPr txBox="1"/>
            <p:nvPr/>
          </p:nvSpPr>
          <p:spPr>
            <a:xfrm>
              <a:off x="4742379" y="2772069"/>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DIS</a:t>
              </a:r>
              <a:endParaRPr kumimoji="1" lang="zh-CN" altLang="en-US" sz="900" dirty="0" err="1">
                <a:latin typeface="Calibri" panose="020F0502020204030204" pitchFamily="34" charset="0"/>
                <a:cs typeface="Calibri" panose="020F0502020204030204" pitchFamily="34" charset="0"/>
              </a:endParaRPr>
            </a:p>
          </p:txBody>
        </p:sp>
      </p:grpSp>
      <p:grpSp>
        <p:nvGrpSpPr>
          <p:cNvPr id="284" name="组合 283">
            <a:extLst>
              <a:ext uri="{FF2B5EF4-FFF2-40B4-BE49-F238E27FC236}">
                <a16:creationId xmlns:a16="http://schemas.microsoft.com/office/drawing/2014/main" id="{C3AD6B5D-01EA-754C-B706-31307810A65E}"/>
              </a:ext>
            </a:extLst>
          </p:cNvPr>
          <p:cNvGrpSpPr/>
          <p:nvPr/>
        </p:nvGrpSpPr>
        <p:grpSpPr>
          <a:xfrm>
            <a:off x="856525" y="1990387"/>
            <a:ext cx="1919781" cy="211203"/>
            <a:chOff x="4443882" y="2772070"/>
            <a:chExt cx="1919781" cy="211203"/>
          </a:xfrm>
        </p:grpSpPr>
        <p:cxnSp>
          <p:nvCxnSpPr>
            <p:cNvPr id="285" name="直线连接符 284">
              <a:extLst>
                <a:ext uri="{FF2B5EF4-FFF2-40B4-BE49-F238E27FC236}">
                  <a16:creationId xmlns:a16="http://schemas.microsoft.com/office/drawing/2014/main" id="{4D723E92-5FF2-CB41-B3C4-80DEC7E4ECC8}"/>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6" name="文本框 285">
              <a:extLst>
                <a:ext uri="{FF2B5EF4-FFF2-40B4-BE49-F238E27FC236}">
                  <a16:creationId xmlns:a16="http://schemas.microsoft.com/office/drawing/2014/main" id="{8A16AA81-2AC1-EC4A-A772-9D0F291CF6EA}"/>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amp;P 500</a:t>
              </a:r>
              <a:endParaRPr kumimoji="1" lang="zh-CN" altLang="en-US" sz="900" dirty="0" err="1">
                <a:latin typeface="Calibri" panose="020F0502020204030204" pitchFamily="34" charset="0"/>
                <a:cs typeface="Calibri" panose="020F0502020204030204" pitchFamily="34" charset="0"/>
              </a:endParaRPr>
            </a:p>
          </p:txBody>
        </p:sp>
      </p:grpSp>
      <p:sp>
        <p:nvSpPr>
          <p:cNvPr id="103" name="椭圆 102">
            <a:extLst>
              <a:ext uri="{FF2B5EF4-FFF2-40B4-BE49-F238E27FC236}">
                <a16:creationId xmlns:a16="http://schemas.microsoft.com/office/drawing/2014/main" id="{F22DDA9A-2F7B-CA42-ABFC-33AB96884C9E}"/>
              </a:ext>
            </a:extLst>
          </p:cNvPr>
          <p:cNvSpPr>
            <a:spLocks noChangeAspect="1"/>
          </p:cNvSpPr>
          <p:nvPr/>
        </p:nvSpPr>
        <p:spPr>
          <a:xfrm>
            <a:off x="2295536" y="3806752"/>
            <a:ext cx="72000" cy="72000"/>
          </a:xfrm>
          <a:prstGeom prst="ellipse">
            <a:avLst/>
          </a:prstGeom>
          <a:solidFill>
            <a:srgbClr val="E1DFE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15" name="肘形连接符 114">
            <a:extLst>
              <a:ext uri="{FF2B5EF4-FFF2-40B4-BE49-F238E27FC236}">
                <a16:creationId xmlns:a16="http://schemas.microsoft.com/office/drawing/2014/main" id="{E2A9372A-850F-174A-B365-E8BA8BEF10AA}"/>
              </a:ext>
            </a:extLst>
          </p:cNvPr>
          <p:cNvCxnSpPr>
            <a:cxnSpLocks/>
            <a:stCxn id="130" idx="2"/>
          </p:cNvCxnSpPr>
          <p:nvPr/>
        </p:nvCxnSpPr>
        <p:spPr>
          <a:xfrm rot="5400000">
            <a:off x="6322993" y="2212684"/>
            <a:ext cx="471873" cy="347800"/>
          </a:xfrm>
          <a:prstGeom prst="bentConnector3">
            <a:avLst>
              <a:gd name="adj1" fmla="val 50000"/>
            </a:avLst>
          </a:prstGeom>
          <a:ln w="12700">
            <a:solidFill>
              <a:srgbClr val="C6DCF2">
                <a:alpha val="50000"/>
              </a:srgbClr>
            </a:solidFill>
          </a:ln>
        </p:spPr>
        <p:style>
          <a:lnRef idx="1">
            <a:schemeClr val="accent1"/>
          </a:lnRef>
          <a:fillRef idx="0">
            <a:schemeClr val="accent1"/>
          </a:fillRef>
          <a:effectRef idx="0">
            <a:schemeClr val="accent1"/>
          </a:effectRef>
          <a:fontRef idx="minor">
            <a:schemeClr val="tx1"/>
          </a:fontRef>
        </p:style>
      </p:cxnSp>
      <p:sp>
        <p:nvSpPr>
          <p:cNvPr id="102" name="椭圆 101">
            <a:extLst>
              <a:ext uri="{FF2B5EF4-FFF2-40B4-BE49-F238E27FC236}">
                <a16:creationId xmlns:a16="http://schemas.microsoft.com/office/drawing/2014/main" id="{9B351881-C1A7-9641-B1C3-9B9021D90822}"/>
              </a:ext>
            </a:extLst>
          </p:cNvPr>
          <p:cNvSpPr>
            <a:spLocks noChangeAspect="1"/>
          </p:cNvSpPr>
          <p:nvPr/>
        </p:nvSpPr>
        <p:spPr>
          <a:xfrm>
            <a:off x="3913405" y="3351870"/>
            <a:ext cx="74368" cy="74368"/>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04" name="矩形 103">
            <a:extLst>
              <a:ext uri="{FF2B5EF4-FFF2-40B4-BE49-F238E27FC236}">
                <a16:creationId xmlns:a16="http://schemas.microsoft.com/office/drawing/2014/main" id="{B2F4AD79-006D-5A45-9798-9CF9A1D5E7FE}"/>
              </a:ext>
            </a:extLst>
          </p:cNvPr>
          <p:cNvSpPr/>
          <p:nvPr/>
        </p:nvSpPr>
        <p:spPr>
          <a:xfrm>
            <a:off x="726591" y="2981556"/>
            <a:ext cx="1568830" cy="376147"/>
          </a:xfrm>
          <a:prstGeom prst="rect">
            <a:avLst/>
          </a:prstGeom>
          <a:solidFill>
            <a:srgbClr val="E0E0E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11/8: </a:t>
            </a:r>
            <a:r>
              <a:rPr lang="en-US" altLang="zh-CN" sz="1000" dirty="0">
                <a:solidFill>
                  <a:schemeClr val="tx1"/>
                </a:solidFill>
                <a:latin typeface="Calibri" panose="020F0502020204030204" pitchFamily="34" charset="0"/>
                <a:cs typeface="Calibri" panose="020F0502020204030204" pitchFamily="34" charset="0"/>
              </a:rPr>
              <a:t>S&amp;P's </a:t>
            </a:r>
            <a:r>
              <a:rPr lang="en-US" altLang="zh-CN" sz="1000" b="1" dirty="0">
                <a:solidFill>
                  <a:schemeClr val="tx1"/>
                </a:solidFill>
                <a:latin typeface="Calibri" panose="020F0502020204030204" pitchFamily="34" charset="0"/>
                <a:cs typeface="Calibri" panose="020F0502020204030204" pitchFamily="34" charset="0"/>
              </a:rPr>
              <a:t>downgraded</a:t>
            </a:r>
            <a:r>
              <a:rPr lang="en-US" altLang="zh-CN" sz="1000" dirty="0">
                <a:solidFill>
                  <a:schemeClr val="tx1"/>
                </a:solidFill>
                <a:latin typeface="Calibri" panose="020F0502020204030204" pitchFamily="34" charset="0"/>
                <a:cs typeface="Calibri" panose="020F0502020204030204" pitchFamily="34" charset="0"/>
              </a:rPr>
              <a:t> the US’s </a:t>
            </a:r>
            <a:r>
              <a:rPr lang="en-US" altLang="zh-CN" sz="1000" b="1" dirty="0">
                <a:solidFill>
                  <a:schemeClr val="tx1"/>
                </a:solidFill>
                <a:latin typeface="Calibri" panose="020F0502020204030204" pitchFamily="34" charset="0"/>
                <a:cs typeface="Calibri" panose="020F0502020204030204" pitchFamily="34" charset="0"/>
              </a:rPr>
              <a:t>credit rating </a:t>
            </a:r>
            <a:r>
              <a:rPr lang="en-US" altLang="zh-CN" sz="1000" dirty="0">
                <a:solidFill>
                  <a:schemeClr val="tx1"/>
                </a:solidFill>
                <a:latin typeface="Calibri" panose="020F0502020204030204" pitchFamily="34" charset="0"/>
                <a:cs typeface="Calibri" panose="020F0502020204030204" pitchFamily="34" charset="0"/>
              </a:rPr>
              <a:t>to ‘AA+’</a:t>
            </a:r>
            <a:endParaRPr kumimoji="1" lang="en-US" altLang="zh-CN" sz="1000" dirty="0">
              <a:solidFill>
                <a:schemeClr val="tx1"/>
              </a:solidFill>
              <a:latin typeface="Calibri" panose="020F0502020204030204" pitchFamily="34" charset="0"/>
              <a:cs typeface="Calibri" panose="020F0502020204030204" pitchFamily="34" charset="0"/>
            </a:endParaRPr>
          </a:p>
        </p:txBody>
      </p:sp>
      <p:cxnSp>
        <p:nvCxnSpPr>
          <p:cNvPr id="105" name="肘形连接符 104">
            <a:extLst>
              <a:ext uri="{FF2B5EF4-FFF2-40B4-BE49-F238E27FC236}">
                <a16:creationId xmlns:a16="http://schemas.microsoft.com/office/drawing/2014/main" id="{942490FF-ED49-E74F-8276-27A4016BB769}"/>
              </a:ext>
            </a:extLst>
          </p:cNvPr>
          <p:cNvCxnSpPr>
            <a:cxnSpLocks/>
            <a:stCxn id="104" idx="2"/>
            <a:endCxn id="103" idx="0"/>
          </p:cNvCxnSpPr>
          <p:nvPr/>
        </p:nvCxnSpPr>
        <p:spPr>
          <a:xfrm rot="16200000" flipH="1">
            <a:off x="1696747" y="3171962"/>
            <a:ext cx="449049" cy="820530"/>
          </a:xfrm>
          <a:prstGeom prst="bentConnector3">
            <a:avLst>
              <a:gd name="adj1" fmla="val 50000"/>
            </a:avLst>
          </a:prstGeom>
          <a:ln w="12700">
            <a:solidFill>
              <a:srgbClr val="C9C9C9"/>
            </a:solidFill>
          </a:ln>
        </p:spPr>
        <p:style>
          <a:lnRef idx="1">
            <a:schemeClr val="accent1"/>
          </a:lnRef>
          <a:fillRef idx="0">
            <a:schemeClr val="accent1"/>
          </a:fillRef>
          <a:effectRef idx="0">
            <a:schemeClr val="accent1"/>
          </a:effectRef>
          <a:fontRef idx="minor">
            <a:schemeClr val="tx1"/>
          </a:fontRef>
        </p:style>
      </p:cxnSp>
      <p:sp>
        <p:nvSpPr>
          <p:cNvPr id="116" name="矩形 115">
            <a:extLst>
              <a:ext uri="{FF2B5EF4-FFF2-40B4-BE49-F238E27FC236}">
                <a16:creationId xmlns:a16="http://schemas.microsoft.com/office/drawing/2014/main" id="{6E357D27-3498-1049-96A2-A33D3121AA96}"/>
              </a:ext>
            </a:extLst>
          </p:cNvPr>
          <p:cNvSpPr/>
          <p:nvPr/>
        </p:nvSpPr>
        <p:spPr>
          <a:xfrm>
            <a:off x="6080473" y="3597122"/>
            <a:ext cx="1449463" cy="318599"/>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15/12: </a:t>
            </a:r>
            <a:r>
              <a:rPr kumimoji="1" lang="en-US" altLang="zh-CN" sz="1000" b="1" dirty="0">
                <a:solidFill>
                  <a:schemeClr val="tx1"/>
                </a:solidFill>
                <a:latin typeface="Calibri" panose="020F0502020204030204" pitchFamily="34" charset="0"/>
                <a:cs typeface="Calibri" panose="020F0502020204030204" pitchFamily="34" charset="0"/>
              </a:rPr>
              <a:t>WIT Crude</a:t>
            </a:r>
            <a:r>
              <a:rPr kumimoji="1" lang="en-US" altLang="zh-CN" sz="1000" dirty="0">
                <a:solidFill>
                  <a:schemeClr val="tx1"/>
                </a:solidFill>
                <a:latin typeface="Calibri" panose="020F0502020204030204" pitchFamily="34" charset="0"/>
                <a:cs typeface="Calibri" panose="020F0502020204030204" pitchFamily="34" charset="0"/>
              </a:rPr>
              <a:t> price declined by 10% in a month</a:t>
            </a:r>
          </a:p>
        </p:txBody>
      </p:sp>
      <p:cxnSp>
        <p:nvCxnSpPr>
          <p:cNvPr id="119" name="肘形连接符 118">
            <a:extLst>
              <a:ext uri="{FF2B5EF4-FFF2-40B4-BE49-F238E27FC236}">
                <a16:creationId xmlns:a16="http://schemas.microsoft.com/office/drawing/2014/main" id="{732E702D-0AF2-E646-95FF-F18EA245A42D}"/>
              </a:ext>
            </a:extLst>
          </p:cNvPr>
          <p:cNvCxnSpPr>
            <a:cxnSpLocks/>
            <a:stCxn id="116" idx="0"/>
            <a:endCxn id="108" idx="2"/>
          </p:cNvCxnSpPr>
          <p:nvPr/>
        </p:nvCxnSpPr>
        <p:spPr>
          <a:xfrm rot="16200000" flipV="1">
            <a:off x="6670688" y="3462604"/>
            <a:ext cx="67961" cy="201075"/>
          </a:xfrm>
          <a:prstGeom prst="bentConnector2">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135" name="矩形 134">
            <a:extLst>
              <a:ext uri="{FF2B5EF4-FFF2-40B4-BE49-F238E27FC236}">
                <a16:creationId xmlns:a16="http://schemas.microsoft.com/office/drawing/2014/main" id="{1B53DEB6-6B5F-2C46-BFB3-C9C674560529}"/>
              </a:ext>
            </a:extLst>
          </p:cNvPr>
          <p:cNvSpPr/>
          <p:nvPr/>
        </p:nvSpPr>
        <p:spPr>
          <a:xfrm>
            <a:off x="3980263" y="3589435"/>
            <a:ext cx="2029681" cy="419384"/>
          </a:xfrm>
          <a:prstGeom prst="rect">
            <a:avLst/>
          </a:prstGeom>
          <a:solidFill>
            <a:srgbClr val="E0E0E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15/07: </a:t>
            </a:r>
            <a:r>
              <a:rPr lang="en-US" altLang="zh-CN" sz="1000" b="1" dirty="0">
                <a:solidFill>
                  <a:schemeClr val="tx1"/>
                </a:solidFill>
                <a:latin typeface="Calibri" panose="020F0502020204030204" pitchFamily="34" charset="0"/>
                <a:cs typeface="Calibri" panose="020F0502020204030204" pitchFamily="34" charset="0"/>
              </a:rPr>
              <a:t>Greece’s unraveling debt negotiations</a:t>
            </a:r>
            <a:r>
              <a:rPr lang="en-US" altLang="zh-CN" sz="1000" dirty="0">
                <a:solidFill>
                  <a:schemeClr val="tx1"/>
                </a:solidFill>
                <a:latin typeface="Calibri" panose="020F0502020204030204" pitchFamily="34" charset="0"/>
                <a:cs typeface="Calibri" panose="020F0502020204030204" pitchFamily="34" charset="0"/>
              </a:rPr>
              <a:t> placed the European country on the brink of fiscal collapse</a:t>
            </a:r>
            <a:r>
              <a:rPr kumimoji="1" lang="en-US" altLang="zh-CN" sz="1000" dirty="0">
                <a:solidFill>
                  <a:schemeClr val="tx1"/>
                </a:solidFill>
                <a:latin typeface="Calibri" panose="020F0502020204030204" pitchFamily="34" charset="0"/>
                <a:cs typeface="Calibri" panose="020F0502020204030204" pitchFamily="34" charset="0"/>
              </a:rPr>
              <a:t>.</a:t>
            </a:r>
            <a:endParaRPr lang="zh-CN" altLang="en-US" sz="1000" dirty="0">
              <a:solidFill>
                <a:schemeClr val="tx1"/>
              </a:solidFill>
              <a:latin typeface="Calibri" panose="020F0502020204030204" pitchFamily="34" charset="0"/>
              <a:cs typeface="Calibri" panose="020F0502020204030204" pitchFamily="34" charset="0"/>
            </a:endParaRPr>
          </a:p>
        </p:txBody>
      </p:sp>
      <p:cxnSp>
        <p:nvCxnSpPr>
          <p:cNvPr id="137" name="肘形连接符 136">
            <a:extLst>
              <a:ext uri="{FF2B5EF4-FFF2-40B4-BE49-F238E27FC236}">
                <a16:creationId xmlns:a16="http://schemas.microsoft.com/office/drawing/2014/main" id="{84D7578B-ED35-7A4B-9142-D23CE7CAAA33}"/>
              </a:ext>
            </a:extLst>
          </p:cNvPr>
          <p:cNvCxnSpPr>
            <a:cxnSpLocks/>
            <a:stCxn id="135" idx="0"/>
            <a:endCxn id="107" idx="5"/>
          </p:cNvCxnSpPr>
          <p:nvPr/>
        </p:nvCxnSpPr>
        <p:spPr>
          <a:xfrm rot="5400000" flipH="1" flipV="1">
            <a:off x="5494045" y="2988574"/>
            <a:ext cx="101921" cy="1099802"/>
          </a:xfrm>
          <a:prstGeom prst="bentConnector3">
            <a:avLst>
              <a:gd name="adj1" fmla="val 50000"/>
            </a:avLst>
          </a:prstGeom>
          <a:ln w="12700">
            <a:solidFill>
              <a:srgbClr val="C9C9C9">
                <a:alpha val="40000"/>
              </a:srgbClr>
            </a:solidFill>
          </a:ln>
        </p:spPr>
        <p:style>
          <a:lnRef idx="1">
            <a:schemeClr val="accent1"/>
          </a:lnRef>
          <a:fillRef idx="0">
            <a:schemeClr val="accent1"/>
          </a:fillRef>
          <a:effectRef idx="0">
            <a:schemeClr val="accent1"/>
          </a:effectRef>
          <a:fontRef idx="minor">
            <a:schemeClr val="tx1"/>
          </a:fontRef>
        </p:style>
      </p:cxnSp>
      <p:sp>
        <p:nvSpPr>
          <p:cNvPr id="147" name="矩形 146">
            <a:extLst>
              <a:ext uri="{FF2B5EF4-FFF2-40B4-BE49-F238E27FC236}">
                <a16:creationId xmlns:a16="http://schemas.microsoft.com/office/drawing/2014/main" id="{915F3020-080C-4A42-A8C3-BF3806BA5A59}"/>
              </a:ext>
            </a:extLst>
          </p:cNvPr>
          <p:cNvSpPr/>
          <p:nvPr/>
        </p:nvSpPr>
        <p:spPr>
          <a:xfrm>
            <a:off x="7430175" y="1369182"/>
            <a:ext cx="935706" cy="664851"/>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7/8: Disney intended to pull all its movies from </a:t>
            </a:r>
            <a:r>
              <a:rPr lang="en-US" altLang="zh-CN" sz="1000" b="1" dirty="0">
                <a:solidFill>
                  <a:schemeClr val="tx1"/>
                </a:solidFill>
                <a:latin typeface="Calibri" panose="020F0502020204030204" pitchFamily="34" charset="0"/>
                <a:cs typeface="Calibri" panose="020F0502020204030204" pitchFamily="34" charset="0"/>
              </a:rPr>
              <a:t>Netflix</a:t>
            </a:r>
            <a:r>
              <a:rPr lang="en-US" altLang="zh-CN" sz="1000" dirty="0">
                <a:solidFill>
                  <a:schemeClr val="tx1"/>
                </a:solidFill>
                <a:latin typeface="Calibri" panose="020F0502020204030204" pitchFamily="34" charset="0"/>
                <a:cs typeface="Calibri" panose="020F0502020204030204" pitchFamily="34" charset="0"/>
              </a:rPr>
              <a:t>.</a:t>
            </a:r>
            <a:endParaRPr lang="en-US" altLang="zh-CN" sz="1000" b="1" dirty="0">
              <a:solidFill>
                <a:schemeClr val="tx1"/>
              </a:solidFill>
              <a:latin typeface="Calibri" panose="020F0502020204030204" pitchFamily="34" charset="0"/>
              <a:cs typeface="Calibri" panose="020F0502020204030204" pitchFamily="34" charset="0"/>
            </a:endParaRPr>
          </a:p>
        </p:txBody>
      </p:sp>
      <p:sp>
        <p:nvSpPr>
          <p:cNvPr id="159" name="矩形 158">
            <a:extLst>
              <a:ext uri="{FF2B5EF4-FFF2-40B4-BE49-F238E27FC236}">
                <a16:creationId xmlns:a16="http://schemas.microsoft.com/office/drawing/2014/main" id="{73A6E995-5601-E547-8935-1A64880D7881}"/>
              </a:ext>
            </a:extLst>
          </p:cNvPr>
          <p:cNvSpPr/>
          <p:nvPr/>
        </p:nvSpPr>
        <p:spPr>
          <a:xfrm>
            <a:off x="9666834" y="1372499"/>
            <a:ext cx="1110894" cy="507436"/>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9/04: completion of the acquisition of </a:t>
            </a:r>
            <a:r>
              <a:rPr lang="en-US" altLang="zh-CN" sz="1000" b="1" dirty="0">
                <a:solidFill>
                  <a:schemeClr val="tx1"/>
                </a:solidFill>
                <a:latin typeface="Calibri" panose="020F0502020204030204" pitchFamily="34" charset="0"/>
                <a:cs typeface="Calibri" panose="020F0502020204030204" pitchFamily="34" charset="0"/>
              </a:rPr>
              <a:t>21st Century Fox</a:t>
            </a:r>
            <a:r>
              <a:rPr lang="en-US" altLang="zh-CN" sz="1000" dirty="0">
                <a:solidFill>
                  <a:schemeClr val="tx1"/>
                </a:solidFill>
                <a:latin typeface="Calibri" panose="020F0502020204030204" pitchFamily="34" charset="0"/>
                <a:cs typeface="Calibri" panose="020F0502020204030204" pitchFamily="34" charset="0"/>
              </a:rPr>
              <a:t>.</a:t>
            </a:r>
            <a:endParaRPr lang="zh-CN" altLang="zh-CN" sz="1000" b="1" dirty="0">
              <a:solidFill>
                <a:schemeClr val="tx1"/>
              </a:solidFill>
              <a:latin typeface="Calibri" panose="020F0502020204030204" pitchFamily="34" charset="0"/>
              <a:cs typeface="Calibri" panose="020F0502020204030204" pitchFamily="34" charset="0"/>
            </a:endParaRPr>
          </a:p>
        </p:txBody>
      </p:sp>
      <p:sp>
        <p:nvSpPr>
          <p:cNvPr id="160" name="矩形 159">
            <a:extLst>
              <a:ext uri="{FF2B5EF4-FFF2-40B4-BE49-F238E27FC236}">
                <a16:creationId xmlns:a16="http://schemas.microsoft.com/office/drawing/2014/main" id="{690C0A10-DA81-8741-BF8E-27B6C30DDE1A}"/>
              </a:ext>
            </a:extLst>
          </p:cNvPr>
          <p:cNvSpPr/>
          <p:nvPr/>
        </p:nvSpPr>
        <p:spPr>
          <a:xfrm>
            <a:off x="10959777" y="1346691"/>
            <a:ext cx="1208820" cy="621242"/>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21: </a:t>
            </a:r>
            <a:r>
              <a:rPr kumimoji="1" lang="en-US" altLang="zh-CN" sz="1000" dirty="0">
                <a:solidFill>
                  <a:schemeClr val="tx1"/>
                </a:solidFill>
                <a:latin typeface="Calibri" panose="020F0502020204030204" pitchFamily="34" charset="0"/>
                <a:cs typeface="Calibri" panose="020F0502020204030204" pitchFamily="34" charset="0"/>
              </a:rPr>
              <a:t>strong performance by  </a:t>
            </a:r>
            <a:r>
              <a:rPr kumimoji="1" lang="en-US" altLang="zh-CN" sz="1000" b="1" dirty="0">
                <a:solidFill>
                  <a:schemeClr val="tx1"/>
                </a:solidFill>
                <a:latin typeface="Calibri" panose="020F0502020204030204" pitchFamily="34" charset="0"/>
                <a:cs typeface="Calibri" panose="020F0502020204030204" pitchFamily="34" charset="0"/>
              </a:rPr>
              <a:t>Disney+ with high </a:t>
            </a:r>
            <a:r>
              <a:rPr kumimoji="1" lang="en-US" altLang="zh-CN" sz="1000" dirty="0">
                <a:solidFill>
                  <a:schemeClr val="tx1"/>
                </a:solidFill>
                <a:latin typeface="Calibri" panose="020F0502020204030204" pitchFamily="34" charset="0"/>
                <a:cs typeface="Calibri" panose="020F0502020204030204" pitchFamily="34" charset="0"/>
              </a:rPr>
              <a:t>demand in streaming.</a:t>
            </a:r>
            <a:endParaRPr lang="zh-CN" altLang="zh-CN" sz="1000" b="1" dirty="0">
              <a:solidFill>
                <a:schemeClr val="tx1"/>
              </a:solidFill>
              <a:latin typeface="Calibri" panose="020F0502020204030204" pitchFamily="34" charset="0"/>
              <a:cs typeface="Calibri" panose="020F0502020204030204" pitchFamily="34" charset="0"/>
            </a:endParaRPr>
          </a:p>
        </p:txBody>
      </p:sp>
      <p:graphicFrame>
        <p:nvGraphicFramePr>
          <p:cNvPr id="162" name="图表 161">
            <a:extLst>
              <a:ext uri="{FF2B5EF4-FFF2-40B4-BE49-F238E27FC236}">
                <a16:creationId xmlns:a16="http://schemas.microsoft.com/office/drawing/2014/main" id="{52BBDFCA-F441-2540-AB5C-9659992283CA}"/>
              </a:ext>
            </a:extLst>
          </p:cNvPr>
          <p:cNvGraphicFramePr/>
          <p:nvPr/>
        </p:nvGraphicFramePr>
        <p:xfrm>
          <a:off x="6417341" y="5002797"/>
          <a:ext cx="3005188" cy="134976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3" name="图表 162">
            <a:extLst>
              <a:ext uri="{FF2B5EF4-FFF2-40B4-BE49-F238E27FC236}">
                <a16:creationId xmlns:a16="http://schemas.microsoft.com/office/drawing/2014/main" id="{7451C5B4-55AE-4344-91C8-5BD1254B8489}"/>
              </a:ext>
            </a:extLst>
          </p:cNvPr>
          <p:cNvGraphicFramePr/>
          <p:nvPr/>
        </p:nvGraphicFramePr>
        <p:xfrm>
          <a:off x="9387510" y="4999972"/>
          <a:ext cx="3059113" cy="1349764"/>
        </p:xfrm>
        <a:graphic>
          <a:graphicData uri="http://schemas.openxmlformats.org/drawingml/2006/chart">
            <c:chart xmlns:c="http://schemas.openxmlformats.org/drawingml/2006/chart" xmlns:r="http://schemas.openxmlformats.org/officeDocument/2006/relationships" r:id="rId10"/>
          </a:graphicData>
        </a:graphic>
      </p:graphicFrame>
      <p:sp>
        <p:nvSpPr>
          <p:cNvPr id="165" name="矩形 164">
            <a:extLst>
              <a:ext uri="{FF2B5EF4-FFF2-40B4-BE49-F238E27FC236}">
                <a16:creationId xmlns:a16="http://schemas.microsoft.com/office/drawing/2014/main" id="{60D7B5CA-5004-5046-9D35-6A387482CAC7}"/>
              </a:ext>
            </a:extLst>
          </p:cNvPr>
          <p:cNvSpPr/>
          <p:nvPr/>
        </p:nvSpPr>
        <p:spPr>
          <a:xfrm>
            <a:off x="7636596" y="3517290"/>
            <a:ext cx="2116368" cy="289462"/>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18/8: </a:t>
            </a:r>
            <a:r>
              <a:rPr lang="en-US" altLang="zh-CN" sz="1000" dirty="0">
                <a:solidFill>
                  <a:srgbClr val="1D2228"/>
                </a:solidFill>
                <a:latin typeface="Yahoo Sans"/>
              </a:rPr>
              <a:t>U.S. corporates had posted better-than-expected earnings results.</a:t>
            </a:r>
            <a:endParaRPr kumimoji="1" lang="en-US" altLang="zh-CN" sz="1000" dirty="0">
              <a:solidFill>
                <a:schemeClr val="tx1"/>
              </a:solidFill>
              <a:latin typeface="Calibri" panose="020F0502020204030204" pitchFamily="34" charset="0"/>
              <a:cs typeface="Calibri" panose="020F0502020204030204" pitchFamily="34" charset="0"/>
            </a:endParaRPr>
          </a:p>
        </p:txBody>
      </p:sp>
      <p:sp>
        <p:nvSpPr>
          <p:cNvPr id="107" name="椭圆 106">
            <a:extLst>
              <a:ext uri="{FF2B5EF4-FFF2-40B4-BE49-F238E27FC236}">
                <a16:creationId xmlns:a16="http://schemas.microsoft.com/office/drawing/2014/main" id="{13BFF028-66C2-2C4C-A141-397DBBE2F8F1}"/>
              </a:ext>
            </a:extLst>
          </p:cNvPr>
          <p:cNvSpPr>
            <a:spLocks noChangeAspect="1"/>
          </p:cNvSpPr>
          <p:nvPr/>
        </p:nvSpPr>
        <p:spPr>
          <a:xfrm rot="1016457" flipH="1">
            <a:off x="6090265" y="3429454"/>
            <a:ext cx="78972" cy="78972"/>
          </a:xfrm>
          <a:prstGeom prst="ellipse">
            <a:avLst/>
          </a:prstGeom>
          <a:solidFill>
            <a:srgbClr val="E0E0E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08" name="椭圆 107">
            <a:extLst>
              <a:ext uri="{FF2B5EF4-FFF2-40B4-BE49-F238E27FC236}">
                <a16:creationId xmlns:a16="http://schemas.microsoft.com/office/drawing/2014/main" id="{8477C891-096B-CB4C-8B74-BC99759BFFC2}"/>
              </a:ext>
            </a:extLst>
          </p:cNvPr>
          <p:cNvSpPr>
            <a:spLocks noChangeAspect="1"/>
          </p:cNvSpPr>
          <p:nvPr/>
        </p:nvSpPr>
        <p:spPr>
          <a:xfrm rot="1016457" flipH="1">
            <a:off x="6526478" y="3477910"/>
            <a:ext cx="79374" cy="79374"/>
          </a:xfrm>
          <a:prstGeom prst="ellipse">
            <a:avLst/>
          </a:prstGeom>
          <a:solidFill>
            <a:srgbClr val="E0E0E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14" name="肘形连接符 113">
            <a:extLst>
              <a:ext uri="{FF2B5EF4-FFF2-40B4-BE49-F238E27FC236}">
                <a16:creationId xmlns:a16="http://schemas.microsoft.com/office/drawing/2014/main" id="{D6992BF4-2C3F-6049-875D-9D7784330D26}"/>
              </a:ext>
            </a:extLst>
          </p:cNvPr>
          <p:cNvCxnSpPr>
            <a:cxnSpLocks/>
            <a:stCxn id="147" idx="2"/>
            <a:endCxn id="117" idx="5"/>
          </p:cNvCxnSpPr>
          <p:nvPr/>
        </p:nvCxnSpPr>
        <p:spPr>
          <a:xfrm rot="16200000" flipH="1">
            <a:off x="7607307" y="2324753"/>
            <a:ext cx="817411" cy="235969"/>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17" name="椭圆 116">
            <a:extLst>
              <a:ext uri="{FF2B5EF4-FFF2-40B4-BE49-F238E27FC236}">
                <a16:creationId xmlns:a16="http://schemas.microsoft.com/office/drawing/2014/main" id="{8DA48759-3276-154C-BBDB-7A730D14AEAA}"/>
              </a:ext>
            </a:extLst>
          </p:cNvPr>
          <p:cNvSpPr>
            <a:spLocks noChangeAspect="1"/>
          </p:cNvSpPr>
          <p:nvPr/>
        </p:nvSpPr>
        <p:spPr>
          <a:xfrm flipH="1" flipV="1">
            <a:off x="8122422" y="2839869"/>
            <a:ext cx="79036" cy="79036"/>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31" name="椭圆 130">
            <a:extLst>
              <a:ext uri="{FF2B5EF4-FFF2-40B4-BE49-F238E27FC236}">
                <a16:creationId xmlns:a16="http://schemas.microsoft.com/office/drawing/2014/main" id="{256A20B8-7216-0D4D-A0D2-6583CC152046}"/>
              </a:ext>
            </a:extLst>
          </p:cNvPr>
          <p:cNvSpPr>
            <a:spLocks noChangeAspect="1"/>
          </p:cNvSpPr>
          <p:nvPr/>
        </p:nvSpPr>
        <p:spPr>
          <a:xfrm flipH="1">
            <a:off x="9181355" y="2600372"/>
            <a:ext cx="60978" cy="60978"/>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36" name="肘形连接符 135">
            <a:extLst>
              <a:ext uri="{FF2B5EF4-FFF2-40B4-BE49-F238E27FC236}">
                <a16:creationId xmlns:a16="http://schemas.microsoft.com/office/drawing/2014/main" id="{87F61738-EEFD-6E49-91A2-FD3F017259B6}"/>
              </a:ext>
            </a:extLst>
          </p:cNvPr>
          <p:cNvCxnSpPr>
            <a:cxnSpLocks/>
            <a:stCxn id="144" idx="7"/>
            <a:endCxn id="159" idx="2"/>
          </p:cNvCxnSpPr>
          <p:nvPr/>
        </p:nvCxnSpPr>
        <p:spPr>
          <a:xfrm rot="5400000" flipH="1" flipV="1">
            <a:off x="9921426" y="1890398"/>
            <a:ext cx="311317" cy="290393"/>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38" name="椭圆 137">
            <a:extLst>
              <a:ext uri="{FF2B5EF4-FFF2-40B4-BE49-F238E27FC236}">
                <a16:creationId xmlns:a16="http://schemas.microsoft.com/office/drawing/2014/main" id="{C7BE8CA0-C892-E541-A0D0-4BAE08985B36}"/>
              </a:ext>
            </a:extLst>
          </p:cNvPr>
          <p:cNvSpPr>
            <a:spLocks noChangeAspect="1"/>
          </p:cNvSpPr>
          <p:nvPr/>
        </p:nvSpPr>
        <p:spPr>
          <a:xfrm>
            <a:off x="10288516" y="2120762"/>
            <a:ext cx="80881" cy="80881"/>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44" name="椭圆 143">
            <a:extLst>
              <a:ext uri="{FF2B5EF4-FFF2-40B4-BE49-F238E27FC236}">
                <a16:creationId xmlns:a16="http://schemas.microsoft.com/office/drawing/2014/main" id="{ACB43811-3289-5347-BEC2-A5631928D221}"/>
              </a:ext>
            </a:extLst>
          </p:cNvPr>
          <p:cNvSpPr>
            <a:spLocks noChangeAspect="1"/>
          </p:cNvSpPr>
          <p:nvPr/>
        </p:nvSpPr>
        <p:spPr>
          <a:xfrm>
            <a:off x="9864201" y="2179639"/>
            <a:ext cx="79300" cy="793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48" name="矩形 147">
            <a:extLst>
              <a:ext uri="{FF2B5EF4-FFF2-40B4-BE49-F238E27FC236}">
                <a16:creationId xmlns:a16="http://schemas.microsoft.com/office/drawing/2014/main" id="{2E5F8BED-B669-E540-BD6B-663AADD1D274}"/>
              </a:ext>
            </a:extLst>
          </p:cNvPr>
          <p:cNvSpPr/>
          <p:nvPr/>
        </p:nvSpPr>
        <p:spPr>
          <a:xfrm>
            <a:off x="9970895" y="3481406"/>
            <a:ext cx="2309971" cy="402059"/>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20/9: </a:t>
            </a:r>
            <a:r>
              <a:rPr kumimoji="1" lang="en-US" altLang="zh-CN" sz="1000" b="1" dirty="0">
                <a:solidFill>
                  <a:schemeClr val="tx1"/>
                </a:solidFill>
                <a:latin typeface="Calibri" panose="020F0502020204030204" pitchFamily="34" charset="0"/>
                <a:cs typeface="Calibri" panose="020F0502020204030204" pitchFamily="34" charset="0"/>
              </a:rPr>
              <a:t>A</a:t>
            </a:r>
            <a:r>
              <a:rPr lang="en-US" altLang="zh-CN" sz="1000" b="1" dirty="0">
                <a:solidFill>
                  <a:schemeClr val="tx1"/>
                </a:solidFill>
                <a:latin typeface="Calibri" panose="020F0502020204030204" pitchFamily="34" charset="0"/>
                <a:cs typeface="Calibri" panose="020F0502020204030204" pitchFamily="34" charset="0"/>
              </a:rPr>
              <a:t>nother lockdown</a:t>
            </a:r>
            <a:r>
              <a:rPr lang="zh-CN" altLang="en-US" sz="1000" b="1" dirty="0">
                <a:solidFill>
                  <a:schemeClr val="tx1"/>
                </a:solidFill>
                <a:latin typeface="Calibri" panose="020F0502020204030204" pitchFamily="34" charset="0"/>
                <a:cs typeface="Calibri" panose="020F0502020204030204" pitchFamily="34" charset="0"/>
              </a:rPr>
              <a:t> </a:t>
            </a:r>
            <a:r>
              <a:rPr lang="en-US" altLang="zh-CN" sz="1000" dirty="0">
                <a:solidFill>
                  <a:schemeClr val="tx1"/>
                </a:solidFill>
                <a:latin typeface="Calibri" panose="020F0502020204030204" pitchFamily="34" charset="0"/>
                <a:cs typeface="Calibri" panose="020F0502020204030204" pitchFamily="34" charset="0"/>
              </a:rPr>
              <a:t>in the U.S. U.K’s infection rate reached 50,000 per day.</a:t>
            </a:r>
            <a:endParaRPr kumimoji="1" lang="en-US" altLang="zh-CN" sz="1000" dirty="0">
              <a:solidFill>
                <a:schemeClr val="tx1"/>
              </a:solidFill>
              <a:latin typeface="Calibri" panose="020F0502020204030204" pitchFamily="34" charset="0"/>
              <a:cs typeface="Calibri" panose="020F0502020204030204" pitchFamily="34" charset="0"/>
            </a:endParaRPr>
          </a:p>
        </p:txBody>
      </p:sp>
      <p:sp>
        <p:nvSpPr>
          <p:cNvPr id="172" name="Rectangle 4">
            <a:extLst>
              <a:ext uri="{FF2B5EF4-FFF2-40B4-BE49-F238E27FC236}">
                <a16:creationId xmlns:a16="http://schemas.microsoft.com/office/drawing/2014/main" id="{83E9C7AC-C1AC-F048-9CDB-CA37CCA6E23D}"/>
              </a:ext>
            </a:extLst>
          </p:cNvPr>
          <p:cNvSpPr/>
          <p:nvPr/>
        </p:nvSpPr>
        <p:spPr>
          <a:xfrm>
            <a:off x="726591" y="1367484"/>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onstant</a:t>
            </a:r>
            <a:r>
              <a:rPr kumimoji="0" lang="zh-CN" altLang="en-US"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a:t>
            </a: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e</a:t>
            </a:r>
            <a:r>
              <a:rPr lang="en-US" altLang="zh-CN" sz="1600" b="1" dirty="0" err="1">
                <a:solidFill>
                  <a:prstClr val="black"/>
                </a:solidFill>
                <a:latin typeface="Calibri" panose="020F0502020204030204" pitchFamily="34" charset="0"/>
                <a:cs typeface="Calibri" panose="020F0502020204030204" pitchFamily="34" charset="0"/>
              </a:rPr>
              <a:t>xpansion</a:t>
            </a:r>
            <a:r>
              <a:rPr kumimoji="0" lang="zh-CN" altLang="en-US"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a:t>
            </a: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of business scope makes DIS r</a:t>
            </a:r>
            <a:r>
              <a:rPr lang="en-US" altLang="zh-CN" sz="1600" b="1" dirty="0" err="1">
                <a:solidFill>
                  <a:prstClr val="black"/>
                </a:solidFill>
                <a:latin typeface="Calibri" panose="020F0502020204030204" pitchFamily="34" charset="0"/>
                <a:cs typeface="Calibri" panose="020F0502020204030204" pitchFamily="34" charset="0"/>
              </a:rPr>
              <a:t>obust</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nvGrpSpPr>
          <p:cNvPr id="106" name="组合 105">
            <a:extLst>
              <a:ext uri="{FF2B5EF4-FFF2-40B4-BE49-F238E27FC236}">
                <a16:creationId xmlns:a16="http://schemas.microsoft.com/office/drawing/2014/main" id="{9CBCCB15-F881-BA4A-A81B-68DDA992DF87}"/>
              </a:ext>
            </a:extLst>
          </p:cNvPr>
          <p:cNvGrpSpPr/>
          <p:nvPr/>
        </p:nvGrpSpPr>
        <p:grpSpPr>
          <a:xfrm>
            <a:off x="3546728" y="1853630"/>
            <a:ext cx="1713943" cy="660830"/>
            <a:chOff x="4461716" y="1790346"/>
            <a:chExt cx="1713943" cy="660830"/>
          </a:xfrm>
        </p:grpSpPr>
        <p:sp>
          <p:nvSpPr>
            <p:cNvPr id="109" name="矩形 108">
              <a:extLst>
                <a:ext uri="{FF2B5EF4-FFF2-40B4-BE49-F238E27FC236}">
                  <a16:creationId xmlns:a16="http://schemas.microsoft.com/office/drawing/2014/main" id="{0A36C250-DC11-5340-BB0A-968A8889527A}"/>
                </a:ext>
              </a:extLst>
            </p:cNvPr>
            <p:cNvSpPr/>
            <p:nvPr/>
          </p:nvSpPr>
          <p:spPr>
            <a:xfrm>
              <a:off x="4461716" y="1790346"/>
              <a:ext cx="268941" cy="196981"/>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10" name="文本框 109">
              <a:extLst>
                <a:ext uri="{FF2B5EF4-FFF2-40B4-BE49-F238E27FC236}">
                  <a16:creationId xmlns:a16="http://schemas.microsoft.com/office/drawing/2014/main" id="{FA4870BC-1E9C-FB4E-8AD1-858D5B00E27E}"/>
                </a:ext>
              </a:extLst>
            </p:cNvPr>
            <p:cNvSpPr txBox="1"/>
            <p:nvPr/>
          </p:nvSpPr>
          <p:spPr>
            <a:xfrm>
              <a:off x="4865577" y="1808535"/>
              <a:ext cx="1094550"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News information</a:t>
              </a:r>
              <a:endParaRPr kumimoji="1" lang="zh-CN" altLang="en-US" sz="900" dirty="0" err="1">
                <a:latin typeface="Calibri" panose="020F0502020204030204" pitchFamily="34" charset="0"/>
                <a:cs typeface="Calibri" panose="020F0502020204030204" pitchFamily="34" charset="0"/>
              </a:endParaRPr>
            </a:p>
          </p:txBody>
        </p:sp>
        <p:sp>
          <p:nvSpPr>
            <p:cNvPr id="111" name="矩形 110">
              <a:extLst>
                <a:ext uri="{FF2B5EF4-FFF2-40B4-BE49-F238E27FC236}">
                  <a16:creationId xmlns:a16="http://schemas.microsoft.com/office/drawing/2014/main" id="{A1C43596-1756-CE46-96E5-9377C2D75B0A}"/>
                </a:ext>
              </a:extLst>
            </p:cNvPr>
            <p:cNvSpPr/>
            <p:nvPr/>
          </p:nvSpPr>
          <p:spPr>
            <a:xfrm>
              <a:off x="4461716" y="2021503"/>
              <a:ext cx="268941" cy="196981"/>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12" name="文本框 111">
              <a:extLst>
                <a:ext uri="{FF2B5EF4-FFF2-40B4-BE49-F238E27FC236}">
                  <a16:creationId xmlns:a16="http://schemas.microsoft.com/office/drawing/2014/main" id="{66A70B43-E523-DC44-990C-439ED7EC3A30}"/>
                </a:ext>
              </a:extLst>
            </p:cNvPr>
            <p:cNvSpPr txBox="1"/>
            <p:nvPr/>
          </p:nvSpPr>
          <p:spPr>
            <a:xfrm>
              <a:off x="4865577" y="2053817"/>
              <a:ext cx="1310082"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Market information</a:t>
              </a:r>
              <a:endParaRPr kumimoji="1" lang="zh-CN" altLang="en-US" sz="900" dirty="0" err="1">
                <a:latin typeface="Calibri" panose="020F0502020204030204" pitchFamily="34" charset="0"/>
                <a:cs typeface="Calibri" panose="020F0502020204030204" pitchFamily="34" charset="0"/>
              </a:endParaRPr>
            </a:p>
          </p:txBody>
        </p:sp>
        <p:sp>
          <p:nvSpPr>
            <p:cNvPr id="122" name="文本框 121">
              <a:extLst>
                <a:ext uri="{FF2B5EF4-FFF2-40B4-BE49-F238E27FC236}">
                  <a16:creationId xmlns:a16="http://schemas.microsoft.com/office/drawing/2014/main" id="{8AC78028-158E-9D46-97D9-45CEFAAF0DB6}"/>
                </a:ext>
              </a:extLst>
            </p:cNvPr>
            <p:cNvSpPr txBox="1"/>
            <p:nvPr/>
          </p:nvSpPr>
          <p:spPr>
            <a:xfrm>
              <a:off x="4865577" y="2291382"/>
              <a:ext cx="1094550"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Financial information</a:t>
              </a:r>
              <a:endParaRPr kumimoji="1" lang="zh-CN" altLang="en-US" sz="900" dirty="0" err="1">
                <a:latin typeface="Calibri" panose="020F0502020204030204" pitchFamily="34" charset="0"/>
                <a:cs typeface="Calibri" panose="020F0502020204030204" pitchFamily="34" charset="0"/>
              </a:endParaRPr>
            </a:p>
          </p:txBody>
        </p:sp>
        <p:sp>
          <p:nvSpPr>
            <p:cNvPr id="123" name="矩形 122">
              <a:extLst>
                <a:ext uri="{FF2B5EF4-FFF2-40B4-BE49-F238E27FC236}">
                  <a16:creationId xmlns:a16="http://schemas.microsoft.com/office/drawing/2014/main" id="{DA2A8E7D-4F9D-C646-93E8-63BF3D266076}"/>
                </a:ext>
              </a:extLst>
            </p:cNvPr>
            <p:cNvSpPr/>
            <p:nvPr/>
          </p:nvSpPr>
          <p:spPr>
            <a:xfrm>
              <a:off x="4461716" y="2254195"/>
              <a:ext cx="268941" cy="196981"/>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grpSp>
      <p:graphicFrame>
        <p:nvGraphicFramePr>
          <p:cNvPr id="154" name="图表 153">
            <a:extLst>
              <a:ext uri="{FF2B5EF4-FFF2-40B4-BE49-F238E27FC236}">
                <a16:creationId xmlns:a16="http://schemas.microsoft.com/office/drawing/2014/main" id="{75594C34-0B24-F54B-8BDB-7A9F522F3E45}"/>
              </a:ext>
            </a:extLst>
          </p:cNvPr>
          <p:cNvGraphicFramePr/>
          <p:nvPr/>
        </p:nvGraphicFramePr>
        <p:xfrm>
          <a:off x="345478" y="5059629"/>
          <a:ext cx="5943600" cy="1336864"/>
        </p:xfrm>
        <a:graphic>
          <a:graphicData uri="http://schemas.openxmlformats.org/drawingml/2006/chart">
            <c:chart xmlns:c="http://schemas.openxmlformats.org/drawingml/2006/chart" xmlns:r="http://schemas.openxmlformats.org/officeDocument/2006/relationships" r:id="rId11"/>
          </a:graphicData>
        </a:graphic>
      </p:graphicFrame>
      <p:sp>
        <p:nvSpPr>
          <p:cNvPr id="124" name="矩形 123">
            <a:extLst>
              <a:ext uri="{FF2B5EF4-FFF2-40B4-BE49-F238E27FC236}">
                <a16:creationId xmlns:a16="http://schemas.microsoft.com/office/drawing/2014/main" id="{0C504ACB-FDEA-4A43-9878-9A587A9ED0DD}"/>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latin typeface="Calibri" panose="020F0502020204030204" pitchFamily="34" charset="0"/>
              <a:cs typeface="Calibri" panose="020F0502020204030204" pitchFamily="34" charset="0"/>
            </a:endParaRPr>
          </a:p>
        </p:txBody>
      </p:sp>
      <p:sp>
        <p:nvSpPr>
          <p:cNvPr id="134" name="TextBox 61">
            <a:extLst>
              <a:ext uri="{FF2B5EF4-FFF2-40B4-BE49-F238E27FC236}">
                <a16:creationId xmlns:a16="http://schemas.microsoft.com/office/drawing/2014/main" id="{7274A7BD-0B68-B549-B647-68B74DD78197}"/>
              </a:ext>
            </a:extLst>
          </p:cNvPr>
          <p:cNvSpPr txBox="1"/>
          <p:nvPr/>
        </p:nvSpPr>
        <p:spPr>
          <a:xfrm>
            <a:off x="312995" y="6867231"/>
            <a:ext cx="8149809" cy="244004"/>
          </a:xfrm>
          <a:prstGeom prst="rect">
            <a:avLst/>
          </a:prstGeom>
          <a:noFill/>
        </p:spPr>
        <p:txBody>
          <a:bodyPr wrap="square" lIns="44622" tIns="44622" rIns="44622" bIns="44622" rtlCol="0">
            <a:spAutoFit/>
          </a:bodyPr>
          <a:lstStyle/>
          <a:p>
            <a:pPr lvl="0">
              <a:defRPr/>
            </a:pPr>
            <a:r>
              <a:rPr lang="en-US" altLang="zh-CN" sz="1000" i="1" dirty="0">
                <a:solidFill>
                  <a:prstClr val="black"/>
                </a:solidFill>
                <a:latin typeface="Calibri" panose="020F0502020204030204" pitchFamily="34" charset="0"/>
                <a:cs typeface="Calibri" panose="020F0502020204030204" pitchFamily="34" charset="0"/>
              </a:rPr>
              <a:t>Source: Yahoo Finance; Financial Modelling Prep; Macrotrends; Desk research</a:t>
            </a:r>
            <a:endParaRPr lang="zh-CN" altLang="en-US" sz="1000" i="1" dirty="0">
              <a:solidFill>
                <a:prstClr val="black"/>
              </a:solidFill>
              <a:latin typeface="Calibri" panose="020F0502020204030204" pitchFamily="34" charset="0"/>
              <a:cs typeface="Calibri" panose="020F0502020204030204" pitchFamily="34" charset="0"/>
            </a:endParaRPr>
          </a:p>
        </p:txBody>
      </p:sp>
      <p:sp>
        <p:nvSpPr>
          <p:cNvPr id="132" name="TextBox 61">
            <a:extLst>
              <a:ext uri="{FF2B5EF4-FFF2-40B4-BE49-F238E27FC236}">
                <a16:creationId xmlns:a16="http://schemas.microsoft.com/office/drawing/2014/main" id="{76A32421-0C7B-BF43-BDCC-00766505A1FF}"/>
              </a:ext>
            </a:extLst>
          </p:cNvPr>
          <p:cNvSpPr txBox="1"/>
          <p:nvPr/>
        </p:nvSpPr>
        <p:spPr>
          <a:xfrm>
            <a:off x="6435716" y="6865873"/>
            <a:ext cx="5145249" cy="397892"/>
          </a:xfrm>
          <a:prstGeom prst="rect">
            <a:avLst/>
          </a:prstGeom>
          <a:noFill/>
        </p:spPr>
        <p:txBody>
          <a:bodyPr wrap="square" lIns="44622" tIns="44622" rIns="44622" bIns="44622" rtlCol="0">
            <a:spAutoFit/>
          </a:bodyPr>
          <a:lstStyle/>
          <a:p>
            <a:pPr>
              <a:defRPr/>
            </a:pPr>
            <a:r>
              <a:rPr lang="en-US" altLang="zh-CN" sz="1000" i="1" dirty="0">
                <a:solidFill>
                  <a:prstClr val="black"/>
                </a:solidFill>
                <a:latin typeface="Calibri" panose="020F0502020204030204" pitchFamily="34" charset="0"/>
                <a:cs typeface="Calibri" panose="020F0502020204030204" pitchFamily="34" charset="0"/>
              </a:rPr>
              <a:t>Note: ratios of comparable companies are the medians of</a:t>
            </a:r>
            <a:r>
              <a:rPr lang="zh-CN" altLang="en-US" sz="1000" i="1" dirty="0">
                <a:solidFill>
                  <a:prstClr val="black"/>
                </a:solidFill>
                <a:latin typeface="Calibri" panose="020F0502020204030204" pitchFamily="34" charset="0"/>
                <a:cs typeface="Calibri" panose="020F0502020204030204" pitchFamily="34" charset="0"/>
              </a:rPr>
              <a:t> </a:t>
            </a:r>
            <a:r>
              <a:rPr lang="en-US" altLang="zh-CN" sz="1000" i="1" dirty="0">
                <a:solidFill>
                  <a:prstClr val="black"/>
                </a:solidFill>
                <a:latin typeface="Calibri" panose="020F0502020204030204" pitchFamily="34" charset="0"/>
                <a:cs typeface="Calibri" panose="020F0502020204030204" pitchFamily="34" charset="0"/>
              </a:rPr>
              <a:t>CMSCA, NFLX, FB, AMC, WWE</a:t>
            </a:r>
          </a:p>
          <a:p>
            <a:pPr>
              <a:defRPr/>
            </a:pPr>
            <a:endParaRPr lang="zh-CN" altLang="en-US" sz="1000" i="1"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5665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ct 84" hidden="1"/>
          <p:cNvGraphicFramePr>
            <a:graphicFrameLocks noChangeAspect="1"/>
          </p:cNvGraphicFramePr>
          <p:nvPr>
            <p:custDataLst>
              <p:tags r:id="rId2"/>
            </p:custDataLst>
          </p:nvPr>
        </p:nvGraphicFramePr>
        <p:xfrm>
          <a:off x="1970" y="-863013"/>
          <a:ext cx="1967" cy="1967"/>
        </p:xfrm>
        <a:graphic>
          <a:graphicData uri="http://schemas.openxmlformats.org/presentationml/2006/ole">
            <mc:AlternateContent xmlns:mc="http://schemas.openxmlformats.org/markup-compatibility/2006">
              <mc:Choice xmlns:v="urn:schemas-microsoft-com:vml" Requires="v">
                <p:oleObj spid="_x0000_s419865" name="think-cell Slide" r:id="rId6" imgW="526" imgH="526" progId="TCLayout.ActiveDocument.1">
                  <p:embed/>
                </p:oleObj>
              </mc:Choice>
              <mc:Fallback>
                <p:oleObj name="think-cell Slide" r:id="rId6" imgW="526" imgH="526" progId="TCLayout.ActiveDocument.1">
                  <p:embed/>
                  <p:pic>
                    <p:nvPicPr>
                      <p:cNvPr id="85" name="Object 84" hidden="1"/>
                      <p:cNvPicPr/>
                      <p:nvPr/>
                    </p:nvPicPr>
                    <p:blipFill>
                      <a:blip r:embed="rId7"/>
                      <a:stretch>
                        <a:fillRect/>
                      </a:stretch>
                    </p:blipFill>
                    <p:spPr>
                      <a:xfrm>
                        <a:off x="1970" y="-863013"/>
                        <a:ext cx="1967" cy="1967"/>
                      </a:xfrm>
                      <a:prstGeom prst="rect">
                        <a:avLst/>
                      </a:prstGeom>
                    </p:spPr>
                  </p:pic>
                </p:oleObj>
              </mc:Fallback>
            </mc:AlternateContent>
          </a:graphicData>
        </a:graphic>
      </p:graphicFrame>
      <p:sp>
        <p:nvSpPr>
          <p:cNvPr id="72" name="Rectangle 71" hidden="1"/>
          <p:cNvSpPr/>
          <p:nvPr>
            <p:custDataLst>
              <p:tags r:id="rId3"/>
            </p:custDataLst>
          </p:nvPr>
        </p:nvSpPr>
        <p:spPr bwMode="auto">
          <a:xfrm>
            <a:off x="1" y="-864982"/>
            <a:ext cx="196771" cy="196771"/>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zh-CN" altLang="en-US" sz="1735" b="1">
              <a:solidFill>
                <a:prstClr val="black"/>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336939" y="410538"/>
            <a:ext cx="12167799" cy="856680"/>
          </a:xfrm>
        </p:spPr>
        <p:txBody>
          <a:bodyPr anchor="ctr"/>
          <a:lstStyle/>
          <a:p>
            <a:r>
              <a:rPr lang="en-US" altLang="zh-CN" sz="2800" dirty="0">
                <a:latin typeface="Calibri" panose="020F0502020204030204" pitchFamily="34" charset="0"/>
                <a:cs typeface="Calibri" panose="020F0502020204030204" pitchFamily="34" charset="0"/>
              </a:rPr>
              <a:t>PEP underperforms market, but </a:t>
            </a:r>
            <a:r>
              <a:rPr lang="en-US" altLang="zh-CN" sz="2800" dirty="0"/>
              <a:t>its </a:t>
            </a:r>
            <a:r>
              <a:rPr lang="en-US" altLang="zh-CN" sz="2800" dirty="0">
                <a:latin typeface="Calibri" panose="020F0502020204030204" pitchFamily="34" charset="0"/>
                <a:cs typeface="Calibri" panose="020F0502020204030204" pitchFamily="34" charset="0"/>
              </a:rPr>
              <a:t>strong financial performance raised its</a:t>
            </a:r>
            <a:r>
              <a:rPr lang="en-US" altLang="zh-CN" sz="2800" dirty="0"/>
              <a:t> value and share price</a:t>
            </a:r>
            <a:endParaRPr lang="zh-CN" altLang="en-US" sz="2800" dirty="0">
              <a:latin typeface="Calibri" panose="020F0502020204030204" pitchFamily="34" charset="0"/>
              <a:cs typeface="Calibri" panose="020F0502020204030204" pitchFamily="34" charset="0"/>
            </a:endParaRPr>
          </a:p>
        </p:txBody>
      </p:sp>
      <p:sp>
        <p:nvSpPr>
          <p:cNvPr id="7" name="TextBox 58">
            <a:extLst>
              <a:ext uri="{FF2B5EF4-FFF2-40B4-BE49-F238E27FC236}">
                <a16:creationId xmlns:a16="http://schemas.microsoft.com/office/drawing/2014/main" id="{057106DD-83B3-1D41-A622-04F44FD6892B}"/>
              </a:ext>
            </a:extLst>
          </p:cNvPr>
          <p:cNvSpPr txBox="1"/>
          <p:nvPr/>
        </p:nvSpPr>
        <p:spPr>
          <a:xfrm>
            <a:off x="359405" y="15951"/>
            <a:ext cx="8476645"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arket Research: PepsiCo</a:t>
            </a:r>
            <a:r>
              <a:rPr lang="zh-CN" altLang="en-US" sz="1600" b="1" dirty="0">
                <a:solidFill>
                  <a:prstClr val="black"/>
                </a:solidFill>
                <a:latin typeface="Calibri" panose="020F0502020204030204" pitchFamily="34" charset="0"/>
                <a:cs typeface="Calibri" panose="020F0502020204030204" pitchFamily="34" charset="0"/>
              </a:rPr>
              <a:t> </a:t>
            </a:r>
            <a:r>
              <a:rPr lang="en-US" altLang="zh-CN" sz="1600" b="1" dirty="0">
                <a:solidFill>
                  <a:prstClr val="black"/>
                </a:solidFill>
                <a:latin typeface="Calibri" panose="020F0502020204030204" pitchFamily="34" charset="0"/>
                <a:cs typeface="Calibri" panose="020F0502020204030204" pitchFamily="34" charset="0"/>
              </a:rPr>
              <a:t>(PEP)</a:t>
            </a:r>
            <a:endParaRPr lang="zh-CN" altLang="en-US" sz="1600" dirty="0">
              <a:solidFill>
                <a:srgbClr val="FFFFFF">
                  <a:lumMod val="65000"/>
                </a:srgbClr>
              </a:solidFill>
              <a:latin typeface="Calibri" panose="020F0502020204030204" pitchFamily="34" charset="0"/>
              <a:cs typeface="Calibri" panose="020F0502020204030204" pitchFamily="34" charset="0"/>
            </a:endParaRPr>
          </a:p>
        </p:txBody>
      </p:sp>
      <p:sp>
        <p:nvSpPr>
          <p:cNvPr id="8" name="TextBox 61">
            <a:extLst>
              <a:ext uri="{FF2B5EF4-FFF2-40B4-BE49-F238E27FC236}">
                <a16:creationId xmlns:a16="http://schemas.microsoft.com/office/drawing/2014/main" id="{1037E287-9E0B-3143-AA4B-428871C89524}"/>
              </a:ext>
            </a:extLst>
          </p:cNvPr>
          <p:cNvSpPr txBox="1"/>
          <p:nvPr/>
        </p:nvSpPr>
        <p:spPr>
          <a:xfrm>
            <a:off x="312995" y="6867231"/>
            <a:ext cx="8149809" cy="244004"/>
          </a:xfrm>
          <a:prstGeom prst="rect">
            <a:avLst/>
          </a:prstGeom>
          <a:noFill/>
        </p:spPr>
        <p:txBody>
          <a:bodyPr wrap="square" lIns="44622" tIns="44622" rIns="44622" bIns="44622" rtlCol="0">
            <a:spAutoFit/>
          </a:bodyPr>
          <a:lstStyle/>
          <a:p>
            <a:pPr lvl="0">
              <a:defRPr/>
            </a:pPr>
            <a:r>
              <a:rPr lang="en-US" altLang="zh-CN" sz="1000" i="1" dirty="0">
                <a:solidFill>
                  <a:prstClr val="black"/>
                </a:solidFill>
                <a:latin typeface="Calibri" panose="020F0502020204030204" pitchFamily="34" charset="0"/>
                <a:cs typeface="Calibri" panose="020F0502020204030204" pitchFamily="34" charset="0"/>
              </a:rPr>
              <a:t>Source: Yahoo Finance; Financial Modelling Prep; Macrotrends; Desk research</a:t>
            </a:r>
            <a:endParaRPr lang="zh-CN" altLang="en-US" sz="1000" i="1" dirty="0">
              <a:solidFill>
                <a:prstClr val="black"/>
              </a:solidFill>
              <a:latin typeface="Calibri" panose="020F0502020204030204" pitchFamily="34" charset="0"/>
              <a:cs typeface="Calibri" panose="020F0502020204030204" pitchFamily="34" charset="0"/>
            </a:endParaRPr>
          </a:p>
        </p:txBody>
      </p:sp>
      <p:graphicFrame>
        <p:nvGraphicFramePr>
          <p:cNvPr id="19" name="图表 18">
            <a:extLst>
              <a:ext uri="{FF2B5EF4-FFF2-40B4-BE49-F238E27FC236}">
                <a16:creationId xmlns:a16="http://schemas.microsoft.com/office/drawing/2014/main" id="{7B41CC02-26CF-8640-AB96-694D265AB43E}"/>
              </a:ext>
            </a:extLst>
          </p:cNvPr>
          <p:cNvGraphicFramePr/>
          <p:nvPr/>
        </p:nvGraphicFramePr>
        <p:xfrm>
          <a:off x="345478" y="5059629"/>
          <a:ext cx="5943600" cy="1336864"/>
        </p:xfrm>
        <a:graphic>
          <a:graphicData uri="http://schemas.openxmlformats.org/drawingml/2006/chart">
            <c:chart xmlns:c="http://schemas.openxmlformats.org/drawingml/2006/chart" xmlns:r="http://schemas.openxmlformats.org/officeDocument/2006/relationships" r:id="rId8"/>
          </a:graphicData>
        </a:graphic>
      </p:graphicFrame>
      <p:grpSp>
        <p:nvGrpSpPr>
          <p:cNvPr id="42" name="Group 3">
            <a:extLst>
              <a:ext uri="{FF2B5EF4-FFF2-40B4-BE49-F238E27FC236}">
                <a16:creationId xmlns:a16="http://schemas.microsoft.com/office/drawing/2014/main" id="{9390FFD3-FBF2-BA49-A4D1-CBFA7E61C4E9}"/>
              </a:ext>
            </a:extLst>
          </p:cNvPr>
          <p:cNvGrpSpPr/>
          <p:nvPr/>
        </p:nvGrpSpPr>
        <p:grpSpPr>
          <a:xfrm>
            <a:off x="354046" y="1346690"/>
            <a:ext cx="5976854" cy="416294"/>
            <a:chOff x="260073" y="1362432"/>
            <a:chExt cx="5976854" cy="416294"/>
          </a:xfrm>
        </p:grpSpPr>
        <p:sp>
          <p:nvSpPr>
            <p:cNvPr id="43" name="Rectangle 4">
              <a:extLst>
                <a:ext uri="{FF2B5EF4-FFF2-40B4-BE49-F238E27FC236}">
                  <a16:creationId xmlns:a16="http://schemas.microsoft.com/office/drawing/2014/main" id="{494E34C4-903E-814E-AFD8-6B6FFA1A8653}"/>
                </a:ext>
              </a:extLst>
            </p:cNvPr>
            <p:cNvSpPr/>
            <p:nvPr/>
          </p:nvSpPr>
          <p:spPr>
            <a:xfrm>
              <a:off x="624840" y="1362432"/>
              <a:ext cx="5612087"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defRPr/>
              </a:pPr>
              <a:r>
                <a:rPr lang="en-US" altLang="zh-CN" sz="1600" b="1" dirty="0">
                  <a:solidFill>
                    <a:prstClr val="black"/>
                  </a:solidFill>
                  <a:latin typeface="Calibri" panose="020F0502020204030204" pitchFamily="34" charset="0"/>
                  <a:cs typeface="Calibri" panose="020F0502020204030204" pitchFamily="34" charset="0"/>
                </a:rPr>
                <a:t>PEP is in a good financial situation, leading to rises in share price after financial reports are released</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44" name="Straight Connector 6">
              <a:extLst>
                <a:ext uri="{FF2B5EF4-FFF2-40B4-BE49-F238E27FC236}">
                  <a16:creationId xmlns:a16="http://schemas.microsoft.com/office/drawing/2014/main" id="{0236ADBC-3F17-6540-A704-72A07C00ABB3}"/>
                </a:ext>
              </a:extLst>
            </p:cNvPr>
            <p:cNvCxnSpPr>
              <a:cxnSpLocks/>
            </p:cNvCxnSpPr>
            <p:nvPr/>
          </p:nvCxnSpPr>
          <p:spPr>
            <a:xfrm>
              <a:off x="260073" y="1778726"/>
              <a:ext cx="595785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Rectangle 34">
            <a:extLst>
              <a:ext uri="{FF2B5EF4-FFF2-40B4-BE49-F238E27FC236}">
                <a16:creationId xmlns:a16="http://schemas.microsoft.com/office/drawing/2014/main" id="{19FE3757-5043-3F42-813D-80EC8E5B5021}"/>
              </a:ext>
            </a:extLst>
          </p:cNvPr>
          <p:cNvSpPr/>
          <p:nvPr/>
        </p:nvSpPr>
        <p:spPr>
          <a:xfrm>
            <a:off x="335047" y="1419431"/>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1</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51" name="Group 3">
            <a:extLst>
              <a:ext uri="{FF2B5EF4-FFF2-40B4-BE49-F238E27FC236}">
                <a16:creationId xmlns:a16="http://schemas.microsoft.com/office/drawing/2014/main" id="{F8165DE1-7D2C-3C4B-8AE3-B0397F953761}"/>
              </a:ext>
            </a:extLst>
          </p:cNvPr>
          <p:cNvGrpSpPr/>
          <p:nvPr/>
        </p:nvGrpSpPr>
        <p:grpSpPr>
          <a:xfrm>
            <a:off x="6440437" y="4285421"/>
            <a:ext cx="6098976" cy="393072"/>
            <a:chOff x="260073" y="1397601"/>
            <a:chExt cx="6098976" cy="393072"/>
          </a:xfrm>
        </p:grpSpPr>
        <p:sp>
          <p:nvSpPr>
            <p:cNvPr id="52" name="Rectangle 4">
              <a:extLst>
                <a:ext uri="{FF2B5EF4-FFF2-40B4-BE49-F238E27FC236}">
                  <a16:creationId xmlns:a16="http://schemas.microsoft.com/office/drawing/2014/main" id="{91471235-2BAE-D145-923D-274833FA8495}"/>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black"/>
                  </a:solidFill>
                  <a:latin typeface="Calibri" panose="020F0502020204030204" pitchFamily="34" charset="0"/>
                  <a:cs typeface="Calibri" panose="020F0502020204030204" pitchFamily="34" charset="0"/>
                </a:rPr>
                <a:t>Compared to industry, PepsiCo has a relatively high performance</a:t>
              </a:r>
              <a:endPar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cxnSp>
          <p:nvCxnSpPr>
            <p:cNvPr id="56" name="Straight Connector 6">
              <a:extLst>
                <a:ext uri="{FF2B5EF4-FFF2-40B4-BE49-F238E27FC236}">
                  <a16:creationId xmlns:a16="http://schemas.microsoft.com/office/drawing/2014/main" id="{84CF8DD7-DBE3-6942-BD72-A466894D1A77}"/>
                </a:ext>
              </a:extLst>
            </p:cNvPr>
            <p:cNvCxnSpPr>
              <a:cxnSpLocks/>
            </p:cNvCxnSpPr>
            <p:nvPr/>
          </p:nvCxnSpPr>
          <p:spPr>
            <a:xfrm>
              <a:off x="260073" y="1778726"/>
              <a:ext cx="6098976" cy="1194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7" name="Rectangle 34">
            <a:extLst>
              <a:ext uri="{FF2B5EF4-FFF2-40B4-BE49-F238E27FC236}">
                <a16:creationId xmlns:a16="http://schemas.microsoft.com/office/drawing/2014/main" id="{69347EEF-D644-5E40-8058-26F4387CAADD}"/>
              </a:ext>
            </a:extLst>
          </p:cNvPr>
          <p:cNvSpPr/>
          <p:nvPr/>
        </p:nvSpPr>
        <p:spPr>
          <a:xfrm>
            <a:off x="6421438" y="4322993"/>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700" b="1" dirty="0">
                <a:solidFill>
                  <a:srgbClr val="FFFFFF"/>
                </a:solidFill>
                <a:latin typeface="Calibri" panose="020F0502020204030204" pitchFamily="34" charset="0"/>
                <a:cs typeface="Calibri" panose="020F0502020204030204" pitchFamily="34" charset="0"/>
              </a:rPr>
              <a:t>3</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aphicFrame>
        <p:nvGraphicFramePr>
          <p:cNvPr id="58" name="图表 57">
            <a:extLst>
              <a:ext uri="{FF2B5EF4-FFF2-40B4-BE49-F238E27FC236}">
                <a16:creationId xmlns:a16="http://schemas.microsoft.com/office/drawing/2014/main" id="{93E1BD26-62EA-764A-AC10-B6297B078008}"/>
              </a:ext>
            </a:extLst>
          </p:cNvPr>
          <p:cNvGraphicFramePr/>
          <p:nvPr/>
        </p:nvGraphicFramePr>
        <p:xfrm>
          <a:off x="6440437" y="5020468"/>
          <a:ext cx="3005188" cy="134976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3" name="图表 62">
            <a:extLst>
              <a:ext uri="{FF2B5EF4-FFF2-40B4-BE49-F238E27FC236}">
                <a16:creationId xmlns:a16="http://schemas.microsoft.com/office/drawing/2014/main" id="{EF46855D-07E6-044D-85CB-869E4B83CC3E}"/>
              </a:ext>
            </a:extLst>
          </p:cNvPr>
          <p:cNvGraphicFramePr/>
          <p:nvPr/>
        </p:nvGraphicFramePr>
        <p:xfrm>
          <a:off x="9445625" y="5020468"/>
          <a:ext cx="3059113" cy="1349764"/>
        </p:xfrm>
        <a:graphic>
          <a:graphicData uri="http://schemas.openxmlformats.org/drawingml/2006/chart">
            <c:chart xmlns:c="http://schemas.openxmlformats.org/drawingml/2006/chart" xmlns:r="http://schemas.openxmlformats.org/officeDocument/2006/relationships" r:id="rId10"/>
          </a:graphicData>
        </a:graphic>
      </p:graphicFrame>
      <p:sp>
        <p:nvSpPr>
          <p:cNvPr id="68" name="文本框 67">
            <a:extLst>
              <a:ext uri="{FF2B5EF4-FFF2-40B4-BE49-F238E27FC236}">
                <a16:creationId xmlns:a16="http://schemas.microsoft.com/office/drawing/2014/main" id="{871983E9-00CC-3544-8A77-3737393DCCF4}"/>
              </a:ext>
            </a:extLst>
          </p:cNvPr>
          <p:cNvSpPr txBox="1"/>
          <p:nvPr/>
        </p:nvSpPr>
        <p:spPr>
          <a:xfrm>
            <a:off x="7476564" y="4674457"/>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P/B Ratio</a:t>
            </a:r>
            <a:endParaRPr kumimoji="1" lang="zh-CN" altLang="en-US" sz="1200" dirty="0" err="1">
              <a:latin typeface="Calibri" panose="020F0502020204030204" pitchFamily="34" charset="0"/>
              <a:cs typeface="Calibri" panose="020F0502020204030204" pitchFamily="34" charset="0"/>
            </a:endParaRPr>
          </a:p>
        </p:txBody>
      </p:sp>
      <p:sp>
        <p:nvSpPr>
          <p:cNvPr id="69" name="文本框 68">
            <a:extLst>
              <a:ext uri="{FF2B5EF4-FFF2-40B4-BE49-F238E27FC236}">
                <a16:creationId xmlns:a16="http://schemas.microsoft.com/office/drawing/2014/main" id="{D44F7746-A684-7344-9D64-77080D45259D}"/>
              </a:ext>
            </a:extLst>
          </p:cNvPr>
          <p:cNvSpPr txBox="1"/>
          <p:nvPr/>
        </p:nvSpPr>
        <p:spPr>
          <a:xfrm>
            <a:off x="10369397" y="4681564"/>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P/E Ratio</a:t>
            </a:r>
            <a:endParaRPr kumimoji="1" lang="zh-CN" altLang="en-US" sz="1200" dirty="0" err="1">
              <a:latin typeface="Calibri" panose="020F0502020204030204" pitchFamily="34" charset="0"/>
              <a:cs typeface="Calibri" panose="020F0502020204030204" pitchFamily="34" charset="0"/>
            </a:endParaRPr>
          </a:p>
        </p:txBody>
      </p:sp>
      <p:grpSp>
        <p:nvGrpSpPr>
          <p:cNvPr id="70" name="组合 69">
            <a:extLst>
              <a:ext uri="{FF2B5EF4-FFF2-40B4-BE49-F238E27FC236}">
                <a16:creationId xmlns:a16="http://schemas.microsoft.com/office/drawing/2014/main" id="{1FDBDB69-EE3F-6442-8872-DDCD49ECDB5A}"/>
              </a:ext>
            </a:extLst>
          </p:cNvPr>
          <p:cNvGrpSpPr/>
          <p:nvPr/>
        </p:nvGrpSpPr>
        <p:grpSpPr>
          <a:xfrm>
            <a:off x="8671300" y="4848426"/>
            <a:ext cx="782592" cy="211203"/>
            <a:chOff x="4443882" y="2772070"/>
            <a:chExt cx="782592" cy="211203"/>
          </a:xfrm>
        </p:grpSpPr>
        <p:cxnSp>
          <p:nvCxnSpPr>
            <p:cNvPr id="71" name="直线连接符 70">
              <a:extLst>
                <a:ext uri="{FF2B5EF4-FFF2-40B4-BE49-F238E27FC236}">
                  <a16:creationId xmlns:a16="http://schemas.microsoft.com/office/drawing/2014/main" id="{5FF4A23F-4D65-8D48-A208-5F6DFBA3083F}"/>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3" name="文本框 72">
              <a:extLst>
                <a:ext uri="{FF2B5EF4-FFF2-40B4-BE49-F238E27FC236}">
                  <a16:creationId xmlns:a16="http://schemas.microsoft.com/office/drawing/2014/main" id="{D9EAEAF1-9627-E04A-92F3-AAD4FB981A89}"/>
                </a:ext>
              </a:extLst>
            </p:cNvPr>
            <p:cNvSpPr txBox="1"/>
            <p:nvPr/>
          </p:nvSpPr>
          <p:spPr>
            <a:xfrm>
              <a:off x="4742379" y="2772070"/>
              <a:ext cx="484095"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PEP</a:t>
              </a:r>
              <a:endParaRPr kumimoji="1" lang="zh-CN" altLang="en-US" sz="900" dirty="0" err="1">
                <a:latin typeface="Calibri" panose="020F0502020204030204" pitchFamily="34" charset="0"/>
                <a:cs typeface="Calibri" panose="020F0502020204030204" pitchFamily="34" charset="0"/>
              </a:endParaRPr>
            </a:p>
          </p:txBody>
        </p:sp>
      </p:grpSp>
      <p:grpSp>
        <p:nvGrpSpPr>
          <p:cNvPr id="74" name="组合 73">
            <a:extLst>
              <a:ext uri="{FF2B5EF4-FFF2-40B4-BE49-F238E27FC236}">
                <a16:creationId xmlns:a16="http://schemas.microsoft.com/office/drawing/2014/main" id="{E46645EA-0241-A74C-8FC1-059CDF3A73BB}"/>
              </a:ext>
            </a:extLst>
          </p:cNvPr>
          <p:cNvGrpSpPr/>
          <p:nvPr/>
        </p:nvGrpSpPr>
        <p:grpSpPr>
          <a:xfrm>
            <a:off x="9724259" y="4848426"/>
            <a:ext cx="1919781" cy="211203"/>
            <a:chOff x="4443882" y="2772070"/>
            <a:chExt cx="1919781" cy="211203"/>
          </a:xfrm>
        </p:grpSpPr>
        <p:cxnSp>
          <p:nvCxnSpPr>
            <p:cNvPr id="75" name="直线连接符 74">
              <a:extLst>
                <a:ext uri="{FF2B5EF4-FFF2-40B4-BE49-F238E27FC236}">
                  <a16:creationId xmlns:a16="http://schemas.microsoft.com/office/drawing/2014/main" id="{4754A27F-F513-A44C-B987-88C8AC0115B1}"/>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6" name="文本框 75">
              <a:extLst>
                <a:ext uri="{FF2B5EF4-FFF2-40B4-BE49-F238E27FC236}">
                  <a16:creationId xmlns:a16="http://schemas.microsoft.com/office/drawing/2014/main" id="{9884E980-E142-C44C-9EBC-D07AF4964293}"/>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Comparable Companies</a:t>
              </a:r>
              <a:endParaRPr kumimoji="1" lang="zh-CN" altLang="en-US" sz="900" dirty="0" err="1">
                <a:latin typeface="Calibri" panose="020F0502020204030204" pitchFamily="34" charset="0"/>
                <a:cs typeface="Calibri" panose="020F0502020204030204" pitchFamily="34" charset="0"/>
              </a:endParaRPr>
            </a:p>
          </p:txBody>
        </p:sp>
      </p:grpSp>
      <p:sp>
        <p:nvSpPr>
          <p:cNvPr id="48" name="圆角矩形 47">
            <a:extLst>
              <a:ext uri="{FF2B5EF4-FFF2-40B4-BE49-F238E27FC236}">
                <a16:creationId xmlns:a16="http://schemas.microsoft.com/office/drawing/2014/main" id="{DB9E61D0-0527-8348-9E28-D87E363D86A0}"/>
              </a:ext>
            </a:extLst>
          </p:cNvPr>
          <p:cNvSpPr/>
          <p:nvPr/>
        </p:nvSpPr>
        <p:spPr>
          <a:xfrm>
            <a:off x="6421439" y="6434027"/>
            <a:ext cx="6083299" cy="417624"/>
          </a:xfrm>
          <a:prstGeom prst="roundRect">
            <a:avLst>
              <a:gd name="adj" fmla="val 12772"/>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Since 2014, PepsiCo has a relatively high P/B ratio and a relatively low P/E ratio, showing a very high ROE. The high ROE comes from its diverse products and frequent M&amp;A</a:t>
            </a:r>
          </a:p>
        </p:txBody>
      </p:sp>
      <p:grpSp>
        <p:nvGrpSpPr>
          <p:cNvPr id="78" name="Group 3">
            <a:extLst>
              <a:ext uri="{FF2B5EF4-FFF2-40B4-BE49-F238E27FC236}">
                <a16:creationId xmlns:a16="http://schemas.microsoft.com/office/drawing/2014/main" id="{8BD9ADA1-95DC-3447-AD31-2481AA1EF876}"/>
              </a:ext>
            </a:extLst>
          </p:cNvPr>
          <p:cNvGrpSpPr/>
          <p:nvPr/>
        </p:nvGrpSpPr>
        <p:grpSpPr>
          <a:xfrm>
            <a:off x="352880" y="4288246"/>
            <a:ext cx="6098976" cy="392179"/>
            <a:chOff x="260073" y="1397601"/>
            <a:chExt cx="6098976" cy="392179"/>
          </a:xfrm>
        </p:grpSpPr>
        <p:sp>
          <p:nvSpPr>
            <p:cNvPr id="79" name="Rectangle 4">
              <a:extLst>
                <a:ext uri="{FF2B5EF4-FFF2-40B4-BE49-F238E27FC236}">
                  <a16:creationId xmlns:a16="http://schemas.microsoft.com/office/drawing/2014/main" id="{57D85C80-2ED3-7448-A195-57A5D3833523}"/>
                </a:ext>
              </a:extLst>
            </p:cNvPr>
            <p:cNvSpPr/>
            <p:nvPr/>
          </p:nvSpPr>
          <p:spPr>
            <a:xfrm>
              <a:off x="624841" y="1397601"/>
              <a:ext cx="5734208" cy="3921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epsiCo has been undervalued since 2010</a:t>
              </a:r>
            </a:p>
          </p:txBody>
        </p:sp>
        <p:cxnSp>
          <p:nvCxnSpPr>
            <p:cNvPr id="80" name="Straight Connector 6">
              <a:extLst>
                <a:ext uri="{FF2B5EF4-FFF2-40B4-BE49-F238E27FC236}">
                  <a16:creationId xmlns:a16="http://schemas.microsoft.com/office/drawing/2014/main" id="{B9B3568C-C476-134A-BB1A-80AE8788254B}"/>
                </a:ext>
              </a:extLst>
            </p:cNvPr>
            <p:cNvCxnSpPr>
              <a:cxnSpLocks/>
            </p:cNvCxnSpPr>
            <p:nvPr/>
          </p:nvCxnSpPr>
          <p:spPr>
            <a:xfrm>
              <a:off x="260073" y="1778726"/>
              <a:ext cx="594687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4" name="Rectangle 34">
            <a:extLst>
              <a:ext uri="{FF2B5EF4-FFF2-40B4-BE49-F238E27FC236}">
                <a16:creationId xmlns:a16="http://schemas.microsoft.com/office/drawing/2014/main" id="{BF8DA7B8-3D9C-7B46-9312-15AD13550593}"/>
              </a:ext>
            </a:extLst>
          </p:cNvPr>
          <p:cNvSpPr/>
          <p:nvPr/>
        </p:nvSpPr>
        <p:spPr>
          <a:xfrm>
            <a:off x="333881" y="4325818"/>
            <a:ext cx="316459" cy="35460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endParaRPr kumimoji="0" lang="zh-CN" altLang="en-US" sz="17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90" name="文本框 89">
            <a:extLst>
              <a:ext uri="{FF2B5EF4-FFF2-40B4-BE49-F238E27FC236}">
                <a16:creationId xmlns:a16="http://schemas.microsoft.com/office/drawing/2014/main" id="{E75AFA44-9E02-2943-936A-A12070053712}"/>
              </a:ext>
            </a:extLst>
          </p:cNvPr>
          <p:cNvSpPr txBox="1"/>
          <p:nvPr/>
        </p:nvSpPr>
        <p:spPr>
          <a:xfrm>
            <a:off x="2851884" y="4687184"/>
            <a:ext cx="1211568" cy="257369"/>
          </a:xfrm>
          <a:prstGeom prst="rect">
            <a:avLst/>
          </a:prstGeom>
          <a:noFill/>
        </p:spPr>
        <p:txBody>
          <a:bodyPr wrap="square" lIns="36000" tIns="36000" rIns="36000" bIns="36000" rtlCol="0">
            <a:spAutoFit/>
          </a:bodyPr>
          <a:lstStyle/>
          <a:p>
            <a:pPr algn="ctr"/>
            <a:r>
              <a:rPr kumimoji="1" lang="en-US" altLang="zh-CN" sz="1200" dirty="0">
                <a:latin typeface="Calibri" panose="020F0502020204030204" pitchFamily="34" charset="0"/>
                <a:cs typeface="Calibri" panose="020F0502020204030204" pitchFamily="34" charset="0"/>
              </a:rPr>
              <a:t>DCF Valuation</a:t>
            </a:r>
            <a:endParaRPr kumimoji="1" lang="zh-CN" altLang="en-US" sz="1200" dirty="0" err="1">
              <a:latin typeface="Calibri" panose="020F0502020204030204" pitchFamily="34" charset="0"/>
              <a:cs typeface="Calibri" panose="020F0502020204030204" pitchFamily="34" charset="0"/>
            </a:endParaRPr>
          </a:p>
        </p:txBody>
      </p:sp>
      <p:grpSp>
        <p:nvGrpSpPr>
          <p:cNvPr id="91" name="组合 90">
            <a:extLst>
              <a:ext uri="{FF2B5EF4-FFF2-40B4-BE49-F238E27FC236}">
                <a16:creationId xmlns:a16="http://schemas.microsoft.com/office/drawing/2014/main" id="{DE8F2E6B-9374-6941-B27D-C81AD8397346}"/>
              </a:ext>
            </a:extLst>
          </p:cNvPr>
          <p:cNvGrpSpPr/>
          <p:nvPr/>
        </p:nvGrpSpPr>
        <p:grpSpPr>
          <a:xfrm>
            <a:off x="1993613" y="4863415"/>
            <a:ext cx="1007608" cy="211203"/>
            <a:chOff x="4443882" y="2772069"/>
            <a:chExt cx="1007608" cy="211203"/>
          </a:xfrm>
        </p:grpSpPr>
        <p:cxnSp>
          <p:nvCxnSpPr>
            <p:cNvPr id="92" name="直线连接符 91">
              <a:extLst>
                <a:ext uri="{FF2B5EF4-FFF2-40B4-BE49-F238E27FC236}">
                  <a16:creationId xmlns:a16="http://schemas.microsoft.com/office/drawing/2014/main" id="{83A37892-9884-2643-A2CF-BEB92228EC0F}"/>
                </a:ext>
              </a:extLst>
            </p:cNvPr>
            <p:cNvCxnSpPr>
              <a:cxnSpLocks/>
            </p:cNvCxnSpPr>
            <p:nvPr/>
          </p:nvCxnSpPr>
          <p:spPr>
            <a:xfrm>
              <a:off x="4443882" y="2885365"/>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42F39632-720F-C647-84B6-5A5974838232}"/>
                </a:ext>
              </a:extLst>
            </p:cNvPr>
            <p:cNvSpPr txBox="1"/>
            <p:nvPr/>
          </p:nvSpPr>
          <p:spPr>
            <a:xfrm>
              <a:off x="4742379" y="2772069"/>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hare Price</a:t>
              </a:r>
              <a:endParaRPr kumimoji="1" lang="zh-CN" altLang="en-US" sz="900" dirty="0" err="1">
                <a:latin typeface="Calibri" panose="020F0502020204030204" pitchFamily="34" charset="0"/>
                <a:cs typeface="Calibri" panose="020F0502020204030204" pitchFamily="34" charset="0"/>
              </a:endParaRPr>
            </a:p>
          </p:txBody>
        </p:sp>
      </p:grpSp>
      <p:grpSp>
        <p:nvGrpSpPr>
          <p:cNvPr id="94" name="组合 93">
            <a:extLst>
              <a:ext uri="{FF2B5EF4-FFF2-40B4-BE49-F238E27FC236}">
                <a16:creationId xmlns:a16="http://schemas.microsoft.com/office/drawing/2014/main" id="{E251B809-3B1D-2E41-8B3E-A5FF8DD43832}"/>
              </a:ext>
            </a:extLst>
          </p:cNvPr>
          <p:cNvGrpSpPr/>
          <p:nvPr/>
        </p:nvGrpSpPr>
        <p:grpSpPr>
          <a:xfrm>
            <a:off x="4025922" y="4878946"/>
            <a:ext cx="1919781" cy="211203"/>
            <a:chOff x="4443882" y="2772070"/>
            <a:chExt cx="1919781" cy="211203"/>
          </a:xfrm>
        </p:grpSpPr>
        <p:cxnSp>
          <p:nvCxnSpPr>
            <p:cNvPr id="95" name="直线连接符 94">
              <a:extLst>
                <a:ext uri="{FF2B5EF4-FFF2-40B4-BE49-F238E27FC236}">
                  <a16:creationId xmlns:a16="http://schemas.microsoft.com/office/drawing/2014/main" id="{E107D111-C5ED-F544-BA7B-EC7630FEF49F}"/>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AD6BD074-5112-FD46-BC14-B9ACE99B8E2F}"/>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DCF</a:t>
              </a:r>
              <a:endParaRPr kumimoji="1" lang="zh-CN" altLang="en-US" sz="900" dirty="0" err="1">
                <a:latin typeface="Calibri" panose="020F0502020204030204" pitchFamily="34" charset="0"/>
                <a:cs typeface="Calibri" panose="020F0502020204030204" pitchFamily="34" charset="0"/>
              </a:endParaRPr>
            </a:p>
          </p:txBody>
        </p:sp>
      </p:grpSp>
      <p:sp>
        <p:nvSpPr>
          <p:cNvPr id="97" name="文本框 96">
            <a:extLst>
              <a:ext uri="{FF2B5EF4-FFF2-40B4-BE49-F238E27FC236}">
                <a16:creationId xmlns:a16="http://schemas.microsoft.com/office/drawing/2014/main" id="{CA266D8E-7D5F-AA40-867C-E6C70C4DC649}"/>
              </a:ext>
            </a:extLst>
          </p:cNvPr>
          <p:cNvSpPr txBox="1"/>
          <p:nvPr/>
        </p:nvSpPr>
        <p:spPr>
          <a:xfrm>
            <a:off x="329796" y="4863415"/>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hare Price ($)</a:t>
            </a:r>
            <a:endParaRPr kumimoji="1" lang="zh-CN" altLang="en-US" sz="900" dirty="0" err="1">
              <a:latin typeface="Calibri" panose="020F0502020204030204" pitchFamily="34" charset="0"/>
              <a:cs typeface="Calibri" panose="020F0502020204030204" pitchFamily="34" charset="0"/>
            </a:endParaRPr>
          </a:p>
        </p:txBody>
      </p:sp>
      <p:sp>
        <p:nvSpPr>
          <p:cNvPr id="98" name="文本框 97">
            <a:extLst>
              <a:ext uri="{FF2B5EF4-FFF2-40B4-BE49-F238E27FC236}">
                <a16:creationId xmlns:a16="http://schemas.microsoft.com/office/drawing/2014/main" id="{2804322F-4063-6644-BD96-569BC4A70848}"/>
              </a:ext>
            </a:extLst>
          </p:cNvPr>
          <p:cNvSpPr txBox="1"/>
          <p:nvPr/>
        </p:nvSpPr>
        <p:spPr>
          <a:xfrm>
            <a:off x="6431780" y="4779496"/>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P/B Ratio (%)</a:t>
            </a:r>
            <a:endParaRPr kumimoji="1" lang="zh-CN" altLang="en-US" sz="900" dirty="0" err="1">
              <a:latin typeface="Calibri" panose="020F0502020204030204" pitchFamily="34" charset="0"/>
              <a:cs typeface="Calibri" panose="020F0502020204030204" pitchFamily="34" charset="0"/>
            </a:endParaRPr>
          </a:p>
        </p:txBody>
      </p:sp>
      <p:sp>
        <p:nvSpPr>
          <p:cNvPr id="99" name="文本框 98">
            <a:extLst>
              <a:ext uri="{FF2B5EF4-FFF2-40B4-BE49-F238E27FC236}">
                <a16:creationId xmlns:a16="http://schemas.microsoft.com/office/drawing/2014/main" id="{E8453361-AD3C-8A40-A83B-C1E8202D6D62}"/>
              </a:ext>
            </a:extLst>
          </p:cNvPr>
          <p:cNvSpPr txBox="1"/>
          <p:nvPr/>
        </p:nvSpPr>
        <p:spPr>
          <a:xfrm>
            <a:off x="9422529" y="4810248"/>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a:t>
            </a:r>
            <a:endParaRPr kumimoji="1" lang="zh-CN" altLang="en-US" sz="900" dirty="0" err="1">
              <a:latin typeface="Calibri" panose="020F0502020204030204" pitchFamily="34" charset="0"/>
              <a:cs typeface="Calibri" panose="020F0502020204030204" pitchFamily="34" charset="0"/>
            </a:endParaRPr>
          </a:p>
        </p:txBody>
      </p:sp>
      <p:graphicFrame>
        <p:nvGraphicFramePr>
          <p:cNvPr id="100" name="图表 99">
            <a:extLst>
              <a:ext uri="{FF2B5EF4-FFF2-40B4-BE49-F238E27FC236}">
                <a16:creationId xmlns:a16="http://schemas.microsoft.com/office/drawing/2014/main" id="{CDF7FB56-C9A2-4B4A-815A-E887BA102C38}"/>
              </a:ext>
            </a:extLst>
          </p:cNvPr>
          <p:cNvGraphicFramePr/>
          <p:nvPr/>
        </p:nvGraphicFramePr>
        <p:xfrm>
          <a:off x="329797" y="1954721"/>
          <a:ext cx="11734062" cy="2279630"/>
        </p:xfrm>
        <a:graphic>
          <a:graphicData uri="http://schemas.openxmlformats.org/drawingml/2006/chart">
            <c:chart xmlns:c="http://schemas.openxmlformats.org/drawingml/2006/chart" xmlns:r="http://schemas.openxmlformats.org/officeDocument/2006/relationships" r:id="rId11"/>
          </a:graphicData>
        </a:graphic>
      </p:graphicFrame>
      <p:sp>
        <p:nvSpPr>
          <p:cNvPr id="101" name="文本框 100">
            <a:extLst>
              <a:ext uri="{FF2B5EF4-FFF2-40B4-BE49-F238E27FC236}">
                <a16:creationId xmlns:a16="http://schemas.microsoft.com/office/drawing/2014/main" id="{6B8EAF0B-18E7-5444-93C6-4224D7A53AB9}"/>
              </a:ext>
            </a:extLst>
          </p:cNvPr>
          <p:cNvSpPr txBox="1"/>
          <p:nvPr/>
        </p:nvSpPr>
        <p:spPr>
          <a:xfrm>
            <a:off x="324311" y="1767852"/>
            <a:ext cx="3337234"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Monthly Average Share Price Indexed to 2010-January (%)</a:t>
            </a:r>
            <a:endParaRPr kumimoji="1" lang="zh-CN" altLang="en-US" sz="1000" dirty="0" err="1">
              <a:latin typeface="Calibri" panose="020F0502020204030204" pitchFamily="34" charset="0"/>
              <a:cs typeface="Calibri" panose="020F0502020204030204" pitchFamily="34" charset="0"/>
            </a:endParaRPr>
          </a:p>
        </p:txBody>
      </p:sp>
      <p:sp>
        <p:nvSpPr>
          <p:cNvPr id="11" name="矩形 10">
            <a:extLst>
              <a:ext uri="{FF2B5EF4-FFF2-40B4-BE49-F238E27FC236}">
                <a16:creationId xmlns:a16="http://schemas.microsoft.com/office/drawing/2014/main" id="{EB7E392B-47F1-1D45-9040-0BD81B654FA5}"/>
              </a:ext>
            </a:extLst>
          </p:cNvPr>
          <p:cNvSpPr/>
          <p:nvPr/>
        </p:nvSpPr>
        <p:spPr>
          <a:xfrm>
            <a:off x="866899" y="2201006"/>
            <a:ext cx="593766" cy="909279"/>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26" name="矩形 125">
            <a:extLst>
              <a:ext uri="{FF2B5EF4-FFF2-40B4-BE49-F238E27FC236}">
                <a16:creationId xmlns:a16="http://schemas.microsoft.com/office/drawing/2014/main" id="{DD9EC4FC-51EF-EB44-9088-B7337A26FE32}"/>
              </a:ext>
            </a:extLst>
          </p:cNvPr>
          <p:cNvSpPr/>
          <p:nvPr/>
        </p:nvSpPr>
        <p:spPr>
          <a:xfrm>
            <a:off x="11942938" y="2708347"/>
            <a:ext cx="541656" cy="322278"/>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000" dirty="0">
                <a:solidFill>
                  <a:schemeClr val="accent4"/>
                </a:solidFill>
                <a:latin typeface="Calibri" panose="020F0502020204030204" pitchFamily="34" charset="0"/>
                <a:cs typeface="Calibri" panose="020F0502020204030204" pitchFamily="34" charset="0"/>
              </a:rPr>
              <a:t>PEP</a:t>
            </a:r>
          </a:p>
          <a:p>
            <a:pPr algn="l"/>
            <a:r>
              <a:rPr kumimoji="1" lang="en-US" altLang="zh-CN" sz="1000" dirty="0">
                <a:solidFill>
                  <a:schemeClr val="accent4"/>
                </a:solidFill>
                <a:latin typeface="Calibri" panose="020F0502020204030204" pitchFamily="34" charset="0"/>
                <a:cs typeface="Calibri" panose="020F0502020204030204" pitchFamily="34" charset="0"/>
              </a:rPr>
              <a:t>+  151.5%</a:t>
            </a:r>
          </a:p>
        </p:txBody>
      </p:sp>
      <p:sp>
        <p:nvSpPr>
          <p:cNvPr id="127" name="矩形 126">
            <a:extLst>
              <a:ext uri="{FF2B5EF4-FFF2-40B4-BE49-F238E27FC236}">
                <a16:creationId xmlns:a16="http://schemas.microsoft.com/office/drawing/2014/main" id="{00AFFFBB-586B-7D49-A85A-642508EAEF9F}"/>
              </a:ext>
            </a:extLst>
          </p:cNvPr>
          <p:cNvSpPr/>
          <p:nvPr/>
        </p:nvSpPr>
        <p:spPr>
          <a:xfrm>
            <a:off x="11942938" y="1841618"/>
            <a:ext cx="593767" cy="402059"/>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000" dirty="0">
                <a:solidFill>
                  <a:schemeClr val="accent2"/>
                </a:solidFill>
                <a:latin typeface="Calibri" panose="020F0502020204030204" pitchFamily="34" charset="0"/>
                <a:cs typeface="Calibri" panose="020F0502020204030204" pitchFamily="34" charset="0"/>
              </a:rPr>
              <a:t>S&amp;P 500</a:t>
            </a:r>
          </a:p>
          <a:p>
            <a:pPr algn="l"/>
            <a:r>
              <a:rPr kumimoji="1" lang="en-US" altLang="zh-CN" sz="1000" dirty="0">
                <a:solidFill>
                  <a:schemeClr val="accent2"/>
                </a:solidFill>
                <a:latin typeface="Calibri" panose="020F0502020204030204" pitchFamily="34" charset="0"/>
                <a:cs typeface="Calibri" panose="020F0502020204030204" pitchFamily="34" charset="0"/>
              </a:rPr>
              <a:t>+  309.29%</a:t>
            </a:r>
          </a:p>
        </p:txBody>
      </p:sp>
      <p:sp>
        <p:nvSpPr>
          <p:cNvPr id="128" name="圆角矩形 127">
            <a:extLst>
              <a:ext uri="{FF2B5EF4-FFF2-40B4-BE49-F238E27FC236}">
                <a16:creationId xmlns:a16="http://schemas.microsoft.com/office/drawing/2014/main" id="{C3824ABB-6C28-C84F-BB33-3F61EE86E4EE}"/>
              </a:ext>
            </a:extLst>
          </p:cNvPr>
          <p:cNvSpPr/>
          <p:nvPr/>
        </p:nvSpPr>
        <p:spPr>
          <a:xfrm>
            <a:off x="352881" y="6426906"/>
            <a:ext cx="5959020" cy="417624"/>
          </a:xfrm>
          <a:prstGeom prst="roundRect">
            <a:avLst>
              <a:gd name="adj" fmla="val 12772"/>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The gap between its intrinsic value and share price increases between 2017 to 2018 because  because growth of S&amp;P 500 resulted in a higher discounted rate</a:t>
            </a:r>
            <a:endParaRPr kumimoji="1" lang="en-US" altLang="zh-CN" sz="1200" dirty="0">
              <a:solidFill>
                <a:schemeClr val="tx1"/>
              </a:solidFill>
              <a:highlight>
                <a:srgbClr val="FF0000"/>
              </a:highlight>
              <a:latin typeface="Calibri" panose="020F0502020204030204" pitchFamily="34" charset="0"/>
              <a:cs typeface="Calibri" panose="020F0502020204030204" pitchFamily="34" charset="0"/>
            </a:endParaRPr>
          </a:p>
        </p:txBody>
      </p:sp>
      <p:sp>
        <p:nvSpPr>
          <p:cNvPr id="140" name="矩形 139">
            <a:extLst>
              <a:ext uri="{FF2B5EF4-FFF2-40B4-BE49-F238E27FC236}">
                <a16:creationId xmlns:a16="http://schemas.microsoft.com/office/drawing/2014/main" id="{7B5E323C-F653-C549-A277-75F6C67931C1}"/>
              </a:ext>
            </a:extLst>
          </p:cNvPr>
          <p:cNvSpPr/>
          <p:nvPr/>
        </p:nvSpPr>
        <p:spPr>
          <a:xfrm>
            <a:off x="2037381" y="2388955"/>
            <a:ext cx="1162800" cy="1095098"/>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1/5-2011/10: </a:t>
            </a:r>
            <a:r>
              <a:rPr kumimoji="1" lang="en-US" altLang="zh-CN" sz="1000" dirty="0">
                <a:solidFill>
                  <a:schemeClr val="tx1"/>
                </a:solidFill>
                <a:latin typeface="Calibri" panose="020F0502020204030204" pitchFamily="34" charset="0"/>
                <a:cs typeface="Calibri" panose="020F0502020204030204" pitchFamily="34" charset="0"/>
              </a:rPr>
              <a:t>S&amp;P 500 entered a short-lived </a:t>
            </a:r>
            <a:r>
              <a:rPr kumimoji="1" lang="en-US" altLang="zh-CN" sz="1000" b="1" dirty="0">
                <a:solidFill>
                  <a:schemeClr val="tx1"/>
                </a:solidFill>
                <a:latin typeface="Calibri" panose="020F0502020204030204" pitchFamily="34" charset="0"/>
                <a:cs typeface="Calibri" panose="020F0502020204030204" pitchFamily="34" charset="0"/>
              </a:rPr>
              <a:t>bear market </a:t>
            </a:r>
            <a:r>
              <a:rPr kumimoji="1" lang="en-US" altLang="zh-CN" sz="1000" dirty="0">
                <a:solidFill>
                  <a:schemeClr val="tx1"/>
                </a:solidFill>
                <a:latin typeface="Calibri" panose="020F0502020204030204" pitchFamily="34" charset="0"/>
                <a:cs typeface="Calibri" panose="020F0502020204030204" pitchFamily="34" charset="0"/>
              </a:rPr>
              <a:t>between 2 May 2011 and 04 October 2011 with a decline of 21.58%.</a:t>
            </a:r>
          </a:p>
        </p:txBody>
      </p:sp>
      <p:sp>
        <p:nvSpPr>
          <p:cNvPr id="129" name="文本框 128">
            <a:extLst>
              <a:ext uri="{FF2B5EF4-FFF2-40B4-BE49-F238E27FC236}">
                <a16:creationId xmlns:a16="http://schemas.microsoft.com/office/drawing/2014/main" id="{1B7731C6-29B3-6A42-BE7C-B24A3435CE78}"/>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4</a:t>
            </a:r>
            <a:endParaRPr kumimoji="1" lang="zh-CN" altLang="en-US" sz="1000" dirty="0" err="1">
              <a:latin typeface="Calibri" panose="020F0502020204030204" pitchFamily="34" charset="0"/>
              <a:cs typeface="Calibri" panose="020F0502020204030204" pitchFamily="34" charset="0"/>
            </a:endParaRPr>
          </a:p>
        </p:txBody>
      </p:sp>
      <p:sp>
        <p:nvSpPr>
          <p:cNvPr id="108" name="矩形 107">
            <a:extLst>
              <a:ext uri="{FF2B5EF4-FFF2-40B4-BE49-F238E27FC236}">
                <a16:creationId xmlns:a16="http://schemas.microsoft.com/office/drawing/2014/main" id="{3794A11F-D133-4241-B882-B9803428F257}"/>
              </a:ext>
            </a:extLst>
          </p:cNvPr>
          <p:cNvSpPr/>
          <p:nvPr/>
        </p:nvSpPr>
        <p:spPr>
          <a:xfrm>
            <a:off x="7395195" y="1419431"/>
            <a:ext cx="868529" cy="916882"/>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18/2: Insane Fall (over 40%) of Dow since </a:t>
            </a:r>
            <a:r>
              <a:rPr kumimoji="1" lang="en-US" altLang="zh-CN" sz="1000" b="1" dirty="0">
                <a:solidFill>
                  <a:schemeClr val="tx1"/>
                </a:solidFill>
                <a:latin typeface="Calibri" panose="020F0502020204030204" pitchFamily="34" charset="0"/>
                <a:cs typeface="Calibri" panose="020F0502020204030204" pitchFamily="34" charset="0"/>
              </a:rPr>
              <a:t>President Donald Trump’s election</a:t>
            </a:r>
            <a:r>
              <a:rPr kumimoji="1" lang="en-US" altLang="zh-CN" sz="1000" dirty="0">
                <a:solidFill>
                  <a:schemeClr val="tx1"/>
                </a:solidFill>
                <a:latin typeface="Calibri" panose="020F0502020204030204" pitchFamily="34" charset="0"/>
                <a:cs typeface="Calibri" panose="020F0502020204030204" pitchFamily="34" charset="0"/>
              </a:rPr>
              <a:t>.</a:t>
            </a:r>
          </a:p>
        </p:txBody>
      </p:sp>
      <p:sp>
        <p:nvSpPr>
          <p:cNvPr id="109" name="矩形 108">
            <a:extLst>
              <a:ext uri="{FF2B5EF4-FFF2-40B4-BE49-F238E27FC236}">
                <a16:creationId xmlns:a16="http://schemas.microsoft.com/office/drawing/2014/main" id="{898DE306-EC29-824F-8FCE-A6F40EFBEBF3}"/>
              </a:ext>
            </a:extLst>
          </p:cNvPr>
          <p:cNvSpPr/>
          <p:nvPr/>
        </p:nvSpPr>
        <p:spPr>
          <a:xfrm>
            <a:off x="9397491" y="1419431"/>
            <a:ext cx="1080000" cy="1076397"/>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20/3:  The S&amp;P 500 index dropped 34%, which was part of a worldwide recession caused by the </a:t>
            </a:r>
            <a:r>
              <a:rPr kumimoji="1" lang="en-US" altLang="zh-CN" sz="1000" b="1" dirty="0">
                <a:solidFill>
                  <a:schemeClr val="tx1"/>
                </a:solidFill>
                <a:latin typeface="Calibri" panose="020F0502020204030204" pitchFamily="34" charset="0"/>
                <a:cs typeface="Calibri" panose="020F0502020204030204" pitchFamily="34" charset="0"/>
              </a:rPr>
              <a:t>COVID-19 pandemic</a:t>
            </a:r>
            <a:r>
              <a:rPr kumimoji="1" lang="en-US" altLang="zh-CN" sz="1000" dirty="0">
                <a:solidFill>
                  <a:schemeClr val="tx1"/>
                </a:solidFill>
                <a:latin typeface="Calibri" panose="020F0502020204030204" pitchFamily="34" charset="0"/>
                <a:cs typeface="Calibri" panose="020F0502020204030204" pitchFamily="34" charset="0"/>
              </a:rPr>
              <a:t>.</a:t>
            </a:r>
          </a:p>
        </p:txBody>
      </p:sp>
      <p:sp>
        <p:nvSpPr>
          <p:cNvPr id="114" name="矩形 113">
            <a:extLst>
              <a:ext uri="{FF2B5EF4-FFF2-40B4-BE49-F238E27FC236}">
                <a16:creationId xmlns:a16="http://schemas.microsoft.com/office/drawing/2014/main" id="{DBA0D4D8-0B03-7443-91A3-B14204C6F1DA}"/>
              </a:ext>
            </a:extLst>
          </p:cNvPr>
          <p:cNvSpPr/>
          <p:nvPr/>
        </p:nvSpPr>
        <p:spPr>
          <a:xfrm>
            <a:off x="780507" y="2387504"/>
            <a:ext cx="1162800" cy="1098000"/>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1/2</a:t>
            </a:r>
            <a:r>
              <a:rPr kumimoji="1" lang="en-US" altLang="zh-CN" sz="1000" dirty="0">
                <a:solidFill>
                  <a:schemeClr val="tx1"/>
                </a:solidFill>
                <a:latin typeface="Calibri" panose="020F0502020204030204" pitchFamily="34" charset="0"/>
                <a:cs typeface="Calibri" panose="020F0502020204030204" pitchFamily="34" charset="0"/>
              </a:rPr>
              <a:t>: </a:t>
            </a:r>
            <a:r>
              <a:rPr lang="en-US" altLang="zh-CN" sz="1000" dirty="0">
                <a:solidFill>
                  <a:schemeClr val="tx1"/>
                </a:solidFill>
                <a:latin typeface="Calibri" panose="020F0502020204030204" pitchFamily="34" charset="0"/>
                <a:cs typeface="Calibri" panose="020F0502020204030204" pitchFamily="34" charset="0"/>
              </a:rPr>
              <a:t>Center for Environmental Health stated that the </a:t>
            </a:r>
            <a:r>
              <a:rPr lang="en-US" altLang="zh-CN" sz="1000" b="1" dirty="0">
                <a:solidFill>
                  <a:schemeClr val="tx1"/>
                </a:solidFill>
                <a:latin typeface="Calibri" panose="020F0502020204030204" pitchFamily="34" charset="0"/>
                <a:cs typeface="Calibri" panose="020F0502020204030204" pitchFamily="34" charset="0"/>
              </a:rPr>
              <a:t>caramel pigments </a:t>
            </a:r>
            <a:r>
              <a:rPr lang="en-US" altLang="zh-CN" sz="1000" dirty="0">
                <a:solidFill>
                  <a:schemeClr val="tx1"/>
                </a:solidFill>
                <a:latin typeface="Calibri" panose="020F0502020204030204" pitchFamily="34" charset="0"/>
                <a:cs typeface="Calibri" panose="020F0502020204030204" pitchFamily="34" charset="0"/>
              </a:rPr>
              <a:t>of Pepsi and Coca-Cola contained a carcinogen 4-MEI</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25" name="矩形 124">
            <a:extLst>
              <a:ext uri="{FF2B5EF4-FFF2-40B4-BE49-F238E27FC236}">
                <a16:creationId xmlns:a16="http://schemas.microsoft.com/office/drawing/2014/main" id="{A37FAE8A-14CD-264A-A16E-A24D368BBA38}"/>
              </a:ext>
            </a:extLst>
          </p:cNvPr>
          <p:cNvSpPr/>
          <p:nvPr/>
        </p:nvSpPr>
        <p:spPr>
          <a:xfrm>
            <a:off x="9258123" y="3429863"/>
            <a:ext cx="1464426" cy="468000"/>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8/7: PEP took century-old Madison Square Garden contract from </a:t>
            </a:r>
            <a:r>
              <a:rPr lang="en-US" altLang="zh-CN" sz="1000" b="1" dirty="0">
                <a:solidFill>
                  <a:schemeClr val="tx1"/>
                </a:solidFill>
                <a:latin typeface="Calibri" panose="020F0502020204030204" pitchFamily="34" charset="0"/>
                <a:cs typeface="Calibri" panose="020F0502020204030204" pitchFamily="34" charset="0"/>
              </a:rPr>
              <a:t>Coca-Cola</a:t>
            </a:r>
          </a:p>
        </p:txBody>
      </p:sp>
      <p:sp>
        <p:nvSpPr>
          <p:cNvPr id="130" name="矩形 129">
            <a:extLst>
              <a:ext uri="{FF2B5EF4-FFF2-40B4-BE49-F238E27FC236}">
                <a16:creationId xmlns:a16="http://schemas.microsoft.com/office/drawing/2014/main" id="{B683867E-DE8D-304A-8D1C-055B45A227FD}"/>
              </a:ext>
            </a:extLst>
          </p:cNvPr>
          <p:cNvSpPr/>
          <p:nvPr/>
        </p:nvSpPr>
        <p:spPr>
          <a:xfrm>
            <a:off x="8367004" y="1416119"/>
            <a:ext cx="939438" cy="912995"/>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8/5/25: PEP announced that it would </a:t>
            </a:r>
            <a:r>
              <a:rPr lang="en-US" altLang="zh-CN" sz="1000" b="1" dirty="0">
                <a:solidFill>
                  <a:schemeClr val="tx1"/>
                </a:solidFill>
                <a:latin typeface="Calibri" panose="020F0502020204030204" pitchFamily="34" charset="0"/>
                <a:cs typeface="Calibri" panose="020F0502020204030204" pitchFamily="34" charset="0"/>
              </a:rPr>
              <a:t>acquire</a:t>
            </a:r>
            <a:r>
              <a:rPr lang="en-US" altLang="zh-CN" sz="1000" dirty="0">
                <a:solidFill>
                  <a:schemeClr val="tx1"/>
                </a:solidFill>
                <a:latin typeface="Calibri" panose="020F0502020204030204" pitchFamily="34" charset="0"/>
                <a:cs typeface="Calibri" panose="020F0502020204030204" pitchFamily="34" charset="0"/>
              </a:rPr>
              <a:t> baked fruit and vegetable snack maker Bare Foods</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31" name="矩形 130">
            <a:extLst>
              <a:ext uri="{FF2B5EF4-FFF2-40B4-BE49-F238E27FC236}">
                <a16:creationId xmlns:a16="http://schemas.microsoft.com/office/drawing/2014/main" id="{8A04605E-9E38-B047-8334-C5DDDF531773}"/>
              </a:ext>
            </a:extLst>
          </p:cNvPr>
          <p:cNvSpPr/>
          <p:nvPr/>
        </p:nvSpPr>
        <p:spPr>
          <a:xfrm>
            <a:off x="10570108" y="1416454"/>
            <a:ext cx="1036678" cy="766006"/>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20/10: PEP came out with quarterly earnings of $1.66 per share, </a:t>
            </a:r>
            <a:r>
              <a:rPr lang="en-US" altLang="zh-CN" sz="1000" b="1" dirty="0">
                <a:solidFill>
                  <a:schemeClr val="tx1"/>
                </a:solidFill>
                <a:latin typeface="Calibri" panose="020F0502020204030204" pitchFamily="34" charset="0"/>
                <a:cs typeface="Calibri" panose="020F0502020204030204" pitchFamily="34" charset="0"/>
              </a:rPr>
              <a:t>beating the estimates.</a:t>
            </a:r>
            <a:endParaRPr lang="zh-CN" altLang="zh-CN" sz="1000" b="1" dirty="0">
              <a:solidFill>
                <a:schemeClr val="tx1"/>
              </a:solidFill>
              <a:latin typeface="Calibri" panose="020F0502020204030204" pitchFamily="34" charset="0"/>
              <a:cs typeface="Calibri" panose="020F0502020204030204" pitchFamily="34" charset="0"/>
            </a:endParaRPr>
          </a:p>
        </p:txBody>
      </p:sp>
      <p:sp>
        <p:nvSpPr>
          <p:cNvPr id="20" name="椭圆 19">
            <a:extLst>
              <a:ext uri="{FF2B5EF4-FFF2-40B4-BE49-F238E27FC236}">
                <a16:creationId xmlns:a16="http://schemas.microsoft.com/office/drawing/2014/main" id="{BA107B90-3C99-BD46-B0AF-BF734F8FB6F8}"/>
              </a:ext>
            </a:extLst>
          </p:cNvPr>
          <p:cNvSpPr>
            <a:spLocks noChangeAspect="1"/>
          </p:cNvSpPr>
          <p:nvPr/>
        </p:nvSpPr>
        <p:spPr>
          <a:xfrm>
            <a:off x="1656728" y="3787982"/>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22" name="肘形连接符 21">
            <a:extLst>
              <a:ext uri="{FF2B5EF4-FFF2-40B4-BE49-F238E27FC236}">
                <a16:creationId xmlns:a16="http://schemas.microsoft.com/office/drawing/2014/main" id="{36844543-74E0-984E-A1D8-426175CC759B}"/>
              </a:ext>
            </a:extLst>
          </p:cNvPr>
          <p:cNvCxnSpPr>
            <a:cxnSpLocks/>
            <a:stCxn id="114" idx="2"/>
            <a:endCxn id="20" idx="0"/>
          </p:cNvCxnSpPr>
          <p:nvPr/>
        </p:nvCxnSpPr>
        <p:spPr>
          <a:xfrm rot="16200000" flipH="1">
            <a:off x="1376078" y="3471332"/>
            <a:ext cx="302478" cy="330821"/>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42" name="椭圆 141">
            <a:extLst>
              <a:ext uri="{FF2B5EF4-FFF2-40B4-BE49-F238E27FC236}">
                <a16:creationId xmlns:a16="http://schemas.microsoft.com/office/drawing/2014/main" id="{3C3C46DE-75EB-2843-A770-ECB62F12AC72}"/>
              </a:ext>
            </a:extLst>
          </p:cNvPr>
          <p:cNvSpPr>
            <a:spLocks noChangeAspect="1"/>
          </p:cNvSpPr>
          <p:nvPr/>
        </p:nvSpPr>
        <p:spPr>
          <a:xfrm>
            <a:off x="1981553" y="3747057"/>
            <a:ext cx="72000" cy="72000"/>
          </a:xfrm>
          <a:prstGeom prst="ellipse">
            <a:avLst/>
          </a:prstGeom>
          <a:solidFill>
            <a:schemeClr val="accent5">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43" name="肘形连接符 142">
            <a:extLst>
              <a:ext uri="{FF2B5EF4-FFF2-40B4-BE49-F238E27FC236}">
                <a16:creationId xmlns:a16="http://schemas.microsoft.com/office/drawing/2014/main" id="{BB3B483B-6089-9A4F-AC27-8AF3923E43F7}"/>
              </a:ext>
            </a:extLst>
          </p:cNvPr>
          <p:cNvCxnSpPr>
            <a:cxnSpLocks/>
            <a:stCxn id="140" idx="2"/>
            <a:endCxn id="142" idx="0"/>
          </p:cNvCxnSpPr>
          <p:nvPr/>
        </p:nvCxnSpPr>
        <p:spPr>
          <a:xfrm rot="5400000">
            <a:off x="2186665" y="3314941"/>
            <a:ext cx="263004" cy="601228"/>
          </a:xfrm>
          <a:prstGeom prst="bentConnector3">
            <a:avLst>
              <a:gd name="adj1" fmla="val 50000"/>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81" name="椭圆 80">
            <a:extLst>
              <a:ext uri="{FF2B5EF4-FFF2-40B4-BE49-F238E27FC236}">
                <a16:creationId xmlns:a16="http://schemas.microsoft.com/office/drawing/2014/main" id="{61C6F01D-2504-1F4E-B03A-40084B956241}"/>
              </a:ext>
            </a:extLst>
          </p:cNvPr>
          <p:cNvSpPr>
            <a:spLocks noChangeAspect="1"/>
          </p:cNvSpPr>
          <p:nvPr/>
        </p:nvSpPr>
        <p:spPr>
          <a:xfrm>
            <a:off x="8419149" y="3259376"/>
            <a:ext cx="72000" cy="72000"/>
          </a:xfrm>
          <a:prstGeom prst="ellipse">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83" name="肘形连接符 82">
            <a:extLst>
              <a:ext uri="{FF2B5EF4-FFF2-40B4-BE49-F238E27FC236}">
                <a16:creationId xmlns:a16="http://schemas.microsoft.com/office/drawing/2014/main" id="{4BCBCB39-9CFA-2E48-B58A-4D0EDA5B1C6B}"/>
              </a:ext>
            </a:extLst>
          </p:cNvPr>
          <p:cNvCxnSpPr>
            <a:cxnSpLocks/>
            <a:stCxn id="108" idx="2"/>
            <a:endCxn id="81" idx="0"/>
          </p:cNvCxnSpPr>
          <p:nvPr/>
        </p:nvCxnSpPr>
        <p:spPr>
          <a:xfrm rot="16200000" flipH="1">
            <a:off x="7680773" y="2484999"/>
            <a:ext cx="923063" cy="625689"/>
          </a:xfrm>
          <a:prstGeom prst="bentConnector3">
            <a:avLst>
              <a:gd name="adj1" fmla="val 42380"/>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229354CE-96A5-9942-9F63-1533331AB20B}"/>
              </a:ext>
            </a:extLst>
          </p:cNvPr>
          <p:cNvSpPr>
            <a:spLocks noChangeAspect="1"/>
          </p:cNvSpPr>
          <p:nvPr/>
        </p:nvSpPr>
        <p:spPr>
          <a:xfrm>
            <a:off x="8747036" y="3467192"/>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12" name="肘形连接符 111">
            <a:extLst>
              <a:ext uri="{FF2B5EF4-FFF2-40B4-BE49-F238E27FC236}">
                <a16:creationId xmlns:a16="http://schemas.microsoft.com/office/drawing/2014/main" id="{3B7BC838-3477-C049-829F-D273944FF299}"/>
              </a:ext>
            </a:extLst>
          </p:cNvPr>
          <p:cNvCxnSpPr>
            <a:cxnSpLocks/>
            <a:stCxn id="130" idx="2"/>
            <a:endCxn id="106" idx="0"/>
          </p:cNvCxnSpPr>
          <p:nvPr/>
        </p:nvCxnSpPr>
        <p:spPr>
          <a:xfrm rot="5400000">
            <a:off x="8240841" y="2871310"/>
            <a:ext cx="1138078" cy="53687"/>
          </a:xfrm>
          <a:prstGeom prst="bentConnector3">
            <a:avLst>
              <a:gd name="adj1" fmla="val 50000"/>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13" name="椭圆 112">
            <a:extLst>
              <a:ext uri="{FF2B5EF4-FFF2-40B4-BE49-F238E27FC236}">
                <a16:creationId xmlns:a16="http://schemas.microsoft.com/office/drawing/2014/main" id="{10260F8D-1873-BB48-BBAD-B164FEEB5C3E}"/>
              </a:ext>
            </a:extLst>
          </p:cNvPr>
          <p:cNvSpPr>
            <a:spLocks noChangeAspect="1"/>
          </p:cNvSpPr>
          <p:nvPr/>
        </p:nvSpPr>
        <p:spPr>
          <a:xfrm>
            <a:off x="8825546" y="3397921"/>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18" name="肘形连接符 117">
            <a:extLst>
              <a:ext uri="{FF2B5EF4-FFF2-40B4-BE49-F238E27FC236}">
                <a16:creationId xmlns:a16="http://schemas.microsoft.com/office/drawing/2014/main" id="{261B3BBE-0C4C-8649-865B-18513BFC487E}"/>
              </a:ext>
            </a:extLst>
          </p:cNvPr>
          <p:cNvCxnSpPr>
            <a:cxnSpLocks/>
            <a:stCxn id="125" idx="1"/>
            <a:endCxn id="113" idx="0"/>
          </p:cNvCxnSpPr>
          <p:nvPr/>
        </p:nvCxnSpPr>
        <p:spPr>
          <a:xfrm rot="10800000">
            <a:off x="8861547" y="3397921"/>
            <a:ext cx="396577" cy="265942"/>
          </a:xfrm>
          <a:prstGeom prst="bentConnector4">
            <a:avLst>
              <a:gd name="adj1" fmla="val 45461"/>
              <a:gd name="adj2" fmla="val 817"/>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20" name="椭圆 119">
            <a:extLst>
              <a:ext uri="{FF2B5EF4-FFF2-40B4-BE49-F238E27FC236}">
                <a16:creationId xmlns:a16="http://schemas.microsoft.com/office/drawing/2014/main" id="{688DF20E-6F4A-B046-BEB9-97EAD4713435}"/>
              </a:ext>
            </a:extLst>
          </p:cNvPr>
          <p:cNvSpPr>
            <a:spLocks noChangeAspect="1"/>
          </p:cNvSpPr>
          <p:nvPr/>
        </p:nvSpPr>
        <p:spPr>
          <a:xfrm>
            <a:off x="10522142" y="3206977"/>
            <a:ext cx="72000" cy="72000"/>
          </a:xfrm>
          <a:prstGeom prst="ellipse">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21" name="肘形连接符 120">
            <a:extLst>
              <a:ext uri="{FF2B5EF4-FFF2-40B4-BE49-F238E27FC236}">
                <a16:creationId xmlns:a16="http://schemas.microsoft.com/office/drawing/2014/main" id="{301AE840-83FA-6244-82FD-67A0D38ED840}"/>
              </a:ext>
            </a:extLst>
          </p:cNvPr>
          <p:cNvCxnSpPr>
            <a:cxnSpLocks/>
            <a:stCxn id="109" idx="2"/>
            <a:endCxn id="120" idx="0"/>
          </p:cNvCxnSpPr>
          <p:nvPr/>
        </p:nvCxnSpPr>
        <p:spPr>
          <a:xfrm rot="16200000" flipH="1">
            <a:off x="9892242" y="2541076"/>
            <a:ext cx="711149" cy="620651"/>
          </a:xfrm>
          <a:prstGeom prst="bentConnector3">
            <a:avLst>
              <a:gd name="adj1" fmla="val 16371"/>
            </a:avLst>
          </a:prstGeom>
          <a:ln w="12700">
            <a:solidFill>
              <a:schemeClr val="accent3">
                <a:alpha val="40000"/>
              </a:schemeClr>
            </a:solidFill>
          </a:ln>
        </p:spPr>
        <p:style>
          <a:lnRef idx="1">
            <a:schemeClr val="accent1"/>
          </a:lnRef>
          <a:fillRef idx="0">
            <a:schemeClr val="accent1"/>
          </a:fillRef>
          <a:effectRef idx="0">
            <a:schemeClr val="accent1"/>
          </a:effectRef>
          <a:fontRef idx="minor">
            <a:schemeClr val="tx1"/>
          </a:fontRef>
        </p:style>
      </p:cxnSp>
      <p:sp>
        <p:nvSpPr>
          <p:cNvPr id="133" name="椭圆 132">
            <a:extLst>
              <a:ext uri="{FF2B5EF4-FFF2-40B4-BE49-F238E27FC236}">
                <a16:creationId xmlns:a16="http://schemas.microsoft.com/office/drawing/2014/main" id="{8023BC68-E01D-8940-91EE-6E856320829A}"/>
              </a:ext>
            </a:extLst>
          </p:cNvPr>
          <p:cNvSpPr>
            <a:spLocks noChangeAspect="1"/>
          </p:cNvSpPr>
          <p:nvPr/>
        </p:nvSpPr>
        <p:spPr>
          <a:xfrm>
            <a:off x="11047845" y="3078889"/>
            <a:ext cx="72000" cy="72000"/>
          </a:xfrm>
          <a:prstGeom prst="ellipse">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34" name="肘形连接符 133">
            <a:extLst>
              <a:ext uri="{FF2B5EF4-FFF2-40B4-BE49-F238E27FC236}">
                <a16:creationId xmlns:a16="http://schemas.microsoft.com/office/drawing/2014/main" id="{88C2530C-5C3B-9440-93A0-024EB882D1FB}"/>
              </a:ext>
            </a:extLst>
          </p:cNvPr>
          <p:cNvCxnSpPr>
            <a:cxnSpLocks/>
            <a:stCxn id="131" idx="2"/>
            <a:endCxn id="133" idx="0"/>
          </p:cNvCxnSpPr>
          <p:nvPr/>
        </p:nvCxnSpPr>
        <p:spPr>
          <a:xfrm rot="5400000">
            <a:off x="10637932" y="2628373"/>
            <a:ext cx="896429" cy="4602"/>
          </a:xfrm>
          <a:prstGeom prst="bentConnector3">
            <a:avLst>
              <a:gd name="adj1" fmla="val 50000"/>
            </a:avLst>
          </a:prstGeom>
          <a:ln w="12700">
            <a:solidFill>
              <a:schemeClr val="accent3">
                <a:alpha val="40000"/>
              </a:schemeClr>
            </a:solidFill>
          </a:ln>
        </p:spPr>
        <p:style>
          <a:lnRef idx="1">
            <a:schemeClr val="accent1"/>
          </a:lnRef>
          <a:fillRef idx="0">
            <a:schemeClr val="accent1"/>
          </a:fillRef>
          <a:effectRef idx="0">
            <a:schemeClr val="accent1"/>
          </a:effectRef>
          <a:fontRef idx="minor">
            <a:schemeClr val="tx1"/>
          </a:fontRef>
        </p:style>
      </p:cxnSp>
      <p:sp>
        <p:nvSpPr>
          <p:cNvPr id="157" name="椭圆 156">
            <a:extLst>
              <a:ext uri="{FF2B5EF4-FFF2-40B4-BE49-F238E27FC236}">
                <a16:creationId xmlns:a16="http://schemas.microsoft.com/office/drawing/2014/main" id="{D100CCE8-FEC2-B449-96DF-7688E6C28EDD}"/>
              </a:ext>
            </a:extLst>
          </p:cNvPr>
          <p:cNvSpPr>
            <a:spLocks noChangeAspect="1"/>
          </p:cNvSpPr>
          <p:nvPr/>
        </p:nvSpPr>
        <p:spPr>
          <a:xfrm>
            <a:off x="4634390" y="3659030"/>
            <a:ext cx="72000" cy="72000"/>
          </a:xfrm>
          <a:prstGeom prst="ellipse">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58" name="肘形连接符 157">
            <a:extLst>
              <a:ext uri="{FF2B5EF4-FFF2-40B4-BE49-F238E27FC236}">
                <a16:creationId xmlns:a16="http://schemas.microsoft.com/office/drawing/2014/main" id="{337AF4AB-E112-4544-BEE7-C2CF70419786}"/>
              </a:ext>
            </a:extLst>
          </p:cNvPr>
          <p:cNvCxnSpPr>
            <a:cxnSpLocks/>
            <a:stCxn id="161" idx="2"/>
            <a:endCxn id="157" idx="0"/>
          </p:cNvCxnSpPr>
          <p:nvPr/>
        </p:nvCxnSpPr>
        <p:spPr>
          <a:xfrm rot="16200000" flipH="1">
            <a:off x="4024661" y="3013300"/>
            <a:ext cx="498363" cy="793095"/>
          </a:xfrm>
          <a:prstGeom prst="bentConnector3">
            <a:avLst>
              <a:gd name="adj1" fmla="val 50000"/>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161" name="矩形 160">
            <a:extLst>
              <a:ext uri="{FF2B5EF4-FFF2-40B4-BE49-F238E27FC236}">
                <a16:creationId xmlns:a16="http://schemas.microsoft.com/office/drawing/2014/main" id="{EA9BDD72-7D30-E74E-AC6C-EA81CF62AAF7}"/>
              </a:ext>
            </a:extLst>
          </p:cNvPr>
          <p:cNvSpPr/>
          <p:nvPr/>
        </p:nvSpPr>
        <p:spPr>
          <a:xfrm>
            <a:off x="3295895" y="2684205"/>
            <a:ext cx="1162800" cy="476462"/>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4/4: PEP’s </a:t>
            </a:r>
            <a:r>
              <a:rPr lang="en-US" altLang="zh-CN" sz="1000" b="1" dirty="0">
                <a:solidFill>
                  <a:schemeClr val="tx1"/>
                </a:solidFill>
                <a:latin typeface="Calibri" panose="020F0502020204030204" pitchFamily="34" charset="0"/>
                <a:cs typeface="Calibri" panose="020F0502020204030204" pitchFamily="34" charset="0"/>
              </a:rPr>
              <a:t>income rose</a:t>
            </a:r>
            <a:r>
              <a:rPr lang="en-US" altLang="zh-CN" sz="1000" dirty="0">
                <a:solidFill>
                  <a:schemeClr val="tx1"/>
                </a:solidFill>
                <a:latin typeface="Calibri" panose="020F0502020204030204" pitchFamily="34" charset="0"/>
                <a:cs typeface="Calibri" panose="020F0502020204030204" pitchFamily="34" charset="0"/>
              </a:rPr>
              <a:t> 13% in the first quarter </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64" name="椭圆 163">
            <a:extLst>
              <a:ext uri="{FF2B5EF4-FFF2-40B4-BE49-F238E27FC236}">
                <a16:creationId xmlns:a16="http://schemas.microsoft.com/office/drawing/2014/main" id="{8A59EEEC-2664-F744-BC32-47596BA1A431}"/>
              </a:ext>
            </a:extLst>
          </p:cNvPr>
          <p:cNvSpPr>
            <a:spLocks noChangeAspect="1"/>
          </p:cNvSpPr>
          <p:nvPr/>
        </p:nvSpPr>
        <p:spPr>
          <a:xfrm>
            <a:off x="11493077" y="3097744"/>
            <a:ext cx="72000" cy="72000"/>
          </a:xfrm>
          <a:prstGeom prst="ellipse">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66" name="矩形 165">
            <a:extLst>
              <a:ext uri="{FF2B5EF4-FFF2-40B4-BE49-F238E27FC236}">
                <a16:creationId xmlns:a16="http://schemas.microsoft.com/office/drawing/2014/main" id="{8002185A-5A8D-5141-B7DE-FCF7CA6F5572}"/>
              </a:ext>
            </a:extLst>
          </p:cNvPr>
          <p:cNvSpPr/>
          <p:nvPr/>
        </p:nvSpPr>
        <p:spPr>
          <a:xfrm>
            <a:off x="10899535" y="3426056"/>
            <a:ext cx="1162800" cy="468000"/>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21/4: PEP Q1 earnings and revenue </a:t>
            </a:r>
            <a:r>
              <a:rPr lang="en-US" altLang="zh-CN" sz="1000" b="1" dirty="0">
                <a:solidFill>
                  <a:schemeClr val="tx1"/>
                </a:solidFill>
                <a:latin typeface="Calibri" panose="020F0502020204030204" pitchFamily="34" charset="0"/>
                <a:cs typeface="Calibri" panose="020F0502020204030204" pitchFamily="34" charset="0"/>
              </a:rPr>
              <a:t>surpassed estimates</a:t>
            </a:r>
            <a:endParaRPr lang="zh-CN" altLang="zh-CN" sz="1000" b="1" dirty="0">
              <a:solidFill>
                <a:schemeClr val="tx1"/>
              </a:solidFill>
              <a:latin typeface="Calibri" panose="020F0502020204030204" pitchFamily="34" charset="0"/>
              <a:cs typeface="Calibri" panose="020F0502020204030204" pitchFamily="34" charset="0"/>
            </a:endParaRPr>
          </a:p>
        </p:txBody>
      </p:sp>
      <p:cxnSp>
        <p:nvCxnSpPr>
          <p:cNvPr id="200" name="肘形连接符 199">
            <a:extLst>
              <a:ext uri="{FF2B5EF4-FFF2-40B4-BE49-F238E27FC236}">
                <a16:creationId xmlns:a16="http://schemas.microsoft.com/office/drawing/2014/main" id="{EE54BF7A-9642-504D-AFD3-A716732A8E67}"/>
              </a:ext>
            </a:extLst>
          </p:cNvPr>
          <p:cNvCxnSpPr>
            <a:cxnSpLocks/>
            <a:stCxn id="164" idx="4"/>
            <a:endCxn id="166" idx="0"/>
          </p:cNvCxnSpPr>
          <p:nvPr/>
        </p:nvCxnSpPr>
        <p:spPr>
          <a:xfrm rot="5400000">
            <a:off x="11376850" y="3273829"/>
            <a:ext cx="256312" cy="48142"/>
          </a:xfrm>
          <a:prstGeom prst="bentConnector3">
            <a:avLst>
              <a:gd name="adj1" fmla="val 50000"/>
            </a:avLst>
          </a:prstGeom>
          <a:ln w="12700">
            <a:noFill/>
          </a:ln>
        </p:spPr>
        <p:style>
          <a:lnRef idx="1">
            <a:schemeClr val="accent1"/>
          </a:lnRef>
          <a:fillRef idx="0">
            <a:schemeClr val="accent1"/>
          </a:fillRef>
          <a:effectRef idx="0">
            <a:schemeClr val="accent1"/>
          </a:effectRef>
          <a:fontRef idx="minor">
            <a:schemeClr val="tx1"/>
          </a:fontRef>
        </p:style>
      </p:cxnSp>
      <p:grpSp>
        <p:nvGrpSpPr>
          <p:cNvPr id="281" name="组合 280">
            <a:extLst>
              <a:ext uri="{FF2B5EF4-FFF2-40B4-BE49-F238E27FC236}">
                <a16:creationId xmlns:a16="http://schemas.microsoft.com/office/drawing/2014/main" id="{B517D4E1-BBE8-E144-AE8F-39581871837D}"/>
              </a:ext>
            </a:extLst>
          </p:cNvPr>
          <p:cNvGrpSpPr/>
          <p:nvPr/>
        </p:nvGrpSpPr>
        <p:grpSpPr>
          <a:xfrm>
            <a:off x="832915" y="1995618"/>
            <a:ext cx="1007608" cy="211203"/>
            <a:chOff x="1542914" y="2931117"/>
            <a:chExt cx="1007608" cy="211203"/>
          </a:xfrm>
        </p:grpSpPr>
        <p:cxnSp>
          <p:nvCxnSpPr>
            <p:cNvPr id="282" name="直线连接符 281">
              <a:extLst>
                <a:ext uri="{FF2B5EF4-FFF2-40B4-BE49-F238E27FC236}">
                  <a16:creationId xmlns:a16="http://schemas.microsoft.com/office/drawing/2014/main" id="{9D23C956-CA65-7F4B-8553-00FE51A08DD9}"/>
                </a:ext>
              </a:extLst>
            </p:cNvPr>
            <p:cNvCxnSpPr>
              <a:cxnSpLocks/>
            </p:cNvCxnSpPr>
            <p:nvPr/>
          </p:nvCxnSpPr>
          <p:spPr>
            <a:xfrm>
              <a:off x="1542914" y="3044413"/>
              <a:ext cx="26894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3" name="文本框 282">
              <a:extLst>
                <a:ext uri="{FF2B5EF4-FFF2-40B4-BE49-F238E27FC236}">
                  <a16:creationId xmlns:a16="http://schemas.microsoft.com/office/drawing/2014/main" id="{9032F23C-59F2-B943-BB10-1D6E5996A501}"/>
                </a:ext>
              </a:extLst>
            </p:cNvPr>
            <p:cNvSpPr txBox="1"/>
            <p:nvPr/>
          </p:nvSpPr>
          <p:spPr>
            <a:xfrm>
              <a:off x="1841411" y="2931117"/>
              <a:ext cx="709111"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PEP</a:t>
              </a:r>
              <a:endParaRPr kumimoji="1" lang="zh-CN" altLang="en-US" sz="900" dirty="0" err="1">
                <a:latin typeface="Calibri" panose="020F0502020204030204" pitchFamily="34" charset="0"/>
                <a:cs typeface="Calibri" panose="020F0502020204030204" pitchFamily="34" charset="0"/>
              </a:endParaRPr>
            </a:p>
          </p:txBody>
        </p:sp>
      </p:grpSp>
      <p:grpSp>
        <p:nvGrpSpPr>
          <p:cNvPr id="284" name="组合 283">
            <a:extLst>
              <a:ext uri="{FF2B5EF4-FFF2-40B4-BE49-F238E27FC236}">
                <a16:creationId xmlns:a16="http://schemas.microsoft.com/office/drawing/2014/main" id="{C3AD6B5D-01EA-754C-B706-31307810A65E}"/>
              </a:ext>
            </a:extLst>
          </p:cNvPr>
          <p:cNvGrpSpPr/>
          <p:nvPr/>
        </p:nvGrpSpPr>
        <p:grpSpPr>
          <a:xfrm>
            <a:off x="1703379" y="1992302"/>
            <a:ext cx="1919781" cy="211203"/>
            <a:chOff x="4443882" y="2772070"/>
            <a:chExt cx="1919781" cy="211203"/>
          </a:xfrm>
        </p:grpSpPr>
        <p:cxnSp>
          <p:nvCxnSpPr>
            <p:cNvPr id="285" name="直线连接符 284">
              <a:extLst>
                <a:ext uri="{FF2B5EF4-FFF2-40B4-BE49-F238E27FC236}">
                  <a16:creationId xmlns:a16="http://schemas.microsoft.com/office/drawing/2014/main" id="{4D723E92-5FF2-CB41-B3C4-80DEC7E4ECC8}"/>
                </a:ext>
              </a:extLst>
            </p:cNvPr>
            <p:cNvCxnSpPr>
              <a:cxnSpLocks/>
            </p:cNvCxnSpPr>
            <p:nvPr/>
          </p:nvCxnSpPr>
          <p:spPr>
            <a:xfrm>
              <a:off x="4443882" y="2885365"/>
              <a:ext cx="2689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6" name="文本框 285">
              <a:extLst>
                <a:ext uri="{FF2B5EF4-FFF2-40B4-BE49-F238E27FC236}">
                  <a16:creationId xmlns:a16="http://schemas.microsoft.com/office/drawing/2014/main" id="{8A16AA81-2AC1-EC4A-A772-9D0F291CF6EA}"/>
                </a:ext>
              </a:extLst>
            </p:cNvPr>
            <p:cNvSpPr txBox="1"/>
            <p:nvPr/>
          </p:nvSpPr>
          <p:spPr>
            <a:xfrm>
              <a:off x="4742379" y="2772070"/>
              <a:ext cx="1621284" cy="211203"/>
            </a:xfrm>
            <a:prstGeom prst="rect">
              <a:avLst/>
            </a:prstGeom>
            <a:noFill/>
          </p:spPr>
          <p:txBody>
            <a:bodyPr wrap="square" lIns="36000" tIns="36000" rIns="36000" bIns="36000" rtlCol="0">
              <a:spAutoFit/>
            </a:bodyPr>
            <a:lstStyle/>
            <a:p>
              <a:r>
                <a:rPr kumimoji="1" lang="en-US" altLang="zh-CN" sz="900" dirty="0">
                  <a:latin typeface="Calibri" panose="020F0502020204030204" pitchFamily="34" charset="0"/>
                  <a:cs typeface="Calibri" panose="020F0502020204030204" pitchFamily="34" charset="0"/>
                </a:rPr>
                <a:t>S&amp;P 500</a:t>
              </a:r>
              <a:endParaRPr kumimoji="1" lang="zh-CN" altLang="en-US" sz="900" dirty="0" err="1">
                <a:latin typeface="Calibri" panose="020F0502020204030204" pitchFamily="34" charset="0"/>
                <a:cs typeface="Calibri" panose="020F0502020204030204" pitchFamily="34" charset="0"/>
              </a:endParaRPr>
            </a:p>
          </p:txBody>
        </p:sp>
      </p:grpSp>
      <p:sp>
        <p:nvSpPr>
          <p:cNvPr id="287" name="矩形 286">
            <a:extLst>
              <a:ext uri="{FF2B5EF4-FFF2-40B4-BE49-F238E27FC236}">
                <a16:creationId xmlns:a16="http://schemas.microsoft.com/office/drawing/2014/main" id="{B2B36843-290C-F04E-846A-36A2BF3E5D42}"/>
              </a:ext>
            </a:extLst>
          </p:cNvPr>
          <p:cNvSpPr/>
          <p:nvPr/>
        </p:nvSpPr>
        <p:spPr>
          <a:xfrm>
            <a:off x="4461716" y="1790346"/>
            <a:ext cx="268941" cy="196981"/>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288" name="文本框 287">
            <a:extLst>
              <a:ext uri="{FF2B5EF4-FFF2-40B4-BE49-F238E27FC236}">
                <a16:creationId xmlns:a16="http://schemas.microsoft.com/office/drawing/2014/main" id="{62478B16-9E8C-2A40-B8D3-36255E0487F7}"/>
              </a:ext>
            </a:extLst>
          </p:cNvPr>
          <p:cNvSpPr txBox="1"/>
          <p:nvPr/>
        </p:nvSpPr>
        <p:spPr>
          <a:xfrm>
            <a:off x="4865577" y="1808535"/>
            <a:ext cx="1094550"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News information</a:t>
            </a:r>
            <a:endParaRPr kumimoji="1" lang="zh-CN" altLang="en-US" sz="900" dirty="0" err="1">
              <a:latin typeface="Calibri" panose="020F0502020204030204" pitchFamily="34" charset="0"/>
              <a:cs typeface="Calibri" panose="020F0502020204030204" pitchFamily="34" charset="0"/>
            </a:endParaRPr>
          </a:p>
        </p:txBody>
      </p:sp>
      <p:sp>
        <p:nvSpPr>
          <p:cNvPr id="289" name="矩形 288">
            <a:extLst>
              <a:ext uri="{FF2B5EF4-FFF2-40B4-BE49-F238E27FC236}">
                <a16:creationId xmlns:a16="http://schemas.microsoft.com/office/drawing/2014/main" id="{DF2878AD-02B0-C04B-9BC7-6650E6D99CB7}"/>
              </a:ext>
            </a:extLst>
          </p:cNvPr>
          <p:cNvSpPr/>
          <p:nvPr/>
        </p:nvSpPr>
        <p:spPr>
          <a:xfrm>
            <a:off x="4461716" y="2021503"/>
            <a:ext cx="268941" cy="196981"/>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290" name="文本框 289">
            <a:extLst>
              <a:ext uri="{FF2B5EF4-FFF2-40B4-BE49-F238E27FC236}">
                <a16:creationId xmlns:a16="http://schemas.microsoft.com/office/drawing/2014/main" id="{D73E5524-F348-CF4F-B072-5CF4AB859472}"/>
              </a:ext>
            </a:extLst>
          </p:cNvPr>
          <p:cNvSpPr txBox="1"/>
          <p:nvPr/>
        </p:nvSpPr>
        <p:spPr>
          <a:xfrm>
            <a:off x="4865577" y="2053817"/>
            <a:ext cx="1310082"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Market information</a:t>
            </a:r>
            <a:endParaRPr kumimoji="1" lang="zh-CN" altLang="en-US" sz="900" dirty="0" err="1">
              <a:latin typeface="Calibri" panose="020F0502020204030204" pitchFamily="34" charset="0"/>
              <a:cs typeface="Calibri" panose="020F0502020204030204" pitchFamily="34" charset="0"/>
            </a:endParaRPr>
          </a:p>
        </p:txBody>
      </p:sp>
      <p:cxnSp>
        <p:nvCxnSpPr>
          <p:cNvPr id="87" name="肘形连接符 86">
            <a:extLst>
              <a:ext uri="{FF2B5EF4-FFF2-40B4-BE49-F238E27FC236}">
                <a16:creationId xmlns:a16="http://schemas.microsoft.com/office/drawing/2014/main" id="{AE11B16C-5027-9A49-8DBB-F4287DF7EAD3}"/>
              </a:ext>
            </a:extLst>
          </p:cNvPr>
          <p:cNvCxnSpPr>
            <a:cxnSpLocks/>
            <a:stCxn id="164" idx="4"/>
            <a:endCxn id="166" idx="0"/>
          </p:cNvCxnSpPr>
          <p:nvPr/>
        </p:nvCxnSpPr>
        <p:spPr>
          <a:xfrm rot="5400000">
            <a:off x="11376850" y="3273829"/>
            <a:ext cx="256312" cy="48142"/>
          </a:xfrm>
          <a:prstGeom prst="bentConnector3">
            <a:avLst>
              <a:gd name="adj1" fmla="val 50000"/>
            </a:avLst>
          </a:prstGeom>
          <a:ln w="12700">
            <a:solidFill>
              <a:schemeClr val="accent3">
                <a:alpha val="40000"/>
              </a:schemeClr>
            </a:solidFill>
          </a:ln>
        </p:spPr>
        <p:style>
          <a:lnRef idx="1">
            <a:schemeClr val="accent1"/>
          </a:lnRef>
          <a:fillRef idx="0">
            <a:schemeClr val="accent1"/>
          </a:fillRef>
          <a:effectRef idx="0">
            <a:schemeClr val="accent1"/>
          </a:effectRef>
          <a:fontRef idx="minor">
            <a:schemeClr val="tx1"/>
          </a:fontRef>
        </p:style>
      </p:cxnSp>
      <p:sp>
        <p:nvSpPr>
          <p:cNvPr id="102" name="文本框 101">
            <a:extLst>
              <a:ext uri="{FF2B5EF4-FFF2-40B4-BE49-F238E27FC236}">
                <a16:creationId xmlns:a16="http://schemas.microsoft.com/office/drawing/2014/main" id="{487ADC32-CCBB-954B-A8D9-DD1BF80534C9}"/>
              </a:ext>
            </a:extLst>
          </p:cNvPr>
          <p:cNvSpPr txBox="1"/>
          <p:nvPr/>
        </p:nvSpPr>
        <p:spPr>
          <a:xfrm>
            <a:off x="4865577" y="2291382"/>
            <a:ext cx="1094550" cy="138499"/>
          </a:xfrm>
          <a:prstGeom prst="rect">
            <a:avLst/>
          </a:prstGeom>
          <a:noFill/>
        </p:spPr>
        <p:txBody>
          <a:bodyPr wrap="square" lIns="0" tIns="0" rIns="0" bIns="0" rtlCol="0">
            <a:spAutoFit/>
          </a:bodyPr>
          <a:lstStyle/>
          <a:p>
            <a:r>
              <a:rPr kumimoji="1" lang="en-US" altLang="zh-CN" sz="900" dirty="0">
                <a:latin typeface="Calibri" panose="020F0502020204030204" pitchFamily="34" charset="0"/>
                <a:cs typeface="Calibri" panose="020F0502020204030204" pitchFamily="34" charset="0"/>
              </a:rPr>
              <a:t>Financial information</a:t>
            </a:r>
            <a:endParaRPr kumimoji="1" lang="zh-CN" altLang="en-US" sz="900" dirty="0" err="1">
              <a:latin typeface="Calibri" panose="020F0502020204030204" pitchFamily="34" charset="0"/>
              <a:cs typeface="Calibri" panose="020F0502020204030204" pitchFamily="34" charset="0"/>
            </a:endParaRPr>
          </a:p>
        </p:txBody>
      </p:sp>
      <p:sp>
        <p:nvSpPr>
          <p:cNvPr id="103" name="矩形 102">
            <a:extLst>
              <a:ext uri="{FF2B5EF4-FFF2-40B4-BE49-F238E27FC236}">
                <a16:creationId xmlns:a16="http://schemas.microsoft.com/office/drawing/2014/main" id="{333D28BB-44EA-6448-8949-5CBEF7062060}"/>
              </a:ext>
            </a:extLst>
          </p:cNvPr>
          <p:cNvSpPr/>
          <p:nvPr/>
        </p:nvSpPr>
        <p:spPr>
          <a:xfrm>
            <a:off x="4461716" y="2254195"/>
            <a:ext cx="268941" cy="196981"/>
          </a:xfrm>
          <a:prstGeom prst="rect">
            <a:avLst/>
          </a:prstGeom>
          <a:solidFill>
            <a:schemeClr val="accent3">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05" name="矩形 104">
            <a:extLst>
              <a:ext uri="{FF2B5EF4-FFF2-40B4-BE49-F238E27FC236}">
                <a16:creationId xmlns:a16="http://schemas.microsoft.com/office/drawing/2014/main" id="{08FD5FF0-D52D-A442-B4BA-005D317EE932}"/>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107" name="TextBox 61">
            <a:extLst>
              <a:ext uri="{FF2B5EF4-FFF2-40B4-BE49-F238E27FC236}">
                <a16:creationId xmlns:a16="http://schemas.microsoft.com/office/drawing/2014/main" id="{D194F46C-7311-0E47-AE9C-4499E531525B}"/>
              </a:ext>
            </a:extLst>
          </p:cNvPr>
          <p:cNvSpPr txBox="1"/>
          <p:nvPr/>
        </p:nvSpPr>
        <p:spPr>
          <a:xfrm>
            <a:off x="6435716" y="6868809"/>
            <a:ext cx="4286833" cy="244004"/>
          </a:xfrm>
          <a:prstGeom prst="rect">
            <a:avLst/>
          </a:prstGeom>
          <a:noFill/>
        </p:spPr>
        <p:txBody>
          <a:bodyPr wrap="square" lIns="44622" tIns="44622" rIns="44622" bIns="44622" rtlCol="0">
            <a:spAutoFit/>
          </a:bodyPr>
          <a:lstStyle/>
          <a:p>
            <a:pPr lvl="0">
              <a:defRPr/>
            </a:pPr>
            <a:r>
              <a:rPr lang="en-US" altLang="zh-CN" sz="1000" i="1" dirty="0">
                <a:solidFill>
                  <a:prstClr val="black"/>
                </a:solidFill>
                <a:latin typeface="Calibri" panose="020F0502020204030204" pitchFamily="34" charset="0"/>
                <a:cs typeface="Calibri" panose="020F0502020204030204" pitchFamily="34" charset="0"/>
              </a:rPr>
              <a:t>Note: ratios of comparable companies are the medians of  KDP, MNST, FIZZ, KO  </a:t>
            </a:r>
            <a:endParaRPr lang="zh-CN" altLang="en-US" sz="1000" i="1" dirty="0">
              <a:solidFill>
                <a:prstClr val="black"/>
              </a:solidFill>
              <a:latin typeface="Calibri" panose="020F0502020204030204" pitchFamily="34" charset="0"/>
              <a:cs typeface="Calibri" panose="020F0502020204030204" pitchFamily="34" charset="0"/>
            </a:endParaRPr>
          </a:p>
        </p:txBody>
      </p:sp>
      <p:cxnSp>
        <p:nvCxnSpPr>
          <p:cNvPr id="104" name="肘形连接符 103">
            <a:extLst>
              <a:ext uri="{FF2B5EF4-FFF2-40B4-BE49-F238E27FC236}">
                <a16:creationId xmlns:a16="http://schemas.microsoft.com/office/drawing/2014/main" id="{7C598982-3991-1344-AB62-15CAD4C149D3}"/>
              </a:ext>
            </a:extLst>
          </p:cNvPr>
          <p:cNvCxnSpPr>
            <a:cxnSpLocks/>
            <a:stCxn id="111" idx="3"/>
            <a:endCxn id="110" idx="2"/>
          </p:cNvCxnSpPr>
          <p:nvPr/>
        </p:nvCxnSpPr>
        <p:spPr>
          <a:xfrm>
            <a:off x="7136522" y="2680527"/>
            <a:ext cx="154962" cy="767373"/>
          </a:xfrm>
          <a:prstGeom prst="bentConnector3">
            <a:avLst>
              <a:gd name="adj1" fmla="val 131703"/>
            </a:avLst>
          </a:prstGeom>
          <a:ln w="12700">
            <a:solidFill>
              <a:srgbClr val="92D050">
                <a:alpha val="50000"/>
              </a:srgbClr>
            </a:solidFill>
          </a:ln>
        </p:spPr>
        <p:style>
          <a:lnRef idx="1">
            <a:schemeClr val="accent1"/>
          </a:lnRef>
          <a:fillRef idx="0">
            <a:schemeClr val="accent1"/>
          </a:fillRef>
          <a:effectRef idx="0">
            <a:schemeClr val="accent1"/>
          </a:effectRef>
          <a:fontRef idx="minor">
            <a:schemeClr val="tx1"/>
          </a:fontRef>
        </p:style>
      </p:cxnSp>
      <p:sp>
        <p:nvSpPr>
          <p:cNvPr id="110" name="椭圆 109">
            <a:extLst>
              <a:ext uri="{FF2B5EF4-FFF2-40B4-BE49-F238E27FC236}">
                <a16:creationId xmlns:a16="http://schemas.microsoft.com/office/drawing/2014/main" id="{D2753B8D-4591-B34E-99F4-3C3BBFA617FA}"/>
              </a:ext>
            </a:extLst>
          </p:cNvPr>
          <p:cNvSpPr>
            <a:spLocks noChangeAspect="1"/>
          </p:cNvSpPr>
          <p:nvPr/>
        </p:nvSpPr>
        <p:spPr>
          <a:xfrm>
            <a:off x="7291484" y="3411900"/>
            <a:ext cx="72000" cy="72000"/>
          </a:xfrm>
          <a:prstGeom prst="ellipse">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111" name="矩形 110">
            <a:extLst>
              <a:ext uri="{FF2B5EF4-FFF2-40B4-BE49-F238E27FC236}">
                <a16:creationId xmlns:a16="http://schemas.microsoft.com/office/drawing/2014/main" id="{0D8A429A-0746-4249-BD01-6C2B7B57B81E}"/>
              </a:ext>
            </a:extLst>
          </p:cNvPr>
          <p:cNvSpPr/>
          <p:nvPr/>
        </p:nvSpPr>
        <p:spPr>
          <a:xfrm>
            <a:off x="5964866" y="2222086"/>
            <a:ext cx="1171656" cy="916882"/>
          </a:xfrm>
          <a:prstGeom prst="rect">
            <a:avLst/>
          </a:prstGeom>
          <a:solidFill>
            <a:srgbClr val="92D050">
              <a:alpha val="4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000" dirty="0">
                <a:solidFill>
                  <a:schemeClr val="tx1"/>
                </a:solidFill>
                <a:latin typeface="Calibri" panose="020F0502020204030204" pitchFamily="34" charset="0"/>
                <a:cs typeface="Calibri" panose="020F0502020204030204" pitchFamily="34" charset="0"/>
              </a:rPr>
              <a:t>2016/11: PepsiCo Announced Definitive Agreement to </a:t>
            </a:r>
            <a:r>
              <a:rPr lang="en-US" altLang="zh-CN" sz="1000" b="1" dirty="0">
                <a:solidFill>
                  <a:schemeClr val="tx1"/>
                </a:solidFill>
                <a:latin typeface="Calibri" panose="020F0502020204030204" pitchFamily="34" charset="0"/>
                <a:cs typeface="Calibri" panose="020F0502020204030204" pitchFamily="34" charset="0"/>
              </a:rPr>
              <a:t>Acquire</a:t>
            </a:r>
            <a:r>
              <a:rPr lang="en-US" altLang="zh-CN" sz="1000" dirty="0">
                <a:solidFill>
                  <a:schemeClr val="tx1"/>
                </a:solidFill>
                <a:latin typeface="Calibri" panose="020F0502020204030204" pitchFamily="34" charset="0"/>
                <a:cs typeface="Calibri" panose="020F0502020204030204" pitchFamily="34" charset="0"/>
              </a:rPr>
              <a:t> </a:t>
            </a:r>
            <a:r>
              <a:rPr lang="en-US" altLang="zh-CN" sz="1000" dirty="0" err="1">
                <a:solidFill>
                  <a:schemeClr val="tx1"/>
                </a:solidFill>
                <a:latin typeface="Calibri" panose="020F0502020204030204" pitchFamily="34" charset="0"/>
                <a:cs typeface="Calibri" panose="020F0502020204030204" pitchFamily="34" charset="0"/>
              </a:rPr>
              <a:t>KeVita</a:t>
            </a:r>
            <a:r>
              <a:rPr lang="en-US" altLang="zh-CN" sz="1000" dirty="0">
                <a:solidFill>
                  <a:schemeClr val="tx1"/>
                </a:solidFill>
                <a:latin typeface="Calibri" panose="020F0502020204030204" pitchFamily="34" charset="0"/>
                <a:cs typeface="Calibri" panose="020F0502020204030204" pitchFamily="34" charset="0"/>
              </a:rPr>
              <a:t>, a Leader in Fermented Probiotic Beverages</a:t>
            </a:r>
            <a:endParaRPr lang="zh-CN" altLang="zh-CN" sz="1000" dirty="0">
              <a:solidFill>
                <a:schemeClr val="tx1"/>
              </a:solidFill>
              <a:latin typeface="Calibri" panose="020F0502020204030204" pitchFamily="34" charset="0"/>
              <a:cs typeface="Calibri" panose="020F0502020204030204" pitchFamily="34" charset="0"/>
            </a:endParaRPr>
          </a:p>
        </p:txBody>
      </p:sp>
      <p:sp>
        <p:nvSpPr>
          <p:cNvPr id="115" name="矩形 114">
            <a:extLst>
              <a:ext uri="{FF2B5EF4-FFF2-40B4-BE49-F238E27FC236}">
                <a16:creationId xmlns:a16="http://schemas.microsoft.com/office/drawing/2014/main" id="{FC23A092-DD95-6440-B9BD-9FCC9125FE69}"/>
              </a:ext>
            </a:extLst>
          </p:cNvPr>
          <p:cNvSpPr/>
          <p:nvPr/>
        </p:nvSpPr>
        <p:spPr>
          <a:xfrm>
            <a:off x="4554426" y="2698274"/>
            <a:ext cx="1162800" cy="476461"/>
          </a:xfrm>
          <a:prstGeom prst="rect">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000" dirty="0">
                <a:solidFill>
                  <a:schemeClr val="tx1"/>
                </a:solidFill>
                <a:latin typeface="Calibri" panose="020F0502020204030204" pitchFamily="34" charset="0"/>
                <a:cs typeface="Calibri" panose="020F0502020204030204" pitchFamily="34" charset="0"/>
              </a:rPr>
              <a:t>2015/8: </a:t>
            </a:r>
            <a:r>
              <a:rPr kumimoji="1" lang="en-US" altLang="zh-CN" sz="1000" b="1" dirty="0">
                <a:solidFill>
                  <a:schemeClr val="tx1"/>
                </a:solidFill>
                <a:latin typeface="Calibri" panose="020F0502020204030204" pitchFamily="34" charset="0"/>
                <a:cs typeface="Calibri" panose="020F0502020204030204" pitchFamily="34" charset="0"/>
              </a:rPr>
              <a:t>Dow Jone</a:t>
            </a:r>
            <a:r>
              <a:rPr kumimoji="1" lang="en-US" altLang="zh-CN" sz="1000" dirty="0">
                <a:solidFill>
                  <a:schemeClr val="tx1"/>
                </a:solidFill>
                <a:latin typeface="Calibri" panose="020F0502020204030204" pitchFamily="34" charset="0"/>
                <a:cs typeface="Calibri" panose="020F0502020204030204" pitchFamily="34" charset="0"/>
              </a:rPr>
              <a:t>s fell 1300 points from August 18-21</a:t>
            </a:r>
          </a:p>
        </p:txBody>
      </p:sp>
      <p:sp>
        <p:nvSpPr>
          <p:cNvPr id="116" name="椭圆 115">
            <a:extLst>
              <a:ext uri="{FF2B5EF4-FFF2-40B4-BE49-F238E27FC236}">
                <a16:creationId xmlns:a16="http://schemas.microsoft.com/office/drawing/2014/main" id="{F89F810C-8465-D341-BF43-5108CA668563}"/>
              </a:ext>
            </a:extLst>
          </p:cNvPr>
          <p:cNvSpPr>
            <a:spLocks noChangeAspect="1"/>
          </p:cNvSpPr>
          <p:nvPr/>
        </p:nvSpPr>
        <p:spPr>
          <a:xfrm>
            <a:off x="6167715" y="3524900"/>
            <a:ext cx="72000" cy="72000"/>
          </a:xfrm>
          <a:prstGeom prst="ellipse">
            <a:avLst/>
          </a:prstGeom>
          <a:solidFill>
            <a:schemeClr val="accent6">
              <a:alpha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117" name="肘形连接符 116">
            <a:extLst>
              <a:ext uri="{FF2B5EF4-FFF2-40B4-BE49-F238E27FC236}">
                <a16:creationId xmlns:a16="http://schemas.microsoft.com/office/drawing/2014/main" id="{E6CCBA5B-57E1-5849-AECD-A641322602B6}"/>
              </a:ext>
            </a:extLst>
          </p:cNvPr>
          <p:cNvCxnSpPr>
            <a:cxnSpLocks/>
            <a:stCxn id="115" idx="3"/>
            <a:endCxn id="116" idx="4"/>
          </p:cNvCxnSpPr>
          <p:nvPr/>
        </p:nvCxnSpPr>
        <p:spPr>
          <a:xfrm>
            <a:off x="5717226" y="2936505"/>
            <a:ext cx="486489" cy="660395"/>
          </a:xfrm>
          <a:prstGeom prst="bentConnector4">
            <a:avLst>
              <a:gd name="adj1" fmla="val 20275"/>
              <a:gd name="adj2" fmla="val 49408"/>
            </a:avLst>
          </a:prstGeom>
          <a:ln w="12700">
            <a:solidFill>
              <a:schemeClr val="accent5">
                <a:alpha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728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AD31B619-A59F-694D-A348-6F592C858616}"/>
              </a:ext>
            </a:extLst>
          </p:cNvPr>
          <p:cNvSpPr/>
          <p:nvPr/>
        </p:nvSpPr>
        <p:spPr>
          <a:xfrm>
            <a:off x="1236664" y="1347255"/>
            <a:ext cx="5184774" cy="3702328"/>
          </a:xfrm>
          <a:prstGeom prst="rect">
            <a:avLst/>
          </a:prstGeom>
          <a:solidFill>
            <a:schemeClr val="accent3">
              <a:lumMod val="60000"/>
              <a:lumOff val="4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b="1" dirty="0">
              <a:solidFill>
                <a:schemeClr val="tx1"/>
              </a:solidFill>
              <a:latin typeface="Calibri" panose="020F0502020204030204" pitchFamily="34" charset="0"/>
              <a:cs typeface="Calibri" panose="020F0502020204030204" pitchFamily="34" charset="0"/>
            </a:endParaRPr>
          </a:p>
        </p:txBody>
      </p:sp>
      <p:sp>
        <p:nvSpPr>
          <p:cNvPr id="30" name="矩形 29">
            <a:extLst>
              <a:ext uri="{FF2B5EF4-FFF2-40B4-BE49-F238E27FC236}">
                <a16:creationId xmlns:a16="http://schemas.microsoft.com/office/drawing/2014/main" id="{A385043B-33D6-ED46-AA45-3D89C1F2D36C}"/>
              </a:ext>
            </a:extLst>
          </p:cNvPr>
          <p:cNvSpPr/>
          <p:nvPr/>
        </p:nvSpPr>
        <p:spPr>
          <a:xfrm>
            <a:off x="1379538" y="1812012"/>
            <a:ext cx="3390441" cy="3150000"/>
          </a:xfrm>
          <a:prstGeom prst="rect">
            <a:avLst/>
          </a:prstGeom>
          <a:solidFill>
            <a:schemeClr val="accent3">
              <a:lumMod val="20000"/>
              <a:lumOff val="80000"/>
            </a:schemeClr>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b="1" dirty="0">
              <a:solidFill>
                <a:schemeClr val="tx1"/>
              </a:solidFill>
              <a:latin typeface="Calibri" panose="020F0502020204030204" pitchFamily="34" charset="0"/>
              <a:cs typeface="Calibri" panose="020F0502020204030204" pitchFamily="34" charset="0"/>
            </a:endParaRPr>
          </a:p>
        </p:txBody>
      </p:sp>
      <p:sp>
        <p:nvSpPr>
          <p:cNvPr id="28" name="矩形 27">
            <a:extLst>
              <a:ext uri="{FF2B5EF4-FFF2-40B4-BE49-F238E27FC236}">
                <a16:creationId xmlns:a16="http://schemas.microsoft.com/office/drawing/2014/main" id="{E2DC11EA-585A-BF42-A8D2-DFEF50A1A7F6}"/>
              </a:ext>
            </a:extLst>
          </p:cNvPr>
          <p:cNvSpPr/>
          <p:nvPr/>
        </p:nvSpPr>
        <p:spPr>
          <a:xfrm>
            <a:off x="1530643" y="2458974"/>
            <a:ext cx="1614196" cy="2423273"/>
          </a:xfrm>
          <a:prstGeom prst="rect">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l"/>
            <a:endParaRPr kumimoji="1" lang="zh-CN" altLang="en-US" sz="1200" b="1" dirty="0">
              <a:solidFill>
                <a:schemeClr val="tx1"/>
              </a:solidFill>
              <a:latin typeface="Calibri" panose="020F0502020204030204" pitchFamily="34" charset="0"/>
              <a:cs typeface="Calibri" panose="020F0502020204030204" pitchFamily="34" charset="0"/>
            </a:endParaRPr>
          </a:p>
        </p:txBody>
      </p:sp>
      <p:sp>
        <p:nvSpPr>
          <p:cNvPr id="2" name="Footer Placeholder 1">
            <a:extLst>
              <a:ext uri="{FF2B5EF4-FFF2-40B4-BE49-F238E27FC236}">
                <a16:creationId xmlns:a16="http://schemas.microsoft.com/office/drawing/2014/main" id="{ABAF9A18-3383-4648-9F51-0EFA9B7A9556}"/>
              </a:ext>
            </a:extLst>
          </p:cNvPr>
          <p:cNvSpPr>
            <a:spLocks noGrp="1"/>
          </p:cNvSpPr>
          <p:nvPr>
            <p:ph type="ftr" sz="quarter" idx="11"/>
          </p:nvPr>
        </p:nvSpPr>
        <p:spPr/>
        <p:txBody>
          <a:bodyPr/>
          <a:lstStyle/>
          <a:p>
            <a:endParaRPr lang="zh-CN" altLang="en-US"/>
          </a:p>
        </p:txBody>
      </p:sp>
      <p:sp>
        <p:nvSpPr>
          <p:cNvPr id="3" name="Title 1">
            <a:extLst>
              <a:ext uri="{FF2B5EF4-FFF2-40B4-BE49-F238E27FC236}">
                <a16:creationId xmlns:a16="http://schemas.microsoft.com/office/drawing/2014/main" id="{35E7CD86-F05D-7B4D-8849-A70CBFA06C9E}"/>
              </a:ext>
            </a:extLst>
          </p:cNvPr>
          <p:cNvSpPr txBox="1">
            <a:spLocks/>
          </p:cNvSpPr>
          <p:nvPr/>
        </p:nvSpPr>
        <p:spPr>
          <a:xfrm>
            <a:off x="386590" y="373063"/>
            <a:ext cx="11801407" cy="862012"/>
          </a:xfrm>
          <a:prstGeom prst="rect">
            <a:avLst/>
          </a:prstGeom>
        </p:spPr>
        <p:txBody>
          <a:bodyPr anchor="ctr"/>
          <a:lstStyle>
            <a:lvl1pPr algn="l" defTabSz="981334" rtl="0" eaLnBrk="1" latinLnBrk="0" hangingPunct="1">
              <a:spcBef>
                <a:spcPct val="0"/>
              </a:spcBef>
              <a:buNone/>
              <a:defRPr sz="2600" b="1" kern="1200">
                <a:solidFill>
                  <a:schemeClr val="bg2"/>
                </a:solidFill>
                <a:latin typeface="Calibri" panose="020F0502020204030204" pitchFamily="34" charset="0"/>
                <a:ea typeface="+mj-ea"/>
                <a:cs typeface="Calibri" panose="020F0502020204030204" pitchFamily="34" charset="0"/>
              </a:defRPr>
            </a:lvl1pPr>
          </a:lstStyle>
          <a:p>
            <a:r>
              <a:rPr lang="en-US" altLang="zh-CN" sz="2800" dirty="0"/>
              <a:t>Hypothesis</a:t>
            </a:r>
            <a:r>
              <a:rPr lang="en-US" altLang="zh-CN" sz="3223" dirty="0"/>
              <a:t>, Features, and Models</a:t>
            </a:r>
            <a:endParaRPr lang="zh-CN" altLang="en-US" sz="3223" dirty="0"/>
          </a:p>
        </p:txBody>
      </p:sp>
      <p:sp>
        <p:nvSpPr>
          <p:cNvPr id="8" name="TextBox 58">
            <a:extLst>
              <a:ext uri="{FF2B5EF4-FFF2-40B4-BE49-F238E27FC236}">
                <a16:creationId xmlns:a16="http://schemas.microsoft.com/office/drawing/2014/main" id="{424E9AA3-A669-4C45-92BF-C49EF83F628C}"/>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odeling: Logics &amp; Structure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Result Analysis  Applications</a:t>
            </a:r>
            <a:endParaRPr lang="zh-CN" altLang="en-US" sz="1600" dirty="0">
              <a:solidFill>
                <a:schemeClr val="accent6"/>
              </a:solidFill>
              <a:latin typeface="Calibri" panose="020F0502020204030204" pitchFamily="34" charset="0"/>
              <a:cs typeface="Calibri" panose="020F0502020204030204" pitchFamily="34" charset="0"/>
            </a:endParaRPr>
          </a:p>
        </p:txBody>
      </p:sp>
      <p:sp>
        <p:nvSpPr>
          <p:cNvPr id="14" name="文本框 13">
            <a:extLst>
              <a:ext uri="{FF2B5EF4-FFF2-40B4-BE49-F238E27FC236}">
                <a16:creationId xmlns:a16="http://schemas.microsoft.com/office/drawing/2014/main" id="{6A29DB91-D6DC-7A42-9703-99B863D00286}"/>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5</a:t>
            </a:r>
            <a:endParaRPr kumimoji="1" lang="zh-CN" altLang="en-US" sz="1000" dirty="0" err="1">
              <a:latin typeface="Calibri" panose="020F0502020204030204" pitchFamily="34" charset="0"/>
              <a:cs typeface="Calibri" panose="020F0502020204030204" pitchFamily="34" charset="0"/>
            </a:endParaRPr>
          </a:p>
        </p:txBody>
      </p:sp>
      <p:sp>
        <p:nvSpPr>
          <p:cNvPr id="4" name="矩形 3">
            <a:extLst>
              <a:ext uri="{FF2B5EF4-FFF2-40B4-BE49-F238E27FC236}">
                <a16:creationId xmlns:a16="http://schemas.microsoft.com/office/drawing/2014/main" id="{0DC2BD15-6A79-A340-B163-83B651D8D564}"/>
              </a:ext>
            </a:extLst>
          </p:cNvPr>
          <p:cNvSpPr>
            <a:spLocks/>
          </p:cNvSpPr>
          <p:nvPr/>
        </p:nvSpPr>
        <p:spPr>
          <a:xfrm>
            <a:off x="1601409" y="3294509"/>
            <a:ext cx="1468800" cy="309600"/>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en-US" altLang="zh-CN" sz="1200" dirty="0">
                <a:solidFill>
                  <a:schemeClr val="bg1"/>
                </a:solidFill>
                <a:latin typeface="Calibri" panose="020F0502020204030204" pitchFamily="34" charset="0"/>
                <a:cs typeface="Calibri" panose="020F0502020204030204" pitchFamily="34" charset="0"/>
              </a:rPr>
              <a:t>Stock Market</a:t>
            </a:r>
            <a:endParaRPr kumimoji="1" lang="zh-CN" altLang="en-US" sz="1200" dirty="0">
              <a:solidFill>
                <a:schemeClr val="bg1"/>
              </a:solidFill>
              <a:latin typeface="Calibri" panose="020F0502020204030204" pitchFamily="34" charset="0"/>
              <a:cs typeface="Calibri" panose="020F0502020204030204" pitchFamily="34" charset="0"/>
            </a:endParaRPr>
          </a:p>
        </p:txBody>
      </p:sp>
      <p:sp>
        <p:nvSpPr>
          <p:cNvPr id="15" name="矩形 14">
            <a:extLst>
              <a:ext uri="{FF2B5EF4-FFF2-40B4-BE49-F238E27FC236}">
                <a16:creationId xmlns:a16="http://schemas.microsoft.com/office/drawing/2014/main" id="{7691BA19-9CE8-C040-B05B-EAF4E3FDCA0D}"/>
              </a:ext>
            </a:extLst>
          </p:cNvPr>
          <p:cNvSpPr/>
          <p:nvPr/>
        </p:nvSpPr>
        <p:spPr>
          <a:xfrm>
            <a:off x="351283" y="3358058"/>
            <a:ext cx="782574" cy="40008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zh-CN" sz="1200" b="1" dirty="0">
                <a:solidFill>
                  <a:schemeClr val="accent2"/>
                </a:solidFill>
                <a:latin typeface="Calibri" panose="020F0502020204030204" pitchFamily="34" charset="0"/>
                <a:cs typeface="Calibri" panose="020F0502020204030204" pitchFamily="34" charset="0"/>
              </a:rPr>
              <a:t>Information</a:t>
            </a:r>
          </a:p>
          <a:p>
            <a:pPr algn="ctr"/>
            <a:r>
              <a:rPr kumimoji="1" lang="en-US" altLang="zh-CN" sz="1200" b="1" dirty="0">
                <a:solidFill>
                  <a:schemeClr val="accent2"/>
                </a:solidFill>
                <a:latin typeface="Calibri" panose="020F0502020204030204" pitchFamily="34" charset="0"/>
                <a:cs typeface="Calibri" panose="020F0502020204030204" pitchFamily="34" charset="0"/>
              </a:rPr>
              <a:t>Resources</a:t>
            </a:r>
            <a:endParaRPr kumimoji="1" lang="zh-CN" altLang="en-US" sz="1200" b="1" dirty="0">
              <a:solidFill>
                <a:schemeClr val="accent2"/>
              </a:solidFill>
              <a:latin typeface="Calibri" panose="020F0502020204030204" pitchFamily="34" charset="0"/>
              <a:cs typeface="Calibri" panose="020F0502020204030204" pitchFamily="34" charset="0"/>
            </a:endParaRPr>
          </a:p>
        </p:txBody>
      </p:sp>
      <p:sp>
        <p:nvSpPr>
          <p:cNvPr id="16" name="矩形 15">
            <a:extLst>
              <a:ext uri="{FF2B5EF4-FFF2-40B4-BE49-F238E27FC236}">
                <a16:creationId xmlns:a16="http://schemas.microsoft.com/office/drawing/2014/main" id="{6B003BCF-04BD-FD4A-BA7F-A4F28065F3CC}"/>
              </a:ext>
            </a:extLst>
          </p:cNvPr>
          <p:cNvSpPr/>
          <p:nvPr/>
        </p:nvSpPr>
        <p:spPr>
          <a:xfrm>
            <a:off x="444711" y="4008897"/>
            <a:ext cx="595718" cy="690858"/>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200" b="1" dirty="0">
                <a:solidFill>
                  <a:schemeClr val="accent2"/>
                </a:solidFill>
                <a:latin typeface="Calibri" panose="020F0502020204030204" pitchFamily="34" charset="0"/>
                <a:cs typeface="Calibri" panose="020F0502020204030204" pitchFamily="34" charset="0"/>
              </a:rPr>
              <a:t>Features</a:t>
            </a:r>
            <a:endParaRPr kumimoji="1" lang="zh-CN" altLang="en-US" sz="1200" b="1" dirty="0">
              <a:solidFill>
                <a:schemeClr val="accent2"/>
              </a:solidFill>
              <a:latin typeface="Calibri" panose="020F0502020204030204" pitchFamily="34" charset="0"/>
              <a:cs typeface="Calibri" panose="020F0502020204030204" pitchFamily="34" charset="0"/>
            </a:endParaRPr>
          </a:p>
        </p:txBody>
      </p:sp>
      <p:sp>
        <p:nvSpPr>
          <p:cNvPr id="17" name="矩形 16">
            <a:extLst>
              <a:ext uri="{FF2B5EF4-FFF2-40B4-BE49-F238E27FC236}">
                <a16:creationId xmlns:a16="http://schemas.microsoft.com/office/drawing/2014/main" id="{F613BFFC-FD63-4D40-9EFB-7F0E1A0BD37A}"/>
              </a:ext>
            </a:extLst>
          </p:cNvPr>
          <p:cNvSpPr/>
          <p:nvPr/>
        </p:nvSpPr>
        <p:spPr>
          <a:xfrm>
            <a:off x="385872" y="1456983"/>
            <a:ext cx="713396" cy="1761705"/>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200" b="1" dirty="0">
                <a:solidFill>
                  <a:schemeClr val="accent2"/>
                </a:solidFill>
                <a:latin typeface="Calibri" panose="020F0502020204030204" pitchFamily="34" charset="0"/>
                <a:cs typeface="Calibri" panose="020F0502020204030204" pitchFamily="34" charset="0"/>
              </a:rPr>
              <a:t>Hypothesis</a:t>
            </a:r>
            <a:endParaRPr kumimoji="1" lang="zh-CN" altLang="en-US" sz="1200" b="1" dirty="0">
              <a:solidFill>
                <a:schemeClr val="accent2"/>
              </a:solidFill>
              <a:latin typeface="Calibri" panose="020F0502020204030204" pitchFamily="34" charset="0"/>
              <a:cs typeface="Calibri" panose="020F0502020204030204" pitchFamily="34" charset="0"/>
            </a:endParaRPr>
          </a:p>
        </p:txBody>
      </p:sp>
      <p:sp>
        <p:nvSpPr>
          <p:cNvPr id="18" name="矩形 17">
            <a:extLst>
              <a:ext uri="{FF2B5EF4-FFF2-40B4-BE49-F238E27FC236}">
                <a16:creationId xmlns:a16="http://schemas.microsoft.com/office/drawing/2014/main" id="{1DAC7EFC-BC3F-EB45-B9E3-90E881359292}"/>
              </a:ext>
            </a:extLst>
          </p:cNvPr>
          <p:cNvSpPr/>
          <p:nvPr/>
        </p:nvSpPr>
        <p:spPr>
          <a:xfrm>
            <a:off x="1601409" y="3711651"/>
            <a:ext cx="1468799" cy="1083955"/>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Self-related stock info : Volume</a:t>
            </a:r>
          </a:p>
          <a:p>
            <a:pPr marL="171450" indent="-171450" algn="l">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Market-related info: S&amp;P 500 price</a:t>
            </a: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21" name="矩形 20">
            <a:extLst>
              <a:ext uri="{FF2B5EF4-FFF2-40B4-BE49-F238E27FC236}">
                <a16:creationId xmlns:a16="http://schemas.microsoft.com/office/drawing/2014/main" id="{8652E6F4-D833-CF4D-AE1A-985CBA43D846}"/>
              </a:ext>
            </a:extLst>
          </p:cNvPr>
          <p:cNvSpPr>
            <a:spLocks/>
          </p:cNvSpPr>
          <p:nvPr/>
        </p:nvSpPr>
        <p:spPr>
          <a:xfrm>
            <a:off x="3218266" y="3304631"/>
            <a:ext cx="1486800" cy="309600"/>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en-US" altLang="zh-CN" sz="1200" dirty="0">
                <a:solidFill>
                  <a:schemeClr val="bg1"/>
                </a:solidFill>
                <a:latin typeface="Calibri" panose="020F0502020204030204" pitchFamily="34" charset="0"/>
                <a:cs typeface="Calibri" panose="020F0502020204030204" pitchFamily="34" charset="0"/>
              </a:rPr>
              <a:t>Financial  Performance</a:t>
            </a:r>
            <a:endParaRPr kumimoji="1" lang="zh-CN" altLang="en-US" sz="1200" dirty="0">
              <a:solidFill>
                <a:schemeClr val="bg1"/>
              </a:solidFill>
              <a:latin typeface="Calibri" panose="020F0502020204030204" pitchFamily="34" charset="0"/>
              <a:cs typeface="Calibri" panose="020F0502020204030204" pitchFamily="34" charset="0"/>
            </a:endParaRPr>
          </a:p>
        </p:txBody>
      </p:sp>
      <p:sp>
        <p:nvSpPr>
          <p:cNvPr id="23" name="矩形 22">
            <a:extLst>
              <a:ext uri="{FF2B5EF4-FFF2-40B4-BE49-F238E27FC236}">
                <a16:creationId xmlns:a16="http://schemas.microsoft.com/office/drawing/2014/main" id="{3D84C6FE-CCE2-174D-92C4-03B20AB56F90}"/>
              </a:ext>
            </a:extLst>
          </p:cNvPr>
          <p:cNvSpPr>
            <a:spLocks/>
          </p:cNvSpPr>
          <p:nvPr/>
        </p:nvSpPr>
        <p:spPr>
          <a:xfrm>
            <a:off x="4871903" y="3294509"/>
            <a:ext cx="1468800" cy="309600"/>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en-US" altLang="zh-CN" sz="1200" dirty="0">
                <a:solidFill>
                  <a:schemeClr val="bg1"/>
                </a:solidFill>
                <a:latin typeface="Calibri" panose="020F0502020204030204" pitchFamily="34" charset="0"/>
                <a:cs typeface="Calibri" panose="020F0502020204030204" pitchFamily="34" charset="0"/>
              </a:rPr>
              <a:t>Public Sentiment</a:t>
            </a:r>
            <a:endParaRPr kumimoji="1" lang="zh-CN" altLang="en-US" sz="1200" dirty="0">
              <a:solidFill>
                <a:schemeClr val="bg1"/>
              </a:solidFill>
              <a:latin typeface="Calibri" panose="020F0502020204030204" pitchFamily="34" charset="0"/>
              <a:cs typeface="Calibri" panose="020F0502020204030204" pitchFamily="34" charset="0"/>
            </a:endParaRPr>
          </a:p>
        </p:txBody>
      </p:sp>
      <p:sp>
        <p:nvSpPr>
          <p:cNvPr id="24" name="矩形 23">
            <a:extLst>
              <a:ext uri="{FF2B5EF4-FFF2-40B4-BE49-F238E27FC236}">
                <a16:creationId xmlns:a16="http://schemas.microsoft.com/office/drawing/2014/main" id="{453418C4-546B-F948-B403-49C342DD00E3}"/>
              </a:ext>
            </a:extLst>
          </p:cNvPr>
          <p:cNvSpPr/>
          <p:nvPr/>
        </p:nvSpPr>
        <p:spPr>
          <a:xfrm>
            <a:off x="3218265" y="3711650"/>
            <a:ext cx="1468801" cy="1083955"/>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Quarterly financial indicators:</a:t>
            </a:r>
            <a:r>
              <a:rPr kumimoji="1" lang="zh-CN" altLang="en-US" sz="1200" dirty="0">
                <a:solidFill>
                  <a:schemeClr val="tx1"/>
                </a:solidFill>
                <a:latin typeface="Calibri" panose="020F0502020204030204" pitchFamily="34" charset="0"/>
                <a:cs typeface="Calibri" panose="020F0502020204030204" pitchFamily="34" charset="0"/>
              </a:rPr>
              <a:t> </a:t>
            </a:r>
            <a:r>
              <a:rPr kumimoji="1" lang="en-US" altLang="zh-CN" sz="1200" dirty="0">
                <a:solidFill>
                  <a:schemeClr val="tx1"/>
                </a:solidFill>
                <a:latin typeface="Calibri" panose="020F0502020204030204" pitchFamily="34" charset="0"/>
                <a:cs typeface="Calibri" panose="020F0502020204030204" pitchFamily="34" charset="0"/>
              </a:rPr>
              <a:t>Revenue, gross profit, net income</a:t>
            </a:r>
          </a:p>
        </p:txBody>
      </p:sp>
      <p:sp>
        <p:nvSpPr>
          <p:cNvPr id="26" name="矩形 25">
            <a:extLst>
              <a:ext uri="{FF2B5EF4-FFF2-40B4-BE49-F238E27FC236}">
                <a16:creationId xmlns:a16="http://schemas.microsoft.com/office/drawing/2014/main" id="{8CED078C-C472-6B4E-97D6-E3FBD1B1FB72}"/>
              </a:ext>
            </a:extLst>
          </p:cNvPr>
          <p:cNvSpPr/>
          <p:nvPr/>
        </p:nvSpPr>
        <p:spPr>
          <a:xfrm>
            <a:off x="4871903" y="3709606"/>
            <a:ext cx="1468800" cy="1069984"/>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News</a:t>
            </a:r>
          </a:p>
          <a:p>
            <a:pPr marL="171450" indent="-171450">
              <a:buFont typeface="Arial" panose="020B0604020202020204" pitchFamily="34" charset="0"/>
              <a:buChar char="•"/>
            </a:pPr>
            <a:r>
              <a:rPr kumimoji="1" lang="en-US" altLang="zh-CN" sz="1200" dirty="0">
                <a:solidFill>
                  <a:schemeClr val="tx1"/>
                </a:solidFill>
                <a:latin typeface="Calibri" panose="020F0502020204030204" pitchFamily="34" charset="0"/>
                <a:cs typeface="Calibri" panose="020F0502020204030204" pitchFamily="34" charset="0"/>
              </a:rPr>
              <a:t>Social Media: Twitter</a:t>
            </a:r>
          </a:p>
        </p:txBody>
      </p:sp>
      <p:sp>
        <p:nvSpPr>
          <p:cNvPr id="6" name="文本框 5">
            <a:extLst>
              <a:ext uri="{FF2B5EF4-FFF2-40B4-BE49-F238E27FC236}">
                <a16:creationId xmlns:a16="http://schemas.microsoft.com/office/drawing/2014/main" id="{02F4C0B9-F1E1-CA44-9112-EA7D96B18408}"/>
              </a:ext>
            </a:extLst>
          </p:cNvPr>
          <p:cNvSpPr txBox="1"/>
          <p:nvPr/>
        </p:nvSpPr>
        <p:spPr>
          <a:xfrm>
            <a:off x="1608672" y="2519002"/>
            <a:ext cx="1468799" cy="738664"/>
          </a:xfrm>
          <a:prstGeom prst="rect">
            <a:avLst/>
          </a:prstGeom>
          <a:noFill/>
        </p:spPr>
        <p:txBody>
          <a:bodyPr wrap="square" lIns="0" tIns="0" rIns="0" bIns="0" rtlCol="0">
            <a:spAutoFit/>
          </a:bodyPr>
          <a:lstStyle/>
          <a:p>
            <a:r>
              <a:rPr kumimoji="1" lang="en-US" altLang="zh-CN" sz="1200" b="1" dirty="0">
                <a:latin typeface="Calibri" panose="020F0502020204030204" pitchFamily="34" charset="0"/>
                <a:cs typeface="Calibri" panose="020F0502020204030204" pitchFamily="34" charset="0"/>
              </a:rPr>
              <a:t>Hypothesis 1: </a:t>
            </a:r>
            <a:r>
              <a:rPr kumimoji="1" lang="en-US" altLang="zh-CN" sz="1200" dirty="0">
                <a:latin typeface="Calibri" panose="020F0502020204030204" pitchFamily="34" charset="0"/>
                <a:cs typeface="Calibri" panose="020F0502020204030204" pitchFamily="34" charset="0"/>
              </a:rPr>
              <a:t>share price can be captured by the information from stock market</a:t>
            </a:r>
            <a:endParaRPr kumimoji="1" lang="zh-CN" altLang="en-US" sz="1200" dirty="0" err="1">
              <a:latin typeface="Calibri" panose="020F0502020204030204" pitchFamily="34" charset="0"/>
              <a:cs typeface="Calibri" panose="020F0502020204030204" pitchFamily="34" charset="0"/>
            </a:endParaRPr>
          </a:p>
        </p:txBody>
      </p:sp>
      <p:sp>
        <p:nvSpPr>
          <p:cNvPr id="29" name="文本框 28">
            <a:extLst>
              <a:ext uri="{FF2B5EF4-FFF2-40B4-BE49-F238E27FC236}">
                <a16:creationId xmlns:a16="http://schemas.microsoft.com/office/drawing/2014/main" id="{868859FF-C1C2-2244-B22D-26149A3328E8}"/>
              </a:ext>
            </a:extLst>
          </p:cNvPr>
          <p:cNvSpPr txBox="1"/>
          <p:nvPr/>
        </p:nvSpPr>
        <p:spPr>
          <a:xfrm>
            <a:off x="1469683" y="1850683"/>
            <a:ext cx="3217383" cy="553998"/>
          </a:xfrm>
          <a:prstGeom prst="rect">
            <a:avLst/>
          </a:prstGeom>
          <a:noFill/>
        </p:spPr>
        <p:txBody>
          <a:bodyPr wrap="square" lIns="0" tIns="0" rIns="0" bIns="0" rtlCol="0">
            <a:spAutoFit/>
          </a:bodyPr>
          <a:lstStyle/>
          <a:p>
            <a:r>
              <a:rPr kumimoji="1" lang="en-US" altLang="zh-CN" sz="1200" b="1" dirty="0">
                <a:latin typeface="Calibri" panose="020F0502020204030204" pitchFamily="34" charset="0"/>
                <a:cs typeface="Calibri" panose="020F0502020204030204" pitchFamily="34" charset="0"/>
              </a:rPr>
              <a:t>Hypothesis 2: </a:t>
            </a:r>
            <a:r>
              <a:rPr lang="en-CN" sz="1200" dirty="0"/>
              <a:t>share price is affected by not only factors from the stock market, but also the company’s financial performance</a:t>
            </a:r>
            <a:endParaRPr kumimoji="1" lang="zh-CN" altLang="en-US" sz="1200" dirty="0" err="1">
              <a:latin typeface="Calibri" panose="020F0502020204030204" pitchFamily="34" charset="0"/>
              <a:cs typeface="Calibri" panose="020F0502020204030204" pitchFamily="34" charset="0"/>
            </a:endParaRPr>
          </a:p>
        </p:txBody>
      </p:sp>
      <p:sp>
        <p:nvSpPr>
          <p:cNvPr id="32" name="文本框 31">
            <a:extLst>
              <a:ext uri="{FF2B5EF4-FFF2-40B4-BE49-F238E27FC236}">
                <a16:creationId xmlns:a16="http://schemas.microsoft.com/office/drawing/2014/main" id="{CF5F26BD-3848-2F4D-9268-94AD6AFA678D}"/>
              </a:ext>
            </a:extLst>
          </p:cNvPr>
          <p:cNvSpPr txBox="1"/>
          <p:nvPr/>
        </p:nvSpPr>
        <p:spPr>
          <a:xfrm>
            <a:off x="1317780" y="1383831"/>
            <a:ext cx="5022923" cy="369332"/>
          </a:xfrm>
          <a:prstGeom prst="rect">
            <a:avLst/>
          </a:prstGeom>
          <a:noFill/>
        </p:spPr>
        <p:txBody>
          <a:bodyPr wrap="square" lIns="0" tIns="0" rIns="0" bIns="0" rtlCol="0">
            <a:spAutoFit/>
          </a:bodyPr>
          <a:lstStyle/>
          <a:p>
            <a:r>
              <a:rPr kumimoji="1" lang="en-US" altLang="zh-CN" sz="1200" b="1" dirty="0">
                <a:latin typeface="Calibri" panose="020F0502020204030204" pitchFamily="34" charset="0"/>
                <a:cs typeface="Calibri" panose="020F0502020204030204" pitchFamily="34" charset="0"/>
              </a:rPr>
              <a:t>Hypothesis 3: i</a:t>
            </a:r>
            <a:r>
              <a:rPr kumimoji="1" lang="en-US" altLang="zh-CN" sz="1200" dirty="0">
                <a:latin typeface="Calibri" panose="020F0502020204030204" pitchFamily="34" charset="0"/>
                <a:cs typeface="Calibri" panose="020F0502020204030204" pitchFamily="34" charset="0"/>
              </a:rPr>
              <a:t>nvestors’ decisions can be affected by the information from news and social media, so stock price is affected by public sentiment </a:t>
            </a:r>
            <a:endParaRPr lang="zh-CN" altLang="zh-CN" sz="1200" b="1" dirty="0">
              <a:latin typeface="Calibri" panose="020F0502020204030204" pitchFamily="34" charset="0"/>
              <a:cs typeface="Calibri" panose="020F0502020204030204" pitchFamily="34" charset="0"/>
            </a:endParaRPr>
          </a:p>
        </p:txBody>
      </p:sp>
      <p:sp>
        <p:nvSpPr>
          <p:cNvPr id="7" name="梯形 6">
            <a:extLst>
              <a:ext uri="{FF2B5EF4-FFF2-40B4-BE49-F238E27FC236}">
                <a16:creationId xmlns:a16="http://schemas.microsoft.com/office/drawing/2014/main" id="{19EE8A5E-96EC-5F46-8032-FA41D5F5393D}"/>
              </a:ext>
            </a:extLst>
          </p:cNvPr>
          <p:cNvSpPr/>
          <p:nvPr/>
        </p:nvSpPr>
        <p:spPr>
          <a:xfrm>
            <a:off x="1236663" y="6529910"/>
            <a:ext cx="5184775" cy="321740"/>
          </a:xfrm>
          <a:prstGeom prst="trapezoid">
            <a:avLst>
              <a:gd name="adj" fmla="val 222049"/>
            </a:avLst>
          </a:prstGeom>
          <a:no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200" b="1" dirty="0">
                <a:solidFill>
                  <a:schemeClr val="tx1"/>
                </a:solidFill>
                <a:latin typeface="Calibri" panose="020F0502020204030204" pitchFamily="34" charset="0"/>
                <a:cs typeface="Calibri" panose="020F0502020204030204" pitchFamily="34" charset="0"/>
              </a:rPr>
              <a:t>Data Analysis</a:t>
            </a:r>
            <a:endParaRPr kumimoji="1" lang="zh-CN" altLang="en-US" sz="1200" b="1" dirty="0">
              <a:solidFill>
                <a:schemeClr val="tx1"/>
              </a:solidFill>
              <a:latin typeface="Calibri" panose="020F0502020204030204" pitchFamily="34" charset="0"/>
              <a:cs typeface="Calibri" panose="020F0502020204030204" pitchFamily="34" charset="0"/>
            </a:endParaRPr>
          </a:p>
        </p:txBody>
      </p:sp>
      <p:sp>
        <p:nvSpPr>
          <p:cNvPr id="36" name="矩形 35">
            <a:extLst>
              <a:ext uri="{FF2B5EF4-FFF2-40B4-BE49-F238E27FC236}">
                <a16:creationId xmlns:a16="http://schemas.microsoft.com/office/drawing/2014/main" id="{243CC2C3-2F67-5B4E-9A4F-51621B2FF12F}"/>
              </a:ext>
            </a:extLst>
          </p:cNvPr>
          <p:cNvSpPr/>
          <p:nvPr/>
        </p:nvSpPr>
        <p:spPr>
          <a:xfrm>
            <a:off x="1739901" y="5919129"/>
            <a:ext cx="4173216" cy="320400"/>
          </a:xfrm>
          <a:prstGeom prst="rect">
            <a:avLst/>
          </a:prstGeom>
          <a:solidFill>
            <a:schemeClr val="accent2"/>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200" b="1" dirty="0">
                <a:solidFill>
                  <a:schemeClr val="bg1"/>
                </a:solidFill>
                <a:latin typeface="Calibri" panose="020F0502020204030204" pitchFamily="34" charset="0"/>
                <a:cs typeface="Calibri" panose="020F0502020204030204" pitchFamily="34" charset="0"/>
              </a:rPr>
              <a:t>Model</a:t>
            </a:r>
            <a:endParaRPr kumimoji="1" lang="zh-CN" altLang="en-US" sz="1200" b="1" dirty="0">
              <a:solidFill>
                <a:schemeClr val="bg1"/>
              </a:solidFill>
              <a:latin typeface="Calibri" panose="020F0502020204030204" pitchFamily="34" charset="0"/>
              <a:cs typeface="Calibri" panose="020F0502020204030204" pitchFamily="34" charset="0"/>
            </a:endParaRPr>
          </a:p>
        </p:txBody>
      </p:sp>
      <p:cxnSp>
        <p:nvCxnSpPr>
          <p:cNvPr id="37" name="直线箭头连接符 36">
            <a:extLst>
              <a:ext uri="{FF2B5EF4-FFF2-40B4-BE49-F238E27FC236}">
                <a16:creationId xmlns:a16="http://schemas.microsoft.com/office/drawing/2014/main" id="{05219351-A9C3-0E48-BBE3-6C0E8885FDFD}"/>
              </a:ext>
            </a:extLst>
          </p:cNvPr>
          <p:cNvCxnSpPr>
            <a:cxnSpLocks/>
            <a:stCxn id="7" idx="0"/>
            <a:endCxn id="36" idx="2"/>
          </p:cNvCxnSpPr>
          <p:nvPr/>
        </p:nvCxnSpPr>
        <p:spPr>
          <a:xfrm flipH="1" flipV="1">
            <a:off x="3826509" y="6239529"/>
            <a:ext cx="2542" cy="290381"/>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8" name="矩形 37">
            <a:extLst>
              <a:ext uri="{FF2B5EF4-FFF2-40B4-BE49-F238E27FC236}">
                <a16:creationId xmlns:a16="http://schemas.microsoft.com/office/drawing/2014/main" id="{F9C9923D-6C3F-504D-B2BD-F6868F8930AD}"/>
              </a:ext>
            </a:extLst>
          </p:cNvPr>
          <p:cNvSpPr/>
          <p:nvPr/>
        </p:nvSpPr>
        <p:spPr>
          <a:xfrm>
            <a:off x="3977228" y="6286575"/>
            <a:ext cx="875953" cy="20404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en-US" altLang="zh-CN" sz="1200" dirty="0">
                <a:solidFill>
                  <a:schemeClr val="accent2"/>
                </a:solidFill>
                <a:latin typeface="Calibri" panose="020F0502020204030204" pitchFamily="34" charset="0"/>
                <a:cs typeface="Calibri" panose="020F0502020204030204" pitchFamily="34" charset="0"/>
              </a:rPr>
              <a:t>Support</a:t>
            </a:r>
          </a:p>
        </p:txBody>
      </p:sp>
      <p:cxnSp>
        <p:nvCxnSpPr>
          <p:cNvPr id="42" name="直线箭头连接符 41">
            <a:extLst>
              <a:ext uri="{FF2B5EF4-FFF2-40B4-BE49-F238E27FC236}">
                <a16:creationId xmlns:a16="http://schemas.microsoft.com/office/drawing/2014/main" id="{F25BC420-3ACF-DA45-AB21-A3374CD0167A}"/>
              </a:ext>
            </a:extLst>
          </p:cNvPr>
          <p:cNvCxnSpPr>
            <a:cxnSpLocks/>
          </p:cNvCxnSpPr>
          <p:nvPr/>
        </p:nvCxnSpPr>
        <p:spPr>
          <a:xfrm>
            <a:off x="2322520" y="4981117"/>
            <a:ext cx="13289" cy="938012"/>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线箭头连接符 44">
            <a:extLst>
              <a:ext uri="{FF2B5EF4-FFF2-40B4-BE49-F238E27FC236}">
                <a16:creationId xmlns:a16="http://schemas.microsoft.com/office/drawing/2014/main" id="{CE8D8992-D6D2-3D49-8BFF-846BE249F3E9}"/>
              </a:ext>
            </a:extLst>
          </p:cNvPr>
          <p:cNvCxnSpPr>
            <a:cxnSpLocks/>
          </p:cNvCxnSpPr>
          <p:nvPr/>
        </p:nvCxnSpPr>
        <p:spPr>
          <a:xfrm>
            <a:off x="5634895" y="4985394"/>
            <a:ext cx="0" cy="351444"/>
          </a:xfrm>
          <a:prstGeom prst="straightConnector1">
            <a:avLst/>
          </a:prstGeom>
          <a:ln w="190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线箭头连接符 46">
            <a:extLst>
              <a:ext uri="{FF2B5EF4-FFF2-40B4-BE49-F238E27FC236}">
                <a16:creationId xmlns:a16="http://schemas.microsoft.com/office/drawing/2014/main" id="{2B8D7021-2C8C-2E4D-8E55-5B4074DDEA8E}"/>
              </a:ext>
            </a:extLst>
          </p:cNvPr>
          <p:cNvCxnSpPr>
            <a:cxnSpLocks/>
          </p:cNvCxnSpPr>
          <p:nvPr/>
        </p:nvCxnSpPr>
        <p:spPr>
          <a:xfrm>
            <a:off x="3960786" y="4962012"/>
            <a:ext cx="0" cy="957117"/>
          </a:xfrm>
          <a:prstGeom prst="straightConnector1">
            <a:avLst/>
          </a:prstGeom>
          <a:ln w="19050">
            <a:solidFill>
              <a:srgbClr val="080808"/>
            </a:solidFill>
            <a:tailEnd type="triangle"/>
          </a:ln>
        </p:spPr>
        <p:style>
          <a:lnRef idx="1">
            <a:schemeClr val="accent1"/>
          </a:lnRef>
          <a:fillRef idx="0">
            <a:schemeClr val="accent1"/>
          </a:fillRef>
          <a:effectRef idx="0">
            <a:schemeClr val="accent1"/>
          </a:effectRef>
          <a:fontRef idx="minor">
            <a:schemeClr val="tx1"/>
          </a:fontRef>
        </p:style>
      </p:cxnSp>
      <p:sp>
        <p:nvSpPr>
          <p:cNvPr id="49" name="文本框 48">
            <a:extLst>
              <a:ext uri="{FF2B5EF4-FFF2-40B4-BE49-F238E27FC236}">
                <a16:creationId xmlns:a16="http://schemas.microsoft.com/office/drawing/2014/main" id="{208624DF-2099-6A4B-A55E-62FE8C5CF7B7}"/>
              </a:ext>
            </a:extLst>
          </p:cNvPr>
          <p:cNvSpPr txBox="1"/>
          <p:nvPr/>
        </p:nvSpPr>
        <p:spPr>
          <a:xfrm>
            <a:off x="2399039" y="5525193"/>
            <a:ext cx="622800" cy="369332"/>
          </a:xfrm>
          <a:prstGeom prst="rect">
            <a:avLst/>
          </a:prstGeom>
          <a:noFill/>
        </p:spPr>
        <p:txBody>
          <a:bodyPr wrap="square" lIns="36000" tIns="0" rIns="36000" bIns="0" rtlCol="0">
            <a:spAutoFit/>
          </a:bodyPr>
          <a:lstStyle/>
          <a:p>
            <a:pPr algn="ctr"/>
            <a:r>
              <a:rPr kumimoji="1" lang="en-US" altLang="zh-CN" sz="1200" dirty="0">
                <a:latin typeface="Calibri" panose="020F0502020204030204" pitchFamily="34" charset="0"/>
                <a:cs typeface="Calibri" panose="020F0502020204030204" pitchFamily="34" charset="0"/>
              </a:rPr>
              <a:t>Model 1</a:t>
            </a:r>
          </a:p>
          <a:p>
            <a:pPr algn="ctr"/>
            <a:r>
              <a:rPr kumimoji="1" lang="en-US" altLang="zh-CN" sz="1200" dirty="0">
                <a:latin typeface="Calibri" panose="020F0502020204030204" pitchFamily="34" charset="0"/>
                <a:cs typeface="Calibri" panose="020F0502020204030204" pitchFamily="34" charset="0"/>
              </a:rPr>
              <a:t>(Daily)</a:t>
            </a:r>
            <a:endParaRPr kumimoji="1" lang="zh-CN" altLang="en-US" sz="1200" dirty="0" err="1">
              <a:latin typeface="Calibri" panose="020F0502020204030204" pitchFamily="34" charset="0"/>
              <a:cs typeface="Calibri" panose="020F0502020204030204" pitchFamily="34" charset="0"/>
            </a:endParaRPr>
          </a:p>
        </p:txBody>
      </p:sp>
      <p:sp>
        <p:nvSpPr>
          <p:cNvPr id="53" name="矩形 52">
            <a:extLst>
              <a:ext uri="{FF2B5EF4-FFF2-40B4-BE49-F238E27FC236}">
                <a16:creationId xmlns:a16="http://schemas.microsoft.com/office/drawing/2014/main" id="{BE00D991-4273-DC4E-87AC-B442EEDE1DC7}"/>
              </a:ext>
            </a:extLst>
          </p:cNvPr>
          <p:cNvSpPr/>
          <p:nvPr/>
        </p:nvSpPr>
        <p:spPr>
          <a:xfrm>
            <a:off x="4875932" y="5336838"/>
            <a:ext cx="1551714" cy="211737"/>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200" b="1" dirty="0">
                <a:solidFill>
                  <a:schemeClr val="tx1"/>
                </a:solidFill>
                <a:latin typeface="Calibri" panose="020F0502020204030204" pitchFamily="34" charset="0"/>
                <a:cs typeface="Calibri" panose="020F0502020204030204" pitchFamily="34" charset="0"/>
              </a:rPr>
              <a:t>NLP</a:t>
            </a:r>
            <a:endParaRPr kumimoji="1" lang="zh-CN" altLang="en-US" sz="1200" b="1" dirty="0">
              <a:solidFill>
                <a:schemeClr val="tx1"/>
              </a:solidFill>
              <a:latin typeface="Calibri" panose="020F0502020204030204" pitchFamily="34" charset="0"/>
              <a:cs typeface="Calibri" panose="020F0502020204030204" pitchFamily="34" charset="0"/>
            </a:endParaRPr>
          </a:p>
        </p:txBody>
      </p:sp>
      <p:sp>
        <p:nvSpPr>
          <p:cNvPr id="54" name="文本框 53">
            <a:extLst>
              <a:ext uri="{FF2B5EF4-FFF2-40B4-BE49-F238E27FC236}">
                <a16:creationId xmlns:a16="http://schemas.microsoft.com/office/drawing/2014/main" id="{F2D53FEA-CC74-2C4F-84C2-66CD1CC0F155}"/>
              </a:ext>
            </a:extLst>
          </p:cNvPr>
          <p:cNvSpPr txBox="1"/>
          <p:nvPr/>
        </p:nvSpPr>
        <p:spPr>
          <a:xfrm>
            <a:off x="4056784" y="5531882"/>
            <a:ext cx="755087" cy="369332"/>
          </a:xfrm>
          <a:prstGeom prst="rect">
            <a:avLst/>
          </a:prstGeom>
          <a:noFill/>
        </p:spPr>
        <p:txBody>
          <a:bodyPr wrap="square" lIns="36000" tIns="0" rIns="36000" bIns="0" rtlCol="0">
            <a:spAutoFit/>
          </a:bodyPr>
          <a:lstStyle/>
          <a:p>
            <a:pPr algn="ctr"/>
            <a:r>
              <a:rPr kumimoji="1" lang="en-US" altLang="zh-CN" sz="1200" dirty="0">
                <a:latin typeface="Calibri" panose="020F0502020204030204" pitchFamily="34" charset="0"/>
                <a:cs typeface="Calibri" panose="020F0502020204030204" pitchFamily="34" charset="0"/>
              </a:rPr>
              <a:t>Model 2</a:t>
            </a:r>
          </a:p>
          <a:p>
            <a:pPr algn="ctr"/>
            <a:r>
              <a:rPr kumimoji="1" lang="en-US" altLang="zh-CN" sz="1200" dirty="0">
                <a:latin typeface="Calibri" panose="020F0502020204030204" pitchFamily="34" charset="0"/>
                <a:cs typeface="Calibri" panose="020F0502020204030204" pitchFamily="34" charset="0"/>
              </a:rPr>
              <a:t>(Quarterly)</a:t>
            </a:r>
            <a:endParaRPr kumimoji="1" lang="zh-CN" altLang="en-US" sz="1200" dirty="0" err="1">
              <a:latin typeface="Calibri" panose="020F0502020204030204" pitchFamily="34" charset="0"/>
              <a:cs typeface="Calibri" panose="020F0502020204030204" pitchFamily="34" charset="0"/>
            </a:endParaRPr>
          </a:p>
        </p:txBody>
      </p:sp>
      <p:cxnSp>
        <p:nvCxnSpPr>
          <p:cNvPr id="55" name="直线箭头连接符 54">
            <a:extLst>
              <a:ext uri="{FF2B5EF4-FFF2-40B4-BE49-F238E27FC236}">
                <a16:creationId xmlns:a16="http://schemas.microsoft.com/office/drawing/2014/main" id="{A926C8F7-E9B4-8842-A064-AFFDF27FB78C}"/>
              </a:ext>
            </a:extLst>
          </p:cNvPr>
          <p:cNvCxnSpPr>
            <a:cxnSpLocks/>
          </p:cNvCxnSpPr>
          <p:nvPr/>
        </p:nvCxnSpPr>
        <p:spPr>
          <a:xfrm>
            <a:off x="5634895" y="5555264"/>
            <a:ext cx="0" cy="387247"/>
          </a:xfrm>
          <a:prstGeom prst="straightConnector1">
            <a:avLst/>
          </a:prstGeom>
          <a:ln w="190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1" name="文本框 60">
            <a:extLst>
              <a:ext uri="{FF2B5EF4-FFF2-40B4-BE49-F238E27FC236}">
                <a16:creationId xmlns:a16="http://schemas.microsoft.com/office/drawing/2014/main" id="{A550649F-CD28-EA4D-B63B-3E7C44F3255A}"/>
              </a:ext>
            </a:extLst>
          </p:cNvPr>
          <p:cNvSpPr txBox="1"/>
          <p:nvPr/>
        </p:nvSpPr>
        <p:spPr>
          <a:xfrm>
            <a:off x="5698956" y="5531085"/>
            <a:ext cx="728690" cy="369332"/>
          </a:xfrm>
          <a:prstGeom prst="rect">
            <a:avLst/>
          </a:prstGeom>
          <a:noFill/>
        </p:spPr>
        <p:txBody>
          <a:bodyPr wrap="square" lIns="36000" tIns="0" rIns="36000" bIns="0" rtlCol="0">
            <a:spAutoFit/>
          </a:bodyPr>
          <a:lstStyle/>
          <a:p>
            <a:pPr algn="ctr"/>
            <a:r>
              <a:rPr kumimoji="1" lang="en-US" altLang="zh-CN" sz="1200" dirty="0">
                <a:latin typeface="Calibri" panose="020F0502020204030204" pitchFamily="34" charset="0"/>
                <a:cs typeface="Calibri" panose="020F0502020204030204" pitchFamily="34" charset="0"/>
              </a:rPr>
              <a:t>Model 3</a:t>
            </a:r>
          </a:p>
          <a:p>
            <a:pPr algn="ctr"/>
            <a:r>
              <a:rPr kumimoji="1" lang="en-US" altLang="zh-CN" sz="1200" dirty="0">
                <a:latin typeface="Calibri" panose="020F0502020204030204" pitchFamily="34" charset="0"/>
                <a:cs typeface="Calibri" panose="020F0502020204030204" pitchFamily="34" charset="0"/>
              </a:rPr>
              <a:t>(Daily)</a:t>
            </a:r>
            <a:endParaRPr kumimoji="1" lang="zh-CN" altLang="en-US" sz="1200" dirty="0" err="1">
              <a:latin typeface="Calibri" panose="020F0502020204030204" pitchFamily="34" charset="0"/>
              <a:cs typeface="Calibri" panose="020F0502020204030204" pitchFamily="34" charset="0"/>
            </a:endParaRPr>
          </a:p>
        </p:txBody>
      </p:sp>
      <p:sp>
        <p:nvSpPr>
          <p:cNvPr id="84" name="矩形 83">
            <a:extLst>
              <a:ext uri="{FF2B5EF4-FFF2-40B4-BE49-F238E27FC236}">
                <a16:creationId xmlns:a16="http://schemas.microsoft.com/office/drawing/2014/main" id="{41E0031A-4A84-C542-8DF1-8176FA99DEB3}"/>
              </a:ext>
            </a:extLst>
          </p:cNvPr>
          <p:cNvSpPr/>
          <p:nvPr/>
        </p:nvSpPr>
        <p:spPr>
          <a:xfrm>
            <a:off x="6721560" y="1360401"/>
            <a:ext cx="5804500" cy="2092393"/>
          </a:xfrm>
          <a:prstGeom prst="rect">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sp>
        <p:nvSpPr>
          <p:cNvPr id="85" name="矩形 84">
            <a:extLst>
              <a:ext uri="{FF2B5EF4-FFF2-40B4-BE49-F238E27FC236}">
                <a16:creationId xmlns:a16="http://schemas.microsoft.com/office/drawing/2014/main" id="{182A187B-8754-AE4D-930D-9228A33C95E7}"/>
              </a:ext>
            </a:extLst>
          </p:cNvPr>
          <p:cNvSpPr/>
          <p:nvPr/>
        </p:nvSpPr>
        <p:spPr>
          <a:xfrm>
            <a:off x="6718282" y="3611563"/>
            <a:ext cx="5792538" cy="3253740"/>
          </a:xfrm>
          <a:prstGeom prst="rect">
            <a:avLst/>
          </a:prstGeom>
          <a:no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171450" indent="-171450" algn="l">
              <a:buFont typeface="Arial" panose="020B0604020202020204" pitchFamily="34" charset="0"/>
              <a:buChar char="•"/>
            </a:pPr>
            <a:endParaRPr kumimoji="1" lang="zh-CN" altLang="en-US" sz="1200" dirty="0">
              <a:solidFill>
                <a:schemeClr val="tx1"/>
              </a:solidFill>
              <a:latin typeface="Calibri" panose="020F0502020204030204" pitchFamily="34" charset="0"/>
              <a:cs typeface="Calibri" panose="020F0502020204030204" pitchFamily="34" charset="0"/>
            </a:endParaRPr>
          </a:p>
        </p:txBody>
      </p:sp>
      <p:cxnSp>
        <p:nvCxnSpPr>
          <p:cNvPr id="87" name="直线连接符 86">
            <a:extLst>
              <a:ext uri="{FF2B5EF4-FFF2-40B4-BE49-F238E27FC236}">
                <a16:creationId xmlns:a16="http://schemas.microsoft.com/office/drawing/2014/main" id="{04272A79-2051-604B-94C6-522767712E90}"/>
              </a:ext>
            </a:extLst>
          </p:cNvPr>
          <p:cNvCxnSpPr>
            <a:cxnSpLocks/>
          </p:cNvCxnSpPr>
          <p:nvPr/>
        </p:nvCxnSpPr>
        <p:spPr>
          <a:xfrm>
            <a:off x="5913117" y="5420136"/>
            <a:ext cx="624843" cy="0"/>
          </a:xfrm>
          <a:prstGeom prst="line">
            <a:avLst/>
          </a:prstGeom>
          <a:ln w="28575">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89" name="直线连接符 88">
            <a:extLst>
              <a:ext uri="{FF2B5EF4-FFF2-40B4-BE49-F238E27FC236}">
                <a16:creationId xmlns:a16="http://schemas.microsoft.com/office/drawing/2014/main" id="{40F596D1-888C-554F-A880-7B76706B6599}"/>
              </a:ext>
            </a:extLst>
          </p:cNvPr>
          <p:cNvCxnSpPr>
            <a:cxnSpLocks/>
          </p:cNvCxnSpPr>
          <p:nvPr/>
        </p:nvCxnSpPr>
        <p:spPr>
          <a:xfrm flipV="1">
            <a:off x="6537960" y="2351088"/>
            <a:ext cx="0" cy="3069048"/>
          </a:xfrm>
          <a:prstGeom prst="line">
            <a:avLst/>
          </a:prstGeom>
          <a:ln w="28575">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0925E70F-75E8-EC45-BB94-9F066D86ED18}"/>
              </a:ext>
            </a:extLst>
          </p:cNvPr>
          <p:cNvCxnSpPr/>
          <p:nvPr/>
        </p:nvCxnSpPr>
        <p:spPr>
          <a:xfrm>
            <a:off x="6537960" y="2351088"/>
            <a:ext cx="183600" cy="0"/>
          </a:xfrm>
          <a:prstGeom prst="straightConnector1">
            <a:avLst/>
          </a:prstGeom>
          <a:ln w="28575">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5" name="文本框 94">
            <a:extLst>
              <a:ext uri="{FF2B5EF4-FFF2-40B4-BE49-F238E27FC236}">
                <a16:creationId xmlns:a16="http://schemas.microsoft.com/office/drawing/2014/main" id="{6F860506-6C14-5946-98DA-1C1113896A2C}"/>
              </a:ext>
            </a:extLst>
          </p:cNvPr>
          <p:cNvSpPr txBox="1"/>
          <p:nvPr/>
        </p:nvSpPr>
        <p:spPr>
          <a:xfrm>
            <a:off x="6766560" y="1394645"/>
            <a:ext cx="1050290" cy="257369"/>
          </a:xfrm>
          <a:prstGeom prst="rect">
            <a:avLst/>
          </a:prstGeom>
          <a:noFill/>
        </p:spPr>
        <p:txBody>
          <a:bodyPr wrap="square" lIns="36000" tIns="36000" rIns="36000" bIns="36000" rtlCol="0">
            <a:spAutoFit/>
          </a:bodyPr>
          <a:lstStyle/>
          <a:p>
            <a:r>
              <a:rPr kumimoji="1" lang="en-US" altLang="zh-CN" sz="1200" b="1" dirty="0">
                <a:solidFill>
                  <a:schemeClr val="accent2"/>
                </a:solidFill>
                <a:latin typeface="Calibri" panose="020F0502020204030204" pitchFamily="34" charset="0"/>
                <a:cs typeface="Calibri" panose="020F0502020204030204" pitchFamily="34" charset="0"/>
              </a:rPr>
              <a:t>NLP</a:t>
            </a:r>
            <a:endParaRPr kumimoji="1" lang="zh-CN" altLang="en-US" sz="1200" b="1" dirty="0" err="1">
              <a:solidFill>
                <a:schemeClr val="accent2"/>
              </a:solidFill>
              <a:latin typeface="Calibri" panose="020F0502020204030204" pitchFamily="34" charset="0"/>
              <a:cs typeface="Calibri" panose="020F0502020204030204" pitchFamily="34" charset="0"/>
            </a:endParaRPr>
          </a:p>
        </p:txBody>
      </p:sp>
      <p:sp>
        <p:nvSpPr>
          <p:cNvPr id="96" name="文本框 95">
            <a:extLst>
              <a:ext uri="{FF2B5EF4-FFF2-40B4-BE49-F238E27FC236}">
                <a16:creationId xmlns:a16="http://schemas.microsoft.com/office/drawing/2014/main" id="{CC61FD28-1268-264C-A956-2E2F6A4D7530}"/>
              </a:ext>
            </a:extLst>
          </p:cNvPr>
          <p:cNvSpPr txBox="1"/>
          <p:nvPr/>
        </p:nvSpPr>
        <p:spPr>
          <a:xfrm>
            <a:off x="6766560" y="3670610"/>
            <a:ext cx="1050290" cy="257369"/>
          </a:xfrm>
          <a:prstGeom prst="rect">
            <a:avLst/>
          </a:prstGeom>
          <a:noFill/>
        </p:spPr>
        <p:txBody>
          <a:bodyPr wrap="square" lIns="36000" tIns="36000" rIns="36000" bIns="36000" rtlCol="0">
            <a:spAutoFit/>
          </a:bodyPr>
          <a:lstStyle/>
          <a:p>
            <a:r>
              <a:rPr kumimoji="1" lang="en-US" altLang="zh-CN" sz="1200" b="1" dirty="0">
                <a:solidFill>
                  <a:schemeClr val="accent2"/>
                </a:solidFill>
                <a:latin typeface="Calibri" panose="020F0502020204030204" pitchFamily="34" charset="0"/>
                <a:cs typeface="Calibri" panose="020F0502020204030204" pitchFamily="34" charset="0"/>
              </a:rPr>
              <a:t>LSTM</a:t>
            </a:r>
            <a:endParaRPr kumimoji="1" lang="zh-CN" altLang="en-US" sz="1200" b="1" dirty="0" err="1">
              <a:solidFill>
                <a:schemeClr val="accent2"/>
              </a:solidFill>
              <a:latin typeface="Calibri" panose="020F0502020204030204" pitchFamily="34" charset="0"/>
              <a:cs typeface="Calibri" panose="020F0502020204030204" pitchFamily="34" charset="0"/>
            </a:endParaRPr>
          </a:p>
        </p:txBody>
      </p:sp>
      <p:cxnSp>
        <p:nvCxnSpPr>
          <p:cNvPr id="98" name="直线箭头连接符 97">
            <a:extLst>
              <a:ext uri="{FF2B5EF4-FFF2-40B4-BE49-F238E27FC236}">
                <a16:creationId xmlns:a16="http://schemas.microsoft.com/office/drawing/2014/main" id="{A79BE90D-A8F9-FD42-9F1F-88C0C8C18A63}"/>
              </a:ext>
            </a:extLst>
          </p:cNvPr>
          <p:cNvCxnSpPr>
            <a:stCxn id="36" idx="3"/>
          </p:cNvCxnSpPr>
          <p:nvPr/>
        </p:nvCxnSpPr>
        <p:spPr>
          <a:xfrm>
            <a:off x="5913117" y="6079329"/>
            <a:ext cx="805165" cy="1431"/>
          </a:xfrm>
          <a:prstGeom prst="straightConnector1">
            <a:avLst/>
          </a:prstGeom>
          <a:ln w="28575">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DF1C5F2A-CBFF-AA47-BA3C-F39DAB521C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6978" y="4244598"/>
            <a:ext cx="3979599" cy="2418281"/>
          </a:xfrm>
          <a:prstGeom prst="rect">
            <a:avLst/>
          </a:prstGeom>
          <a:ln w="28575">
            <a:noFill/>
          </a:ln>
        </p:spPr>
      </p:pic>
      <p:sp>
        <p:nvSpPr>
          <p:cNvPr id="50" name="TextBox 49">
            <a:extLst>
              <a:ext uri="{FF2B5EF4-FFF2-40B4-BE49-F238E27FC236}">
                <a16:creationId xmlns:a16="http://schemas.microsoft.com/office/drawing/2014/main" id="{AFF0C4B2-CDAD-B942-A882-725A5F49DE79}"/>
              </a:ext>
            </a:extLst>
          </p:cNvPr>
          <p:cNvSpPr txBox="1"/>
          <p:nvPr/>
        </p:nvSpPr>
        <p:spPr>
          <a:xfrm>
            <a:off x="7261487" y="3669594"/>
            <a:ext cx="5135090" cy="442035"/>
          </a:xfrm>
          <a:prstGeom prst="rect">
            <a:avLst/>
          </a:prstGeom>
          <a:noFill/>
        </p:spPr>
        <p:txBody>
          <a:bodyPr wrap="square" lIns="36000" tIns="36000" rIns="36000" bIns="36000" rtlCol="0">
            <a:spAutoFit/>
          </a:bodyPr>
          <a:lstStyle/>
          <a:p>
            <a:r>
              <a:rPr lang="en-US" sz="1200" dirty="0"/>
              <a:t>The </a:t>
            </a:r>
            <a:r>
              <a:rPr lang="en-CN" sz="1200"/>
              <a:t>model </a:t>
            </a:r>
            <a:r>
              <a:rPr lang="en-CN" sz="1200" dirty="0"/>
              <a:t>is a complex neural network, with different modules represent different component for the three hypotheses.</a:t>
            </a:r>
          </a:p>
        </p:txBody>
      </p:sp>
      <p:sp>
        <p:nvSpPr>
          <p:cNvPr id="11" name="TextBox 10">
            <a:extLst>
              <a:ext uri="{FF2B5EF4-FFF2-40B4-BE49-F238E27FC236}">
                <a16:creationId xmlns:a16="http://schemas.microsoft.com/office/drawing/2014/main" id="{5D94C678-A6B3-F248-B775-FEDC8017FA74}"/>
              </a:ext>
            </a:extLst>
          </p:cNvPr>
          <p:cNvSpPr txBox="1"/>
          <p:nvPr/>
        </p:nvSpPr>
        <p:spPr>
          <a:xfrm>
            <a:off x="6828597" y="4354326"/>
            <a:ext cx="1574465" cy="811367"/>
          </a:xfrm>
          <a:prstGeom prst="rect">
            <a:avLst/>
          </a:prstGeom>
          <a:noFill/>
        </p:spPr>
        <p:txBody>
          <a:bodyPr wrap="square" lIns="36000" tIns="36000" rIns="36000" bIns="36000" rtlCol="0">
            <a:spAutoFit/>
          </a:bodyPr>
          <a:lstStyle/>
          <a:p>
            <a:r>
              <a:rPr lang="en-CN" sz="1200" dirty="0"/>
              <a:t>Two-layer LSTM for processing time series data from stock market.</a:t>
            </a:r>
          </a:p>
        </p:txBody>
      </p:sp>
      <p:sp>
        <p:nvSpPr>
          <p:cNvPr id="51" name="TextBox 50">
            <a:extLst>
              <a:ext uri="{FF2B5EF4-FFF2-40B4-BE49-F238E27FC236}">
                <a16:creationId xmlns:a16="http://schemas.microsoft.com/office/drawing/2014/main" id="{54104917-B0D1-9446-9E36-A3A3D1D1E2C7}"/>
              </a:ext>
            </a:extLst>
          </p:cNvPr>
          <p:cNvSpPr txBox="1"/>
          <p:nvPr/>
        </p:nvSpPr>
        <p:spPr>
          <a:xfrm>
            <a:off x="6787778" y="5433827"/>
            <a:ext cx="1574465" cy="626701"/>
          </a:xfrm>
          <a:prstGeom prst="rect">
            <a:avLst/>
          </a:prstGeom>
          <a:noFill/>
        </p:spPr>
        <p:txBody>
          <a:bodyPr wrap="square" lIns="36000" tIns="36000" rIns="36000" bIns="36000" rtlCol="0">
            <a:spAutoFit/>
          </a:bodyPr>
          <a:lstStyle/>
          <a:p>
            <a:r>
              <a:rPr lang="en-CN" sz="1200" dirty="0"/>
              <a:t>ANN for processing covariates of financial information.</a:t>
            </a:r>
          </a:p>
        </p:txBody>
      </p:sp>
      <p:sp>
        <p:nvSpPr>
          <p:cNvPr id="12" name="TextBox 11">
            <a:extLst>
              <a:ext uri="{FF2B5EF4-FFF2-40B4-BE49-F238E27FC236}">
                <a16:creationId xmlns:a16="http://schemas.microsoft.com/office/drawing/2014/main" id="{2B636D95-2E9A-484A-A138-2C5A3CDDCD23}"/>
              </a:ext>
            </a:extLst>
          </p:cNvPr>
          <p:cNvSpPr txBox="1"/>
          <p:nvPr/>
        </p:nvSpPr>
        <p:spPr>
          <a:xfrm>
            <a:off x="6828597" y="6174409"/>
            <a:ext cx="1574465" cy="442035"/>
          </a:xfrm>
          <a:prstGeom prst="rect">
            <a:avLst/>
          </a:prstGeom>
          <a:noFill/>
        </p:spPr>
        <p:txBody>
          <a:bodyPr wrap="square" lIns="36000" tIns="36000" rIns="36000" bIns="36000" rtlCol="0">
            <a:spAutoFit/>
          </a:bodyPr>
          <a:lstStyle/>
          <a:p>
            <a:r>
              <a:rPr lang="en-CN" sz="1200" dirty="0"/>
              <a:t>ANN for processing sentiment score</a:t>
            </a:r>
          </a:p>
        </p:txBody>
      </p:sp>
      <p:pic>
        <p:nvPicPr>
          <p:cNvPr id="19" name="Picture 18">
            <a:extLst>
              <a:ext uri="{FF2B5EF4-FFF2-40B4-BE49-F238E27FC236}">
                <a16:creationId xmlns:a16="http://schemas.microsoft.com/office/drawing/2014/main" id="{EA4BF0B9-0AF9-4A48-9782-7B00B6A3FC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75588" y="1488430"/>
            <a:ext cx="3120989" cy="1866474"/>
          </a:xfrm>
          <a:prstGeom prst="rect">
            <a:avLst/>
          </a:prstGeom>
        </p:spPr>
      </p:pic>
      <p:sp>
        <p:nvSpPr>
          <p:cNvPr id="56" name="TextBox 55">
            <a:extLst>
              <a:ext uri="{FF2B5EF4-FFF2-40B4-BE49-F238E27FC236}">
                <a16:creationId xmlns:a16="http://schemas.microsoft.com/office/drawing/2014/main" id="{A99C4644-D0FB-634D-A59E-8F78B88D4C73}"/>
              </a:ext>
            </a:extLst>
          </p:cNvPr>
          <p:cNvSpPr txBox="1"/>
          <p:nvPr/>
        </p:nvSpPr>
        <p:spPr>
          <a:xfrm>
            <a:off x="6766560" y="1664468"/>
            <a:ext cx="2509028" cy="1734697"/>
          </a:xfrm>
          <a:prstGeom prst="rect">
            <a:avLst/>
          </a:prstGeom>
          <a:noFill/>
        </p:spPr>
        <p:txBody>
          <a:bodyPr wrap="square" lIns="36000" tIns="36000" rIns="36000" bIns="36000" rtlCol="0">
            <a:spAutoFit/>
          </a:bodyPr>
          <a:lstStyle/>
          <a:p>
            <a:r>
              <a:rPr lang="en-US" sz="1200" dirty="0"/>
              <a:t>T</a:t>
            </a:r>
            <a:r>
              <a:rPr lang="en-CN" sz="1200"/>
              <a:t>ext </a:t>
            </a:r>
            <a:r>
              <a:rPr lang="en-CN" sz="1200" dirty="0"/>
              <a:t>sentiment </a:t>
            </a:r>
            <a:r>
              <a:rPr lang="en-CN" sz="1200"/>
              <a:t>analysis technique</a:t>
            </a:r>
            <a:r>
              <a:rPr lang="en-US" sz="1200" dirty="0"/>
              <a:t> is applied</a:t>
            </a:r>
            <a:r>
              <a:rPr lang="en-CN" sz="1200"/>
              <a:t> </a:t>
            </a:r>
            <a:r>
              <a:rPr lang="en-CN" sz="1200" dirty="0"/>
              <a:t>to extract information </a:t>
            </a:r>
            <a:r>
              <a:rPr lang="en-CN" sz="1200"/>
              <a:t>from news</a:t>
            </a:r>
            <a:r>
              <a:rPr lang="en-US" sz="1200" dirty="0"/>
              <a:t> </a:t>
            </a:r>
            <a:r>
              <a:rPr lang="en-CN" sz="1200"/>
              <a:t>a</a:t>
            </a:r>
            <a:r>
              <a:rPr lang="en-US" sz="1200" dirty="0" err="1"/>
              <a:t>nd</a:t>
            </a:r>
            <a:r>
              <a:rPr lang="en-CN" sz="1200" dirty="0"/>
              <a:t> tweets.</a:t>
            </a:r>
          </a:p>
          <a:p>
            <a:pPr marL="171450" indent="-171450">
              <a:buFont typeface="Arial" panose="020B0604020202020204" pitchFamily="34" charset="0"/>
              <a:buChar char="•"/>
            </a:pPr>
            <a:r>
              <a:rPr lang="en-CN" sz="1200" dirty="0"/>
              <a:t>Sentiment </a:t>
            </a:r>
            <a:r>
              <a:rPr lang="en-CN" sz="1200"/>
              <a:t>tags include: </a:t>
            </a:r>
            <a:r>
              <a:rPr lang="en-CN" sz="1200" i="1" dirty="0"/>
              <a:t>positive, negative, anger, fear, joy, sadness, surprise</a:t>
            </a:r>
            <a:r>
              <a:rPr lang="en-CN" sz="1200" dirty="0"/>
              <a:t>, etc.</a:t>
            </a:r>
          </a:p>
          <a:p>
            <a:pPr marL="171450" indent="-171450">
              <a:buFont typeface="Arial" panose="020B0604020202020204" pitchFamily="34" charset="0"/>
              <a:buChar char="•"/>
            </a:pPr>
            <a:r>
              <a:rPr lang="en-CN" sz="1200" dirty="0"/>
              <a:t>In addition to sentiment score</a:t>
            </a:r>
            <a:r>
              <a:rPr lang="en-CN" sz="1200"/>
              <a:t>, numerical features</a:t>
            </a:r>
            <a:r>
              <a:rPr lang="en-US" sz="1200" dirty="0"/>
              <a:t> are computed</a:t>
            </a:r>
            <a:r>
              <a:rPr lang="en-CN" sz="1200"/>
              <a:t>, </a:t>
            </a:r>
            <a:r>
              <a:rPr lang="en-CN" sz="1200" dirty="0"/>
              <a:t>such as </a:t>
            </a:r>
            <a:r>
              <a:rPr lang="en-CN" sz="1200" i="1" dirty="0"/>
              <a:t>number of likes</a:t>
            </a:r>
            <a:r>
              <a:rPr lang="en-CN" sz="1200" dirty="0"/>
              <a:t>.</a:t>
            </a:r>
          </a:p>
        </p:txBody>
      </p:sp>
      <p:sp>
        <p:nvSpPr>
          <p:cNvPr id="52" name="矩形 51">
            <a:extLst>
              <a:ext uri="{FF2B5EF4-FFF2-40B4-BE49-F238E27FC236}">
                <a16:creationId xmlns:a16="http://schemas.microsoft.com/office/drawing/2014/main" id="{01D467B9-1235-964B-8A3C-FAE9EC1B79E7}"/>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Tree>
    <p:extLst>
      <p:ext uri="{BB962C8B-B14F-4D97-AF65-F5344CB8AC3E}">
        <p14:creationId xmlns:p14="http://schemas.microsoft.com/office/powerpoint/2010/main" val="38393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6" name="图表 145">
            <a:extLst>
              <a:ext uri="{FF2B5EF4-FFF2-40B4-BE49-F238E27FC236}">
                <a16:creationId xmlns:a16="http://schemas.microsoft.com/office/drawing/2014/main" id="{80DDCB0E-E468-544E-9E7E-8C219AFE56DB}"/>
              </a:ext>
            </a:extLst>
          </p:cNvPr>
          <p:cNvGraphicFramePr/>
          <p:nvPr/>
        </p:nvGraphicFramePr>
        <p:xfrm>
          <a:off x="8724900" y="1600562"/>
          <a:ext cx="3780598" cy="15825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图表 51">
            <a:extLst>
              <a:ext uri="{FF2B5EF4-FFF2-40B4-BE49-F238E27FC236}">
                <a16:creationId xmlns:a16="http://schemas.microsoft.com/office/drawing/2014/main" id="{D3D86AE5-A792-D545-8F51-1B7CAE155251}"/>
              </a:ext>
            </a:extLst>
          </p:cNvPr>
          <p:cNvGraphicFramePr/>
          <p:nvPr/>
        </p:nvGraphicFramePr>
        <p:xfrm>
          <a:off x="336550" y="1631950"/>
          <a:ext cx="3721888" cy="15478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3" name="图表 82">
            <a:extLst>
              <a:ext uri="{FF2B5EF4-FFF2-40B4-BE49-F238E27FC236}">
                <a16:creationId xmlns:a16="http://schemas.microsoft.com/office/drawing/2014/main" id="{A9AA486A-FF70-5D42-A912-D8E5462C6B23}"/>
              </a:ext>
            </a:extLst>
          </p:cNvPr>
          <p:cNvGraphicFramePr/>
          <p:nvPr/>
        </p:nvGraphicFramePr>
        <p:xfrm>
          <a:off x="8724900" y="3467958"/>
          <a:ext cx="3785673" cy="1547814"/>
        </p:xfrm>
        <a:graphic>
          <a:graphicData uri="http://schemas.openxmlformats.org/drawingml/2006/chart">
            <c:chart xmlns:c="http://schemas.openxmlformats.org/drawingml/2006/chart" xmlns:r="http://schemas.openxmlformats.org/officeDocument/2006/relationships" r:id="rId5"/>
          </a:graphicData>
        </a:graphic>
      </p:graphicFrame>
      <p:sp>
        <p:nvSpPr>
          <p:cNvPr id="2" name="标题 1">
            <a:extLst>
              <a:ext uri="{FF2B5EF4-FFF2-40B4-BE49-F238E27FC236}">
                <a16:creationId xmlns:a16="http://schemas.microsoft.com/office/drawing/2014/main" id="{54573623-7222-E341-904F-7C64ECF80355}"/>
              </a:ext>
            </a:extLst>
          </p:cNvPr>
          <p:cNvSpPr>
            <a:spLocks noGrp="1"/>
          </p:cNvSpPr>
          <p:nvPr>
            <p:ph type="title"/>
          </p:nvPr>
        </p:nvSpPr>
        <p:spPr/>
        <p:txBody>
          <a:bodyPr/>
          <a:lstStyle/>
          <a:p>
            <a:r>
              <a:rPr lang="en-US" altLang="zh-CN" sz="2800" dirty="0"/>
              <a:t>Share price of AAL is sensitive to public sentiments and financial data</a:t>
            </a:r>
          </a:p>
        </p:txBody>
      </p:sp>
      <p:sp>
        <p:nvSpPr>
          <p:cNvPr id="53" name="TextBox 58">
            <a:extLst>
              <a:ext uri="{FF2B5EF4-FFF2-40B4-BE49-F238E27FC236}">
                <a16:creationId xmlns:a16="http://schemas.microsoft.com/office/drawing/2014/main" id="{2F07C31D-7541-2A45-B944-87CEA4981202}"/>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odeling: </a:t>
            </a:r>
            <a:r>
              <a:rPr lang="en-US" altLang="zh-CN" sz="1600" dirty="0">
                <a:solidFill>
                  <a:schemeClr val="accent6"/>
                </a:solidFill>
                <a:latin typeface="Calibri" panose="020F0502020204030204" pitchFamily="34" charset="0"/>
                <a:cs typeface="Calibri" panose="020F0502020204030204" pitchFamily="34" charset="0"/>
              </a:rPr>
              <a:t>Logics &amp; Structure  </a:t>
            </a:r>
            <a:r>
              <a:rPr lang="en-US" altLang="zh-CN" sz="1600" b="1" dirty="0">
                <a:latin typeface="Calibri" panose="020F0502020204030204" pitchFamily="34" charset="0"/>
                <a:cs typeface="Calibri" panose="020F0502020204030204" pitchFamily="34" charset="0"/>
                <a:sym typeface="Wingdings" pitchFamily="2" charset="2"/>
              </a:rPr>
              <a:t> Result Analysis (AAL)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Applications</a:t>
            </a:r>
            <a:endParaRPr lang="zh-CN" altLang="en-US" sz="1600" dirty="0">
              <a:solidFill>
                <a:schemeClr val="accent6"/>
              </a:solidFill>
              <a:latin typeface="Calibri" panose="020F0502020204030204" pitchFamily="34" charset="0"/>
              <a:cs typeface="Calibri" panose="020F0502020204030204" pitchFamily="34" charset="0"/>
            </a:endParaRPr>
          </a:p>
        </p:txBody>
      </p:sp>
      <p:sp>
        <p:nvSpPr>
          <p:cNvPr id="58" name="矩形 57">
            <a:extLst>
              <a:ext uri="{FF2B5EF4-FFF2-40B4-BE49-F238E27FC236}">
                <a16:creationId xmlns:a16="http://schemas.microsoft.com/office/drawing/2014/main" id="{1A21F43C-B94D-4047-999F-0F0530B6C7F1}"/>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3" name="椭圆 2">
            <a:extLst>
              <a:ext uri="{FF2B5EF4-FFF2-40B4-BE49-F238E27FC236}">
                <a16:creationId xmlns:a16="http://schemas.microsoft.com/office/drawing/2014/main" id="{CBF5EFAD-99FB-1C43-8B37-A4D8DCE09D43}"/>
              </a:ext>
            </a:extLst>
          </p:cNvPr>
          <p:cNvSpPr/>
          <p:nvPr/>
        </p:nvSpPr>
        <p:spPr>
          <a:xfrm>
            <a:off x="323471" y="13430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49" name="矩形 48">
            <a:extLst>
              <a:ext uri="{FF2B5EF4-FFF2-40B4-BE49-F238E27FC236}">
                <a16:creationId xmlns:a16="http://schemas.microsoft.com/office/drawing/2014/main" id="{052A432C-1815-2142-B543-FFE881202898}"/>
              </a:ext>
            </a:extLst>
          </p:cNvPr>
          <p:cNvSpPr/>
          <p:nvPr/>
        </p:nvSpPr>
        <p:spPr>
          <a:xfrm>
            <a:off x="668213" y="1361876"/>
            <a:ext cx="1011600" cy="232298"/>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55" name="椭圆 54">
            <a:extLst>
              <a:ext uri="{FF2B5EF4-FFF2-40B4-BE49-F238E27FC236}">
                <a16:creationId xmlns:a16="http://schemas.microsoft.com/office/drawing/2014/main" id="{68DC034E-9110-DC45-83FB-E077C0970281}"/>
              </a:ext>
            </a:extLst>
          </p:cNvPr>
          <p:cNvSpPr>
            <a:spLocks noChangeAspect="1"/>
          </p:cNvSpPr>
          <p:nvPr/>
        </p:nvSpPr>
        <p:spPr>
          <a:xfrm>
            <a:off x="323471" y="31929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59" name="矩形 58">
            <a:extLst>
              <a:ext uri="{FF2B5EF4-FFF2-40B4-BE49-F238E27FC236}">
                <a16:creationId xmlns:a16="http://schemas.microsoft.com/office/drawing/2014/main" id="{F8797E5F-9A05-6D47-B398-C97911EDBE9B}"/>
              </a:ext>
            </a:extLst>
          </p:cNvPr>
          <p:cNvSpPr/>
          <p:nvPr/>
        </p:nvSpPr>
        <p:spPr>
          <a:xfrm>
            <a:off x="668213" y="3212725"/>
            <a:ext cx="3037512" cy="2304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 + Financial Statemen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67" name="椭圆 66">
            <a:extLst>
              <a:ext uri="{FF2B5EF4-FFF2-40B4-BE49-F238E27FC236}">
                <a16:creationId xmlns:a16="http://schemas.microsoft.com/office/drawing/2014/main" id="{10243A70-FE13-C349-B29D-6E3C91834F27}"/>
              </a:ext>
            </a:extLst>
          </p:cNvPr>
          <p:cNvSpPr>
            <a:spLocks noChangeAspect="1"/>
          </p:cNvSpPr>
          <p:nvPr/>
        </p:nvSpPr>
        <p:spPr>
          <a:xfrm>
            <a:off x="323471" y="5033836"/>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3</a:t>
            </a:r>
          </a:p>
        </p:txBody>
      </p:sp>
      <p:sp>
        <p:nvSpPr>
          <p:cNvPr id="71" name="矩形 70">
            <a:extLst>
              <a:ext uri="{FF2B5EF4-FFF2-40B4-BE49-F238E27FC236}">
                <a16:creationId xmlns:a16="http://schemas.microsoft.com/office/drawing/2014/main" id="{1629D6EE-2376-5340-A983-FB7BD0FE276B}"/>
              </a:ext>
            </a:extLst>
          </p:cNvPr>
          <p:cNvSpPr/>
          <p:nvPr/>
        </p:nvSpPr>
        <p:spPr>
          <a:xfrm>
            <a:off x="668213" y="5042901"/>
            <a:ext cx="3406481" cy="25187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 + Financial Statements + News </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graphicFrame>
        <p:nvGraphicFramePr>
          <p:cNvPr id="72" name="图表 71">
            <a:extLst>
              <a:ext uri="{FF2B5EF4-FFF2-40B4-BE49-F238E27FC236}">
                <a16:creationId xmlns:a16="http://schemas.microsoft.com/office/drawing/2014/main" id="{9BFFFF07-35EE-C842-9C84-D989DF02DB32}"/>
              </a:ext>
            </a:extLst>
          </p:cNvPr>
          <p:cNvGraphicFramePr/>
          <p:nvPr/>
        </p:nvGraphicFramePr>
        <p:xfrm>
          <a:off x="338364" y="3462925"/>
          <a:ext cx="3720074" cy="157755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3" name="图表 72">
            <a:extLst>
              <a:ext uri="{FF2B5EF4-FFF2-40B4-BE49-F238E27FC236}">
                <a16:creationId xmlns:a16="http://schemas.microsoft.com/office/drawing/2014/main" id="{4F712916-F820-3C48-95A8-94E1908280F8}"/>
              </a:ext>
            </a:extLst>
          </p:cNvPr>
          <p:cNvGraphicFramePr/>
          <p:nvPr/>
        </p:nvGraphicFramePr>
        <p:xfrm>
          <a:off x="336550" y="5297197"/>
          <a:ext cx="3738144" cy="1577550"/>
        </p:xfrm>
        <a:graphic>
          <a:graphicData uri="http://schemas.openxmlformats.org/drawingml/2006/chart">
            <c:chart xmlns:c="http://schemas.openxmlformats.org/drawingml/2006/chart" xmlns:r="http://schemas.openxmlformats.org/officeDocument/2006/relationships" r:id="rId7"/>
          </a:graphicData>
        </a:graphic>
      </p:graphicFrame>
      <p:sp>
        <p:nvSpPr>
          <p:cNvPr id="77" name="矩形 76">
            <a:extLst>
              <a:ext uri="{FF2B5EF4-FFF2-40B4-BE49-F238E27FC236}">
                <a16:creationId xmlns:a16="http://schemas.microsoft.com/office/drawing/2014/main" id="{F2AA07C0-872B-694F-A0FE-BBE9BF5796B6}"/>
              </a:ext>
            </a:extLst>
          </p:cNvPr>
          <p:cNvSpPr/>
          <p:nvPr/>
        </p:nvSpPr>
        <p:spPr>
          <a:xfrm>
            <a:off x="4090906" y="1612531"/>
            <a:ext cx="4384800" cy="1728000"/>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Technical analysis captures most of historical general trends and predicts with upwards direction in test set which is consistent with facts, but it fails to fit daily details for lack of daily news.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Predictions at ① and ② are </a:t>
            </a:r>
            <a:r>
              <a:rPr kumimoji="1" lang="en-US" altLang="zh-CN" sz="1050" b="1" dirty="0">
                <a:solidFill>
                  <a:schemeClr val="tx1"/>
                </a:solidFill>
                <a:latin typeface="Calibri" panose="020F0502020204030204" pitchFamily="34" charset="0"/>
                <a:cs typeface="Calibri" panose="020F0502020204030204" pitchFamily="34" charset="0"/>
              </a:rPr>
              <a:t>flatter</a:t>
            </a:r>
            <a:r>
              <a:rPr kumimoji="1" lang="en-US" altLang="zh-CN" sz="1050" dirty="0">
                <a:solidFill>
                  <a:schemeClr val="tx1"/>
                </a:solidFill>
                <a:latin typeface="Calibri" panose="020F0502020204030204" pitchFamily="34" charset="0"/>
                <a:cs typeface="Calibri" panose="020F0502020204030204" pitchFamily="34" charset="0"/>
              </a:rPr>
              <a:t> than reality because S&amp;P500 increased in </a:t>
            </a:r>
            <a:r>
              <a:rPr kumimoji="1" lang="en-US" altLang="zh-CN" sz="1050" b="1" dirty="0">
                <a:solidFill>
                  <a:schemeClr val="tx1"/>
                </a:solidFill>
                <a:latin typeface="Calibri" panose="020F0502020204030204" pitchFamily="34" charset="0"/>
                <a:cs typeface="Calibri" panose="020F0502020204030204" pitchFamily="34" charset="0"/>
              </a:rPr>
              <a:t>stable</a:t>
            </a:r>
            <a:r>
              <a:rPr kumimoji="1" lang="en-US" altLang="zh-CN" sz="1050" dirty="0">
                <a:solidFill>
                  <a:schemeClr val="tx1"/>
                </a:solidFill>
                <a:latin typeface="Calibri" panose="020F0502020204030204" pitchFamily="34" charset="0"/>
                <a:cs typeface="Calibri" panose="020F0502020204030204" pitchFamily="34" charset="0"/>
              </a:rPr>
              <a:t> paces and AAL’s </a:t>
            </a:r>
            <a:r>
              <a:rPr kumimoji="1" lang="en-US" altLang="zh-CN" sz="1050" b="1" dirty="0">
                <a:solidFill>
                  <a:schemeClr val="tx1"/>
                </a:solidFill>
                <a:latin typeface="Calibri" panose="020F0502020204030204" pitchFamily="34" charset="0"/>
                <a:cs typeface="Calibri" panose="020F0502020204030204" pitchFamily="34" charset="0"/>
              </a:rPr>
              <a:t>volumes</a:t>
            </a:r>
            <a:r>
              <a:rPr kumimoji="1" lang="en-US" altLang="zh-CN" sz="1050" dirty="0">
                <a:solidFill>
                  <a:schemeClr val="tx1"/>
                </a:solidFill>
                <a:latin typeface="Calibri" panose="020F0502020204030204" pitchFamily="34" charset="0"/>
                <a:cs typeface="Calibri" panose="020F0502020204030204" pitchFamily="34" charset="0"/>
              </a:rPr>
              <a:t> were moving around a constant</a:t>
            </a:r>
            <a:endParaRPr kumimoji="1" lang="en-US" altLang="zh-CN" sz="1050" b="1" dirty="0">
              <a:solidFill>
                <a:schemeClr val="accent2"/>
              </a:solidFill>
              <a:latin typeface="Calibri" panose="020F0502020204030204" pitchFamily="34" charset="0"/>
              <a:cs typeface="Calibri" panose="020F0502020204030204" pitchFamily="34" charset="0"/>
            </a:endParaRPr>
          </a:p>
          <a:p>
            <a:r>
              <a:rPr kumimoji="1" lang="en-US" altLang="zh-CN" sz="1050" b="1" dirty="0">
                <a:solidFill>
                  <a:schemeClr val="accent2"/>
                </a:solidFill>
                <a:latin typeface="Calibri" panose="020F0502020204030204" pitchFamily="34" charset="0"/>
                <a:cs typeface="Calibri" panose="020F0502020204030204" pitchFamily="34" charset="0"/>
              </a:rPr>
              <a:t>Test part: </a:t>
            </a:r>
            <a:r>
              <a:rPr kumimoji="1" lang="en-US" altLang="zh-CN" sz="1050" dirty="0">
                <a:solidFill>
                  <a:schemeClr val="tx1"/>
                </a:solidFill>
                <a:latin typeface="Calibri" panose="020F0502020204030204" pitchFamily="34" charset="0"/>
                <a:cs typeface="Calibri" panose="020F0502020204030204" pitchFamily="34" charset="0"/>
              </a:rPr>
              <a:t>Predictions are more optimistic than real recovery in post-COVID because AAL’s volumes have sharply increased </a:t>
            </a:r>
            <a:r>
              <a:rPr kumimoji="1" lang="en-US" altLang="zh-CN" sz="1050" b="1" dirty="0">
                <a:solidFill>
                  <a:schemeClr val="tx1"/>
                </a:solidFill>
                <a:latin typeface="Calibri" panose="020F0502020204030204" pitchFamily="34" charset="0"/>
                <a:cs typeface="Calibri" panose="020F0502020204030204" pitchFamily="34" charset="0"/>
              </a:rPr>
              <a:t>5-10 times </a:t>
            </a:r>
            <a:r>
              <a:rPr kumimoji="1" lang="en-US" altLang="zh-CN" sz="1050" dirty="0">
                <a:solidFill>
                  <a:schemeClr val="tx1"/>
                </a:solidFill>
                <a:latin typeface="Calibri" panose="020F0502020204030204" pitchFamily="34" charset="0"/>
                <a:cs typeface="Calibri" panose="020F0502020204030204" pitchFamily="34" charset="0"/>
              </a:rPr>
              <a:t>since 2020.1, caused by </a:t>
            </a:r>
            <a:r>
              <a:rPr kumimoji="1" lang="en-US" altLang="zh-CN" sz="1050" b="1" dirty="0">
                <a:solidFill>
                  <a:schemeClr val="tx1"/>
                </a:solidFill>
                <a:latin typeface="Calibri" panose="020F0502020204030204" pitchFamily="34" charset="0"/>
                <a:cs typeface="Calibri" panose="020F0502020204030204" pitchFamily="34" charset="0"/>
              </a:rPr>
              <a:t>crude oil recovery</a:t>
            </a:r>
            <a:r>
              <a:rPr kumimoji="1" lang="en-US" altLang="zh-CN" sz="1050" dirty="0">
                <a:solidFill>
                  <a:schemeClr val="tx1"/>
                </a:solidFill>
                <a:latin typeface="Calibri" panose="020F0502020204030204" pitchFamily="34" charset="0"/>
                <a:cs typeface="Calibri" panose="020F0502020204030204" pitchFamily="34" charset="0"/>
              </a:rPr>
              <a:t>. </a:t>
            </a:r>
          </a:p>
        </p:txBody>
      </p:sp>
      <p:sp>
        <p:nvSpPr>
          <p:cNvPr id="78" name="椭圆 77">
            <a:extLst>
              <a:ext uri="{FF2B5EF4-FFF2-40B4-BE49-F238E27FC236}">
                <a16:creationId xmlns:a16="http://schemas.microsoft.com/office/drawing/2014/main" id="{B85E69F8-08F3-C541-80AA-74B335BD3E6A}"/>
              </a:ext>
            </a:extLst>
          </p:cNvPr>
          <p:cNvSpPr/>
          <p:nvPr/>
        </p:nvSpPr>
        <p:spPr>
          <a:xfrm>
            <a:off x="8731412" y="13430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79" name="矩形 78">
            <a:extLst>
              <a:ext uri="{FF2B5EF4-FFF2-40B4-BE49-F238E27FC236}">
                <a16:creationId xmlns:a16="http://schemas.microsoft.com/office/drawing/2014/main" id="{FE596D74-5D5A-FD4D-A0C9-DC58790BDCAD}"/>
              </a:ext>
            </a:extLst>
          </p:cNvPr>
          <p:cNvSpPr/>
          <p:nvPr/>
        </p:nvSpPr>
        <p:spPr>
          <a:xfrm>
            <a:off x="9076154" y="1361876"/>
            <a:ext cx="3613150" cy="22659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Model without Twee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81" name="椭圆 80">
            <a:extLst>
              <a:ext uri="{FF2B5EF4-FFF2-40B4-BE49-F238E27FC236}">
                <a16:creationId xmlns:a16="http://schemas.microsoft.com/office/drawing/2014/main" id="{EA4E1064-C49F-E940-96DC-CDD5223A11EC}"/>
              </a:ext>
            </a:extLst>
          </p:cNvPr>
          <p:cNvSpPr/>
          <p:nvPr/>
        </p:nvSpPr>
        <p:spPr>
          <a:xfrm>
            <a:off x="8740773" y="3193399"/>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82" name="矩形 81">
            <a:extLst>
              <a:ext uri="{FF2B5EF4-FFF2-40B4-BE49-F238E27FC236}">
                <a16:creationId xmlns:a16="http://schemas.microsoft.com/office/drawing/2014/main" id="{D94E9244-C0AC-4A44-8798-CD696FB3EF35}"/>
              </a:ext>
            </a:extLst>
          </p:cNvPr>
          <p:cNvSpPr/>
          <p:nvPr/>
        </p:nvSpPr>
        <p:spPr>
          <a:xfrm>
            <a:off x="9085515" y="3212250"/>
            <a:ext cx="3613150" cy="22659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Model with Twee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cxnSp>
        <p:nvCxnSpPr>
          <p:cNvPr id="5" name="直线连接符 4">
            <a:extLst>
              <a:ext uri="{FF2B5EF4-FFF2-40B4-BE49-F238E27FC236}">
                <a16:creationId xmlns:a16="http://schemas.microsoft.com/office/drawing/2014/main" id="{DC42215A-EB74-7747-94D5-89BB6158F349}"/>
              </a:ext>
            </a:extLst>
          </p:cNvPr>
          <p:cNvCxnSpPr>
            <a:cxnSpLocks/>
          </p:cNvCxnSpPr>
          <p:nvPr/>
        </p:nvCxnSpPr>
        <p:spPr>
          <a:xfrm>
            <a:off x="8616950" y="1384973"/>
            <a:ext cx="0" cy="5489774"/>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6" name="矩形 85">
            <a:extLst>
              <a:ext uri="{FF2B5EF4-FFF2-40B4-BE49-F238E27FC236}">
                <a16:creationId xmlns:a16="http://schemas.microsoft.com/office/drawing/2014/main" id="{54CFFC6D-69B5-EC44-A1D8-F1E49F26DA4B}"/>
              </a:ext>
            </a:extLst>
          </p:cNvPr>
          <p:cNvSpPr/>
          <p:nvPr/>
        </p:nvSpPr>
        <p:spPr>
          <a:xfrm>
            <a:off x="4090906" y="3367528"/>
            <a:ext cx="4384800" cy="1728000"/>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After adding financial data, model with both techniques and fundaments shows better training MSE. Because financial data is released quarterly, it does not improve daily predicts much.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Financial reports were released at ① (2015.3) and ② (2016.6), with positive and negative </a:t>
            </a:r>
            <a:r>
              <a:rPr kumimoji="1" lang="en-US" altLang="zh-CN" sz="1050" b="1" dirty="0">
                <a:solidFill>
                  <a:schemeClr val="tx1"/>
                </a:solidFill>
                <a:latin typeface="Calibri" panose="020F0502020204030204" pitchFamily="34" charset="0"/>
                <a:cs typeface="Calibri" panose="020F0502020204030204" pitchFamily="34" charset="0"/>
              </a:rPr>
              <a:t>operational data </a:t>
            </a:r>
            <a:r>
              <a:rPr kumimoji="1" lang="en-US" altLang="zh-CN" sz="1050" dirty="0">
                <a:solidFill>
                  <a:schemeClr val="tx1"/>
                </a:solidFill>
                <a:latin typeface="Calibri" panose="020F0502020204030204" pitchFamily="34" charset="0"/>
                <a:cs typeface="Calibri" panose="020F0502020204030204" pitchFamily="34" charset="0"/>
              </a:rPr>
              <a:t>respectively, giving apparent improvements there</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More pessimistic predictions at ③ (2018) are raised by great </a:t>
            </a:r>
            <a:r>
              <a:rPr kumimoji="1" lang="en-US" altLang="zh-CN" sz="1050" b="1" dirty="0">
                <a:solidFill>
                  <a:schemeClr val="tx1"/>
                </a:solidFill>
                <a:latin typeface="Calibri" panose="020F0502020204030204" pitchFamily="34" charset="0"/>
                <a:cs typeface="Calibri" panose="020F0502020204030204" pitchFamily="34" charset="0"/>
              </a:rPr>
              <a:t>drop of equities </a:t>
            </a:r>
            <a:r>
              <a:rPr kumimoji="1" lang="en-US" altLang="zh-CN" sz="1050" dirty="0">
                <a:solidFill>
                  <a:schemeClr val="tx1"/>
                </a:solidFill>
                <a:latin typeface="Calibri" panose="020F0502020204030204" pitchFamily="34" charset="0"/>
                <a:cs typeface="Calibri" panose="020F0502020204030204" pitchFamily="34" charset="0"/>
              </a:rPr>
              <a:t>in 2018</a:t>
            </a:r>
          </a:p>
          <a:p>
            <a:r>
              <a:rPr kumimoji="1" lang="en-US" altLang="zh-CN" sz="1050" b="1" dirty="0">
                <a:solidFill>
                  <a:schemeClr val="accent2"/>
                </a:solidFill>
                <a:latin typeface="Calibri" panose="020F0502020204030204" pitchFamily="34" charset="0"/>
                <a:cs typeface="Calibri" panose="020F0502020204030204" pitchFamily="34" charset="0"/>
              </a:rPr>
              <a:t>Test part: </a:t>
            </a:r>
            <a:r>
              <a:rPr kumimoji="1" lang="en-US" altLang="zh-CN" sz="1050" dirty="0">
                <a:solidFill>
                  <a:schemeClr val="tx1"/>
                </a:solidFill>
                <a:latin typeface="Calibri" panose="020F0502020204030204" pitchFamily="34" charset="0"/>
                <a:cs typeface="Calibri" panose="020F0502020204030204" pitchFamily="34" charset="0"/>
              </a:rPr>
              <a:t>Report of 2021.3 repressed post-COVID predictions with </a:t>
            </a:r>
            <a:r>
              <a:rPr kumimoji="1" lang="en-US" altLang="zh-CN" sz="1050" b="1" dirty="0">
                <a:solidFill>
                  <a:schemeClr val="tx1"/>
                </a:solidFill>
                <a:latin typeface="Calibri" panose="020F0502020204030204" pitchFamily="34" charset="0"/>
                <a:cs typeface="Calibri" panose="020F0502020204030204" pitchFamily="34" charset="0"/>
              </a:rPr>
              <a:t>recovery</a:t>
            </a:r>
            <a:r>
              <a:rPr kumimoji="1" lang="en-US" altLang="zh-CN" sz="1050" dirty="0">
                <a:solidFill>
                  <a:schemeClr val="tx1"/>
                </a:solidFill>
                <a:latin typeface="Calibri" panose="020F0502020204030204" pitchFamily="34" charset="0"/>
                <a:cs typeface="Calibri" panose="020F0502020204030204" pitchFamily="34" charset="0"/>
              </a:rPr>
              <a:t> signals and model’s smooth upwards trend fits facts well. </a:t>
            </a:r>
          </a:p>
        </p:txBody>
      </p:sp>
      <p:sp>
        <p:nvSpPr>
          <p:cNvPr id="87" name="矩形 86">
            <a:extLst>
              <a:ext uri="{FF2B5EF4-FFF2-40B4-BE49-F238E27FC236}">
                <a16:creationId xmlns:a16="http://schemas.microsoft.com/office/drawing/2014/main" id="{98D464EF-8B07-214A-9C75-27562CF4E3C1}"/>
              </a:ext>
            </a:extLst>
          </p:cNvPr>
          <p:cNvSpPr/>
          <p:nvPr/>
        </p:nvSpPr>
        <p:spPr>
          <a:xfrm>
            <a:off x="4090906" y="5122525"/>
            <a:ext cx="4384800" cy="1728000"/>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With sentiments added, where news reflects some daily information, model shows even better training MSE with more fluctuations.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Although AAL was added to S&amp;P 500 at ① (2015.3), </a:t>
            </a:r>
            <a:r>
              <a:rPr kumimoji="1" lang="en-US" altLang="zh-CN" sz="1050" b="1" dirty="0">
                <a:solidFill>
                  <a:schemeClr val="tx1"/>
                </a:solidFill>
                <a:latin typeface="Calibri" panose="020F0502020204030204" pitchFamily="34" charset="0"/>
                <a:cs typeface="Calibri" panose="020F0502020204030204" pitchFamily="34" charset="0"/>
              </a:rPr>
              <a:t>its discontinuousness with US Airways</a:t>
            </a:r>
            <a:r>
              <a:rPr kumimoji="1" lang="en-US" altLang="zh-CN" sz="1050" dirty="0">
                <a:solidFill>
                  <a:schemeClr val="tx1"/>
                </a:solidFill>
                <a:latin typeface="Calibri" panose="020F0502020204030204" pitchFamily="34" charset="0"/>
                <a:cs typeface="Calibri" panose="020F0502020204030204" pitchFamily="34" charset="0"/>
              </a:rPr>
              <a:t> had stronger impacts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Facing </a:t>
            </a:r>
            <a:r>
              <a:rPr kumimoji="1" lang="en-US" altLang="zh-CN" sz="1050" b="1" dirty="0">
                <a:solidFill>
                  <a:srgbClr val="000000"/>
                </a:solidFill>
                <a:latin typeface="Calibri" panose="020F0502020204030204" pitchFamily="34" charset="0"/>
                <a:cs typeface="Calibri" panose="020F0502020204030204" pitchFamily="34" charset="0"/>
              </a:rPr>
              <a:t>t</a:t>
            </a:r>
            <a:r>
              <a:rPr lang="en-US" altLang="zh-CN" sz="1050" b="1" dirty="0">
                <a:solidFill>
                  <a:srgbClr val="000000"/>
                </a:solidFill>
                <a:latin typeface="Calibri" panose="020F0502020204030204" pitchFamily="34" charset="0"/>
                <a:cs typeface="Calibri" panose="020F0502020204030204" pitchFamily="34" charset="0"/>
              </a:rPr>
              <a:t>errorism</a:t>
            </a:r>
            <a:r>
              <a:rPr lang="en-US" altLang="zh-CN" sz="1050" dirty="0">
                <a:solidFill>
                  <a:srgbClr val="000000"/>
                </a:solidFill>
                <a:latin typeface="Calibri" panose="020F0502020204030204" pitchFamily="34" charset="0"/>
                <a:cs typeface="Calibri" panose="020F0502020204030204" pitchFamily="34" charset="0"/>
              </a:rPr>
              <a:t> at </a:t>
            </a:r>
            <a:r>
              <a:rPr kumimoji="1" lang="en-US" altLang="zh-CN" sz="1050" dirty="0">
                <a:solidFill>
                  <a:schemeClr val="tx1"/>
                </a:solidFill>
                <a:latin typeface="Calibri" panose="020F0502020204030204" pitchFamily="34" charset="0"/>
                <a:cs typeface="Calibri" panose="020F0502020204030204" pitchFamily="34" charset="0"/>
              </a:rPr>
              <a:t>② (2016.6), AAL took actions to adapt new policies, which makes predictions more conservative</a:t>
            </a:r>
            <a:endParaRPr kumimoji="1" lang="en-US" altLang="zh-CN" sz="1050" b="1"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Fits after 2018 (③) is much better than before because </a:t>
            </a:r>
            <a:r>
              <a:rPr kumimoji="1" lang="en-US" altLang="zh-CN" sz="1050" b="1" i="1" dirty="0">
                <a:solidFill>
                  <a:schemeClr val="tx1"/>
                </a:solidFill>
                <a:latin typeface="Calibri" panose="020F0502020204030204" pitchFamily="34" charset="0"/>
                <a:cs typeface="Calibri" panose="020F0502020204030204" pitchFamily="34" charset="0"/>
              </a:rPr>
              <a:t>CNN Business</a:t>
            </a:r>
            <a:r>
              <a:rPr kumimoji="1" lang="en-US" altLang="zh-CN" sz="1050" dirty="0">
                <a:solidFill>
                  <a:schemeClr val="tx1"/>
                </a:solidFill>
                <a:latin typeface="Calibri" panose="020F0502020204030204" pitchFamily="34" charset="0"/>
                <a:cs typeface="Calibri" panose="020F0502020204030204" pitchFamily="34" charset="0"/>
              </a:rPr>
              <a:t>, the news resource we scraped from, faced digital transformations, and some history news was missing</a:t>
            </a:r>
            <a:endParaRPr kumimoji="1" lang="en-US" altLang="zh-CN" sz="1050" b="1" dirty="0">
              <a:solidFill>
                <a:schemeClr val="tx1"/>
              </a:solidFill>
              <a:latin typeface="Calibri" panose="020F0502020204030204" pitchFamily="34" charset="0"/>
              <a:cs typeface="Calibri" panose="020F0502020204030204" pitchFamily="34" charset="0"/>
            </a:endParaRPr>
          </a:p>
          <a:p>
            <a:r>
              <a:rPr kumimoji="1" lang="en-US" altLang="zh-CN" sz="1050" b="1" dirty="0">
                <a:solidFill>
                  <a:schemeClr val="accent2"/>
                </a:solidFill>
                <a:latin typeface="Calibri" panose="020F0502020204030204" pitchFamily="34" charset="0"/>
                <a:cs typeface="Calibri" panose="020F0502020204030204" pitchFamily="34" charset="0"/>
              </a:rPr>
              <a:t>Test part: </a:t>
            </a:r>
            <a:r>
              <a:rPr kumimoji="1" lang="en-US" altLang="zh-CN" sz="1050" dirty="0">
                <a:solidFill>
                  <a:schemeClr val="tx1"/>
                </a:solidFill>
                <a:latin typeface="Calibri" panose="020F0502020204030204" pitchFamily="34" charset="0"/>
                <a:cs typeface="Calibri" panose="020F0502020204030204" pitchFamily="34" charset="0"/>
              </a:rPr>
              <a:t>Frequent news after 2020 makes post-COVID predictions volatile with increasing trends.  </a:t>
            </a:r>
          </a:p>
        </p:txBody>
      </p:sp>
      <p:sp>
        <p:nvSpPr>
          <p:cNvPr id="89" name="矩形 88">
            <a:extLst>
              <a:ext uri="{FF2B5EF4-FFF2-40B4-BE49-F238E27FC236}">
                <a16:creationId xmlns:a16="http://schemas.microsoft.com/office/drawing/2014/main" id="{53CB9E03-5366-B745-A73B-C9F49952F64E}"/>
              </a:ext>
            </a:extLst>
          </p:cNvPr>
          <p:cNvSpPr/>
          <p:nvPr/>
        </p:nvSpPr>
        <p:spPr>
          <a:xfrm>
            <a:off x="8724900" y="5118437"/>
            <a:ext cx="3779838" cy="1730788"/>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Twitter gives more fluctuations for smaller time granularities and fits details, especially turning points better for timeliness. </a:t>
            </a:r>
          </a:p>
          <a:p>
            <a:pPr marL="171450" indent="-171450">
              <a:buFont typeface="Arial" panose="020B0604020202020204" pitchFamily="34" charset="0"/>
              <a:buChar char="•"/>
            </a:pPr>
            <a:r>
              <a:rPr kumimoji="1" lang="en-US" altLang="zh-CN" sz="1050" b="1" dirty="0">
                <a:solidFill>
                  <a:schemeClr val="tx1"/>
                </a:solidFill>
                <a:latin typeface="Calibri" panose="020F0502020204030204" pitchFamily="34" charset="0"/>
                <a:cs typeface="Calibri" panose="020F0502020204030204" pitchFamily="34" charset="0"/>
              </a:rPr>
              <a:t>Grounded Boeing 737 MAX </a:t>
            </a:r>
            <a:r>
              <a:rPr kumimoji="1" lang="en-US" altLang="zh-CN" sz="1050" dirty="0">
                <a:solidFill>
                  <a:schemeClr val="tx1"/>
                </a:solidFill>
                <a:latin typeface="Calibri" panose="020F0502020204030204" pitchFamily="34" charset="0"/>
                <a:cs typeface="Calibri" panose="020F0502020204030204" pitchFamily="34" charset="0"/>
              </a:rPr>
              <a:t>at ② (2019.6) increased complaints. Predictions with tweets are over-valued because AAL’s </a:t>
            </a:r>
            <a:r>
              <a:rPr kumimoji="1" lang="en-US" altLang="zh-CN" sz="1050" b="1" dirty="0">
                <a:solidFill>
                  <a:schemeClr val="tx1"/>
                </a:solidFill>
                <a:latin typeface="Calibri" panose="020F0502020204030204" pitchFamily="34" charset="0"/>
                <a:cs typeface="Calibri" panose="020F0502020204030204" pitchFamily="34" charset="0"/>
              </a:rPr>
              <a:t>PR actions </a:t>
            </a:r>
            <a:r>
              <a:rPr kumimoji="1" lang="en-US" altLang="zh-CN" sz="1050" dirty="0">
                <a:solidFill>
                  <a:schemeClr val="tx1"/>
                </a:solidFill>
                <a:latin typeface="Calibri" panose="020F0502020204030204" pitchFamily="34" charset="0"/>
                <a:cs typeface="Calibri" panose="020F0502020204030204" pitchFamily="34" charset="0"/>
              </a:rPr>
              <a:t>generated positive public opinions</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Twitter model fits better at ① (2018.10) when AAL greatly modified networks, whose information could be reflected by tweets with </a:t>
            </a:r>
            <a:r>
              <a:rPr kumimoji="1" lang="en-US" altLang="zh-CN" sz="1050" b="1" dirty="0">
                <a:solidFill>
                  <a:schemeClr val="tx1"/>
                </a:solidFill>
                <a:latin typeface="Calibri" panose="020F0502020204030204" pitchFamily="34" charset="0"/>
                <a:cs typeface="Calibri" panose="020F0502020204030204" pitchFamily="34" charset="0"/>
              </a:rPr>
              <a:t>customer satisfactions</a:t>
            </a:r>
          </a:p>
          <a:p>
            <a:r>
              <a:rPr kumimoji="1" lang="en-US" altLang="zh-CN" sz="1050" b="1" dirty="0">
                <a:solidFill>
                  <a:schemeClr val="accent2"/>
                </a:solidFill>
                <a:latin typeface="Calibri" panose="020F0502020204030204" pitchFamily="34" charset="0"/>
                <a:cs typeface="Calibri" panose="020F0502020204030204" pitchFamily="34" charset="0"/>
              </a:rPr>
              <a:t>Test part: </a:t>
            </a:r>
            <a:r>
              <a:rPr kumimoji="1" lang="en-US" altLang="zh-CN" sz="1050" dirty="0">
                <a:solidFill>
                  <a:schemeClr val="tx1"/>
                </a:solidFill>
                <a:latin typeface="Calibri" panose="020F0502020204030204" pitchFamily="34" charset="0"/>
                <a:cs typeface="Calibri" panose="020F0502020204030204" pitchFamily="34" charset="0"/>
              </a:rPr>
              <a:t>Twitter reduces testing MSE </a:t>
            </a:r>
            <a:r>
              <a:rPr kumimoji="1" lang="en-US" altLang="zh-CN" sz="1050" b="1" dirty="0">
                <a:solidFill>
                  <a:schemeClr val="tx1"/>
                </a:solidFill>
                <a:latin typeface="Calibri" panose="020F0502020204030204" pitchFamily="34" charset="0"/>
                <a:cs typeface="Calibri" panose="020F0502020204030204" pitchFamily="34" charset="0"/>
              </a:rPr>
              <a:t>with sharper growth </a:t>
            </a:r>
            <a:r>
              <a:rPr kumimoji="1" lang="en-US" altLang="zh-CN" sz="1050" dirty="0">
                <a:solidFill>
                  <a:schemeClr val="tx1"/>
                </a:solidFill>
                <a:latin typeface="Calibri" panose="020F0502020204030204" pitchFamily="34" charset="0"/>
                <a:cs typeface="Calibri" panose="020F0502020204030204" pitchFamily="34" charset="0"/>
              </a:rPr>
              <a:t>because growing vaccinated population gets optimistic about summer travels. </a:t>
            </a:r>
          </a:p>
        </p:txBody>
      </p:sp>
      <p:sp>
        <p:nvSpPr>
          <p:cNvPr id="92" name="TextBox 61">
            <a:extLst>
              <a:ext uri="{FF2B5EF4-FFF2-40B4-BE49-F238E27FC236}">
                <a16:creationId xmlns:a16="http://schemas.microsoft.com/office/drawing/2014/main" id="{610D4E74-C917-1244-83EE-472A106CC547}"/>
              </a:ext>
            </a:extLst>
          </p:cNvPr>
          <p:cNvSpPr txBox="1"/>
          <p:nvPr/>
        </p:nvSpPr>
        <p:spPr>
          <a:xfrm>
            <a:off x="6435716" y="6872127"/>
            <a:ext cx="5832484" cy="244004"/>
          </a:xfrm>
          <a:prstGeom prst="rect">
            <a:avLst/>
          </a:prstGeom>
          <a:noFill/>
        </p:spPr>
        <p:txBody>
          <a:bodyPr wrap="square" lIns="44622" tIns="44622" rIns="44622" bIns="44622" rtlCol="0">
            <a:spAutoFit/>
          </a:bodyPr>
          <a:lstStyle/>
          <a:p>
            <a:r>
              <a:rPr lang="en-US" altLang="zh-CN" sz="1000" i="1" dirty="0">
                <a:solidFill>
                  <a:prstClr val="black"/>
                </a:solidFill>
                <a:latin typeface="Calibri" panose="020F0502020204030204" pitchFamily="34" charset="0"/>
                <a:cs typeface="Calibri" panose="020F0502020204030204" pitchFamily="34" charset="0"/>
              </a:rPr>
              <a:t>Note: left part analyzes data from 2013; right part (including Tweets) analyzes data from 2017</a:t>
            </a:r>
          </a:p>
        </p:txBody>
      </p:sp>
      <p:grpSp>
        <p:nvGrpSpPr>
          <p:cNvPr id="31" name="组合 30">
            <a:extLst>
              <a:ext uri="{FF2B5EF4-FFF2-40B4-BE49-F238E27FC236}">
                <a16:creationId xmlns:a16="http://schemas.microsoft.com/office/drawing/2014/main" id="{FA8DA6BE-62C5-B544-9D28-A1272F0FFD93}"/>
              </a:ext>
            </a:extLst>
          </p:cNvPr>
          <p:cNvGrpSpPr/>
          <p:nvPr/>
        </p:nvGrpSpPr>
        <p:grpSpPr>
          <a:xfrm>
            <a:off x="3424945" y="1388101"/>
            <a:ext cx="529698" cy="5267531"/>
            <a:chOff x="4294133" y="1703564"/>
            <a:chExt cx="529698" cy="4952477"/>
          </a:xfrm>
        </p:grpSpPr>
        <p:cxnSp>
          <p:nvCxnSpPr>
            <p:cNvPr id="32" name="直接连接符 5">
              <a:extLst>
                <a:ext uri="{FF2B5EF4-FFF2-40B4-BE49-F238E27FC236}">
                  <a16:creationId xmlns:a16="http://schemas.microsoft.com/office/drawing/2014/main" id="{3807CC26-55EF-4C4E-9869-719D9F7C251D}"/>
                </a:ext>
              </a:extLst>
            </p:cNvPr>
            <p:cNvCxnSpPr>
              <a:cxnSpLocks/>
              <a:stCxn id="33" idx="2"/>
            </p:cNvCxnSpPr>
            <p:nvPr/>
          </p:nvCxnSpPr>
          <p:spPr>
            <a:xfrm>
              <a:off x="4558982" y="1887666"/>
              <a:ext cx="11012" cy="4768375"/>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D365A1F3-ABB8-6941-BF20-D0A5F5CA3CA9}"/>
                </a:ext>
              </a:extLst>
            </p:cNvPr>
            <p:cNvSpPr txBox="1"/>
            <p:nvPr/>
          </p:nvSpPr>
          <p:spPr>
            <a:xfrm>
              <a:off x="4294133" y="1703564"/>
              <a:ext cx="529698" cy="184102"/>
            </a:xfrm>
            <a:prstGeom prst="rect">
              <a:avLst/>
            </a:prstGeom>
            <a:solidFill>
              <a:srgbClr val="C00000"/>
            </a:solidFill>
            <a:ln>
              <a:solidFill>
                <a:srgbClr val="C00000"/>
              </a:solidFill>
            </a:ln>
          </p:spPr>
          <p:txBody>
            <a:bodyPr wrap="square" lIns="36000" tIns="36000" rIns="36000" bIns="36000" rtlCol="0">
              <a:spAutoFit/>
            </a:bodyPr>
            <a:lstStyle/>
            <a:p>
              <a:pPr algn="ctr"/>
              <a:r>
                <a:rPr lang="en-US" altLang="zh-CN" sz="800" b="1" dirty="0">
                  <a:solidFill>
                    <a:schemeClr val="bg1"/>
                  </a:solidFill>
                  <a:latin typeface="Calibri" panose="020F0502020204030204" pitchFamily="34" charset="0"/>
                  <a:cs typeface="Calibri" panose="020F0502020204030204" pitchFamily="34" charset="0"/>
                </a:rPr>
                <a:t>2020.7.20</a:t>
              </a:r>
              <a:endParaRPr lang="zh-CN" altLang="en-US" sz="800" b="1" dirty="0" err="1">
                <a:solidFill>
                  <a:schemeClr val="bg1"/>
                </a:solidFill>
                <a:latin typeface="Calibri" panose="020F0502020204030204" pitchFamily="34" charset="0"/>
                <a:cs typeface="Calibri" panose="020F0502020204030204" pitchFamily="34" charset="0"/>
              </a:endParaRPr>
            </a:p>
          </p:txBody>
        </p:sp>
      </p:grpSp>
      <p:sp>
        <p:nvSpPr>
          <p:cNvPr id="43" name="文本框 42">
            <a:extLst>
              <a:ext uri="{FF2B5EF4-FFF2-40B4-BE49-F238E27FC236}">
                <a16:creationId xmlns:a16="http://schemas.microsoft.com/office/drawing/2014/main" id="{28967E1D-C45E-3745-AB59-DE20B455332A}"/>
              </a:ext>
            </a:extLst>
          </p:cNvPr>
          <p:cNvSpPr txBox="1"/>
          <p:nvPr/>
        </p:nvSpPr>
        <p:spPr>
          <a:xfrm>
            <a:off x="2828957" y="1388515"/>
            <a:ext cx="5580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Training MSE</a:t>
            </a:r>
          </a:p>
        </p:txBody>
      </p:sp>
      <p:sp>
        <p:nvSpPr>
          <p:cNvPr id="44" name="文本框 43">
            <a:extLst>
              <a:ext uri="{FF2B5EF4-FFF2-40B4-BE49-F238E27FC236}">
                <a16:creationId xmlns:a16="http://schemas.microsoft.com/office/drawing/2014/main" id="{9DF8608C-9CAB-9C46-BD31-0455A0618A08}"/>
              </a:ext>
            </a:extLst>
          </p:cNvPr>
          <p:cNvSpPr txBox="1"/>
          <p:nvPr/>
        </p:nvSpPr>
        <p:spPr>
          <a:xfrm>
            <a:off x="3991595" y="1394067"/>
            <a:ext cx="558000" cy="194400"/>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Testing MSE</a:t>
            </a:r>
          </a:p>
        </p:txBody>
      </p:sp>
      <p:sp>
        <p:nvSpPr>
          <p:cNvPr id="57" name="文本框 56">
            <a:extLst>
              <a:ext uri="{FF2B5EF4-FFF2-40B4-BE49-F238E27FC236}">
                <a16:creationId xmlns:a16="http://schemas.microsoft.com/office/drawing/2014/main" id="{E8B87265-B526-1D4D-8A84-C7986BCCFFFE}"/>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6</a:t>
            </a:r>
            <a:endParaRPr kumimoji="1" lang="zh-CN" altLang="en-US" sz="1000" dirty="0" err="1">
              <a:latin typeface="Calibri" panose="020F0502020204030204" pitchFamily="34" charset="0"/>
              <a:cs typeface="Calibri" panose="020F0502020204030204" pitchFamily="34" charset="0"/>
            </a:endParaRPr>
          </a:p>
        </p:txBody>
      </p:sp>
      <p:grpSp>
        <p:nvGrpSpPr>
          <p:cNvPr id="88" name="组合 87">
            <a:extLst>
              <a:ext uri="{FF2B5EF4-FFF2-40B4-BE49-F238E27FC236}">
                <a16:creationId xmlns:a16="http://schemas.microsoft.com/office/drawing/2014/main" id="{AE7EDCAA-E93B-C940-9F8C-66C93C6E1450}"/>
              </a:ext>
            </a:extLst>
          </p:cNvPr>
          <p:cNvGrpSpPr/>
          <p:nvPr/>
        </p:nvGrpSpPr>
        <p:grpSpPr>
          <a:xfrm>
            <a:off x="596056" y="1600563"/>
            <a:ext cx="1926900" cy="199446"/>
            <a:chOff x="4594986" y="1315042"/>
            <a:chExt cx="1441144" cy="199446"/>
          </a:xfrm>
        </p:grpSpPr>
        <p:cxnSp>
          <p:nvCxnSpPr>
            <p:cNvPr id="90" name="直线连接符 89">
              <a:extLst>
                <a:ext uri="{FF2B5EF4-FFF2-40B4-BE49-F238E27FC236}">
                  <a16:creationId xmlns:a16="http://schemas.microsoft.com/office/drawing/2014/main" id="{08B2A608-C6BC-A94F-9268-F8AFCF5FBAEA}"/>
                </a:ext>
              </a:extLst>
            </p:cNvPr>
            <p:cNvCxnSpPr/>
            <p:nvPr/>
          </p:nvCxnSpPr>
          <p:spPr>
            <a:xfrm>
              <a:off x="4594986" y="1427475"/>
              <a:ext cx="21539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1" name="直线连接符 90">
              <a:extLst>
                <a:ext uri="{FF2B5EF4-FFF2-40B4-BE49-F238E27FC236}">
                  <a16:creationId xmlns:a16="http://schemas.microsoft.com/office/drawing/2014/main" id="{A55C2B67-F470-B04A-A885-D0E902FBA3A6}"/>
                </a:ext>
              </a:extLst>
            </p:cNvPr>
            <p:cNvCxnSpPr/>
            <p:nvPr/>
          </p:nvCxnSpPr>
          <p:spPr>
            <a:xfrm>
              <a:off x="5182639" y="1411925"/>
              <a:ext cx="21539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48A0B27E-EEFF-D348-8AEF-7DAF48B0C13E}"/>
                </a:ext>
              </a:extLst>
            </p:cNvPr>
            <p:cNvSpPr txBox="1"/>
            <p:nvPr/>
          </p:nvSpPr>
          <p:spPr>
            <a:xfrm>
              <a:off x="4823803" y="1315042"/>
              <a:ext cx="605691" cy="195814"/>
            </a:xfrm>
            <a:prstGeom prst="rect">
              <a:avLst/>
            </a:prstGeom>
            <a:noFill/>
          </p:spPr>
          <p:txBody>
            <a:bodyPr wrap="square" lIns="36000" tIns="36000" rIns="36000" bIns="36000" rtlCol="0">
              <a:spAutoFit/>
            </a:bodyPr>
            <a:lstStyle/>
            <a:p>
              <a:r>
                <a:rPr kumimoji="1" lang="en-US" altLang="zh-CN" sz="800" dirty="0">
                  <a:latin typeface="Calibri" panose="020F0502020204030204" pitchFamily="34" charset="0"/>
                  <a:cs typeface="Calibri" panose="020F0502020204030204" pitchFamily="34" charset="0"/>
                </a:rPr>
                <a:t>Actual</a:t>
              </a:r>
              <a:endParaRPr kumimoji="1" lang="zh-CN" altLang="en-US" sz="800" dirty="0" err="1">
                <a:latin typeface="Calibri" panose="020F0502020204030204" pitchFamily="34" charset="0"/>
                <a:cs typeface="Calibri" panose="020F0502020204030204" pitchFamily="34" charset="0"/>
              </a:endParaRPr>
            </a:p>
          </p:txBody>
        </p:sp>
        <p:sp>
          <p:nvSpPr>
            <p:cNvPr id="94" name="文本框 93">
              <a:extLst>
                <a:ext uri="{FF2B5EF4-FFF2-40B4-BE49-F238E27FC236}">
                  <a16:creationId xmlns:a16="http://schemas.microsoft.com/office/drawing/2014/main" id="{EE3165D7-C7EA-CA4B-B080-A73D207D0EA3}"/>
                </a:ext>
              </a:extLst>
            </p:cNvPr>
            <p:cNvSpPr txBox="1"/>
            <p:nvPr/>
          </p:nvSpPr>
          <p:spPr>
            <a:xfrm>
              <a:off x="5420800" y="1318674"/>
              <a:ext cx="615330" cy="195814"/>
            </a:xfrm>
            <a:prstGeom prst="rect">
              <a:avLst/>
            </a:prstGeom>
            <a:noFill/>
          </p:spPr>
          <p:txBody>
            <a:bodyPr wrap="square" lIns="36000" tIns="36000" rIns="36000" bIns="36000" rtlCol="0">
              <a:spAutoFit/>
            </a:bodyPr>
            <a:lstStyle/>
            <a:p>
              <a:r>
                <a:rPr kumimoji="1" lang="en-US" altLang="zh-CN" sz="800" dirty="0">
                  <a:latin typeface="Calibri" panose="020F0502020204030204" pitchFamily="34" charset="0"/>
                  <a:cs typeface="Calibri" panose="020F0502020204030204" pitchFamily="34" charset="0"/>
                </a:rPr>
                <a:t>Prediction</a:t>
              </a:r>
              <a:endParaRPr kumimoji="1" lang="zh-CN" altLang="en-US" sz="800" dirty="0" err="1">
                <a:latin typeface="Calibri" panose="020F0502020204030204" pitchFamily="34" charset="0"/>
                <a:cs typeface="Calibri" panose="020F0502020204030204" pitchFamily="34" charset="0"/>
              </a:endParaRPr>
            </a:p>
          </p:txBody>
        </p:sp>
      </p:grpSp>
      <p:sp>
        <p:nvSpPr>
          <p:cNvPr id="97" name="矩形 96">
            <a:extLst>
              <a:ext uri="{FF2B5EF4-FFF2-40B4-BE49-F238E27FC236}">
                <a16:creationId xmlns:a16="http://schemas.microsoft.com/office/drawing/2014/main" id="{2F9D7385-FD19-DE47-B540-50D11194897E}"/>
              </a:ext>
            </a:extLst>
          </p:cNvPr>
          <p:cNvSpPr/>
          <p:nvPr/>
        </p:nvSpPr>
        <p:spPr>
          <a:xfrm>
            <a:off x="3736129" y="2063923"/>
            <a:ext cx="290288" cy="762487"/>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48" name="矩形 147">
            <a:extLst>
              <a:ext uri="{FF2B5EF4-FFF2-40B4-BE49-F238E27FC236}">
                <a16:creationId xmlns:a16="http://schemas.microsoft.com/office/drawing/2014/main" id="{3EBC0250-2C44-1E47-A47E-00A0BE98A5F5}"/>
              </a:ext>
            </a:extLst>
          </p:cNvPr>
          <p:cNvSpPr/>
          <p:nvPr/>
        </p:nvSpPr>
        <p:spPr>
          <a:xfrm>
            <a:off x="10210364" y="1976071"/>
            <a:ext cx="308187" cy="43140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53" name="椭圆 152">
            <a:extLst>
              <a:ext uri="{FF2B5EF4-FFF2-40B4-BE49-F238E27FC236}">
                <a16:creationId xmlns:a16="http://schemas.microsoft.com/office/drawing/2014/main" id="{42A6EB46-F57B-D14A-8BB2-AA5A5C99D7DD}"/>
              </a:ext>
            </a:extLst>
          </p:cNvPr>
          <p:cNvSpPr/>
          <p:nvPr/>
        </p:nvSpPr>
        <p:spPr>
          <a:xfrm>
            <a:off x="10288558" y="1885522"/>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grpSp>
        <p:nvGrpSpPr>
          <p:cNvPr id="157" name="组合 156">
            <a:extLst>
              <a:ext uri="{FF2B5EF4-FFF2-40B4-BE49-F238E27FC236}">
                <a16:creationId xmlns:a16="http://schemas.microsoft.com/office/drawing/2014/main" id="{6330114C-E0C7-D949-98E2-CCC8A5DA934A}"/>
              </a:ext>
            </a:extLst>
          </p:cNvPr>
          <p:cNvGrpSpPr/>
          <p:nvPr/>
        </p:nvGrpSpPr>
        <p:grpSpPr>
          <a:xfrm>
            <a:off x="11751691" y="1408924"/>
            <a:ext cx="579954" cy="3390554"/>
            <a:chOff x="12835713" y="1783319"/>
            <a:chExt cx="579954" cy="3390554"/>
          </a:xfrm>
        </p:grpSpPr>
        <p:cxnSp>
          <p:nvCxnSpPr>
            <p:cNvPr id="158" name="直接连接符 143">
              <a:extLst>
                <a:ext uri="{FF2B5EF4-FFF2-40B4-BE49-F238E27FC236}">
                  <a16:creationId xmlns:a16="http://schemas.microsoft.com/office/drawing/2014/main" id="{37374196-8635-9947-A346-092107D3B15F}"/>
                </a:ext>
              </a:extLst>
            </p:cNvPr>
            <p:cNvCxnSpPr>
              <a:cxnSpLocks/>
              <a:stCxn id="159" idx="2"/>
            </p:cNvCxnSpPr>
            <p:nvPr/>
          </p:nvCxnSpPr>
          <p:spPr>
            <a:xfrm flipH="1">
              <a:off x="13118956" y="1979133"/>
              <a:ext cx="6734" cy="319474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59" name="文本框 158">
              <a:extLst>
                <a:ext uri="{FF2B5EF4-FFF2-40B4-BE49-F238E27FC236}">
                  <a16:creationId xmlns:a16="http://schemas.microsoft.com/office/drawing/2014/main" id="{E4CE3BC9-31E6-584C-A865-88447AFFD2CB}"/>
                </a:ext>
              </a:extLst>
            </p:cNvPr>
            <p:cNvSpPr txBox="1"/>
            <p:nvPr/>
          </p:nvSpPr>
          <p:spPr>
            <a:xfrm>
              <a:off x="12835713" y="1783319"/>
              <a:ext cx="579954" cy="195814"/>
            </a:xfrm>
            <a:prstGeom prst="rect">
              <a:avLst/>
            </a:prstGeom>
            <a:solidFill>
              <a:srgbClr val="C00000"/>
            </a:solidFill>
          </p:spPr>
          <p:txBody>
            <a:bodyPr wrap="square" lIns="36000" tIns="36000" rIns="36000" bIns="36000" rtlCol="0">
              <a:spAutoFit/>
            </a:bodyPr>
            <a:lstStyle/>
            <a:p>
              <a:pPr algn="ctr"/>
              <a:r>
                <a:rPr lang="en-US" altLang="zh-CN" sz="800" b="1" dirty="0">
                  <a:solidFill>
                    <a:schemeClr val="bg1"/>
                  </a:solidFill>
                  <a:latin typeface="Calibri" panose="020F0502020204030204" pitchFamily="34" charset="0"/>
                  <a:cs typeface="Calibri" panose="020F0502020204030204" pitchFamily="34" charset="0"/>
                </a:rPr>
                <a:t>2020.12.11</a:t>
              </a:r>
              <a:endParaRPr lang="zh-CN" altLang="en-US" sz="800" b="1" dirty="0" err="1">
                <a:solidFill>
                  <a:schemeClr val="bg1"/>
                </a:solidFill>
                <a:latin typeface="Calibri" panose="020F0502020204030204" pitchFamily="34" charset="0"/>
                <a:cs typeface="Calibri" panose="020F0502020204030204" pitchFamily="34" charset="0"/>
              </a:endParaRPr>
            </a:p>
          </p:txBody>
        </p:sp>
      </p:grpSp>
      <p:sp>
        <p:nvSpPr>
          <p:cNvPr id="75" name="文本框 74">
            <a:extLst>
              <a:ext uri="{FF2B5EF4-FFF2-40B4-BE49-F238E27FC236}">
                <a16:creationId xmlns:a16="http://schemas.microsoft.com/office/drawing/2014/main" id="{DC4599AF-2593-3E4C-BA5D-A83DA4B1BA47}"/>
              </a:ext>
            </a:extLst>
          </p:cNvPr>
          <p:cNvSpPr txBox="1"/>
          <p:nvPr/>
        </p:nvSpPr>
        <p:spPr>
          <a:xfrm>
            <a:off x="3744993" y="1704601"/>
            <a:ext cx="3204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77.96</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76" name="文本框 75">
            <a:extLst>
              <a:ext uri="{FF2B5EF4-FFF2-40B4-BE49-F238E27FC236}">
                <a16:creationId xmlns:a16="http://schemas.microsoft.com/office/drawing/2014/main" id="{21D1AFFC-C256-9247-9F45-D9F29A5006A2}"/>
              </a:ext>
            </a:extLst>
          </p:cNvPr>
          <p:cNvSpPr txBox="1"/>
          <p:nvPr/>
        </p:nvSpPr>
        <p:spPr>
          <a:xfrm>
            <a:off x="3306158" y="1704601"/>
            <a:ext cx="3204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2.40</a:t>
            </a:r>
          </a:p>
        </p:txBody>
      </p:sp>
      <p:sp>
        <p:nvSpPr>
          <p:cNvPr id="80" name="文本框 79">
            <a:extLst>
              <a:ext uri="{FF2B5EF4-FFF2-40B4-BE49-F238E27FC236}">
                <a16:creationId xmlns:a16="http://schemas.microsoft.com/office/drawing/2014/main" id="{7479CF2C-43E8-BB40-8098-DBEA24967BF7}"/>
              </a:ext>
            </a:extLst>
          </p:cNvPr>
          <p:cNvSpPr txBox="1"/>
          <p:nvPr/>
        </p:nvSpPr>
        <p:spPr>
          <a:xfrm>
            <a:off x="12106158" y="1704601"/>
            <a:ext cx="3204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7.80</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84" name="文本框 83">
            <a:extLst>
              <a:ext uri="{FF2B5EF4-FFF2-40B4-BE49-F238E27FC236}">
                <a16:creationId xmlns:a16="http://schemas.microsoft.com/office/drawing/2014/main" id="{993817A3-20F1-194D-A33D-01ED6C31CA11}"/>
              </a:ext>
            </a:extLst>
          </p:cNvPr>
          <p:cNvSpPr txBox="1"/>
          <p:nvPr/>
        </p:nvSpPr>
        <p:spPr>
          <a:xfrm>
            <a:off x="11642396" y="1704601"/>
            <a:ext cx="3204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6.74</a:t>
            </a:r>
          </a:p>
        </p:txBody>
      </p:sp>
      <p:sp>
        <p:nvSpPr>
          <p:cNvPr id="85" name="文本框 84">
            <a:extLst>
              <a:ext uri="{FF2B5EF4-FFF2-40B4-BE49-F238E27FC236}">
                <a16:creationId xmlns:a16="http://schemas.microsoft.com/office/drawing/2014/main" id="{A4F5A8DA-D150-F842-A757-C6B893E845C2}"/>
              </a:ext>
            </a:extLst>
          </p:cNvPr>
          <p:cNvSpPr txBox="1"/>
          <p:nvPr/>
        </p:nvSpPr>
        <p:spPr>
          <a:xfrm>
            <a:off x="3290908" y="3540405"/>
            <a:ext cx="3204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1.47</a:t>
            </a:r>
          </a:p>
        </p:txBody>
      </p:sp>
      <p:sp>
        <p:nvSpPr>
          <p:cNvPr id="96" name="文本框 95">
            <a:extLst>
              <a:ext uri="{FF2B5EF4-FFF2-40B4-BE49-F238E27FC236}">
                <a16:creationId xmlns:a16="http://schemas.microsoft.com/office/drawing/2014/main" id="{8E5F4E6B-DC64-B643-A352-D9A3AF4F82A5}"/>
              </a:ext>
            </a:extLst>
          </p:cNvPr>
          <p:cNvSpPr txBox="1"/>
          <p:nvPr/>
        </p:nvSpPr>
        <p:spPr>
          <a:xfrm>
            <a:off x="3755800" y="3540405"/>
            <a:ext cx="3204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5.15</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100" name="文本框 99">
            <a:extLst>
              <a:ext uri="{FF2B5EF4-FFF2-40B4-BE49-F238E27FC236}">
                <a16:creationId xmlns:a16="http://schemas.microsoft.com/office/drawing/2014/main" id="{DFFA66FA-EC12-3D49-9CC4-8CFDDB7683EC}"/>
              </a:ext>
            </a:extLst>
          </p:cNvPr>
          <p:cNvSpPr txBox="1"/>
          <p:nvPr/>
        </p:nvSpPr>
        <p:spPr>
          <a:xfrm>
            <a:off x="3327307" y="3786917"/>
            <a:ext cx="320400" cy="180425"/>
          </a:xfrm>
          <a:prstGeom prst="rect">
            <a:avLst/>
          </a:prstGeom>
          <a:solidFill>
            <a:srgbClr val="D3ECB9"/>
          </a:solidFill>
        </p:spPr>
        <p:txBody>
          <a:bodyPr wrap="square" lIns="0" tIns="36000" rIns="0" bIns="36000" rtlCol="0">
            <a:spAutoFit/>
          </a:bodyPr>
          <a:lstStyle/>
          <a:p>
            <a:pPr algn="ctr"/>
            <a:r>
              <a:rPr lang="en-US" altLang="zh-CN" sz="700" dirty="0">
                <a:latin typeface="Calibri" panose="020F0502020204030204" pitchFamily="34" charset="0"/>
                <a:cs typeface="Calibri" panose="020F0502020204030204" pitchFamily="34" charset="0"/>
              </a:rPr>
              <a:t>+7.50%</a:t>
            </a:r>
            <a:endParaRPr lang="zh-CN" altLang="en-US" sz="700" dirty="0" err="1">
              <a:latin typeface="Calibri" panose="020F0502020204030204" pitchFamily="34" charset="0"/>
              <a:cs typeface="Calibri" panose="020F0502020204030204" pitchFamily="34" charset="0"/>
            </a:endParaRPr>
          </a:p>
        </p:txBody>
      </p:sp>
      <p:sp>
        <p:nvSpPr>
          <p:cNvPr id="101" name="文本框 100">
            <a:extLst>
              <a:ext uri="{FF2B5EF4-FFF2-40B4-BE49-F238E27FC236}">
                <a16:creationId xmlns:a16="http://schemas.microsoft.com/office/drawing/2014/main" id="{258C8D04-FB76-D54B-8D3D-F1C5F1FA4BB3}"/>
              </a:ext>
            </a:extLst>
          </p:cNvPr>
          <p:cNvSpPr txBox="1"/>
          <p:nvPr/>
        </p:nvSpPr>
        <p:spPr>
          <a:xfrm>
            <a:off x="3721955" y="3786917"/>
            <a:ext cx="320400" cy="180425"/>
          </a:xfrm>
          <a:prstGeom prst="rect">
            <a:avLst/>
          </a:prstGeom>
          <a:solidFill>
            <a:srgbClr val="D3ECB9"/>
          </a:solidFill>
        </p:spPr>
        <p:txBody>
          <a:bodyPr wrap="square" lIns="0" tIns="36000" rIns="0" bIns="36000" rtlCol="0">
            <a:spAutoFit/>
          </a:bodyPr>
          <a:lstStyle/>
          <a:p>
            <a:pPr algn="ctr"/>
            <a:r>
              <a:rPr lang="en-US" altLang="zh-CN" sz="700" dirty="0">
                <a:latin typeface="Calibri" panose="020F0502020204030204" pitchFamily="34" charset="0"/>
                <a:cs typeface="Calibri" panose="020F0502020204030204" pitchFamily="34" charset="0"/>
              </a:rPr>
              <a:t>+93.4%</a:t>
            </a:r>
            <a:endParaRPr lang="zh-CN" altLang="en-US" sz="700" dirty="0" err="1">
              <a:latin typeface="Calibri" panose="020F0502020204030204" pitchFamily="34" charset="0"/>
              <a:cs typeface="Calibri" panose="020F0502020204030204" pitchFamily="34" charset="0"/>
            </a:endParaRPr>
          </a:p>
        </p:txBody>
      </p:sp>
      <p:sp>
        <p:nvSpPr>
          <p:cNvPr id="102" name="文本框 101">
            <a:extLst>
              <a:ext uri="{FF2B5EF4-FFF2-40B4-BE49-F238E27FC236}">
                <a16:creationId xmlns:a16="http://schemas.microsoft.com/office/drawing/2014/main" id="{461BB893-FB6D-AA4A-BEB2-B647471F5F6D}"/>
              </a:ext>
            </a:extLst>
          </p:cNvPr>
          <p:cNvSpPr txBox="1"/>
          <p:nvPr/>
        </p:nvSpPr>
        <p:spPr>
          <a:xfrm>
            <a:off x="11636559" y="3542912"/>
            <a:ext cx="320400" cy="1908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8.25</a:t>
            </a:r>
          </a:p>
        </p:txBody>
      </p:sp>
      <p:sp>
        <p:nvSpPr>
          <p:cNvPr id="103" name="文本框 102">
            <a:extLst>
              <a:ext uri="{FF2B5EF4-FFF2-40B4-BE49-F238E27FC236}">
                <a16:creationId xmlns:a16="http://schemas.microsoft.com/office/drawing/2014/main" id="{5D912050-78F2-B84A-AC60-592541694F5E}"/>
              </a:ext>
            </a:extLst>
          </p:cNvPr>
          <p:cNvSpPr txBox="1"/>
          <p:nvPr/>
        </p:nvSpPr>
        <p:spPr>
          <a:xfrm>
            <a:off x="12103566" y="3542912"/>
            <a:ext cx="320400" cy="1908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0.91</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104" name="文本框 103">
            <a:extLst>
              <a:ext uri="{FF2B5EF4-FFF2-40B4-BE49-F238E27FC236}">
                <a16:creationId xmlns:a16="http://schemas.microsoft.com/office/drawing/2014/main" id="{45C9BE17-4A84-D647-9959-A92C8D8E2CCD}"/>
              </a:ext>
            </a:extLst>
          </p:cNvPr>
          <p:cNvSpPr txBox="1"/>
          <p:nvPr/>
        </p:nvSpPr>
        <p:spPr>
          <a:xfrm>
            <a:off x="11668200" y="3786917"/>
            <a:ext cx="320400" cy="180425"/>
          </a:xfrm>
          <a:prstGeom prst="rect">
            <a:avLst/>
          </a:prstGeom>
          <a:solidFill>
            <a:srgbClr val="FFC000"/>
          </a:solidFill>
        </p:spPr>
        <p:txBody>
          <a:bodyPr wrap="square" lIns="0" tIns="36000" rIns="0" bIns="36000" rtlCol="0">
            <a:spAutoFit/>
          </a:bodyPr>
          <a:lstStyle/>
          <a:p>
            <a:pPr algn="ctr"/>
            <a:r>
              <a:rPr lang="en-US" altLang="zh-CN" sz="700" dirty="0">
                <a:latin typeface="Calibri" panose="020F0502020204030204" pitchFamily="34" charset="0"/>
                <a:cs typeface="Calibri" panose="020F0502020204030204" pitchFamily="34" charset="0"/>
              </a:rPr>
              <a:t>-22.5%</a:t>
            </a:r>
            <a:endParaRPr lang="zh-CN" altLang="en-US" sz="700" dirty="0" err="1">
              <a:latin typeface="Calibri" panose="020F0502020204030204" pitchFamily="34" charset="0"/>
              <a:cs typeface="Calibri" panose="020F0502020204030204" pitchFamily="34" charset="0"/>
            </a:endParaRPr>
          </a:p>
        </p:txBody>
      </p:sp>
      <p:sp>
        <p:nvSpPr>
          <p:cNvPr id="105" name="文本框 104">
            <a:extLst>
              <a:ext uri="{FF2B5EF4-FFF2-40B4-BE49-F238E27FC236}">
                <a16:creationId xmlns:a16="http://schemas.microsoft.com/office/drawing/2014/main" id="{DB8088AA-7722-DA43-8674-545987668587}"/>
              </a:ext>
            </a:extLst>
          </p:cNvPr>
          <p:cNvSpPr txBox="1"/>
          <p:nvPr/>
        </p:nvSpPr>
        <p:spPr>
          <a:xfrm>
            <a:off x="12078363" y="3786917"/>
            <a:ext cx="320400" cy="180425"/>
          </a:xfrm>
          <a:prstGeom prst="rect">
            <a:avLst/>
          </a:prstGeom>
          <a:solidFill>
            <a:srgbClr val="D3ECB9"/>
          </a:solidFill>
        </p:spPr>
        <p:txBody>
          <a:bodyPr wrap="square" lIns="0" tIns="36000" rIns="0" bIns="36000" rtlCol="0">
            <a:spAutoFit/>
          </a:bodyPr>
          <a:lstStyle/>
          <a:p>
            <a:pPr algn="ctr"/>
            <a:r>
              <a:rPr lang="en-US" altLang="zh-CN" sz="700" dirty="0">
                <a:latin typeface="Calibri" panose="020F0502020204030204" pitchFamily="34" charset="0"/>
                <a:cs typeface="Calibri" panose="020F0502020204030204" pitchFamily="34" charset="0"/>
              </a:rPr>
              <a:t>+38.7%</a:t>
            </a:r>
            <a:endParaRPr lang="zh-CN" altLang="en-US" sz="700" dirty="0" err="1">
              <a:latin typeface="Calibri" panose="020F0502020204030204" pitchFamily="34" charset="0"/>
              <a:cs typeface="Calibri" panose="020F0502020204030204" pitchFamily="34" charset="0"/>
            </a:endParaRPr>
          </a:p>
        </p:txBody>
      </p:sp>
      <p:sp>
        <p:nvSpPr>
          <p:cNvPr id="106" name="矩形 105">
            <a:extLst>
              <a:ext uri="{FF2B5EF4-FFF2-40B4-BE49-F238E27FC236}">
                <a16:creationId xmlns:a16="http://schemas.microsoft.com/office/drawing/2014/main" id="{AAD26E2B-CFDF-F942-81E0-C5412C1E06C8}"/>
              </a:ext>
            </a:extLst>
          </p:cNvPr>
          <p:cNvSpPr/>
          <p:nvPr/>
        </p:nvSpPr>
        <p:spPr>
          <a:xfrm>
            <a:off x="1304179" y="5438891"/>
            <a:ext cx="243111" cy="60933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07" name="矩形 106">
            <a:extLst>
              <a:ext uri="{FF2B5EF4-FFF2-40B4-BE49-F238E27FC236}">
                <a16:creationId xmlns:a16="http://schemas.microsoft.com/office/drawing/2014/main" id="{C59EB861-7319-F745-8E27-85E01D604E79}"/>
              </a:ext>
            </a:extLst>
          </p:cNvPr>
          <p:cNvSpPr/>
          <p:nvPr/>
        </p:nvSpPr>
        <p:spPr>
          <a:xfrm>
            <a:off x="1853368" y="5558132"/>
            <a:ext cx="309365" cy="68909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08" name="矩形 107">
            <a:extLst>
              <a:ext uri="{FF2B5EF4-FFF2-40B4-BE49-F238E27FC236}">
                <a16:creationId xmlns:a16="http://schemas.microsoft.com/office/drawing/2014/main" id="{2D7747B7-1829-C740-B554-3C1D205F1DB3}"/>
              </a:ext>
            </a:extLst>
          </p:cNvPr>
          <p:cNvSpPr/>
          <p:nvPr/>
        </p:nvSpPr>
        <p:spPr>
          <a:xfrm>
            <a:off x="2608049" y="5386494"/>
            <a:ext cx="613785" cy="68909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11" name="矩形 110">
            <a:extLst>
              <a:ext uri="{FF2B5EF4-FFF2-40B4-BE49-F238E27FC236}">
                <a16:creationId xmlns:a16="http://schemas.microsoft.com/office/drawing/2014/main" id="{1E362257-5ED8-FC46-BEDB-D0BB13922E8B}"/>
              </a:ext>
            </a:extLst>
          </p:cNvPr>
          <p:cNvSpPr/>
          <p:nvPr/>
        </p:nvSpPr>
        <p:spPr>
          <a:xfrm>
            <a:off x="1304179" y="3551687"/>
            <a:ext cx="243111" cy="60933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14" name="矩形 113">
            <a:extLst>
              <a:ext uri="{FF2B5EF4-FFF2-40B4-BE49-F238E27FC236}">
                <a16:creationId xmlns:a16="http://schemas.microsoft.com/office/drawing/2014/main" id="{D2369E3C-CFD3-EE4A-882F-DE711F733544}"/>
              </a:ext>
            </a:extLst>
          </p:cNvPr>
          <p:cNvSpPr/>
          <p:nvPr/>
        </p:nvSpPr>
        <p:spPr>
          <a:xfrm>
            <a:off x="1305181" y="1798145"/>
            <a:ext cx="243111" cy="60933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13" name="椭圆 112">
            <a:extLst>
              <a:ext uri="{FF2B5EF4-FFF2-40B4-BE49-F238E27FC236}">
                <a16:creationId xmlns:a16="http://schemas.microsoft.com/office/drawing/2014/main" id="{44EF9A16-A0C1-FD4F-858B-7DB00A18BAEC}"/>
              </a:ext>
            </a:extLst>
          </p:cNvPr>
          <p:cNvSpPr/>
          <p:nvPr/>
        </p:nvSpPr>
        <p:spPr>
          <a:xfrm>
            <a:off x="1350151" y="1721033"/>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10" name="椭圆 109">
            <a:extLst>
              <a:ext uri="{FF2B5EF4-FFF2-40B4-BE49-F238E27FC236}">
                <a16:creationId xmlns:a16="http://schemas.microsoft.com/office/drawing/2014/main" id="{E743D8E8-C6F2-974B-8E6F-6FF992F7B3BF}"/>
              </a:ext>
            </a:extLst>
          </p:cNvPr>
          <p:cNvSpPr/>
          <p:nvPr/>
        </p:nvSpPr>
        <p:spPr>
          <a:xfrm>
            <a:off x="1349149" y="3474575"/>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26" name="椭圆 125">
            <a:extLst>
              <a:ext uri="{FF2B5EF4-FFF2-40B4-BE49-F238E27FC236}">
                <a16:creationId xmlns:a16="http://schemas.microsoft.com/office/drawing/2014/main" id="{7BDAF77C-2B11-D341-AD3A-97CBC4317B47}"/>
              </a:ext>
            </a:extLst>
          </p:cNvPr>
          <p:cNvSpPr/>
          <p:nvPr/>
        </p:nvSpPr>
        <p:spPr>
          <a:xfrm>
            <a:off x="1349149" y="5361779"/>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24" name="椭圆 123">
            <a:extLst>
              <a:ext uri="{FF2B5EF4-FFF2-40B4-BE49-F238E27FC236}">
                <a16:creationId xmlns:a16="http://schemas.microsoft.com/office/drawing/2014/main" id="{CE41F906-E836-8742-AE2A-D7D7B1FF414B}"/>
              </a:ext>
            </a:extLst>
          </p:cNvPr>
          <p:cNvSpPr/>
          <p:nvPr/>
        </p:nvSpPr>
        <p:spPr>
          <a:xfrm>
            <a:off x="1916707" y="5467132"/>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15" name="矩形 114">
            <a:extLst>
              <a:ext uri="{FF2B5EF4-FFF2-40B4-BE49-F238E27FC236}">
                <a16:creationId xmlns:a16="http://schemas.microsoft.com/office/drawing/2014/main" id="{86448C4D-923F-EA48-B616-F85ED87E2785}"/>
              </a:ext>
            </a:extLst>
          </p:cNvPr>
          <p:cNvSpPr/>
          <p:nvPr/>
        </p:nvSpPr>
        <p:spPr>
          <a:xfrm>
            <a:off x="1855196" y="3699847"/>
            <a:ext cx="309365" cy="68909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16" name="椭圆 115">
            <a:extLst>
              <a:ext uri="{FF2B5EF4-FFF2-40B4-BE49-F238E27FC236}">
                <a16:creationId xmlns:a16="http://schemas.microsoft.com/office/drawing/2014/main" id="{D3CE2D8E-60D8-0443-AC57-6A4D0506562B}"/>
              </a:ext>
            </a:extLst>
          </p:cNvPr>
          <p:cNvSpPr/>
          <p:nvPr/>
        </p:nvSpPr>
        <p:spPr>
          <a:xfrm>
            <a:off x="1918535" y="3608847"/>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17" name="矩形 116">
            <a:extLst>
              <a:ext uri="{FF2B5EF4-FFF2-40B4-BE49-F238E27FC236}">
                <a16:creationId xmlns:a16="http://schemas.microsoft.com/office/drawing/2014/main" id="{4B07D988-BB35-FA4F-99D2-74A5B57D2807}"/>
              </a:ext>
            </a:extLst>
          </p:cNvPr>
          <p:cNvSpPr/>
          <p:nvPr/>
        </p:nvSpPr>
        <p:spPr>
          <a:xfrm>
            <a:off x="1852802" y="1861950"/>
            <a:ext cx="309365" cy="68909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18" name="椭圆 117">
            <a:extLst>
              <a:ext uri="{FF2B5EF4-FFF2-40B4-BE49-F238E27FC236}">
                <a16:creationId xmlns:a16="http://schemas.microsoft.com/office/drawing/2014/main" id="{04278715-FE9F-F349-826E-D587BDFEE909}"/>
              </a:ext>
            </a:extLst>
          </p:cNvPr>
          <p:cNvSpPr/>
          <p:nvPr/>
        </p:nvSpPr>
        <p:spPr>
          <a:xfrm>
            <a:off x="1916141" y="1770950"/>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20" name="矩形 119">
            <a:extLst>
              <a:ext uri="{FF2B5EF4-FFF2-40B4-BE49-F238E27FC236}">
                <a16:creationId xmlns:a16="http://schemas.microsoft.com/office/drawing/2014/main" id="{EB8E6C1D-EFF3-CC47-A53C-85368C012AC6}"/>
              </a:ext>
            </a:extLst>
          </p:cNvPr>
          <p:cNvSpPr/>
          <p:nvPr/>
        </p:nvSpPr>
        <p:spPr>
          <a:xfrm>
            <a:off x="2610815" y="3608847"/>
            <a:ext cx="615603" cy="68909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latin typeface="Calibri" panose="020F0502020204030204" pitchFamily="34" charset="0"/>
              <a:cs typeface="Calibri" panose="020F0502020204030204" pitchFamily="34" charset="0"/>
            </a:endParaRPr>
          </a:p>
        </p:txBody>
      </p:sp>
      <p:sp>
        <p:nvSpPr>
          <p:cNvPr id="143" name="椭圆 142">
            <a:extLst>
              <a:ext uri="{FF2B5EF4-FFF2-40B4-BE49-F238E27FC236}">
                <a16:creationId xmlns:a16="http://schemas.microsoft.com/office/drawing/2014/main" id="{914937E1-D1C2-DB4B-B36B-6C32FC522DCB}"/>
              </a:ext>
            </a:extLst>
          </p:cNvPr>
          <p:cNvSpPr/>
          <p:nvPr/>
        </p:nvSpPr>
        <p:spPr>
          <a:xfrm>
            <a:off x="2842700" y="5303836"/>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3</a:t>
            </a:r>
            <a:endParaRPr lang="zh-CN" altLang="en-US" sz="800" dirty="0">
              <a:solidFill>
                <a:schemeClr val="bg1"/>
              </a:solidFill>
            </a:endParaRPr>
          </a:p>
        </p:txBody>
      </p:sp>
      <p:sp>
        <p:nvSpPr>
          <p:cNvPr id="119" name="椭圆 118">
            <a:extLst>
              <a:ext uri="{FF2B5EF4-FFF2-40B4-BE49-F238E27FC236}">
                <a16:creationId xmlns:a16="http://schemas.microsoft.com/office/drawing/2014/main" id="{998F91BB-B65A-C04D-AB97-B88504C88C66}"/>
              </a:ext>
            </a:extLst>
          </p:cNvPr>
          <p:cNvSpPr/>
          <p:nvPr/>
        </p:nvSpPr>
        <p:spPr>
          <a:xfrm>
            <a:off x="2845466" y="3526189"/>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3</a:t>
            </a:r>
            <a:endParaRPr lang="zh-CN" altLang="en-US" sz="800" dirty="0">
              <a:solidFill>
                <a:schemeClr val="bg1"/>
              </a:solidFill>
            </a:endParaRPr>
          </a:p>
        </p:txBody>
      </p:sp>
      <p:sp>
        <p:nvSpPr>
          <p:cNvPr id="127" name="矩形 126">
            <a:extLst>
              <a:ext uri="{FF2B5EF4-FFF2-40B4-BE49-F238E27FC236}">
                <a16:creationId xmlns:a16="http://schemas.microsoft.com/office/drawing/2014/main" id="{2B9C580B-2AA0-7642-A53D-AAB2DB7BFCDF}"/>
              </a:ext>
            </a:extLst>
          </p:cNvPr>
          <p:cNvSpPr/>
          <p:nvPr/>
        </p:nvSpPr>
        <p:spPr>
          <a:xfrm>
            <a:off x="3738564" y="4015861"/>
            <a:ext cx="290288" cy="762487"/>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8" name="矩形 127">
            <a:extLst>
              <a:ext uri="{FF2B5EF4-FFF2-40B4-BE49-F238E27FC236}">
                <a16:creationId xmlns:a16="http://schemas.microsoft.com/office/drawing/2014/main" id="{40FEE7E9-8897-9C48-AD1E-4A46026D7FD1}"/>
              </a:ext>
            </a:extLst>
          </p:cNvPr>
          <p:cNvSpPr/>
          <p:nvPr/>
        </p:nvSpPr>
        <p:spPr>
          <a:xfrm>
            <a:off x="3754503" y="5865978"/>
            <a:ext cx="290288" cy="762487"/>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9" name="文本框 128">
            <a:extLst>
              <a:ext uri="{FF2B5EF4-FFF2-40B4-BE49-F238E27FC236}">
                <a16:creationId xmlns:a16="http://schemas.microsoft.com/office/drawing/2014/main" id="{03EF6F78-F2B6-234B-91F2-BC547CC1E37E}"/>
              </a:ext>
            </a:extLst>
          </p:cNvPr>
          <p:cNvSpPr txBox="1"/>
          <p:nvPr/>
        </p:nvSpPr>
        <p:spPr>
          <a:xfrm>
            <a:off x="3293751" y="5291380"/>
            <a:ext cx="3204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3.35</a:t>
            </a:r>
          </a:p>
        </p:txBody>
      </p:sp>
      <p:sp>
        <p:nvSpPr>
          <p:cNvPr id="130" name="文本框 129">
            <a:extLst>
              <a:ext uri="{FF2B5EF4-FFF2-40B4-BE49-F238E27FC236}">
                <a16:creationId xmlns:a16="http://schemas.microsoft.com/office/drawing/2014/main" id="{70BC0524-3F6B-1D4C-89F1-6FD68519046C}"/>
              </a:ext>
            </a:extLst>
          </p:cNvPr>
          <p:cNvSpPr txBox="1"/>
          <p:nvPr/>
        </p:nvSpPr>
        <p:spPr>
          <a:xfrm>
            <a:off x="3752007" y="5288235"/>
            <a:ext cx="3204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4.56</a:t>
            </a:r>
          </a:p>
        </p:txBody>
      </p:sp>
      <p:sp>
        <p:nvSpPr>
          <p:cNvPr id="131" name="文本框 130">
            <a:extLst>
              <a:ext uri="{FF2B5EF4-FFF2-40B4-BE49-F238E27FC236}">
                <a16:creationId xmlns:a16="http://schemas.microsoft.com/office/drawing/2014/main" id="{07C1EAA2-1964-5A42-94FA-E072DCFE2013}"/>
              </a:ext>
            </a:extLst>
          </p:cNvPr>
          <p:cNvSpPr txBox="1"/>
          <p:nvPr/>
        </p:nvSpPr>
        <p:spPr>
          <a:xfrm>
            <a:off x="3326355" y="5544052"/>
            <a:ext cx="320400" cy="180425"/>
          </a:xfrm>
          <a:prstGeom prst="rect">
            <a:avLst/>
          </a:prstGeom>
          <a:solidFill>
            <a:srgbClr val="FFC000"/>
          </a:solidFill>
        </p:spPr>
        <p:txBody>
          <a:bodyPr wrap="square" lIns="0" tIns="36000" rIns="0" bIns="36000" rtlCol="0">
            <a:spAutoFit/>
          </a:bodyPr>
          <a:lstStyle/>
          <a:p>
            <a:pPr algn="ctr"/>
            <a:r>
              <a:rPr lang="en-US" altLang="zh-CN" sz="700" dirty="0">
                <a:latin typeface="Calibri" panose="020F0502020204030204" pitchFamily="34" charset="0"/>
                <a:cs typeface="Calibri" panose="020F0502020204030204" pitchFamily="34" charset="0"/>
              </a:rPr>
              <a:t>-16.4%</a:t>
            </a:r>
            <a:endParaRPr lang="zh-CN" altLang="en-US" sz="700" dirty="0" err="1">
              <a:latin typeface="Calibri" panose="020F0502020204030204" pitchFamily="34" charset="0"/>
              <a:cs typeface="Calibri" panose="020F0502020204030204" pitchFamily="34" charset="0"/>
            </a:endParaRPr>
          </a:p>
        </p:txBody>
      </p:sp>
      <p:sp>
        <p:nvSpPr>
          <p:cNvPr id="132" name="文本框 131">
            <a:extLst>
              <a:ext uri="{FF2B5EF4-FFF2-40B4-BE49-F238E27FC236}">
                <a16:creationId xmlns:a16="http://schemas.microsoft.com/office/drawing/2014/main" id="{0D816FD1-9A5B-0547-B2D2-EAA57AD9F23F}"/>
              </a:ext>
            </a:extLst>
          </p:cNvPr>
          <p:cNvSpPr txBox="1"/>
          <p:nvPr/>
        </p:nvSpPr>
        <p:spPr>
          <a:xfrm>
            <a:off x="3720200" y="5540170"/>
            <a:ext cx="320400" cy="180425"/>
          </a:xfrm>
          <a:prstGeom prst="rect">
            <a:avLst/>
          </a:prstGeom>
          <a:solidFill>
            <a:srgbClr val="D3ECB9"/>
          </a:solidFill>
        </p:spPr>
        <p:txBody>
          <a:bodyPr wrap="square" lIns="0" tIns="36000" rIns="0" bIns="36000" rtlCol="0">
            <a:spAutoFit/>
          </a:bodyPr>
          <a:lstStyle/>
          <a:p>
            <a:pPr algn="ctr"/>
            <a:r>
              <a:rPr lang="en-US" altLang="zh-CN" sz="700" dirty="0">
                <a:latin typeface="Calibri" panose="020F0502020204030204" pitchFamily="34" charset="0"/>
                <a:cs typeface="Calibri" panose="020F0502020204030204" pitchFamily="34" charset="0"/>
              </a:rPr>
              <a:t>+11.5%</a:t>
            </a:r>
            <a:endParaRPr lang="zh-CN" altLang="en-US" sz="700" dirty="0" err="1">
              <a:latin typeface="Calibri" panose="020F0502020204030204" pitchFamily="34" charset="0"/>
              <a:cs typeface="Calibri" panose="020F0502020204030204" pitchFamily="34" charset="0"/>
            </a:endParaRPr>
          </a:p>
        </p:txBody>
      </p:sp>
      <p:sp>
        <p:nvSpPr>
          <p:cNvPr id="138" name="矩形 137">
            <a:extLst>
              <a:ext uri="{FF2B5EF4-FFF2-40B4-BE49-F238E27FC236}">
                <a16:creationId xmlns:a16="http://schemas.microsoft.com/office/drawing/2014/main" id="{F79822A9-5E4A-0946-A91F-626323B289BF}"/>
              </a:ext>
            </a:extLst>
          </p:cNvPr>
          <p:cNvSpPr/>
          <p:nvPr/>
        </p:nvSpPr>
        <p:spPr>
          <a:xfrm>
            <a:off x="10692956" y="2084719"/>
            <a:ext cx="308187" cy="43140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54" name="椭圆 153">
            <a:extLst>
              <a:ext uri="{FF2B5EF4-FFF2-40B4-BE49-F238E27FC236}">
                <a16:creationId xmlns:a16="http://schemas.microsoft.com/office/drawing/2014/main" id="{3E36AADF-5885-774E-872A-A3C28C40A9E7}"/>
              </a:ext>
            </a:extLst>
          </p:cNvPr>
          <p:cNvSpPr/>
          <p:nvPr/>
        </p:nvSpPr>
        <p:spPr>
          <a:xfrm>
            <a:off x="10768166" y="1991039"/>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2</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41" name="矩形 140">
            <a:extLst>
              <a:ext uri="{FF2B5EF4-FFF2-40B4-BE49-F238E27FC236}">
                <a16:creationId xmlns:a16="http://schemas.microsoft.com/office/drawing/2014/main" id="{17209B1B-0D6A-644E-AF18-034B988F0C9A}"/>
              </a:ext>
            </a:extLst>
          </p:cNvPr>
          <p:cNvSpPr/>
          <p:nvPr/>
        </p:nvSpPr>
        <p:spPr>
          <a:xfrm>
            <a:off x="10211060" y="3822349"/>
            <a:ext cx="308187" cy="43140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42" name="椭圆 141">
            <a:extLst>
              <a:ext uri="{FF2B5EF4-FFF2-40B4-BE49-F238E27FC236}">
                <a16:creationId xmlns:a16="http://schemas.microsoft.com/office/drawing/2014/main" id="{7246917B-8287-AC4E-B709-85A51BF10614}"/>
              </a:ext>
            </a:extLst>
          </p:cNvPr>
          <p:cNvSpPr/>
          <p:nvPr/>
        </p:nvSpPr>
        <p:spPr>
          <a:xfrm>
            <a:off x="10289254" y="3731800"/>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44" name="矩形 143">
            <a:extLst>
              <a:ext uri="{FF2B5EF4-FFF2-40B4-BE49-F238E27FC236}">
                <a16:creationId xmlns:a16="http://schemas.microsoft.com/office/drawing/2014/main" id="{3A3B8013-2F67-5C4F-AF4B-AAA5977611AB}"/>
              </a:ext>
            </a:extLst>
          </p:cNvPr>
          <p:cNvSpPr/>
          <p:nvPr/>
        </p:nvSpPr>
        <p:spPr>
          <a:xfrm>
            <a:off x="10693652" y="3930997"/>
            <a:ext cx="308187" cy="43140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45" name="椭圆 144">
            <a:extLst>
              <a:ext uri="{FF2B5EF4-FFF2-40B4-BE49-F238E27FC236}">
                <a16:creationId xmlns:a16="http://schemas.microsoft.com/office/drawing/2014/main" id="{1D272DA3-C552-594D-A382-E4B45B638CCD}"/>
              </a:ext>
            </a:extLst>
          </p:cNvPr>
          <p:cNvSpPr/>
          <p:nvPr/>
        </p:nvSpPr>
        <p:spPr>
          <a:xfrm>
            <a:off x="10768862" y="3837317"/>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2</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47" name="矩形 146">
            <a:extLst>
              <a:ext uri="{FF2B5EF4-FFF2-40B4-BE49-F238E27FC236}">
                <a16:creationId xmlns:a16="http://schemas.microsoft.com/office/drawing/2014/main" id="{A202B207-B3B6-DD4D-B985-920C38F2C60C}"/>
              </a:ext>
            </a:extLst>
          </p:cNvPr>
          <p:cNvSpPr/>
          <p:nvPr/>
        </p:nvSpPr>
        <p:spPr>
          <a:xfrm>
            <a:off x="12088002" y="2280081"/>
            <a:ext cx="391870" cy="54633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50" name="矩形 149">
            <a:extLst>
              <a:ext uri="{FF2B5EF4-FFF2-40B4-BE49-F238E27FC236}">
                <a16:creationId xmlns:a16="http://schemas.microsoft.com/office/drawing/2014/main" id="{1B04920C-498F-E142-B1FB-6441A2C6092C}"/>
              </a:ext>
            </a:extLst>
          </p:cNvPr>
          <p:cNvSpPr/>
          <p:nvPr/>
        </p:nvSpPr>
        <p:spPr>
          <a:xfrm>
            <a:off x="12091628" y="4080432"/>
            <a:ext cx="391870" cy="54633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Tree>
    <p:extLst>
      <p:ext uri="{BB962C8B-B14F-4D97-AF65-F5344CB8AC3E}">
        <p14:creationId xmlns:p14="http://schemas.microsoft.com/office/powerpoint/2010/main" val="2190579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图表 82">
            <a:extLst>
              <a:ext uri="{FF2B5EF4-FFF2-40B4-BE49-F238E27FC236}">
                <a16:creationId xmlns:a16="http://schemas.microsoft.com/office/drawing/2014/main" id="{A9AA486A-FF70-5D42-A912-D8E5462C6B23}"/>
              </a:ext>
            </a:extLst>
          </p:cNvPr>
          <p:cNvGraphicFramePr/>
          <p:nvPr>
            <p:extLst>
              <p:ext uri="{D42A27DB-BD31-4B8C-83A1-F6EECF244321}">
                <p14:modId xmlns:p14="http://schemas.microsoft.com/office/powerpoint/2010/main" val="1526595211"/>
              </p:ext>
            </p:extLst>
          </p:nvPr>
        </p:nvGraphicFramePr>
        <p:xfrm>
          <a:off x="8699375" y="3456562"/>
          <a:ext cx="3799798" cy="1623110"/>
        </p:xfrm>
        <a:graphic>
          <a:graphicData uri="http://schemas.openxmlformats.org/drawingml/2006/chart">
            <c:chart xmlns:c="http://schemas.openxmlformats.org/drawingml/2006/chart" xmlns:r="http://schemas.openxmlformats.org/officeDocument/2006/relationships" r:id="rId3"/>
          </a:graphicData>
        </a:graphic>
      </p:graphicFrame>
      <p:sp>
        <p:nvSpPr>
          <p:cNvPr id="2" name="标题 1">
            <a:extLst>
              <a:ext uri="{FF2B5EF4-FFF2-40B4-BE49-F238E27FC236}">
                <a16:creationId xmlns:a16="http://schemas.microsoft.com/office/drawing/2014/main" id="{54573623-7222-E341-904F-7C64ECF80355}"/>
              </a:ext>
            </a:extLst>
          </p:cNvPr>
          <p:cNvSpPr>
            <a:spLocks noGrp="1"/>
          </p:cNvSpPr>
          <p:nvPr>
            <p:ph type="title"/>
          </p:nvPr>
        </p:nvSpPr>
        <p:spPr/>
        <p:txBody>
          <a:bodyPr/>
          <a:lstStyle/>
          <a:p>
            <a:r>
              <a:rPr kumimoji="1" lang="en-US" altLang="zh-CN" sz="2800" dirty="0"/>
              <a:t>Share price of DIS is sensitive to the public sentiment and financial data has unstable effect on prediction</a:t>
            </a:r>
            <a:endParaRPr kumimoji="1" lang="zh-CN" altLang="en-US" sz="2800" dirty="0"/>
          </a:p>
        </p:txBody>
      </p:sp>
      <p:sp>
        <p:nvSpPr>
          <p:cNvPr id="53" name="TextBox 58">
            <a:extLst>
              <a:ext uri="{FF2B5EF4-FFF2-40B4-BE49-F238E27FC236}">
                <a16:creationId xmlns:a16="http://schemas.microsoft.com/office/drawing/2014/main" id="{2F07C31D-7541-2A45-B944-87CEA4981202}"/>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odeling: </a:t>
            </a:r>
            <a:r>
              <a:rPr lang="en-US" altLang="zh-CN" sz="1600" dirty="0">
                <a:solidFill>
                  <a:schemeClr val="accent6"/>
                </a:solidFill>
                <a:latin typeface="Calibri" panose="020F0502020204030204" pitchFamily="34" charset="0"/>
                <a:cs typeface="Calibri" panose="020F0502020204030204" pitchFamily="34" charset="0"/>
              </a:rPr>
              <a:t>Logics &amp; Structure  </a:t>
            </a:r>
            <a:r>
              <a:rPr lang="en-US" altLang="zh-CN" sz="1600" b="1" dirty="0">
                <a:latin typeface="Calibri" panose="020F0502020204030204" pitchFamily="34" charset="0"/>
                <a:cs typeface="Calibri" panose="020F0502020204030204" pitchFamily="34" charset="0"/>
                <a:sym typeface="Wingdings" pitchFamily="2" charset="2"/>
              </a:rPr>
              <a:t> Result Analysis (DIS)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Applications</a:t>
            </a:r>
            <a:endParaRPr lang="zh-CN" altLang="en-US" sz="1600" dirty="0">
              <a:solidFill>
                <a:schemeClr val="accent6"/>
              </a:solidFill>
              <a:latin typeface="Calibri" panose="020F0502020204030204" pitchFamily="34" charset="0"/>
              <a:cs typeface="Calibri" panose="020F0502020204030204" pitchFamily="34" charset="0"/>
            </a:endParaRPr>
          </a:p>
        </p:txBody>
      </p:sp>
      <p:sp>
        <p:nvSpPr>
          <p:cNvPr id="58" name="矩形 57">
            <a:extLst>
              <a:ext uri="{FF2B5EF4-FFF2-40B4-BE49-F238E27FC236}">
                <a16:creationId xmlns:a16="http://schemas.microsoft.com/office/drawing/2014/main" id="{1A21F43C-B94D-4047-999F-0F0530B6C7F1}"/>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3" name="椭圆 2">
            <a:extLst>
              <a:ext uri="{FF2B5EF4-FFF2-40B4-BE49-F238E27FC236}">
                <a16:creationId xmlns:a16="http://schemas.microsoft.com/office/drawing/2014/main" id="{CBF5EFAD-99FB-1C43-8B37-A4D8DCE09D43}"/>
              </a:ext>
            </a:extLst>
          </p:cNvPr>
          <p:cNvSpPr/>
          <p:nvPr/>
        </p:nvSpPr>
        <p:spPr>
          <a:xfrm>
            <a:off x="323471" y="13430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49" name="矩形 48">
            <a:extLst>
              <a:ext uri="{FF2B5EF4-FFF2-40B4-BE49-F238E27FC236}">
                <a16:creationId xmlns:a16="http://schemas.microsoft.com/office/drawing/2014/main" id="{052A432C-1815-2142-B543-FFE881202898}"/>
              </a:ext>
            </a:extLst>
          </p:cNvPr>
          <p:cNvSpPr/>
          <p:nvPr/>
        </p:nvSpPr>
        <p:spPr>
          <a:xfrm>
            <a:off x="668213" y="1361876"/>
            <a:ext cx="1011600" cy="232298"/>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graphicFrame>
        <p:nvGraphicFramePr>
          <p:cNvPr id="52" name="图表 51">
            <a:extLst>
              <a:ext uri="{FF2B5EF4-FFF2-40B4-BE49-F238E27FC236}">
                <a16:creationId xmlns:a16="http://schemas.microsoft.com/office/drawing/2014/main" id="{D3D86AE5-A792-D545-8F51-1B7CAE155251}"/>
              </a:ext>
            </a:extLst>
          </p:cNvPr>
          <p:cNvGraphicFramePr/>
          <p:nvPr>
            <p:extLst>
              <p:ext uri="{D42A27DB-BD31-4B8C-83A1-F6EECF244321}">
                <p14:modId xmlns:p14="http://schemas.microsoft.com/office/powerpoint/2010/main" val="2977879568"/>
              </p:ext>
            </p:extLst>
          </p:nvPr>
        </p:nvGraphicFramePr>
        <p:xfrm>
          <a:off x="335193" y="1588990"/>
          <a:ext cx="3722400" cy="1580400"/>
        </p:xfrm>
        <a:graphic>
          <a:graphicData uri="http://schemas.openxmlformats.org/drawingml/2006/chart">
            <c:chart xmlns:c="http://schemas.openxmlformats.org/drawingml/2006/chart" xmlns:r="http://schemas.openxmlformats.org/officeDocument/2006/relationships" r:id="rId4"/>
          </a:graphicData>
        </a:graphic>
      </p:graphicFrame>
      <p:sp>
        <p:nvSpPr>
          <p:cNvPr id="55" name="椭圆 54">
            <a:extLst>
              <a:ext uri="{FF2B5EF4-FFF2-40B4-BE49-F238E27FC236}">
                <a16:creationId xmlns:a16="http://schemas.microsoft.com/office/drawing/2014/main" id="{68DC034E-9110-DC45-83FB-E077C0970281}"/>
              </a:ext>
            </a:extLst>
          </p:cNvPr>
          <p:cNvSpPr>
            <a:spLocks noChangeAspect="1"/>
          </p:cNvSpPr>
          <p:nvPr/>
        </p:nvSpPr>
        <p:spPr>
          <a:xfrm>
            <a:off x="323471" y="31929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59" name="矩形 58">
            <a:extLst>
              <a:ext uri="{FF2B5EF4-FFF2-40B4-BE49-F238E27FC236}">
                <a16:creationId xmlns:a16="http://schemas.microsoft.com/office/drawing/2014/main" id="{F8797E5F-9A05-6D47-B398-C97911EDBE9B}"/>
              </a:ext>
            </a:extLst>
          </p:cNvPr>
          <p:cNvSpPr/>
          <p:nvPr/>
        </p:nvSpPr>
        <p:spPr>
          <a:xfrm>
            <a:off x="668213" y="3212725"/>
            <a:ext cx="3037512" cy="2304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 + Financial Statemen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67" name="椭圆 66">
            <a:extLst>
              <a:ext uri="{FF2B5EF4-FFF2-40B4-BE49-F238E27FC236}">
                <a16:creationId xmlns:a16="http://schemas.microsoft.com/office/drawing/2014/main" id="{10243A70-FE13-C349-B29D-6E3C91834F27}"/>
              </a:ext>
            </a:extLst>
          </p:cNvPr>
          <p:cNvSpPr>
            <a:spLocks noChangeAspect="1"/>
          </p:cNvSpPr>
          <p:nvPr/>
        </p:nvSpPr>
        <p:spPr>
          <a:xfrm>
            <a:off x="323471" y="5033836"/>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3</a:t>
            </a:r>
          </a:p>
        </p:txBody>
      </p:sp>
      <p:sp>
        <p:nvSpPr>
          <p:cNvPr id="71" name="矩形 70">
            <a:extLst>
              <a:ext uri="{FF2B5EF4-FFF2-40B4-BE49-F238E27FC236}">
                <a16:creationId xmlns:a16="http://schemas.microsoft.com/office/drawing/2014/main" id="{1629D6EE-2376-5340-A983-FB7BD0FE276B}"/>
              </a:ext>
            </a:extLst>
          </p:cNvPr>
          <p:cNvSpPr/>
          <p:nvPr/>
        </p:nvSpPr>
        <p:spPr>
          <a:xfrm>
            <a:off x="668213" y="5042901"/>
            <a:ext cx="3406481" cy="25187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 + Financial Statements + News </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graphicFrame>
        <p:nvGraphicFramePr>
          <p:cNvPr id="72" name="图表 71">
            <a:extLst>
              <a:ext uri="{FF2B5EF4-FFF2-40B4-BE49-F238E27FC236}">
                <a16:creationId xmlns:a16="http://schemas.microsoft.com/office/drawing/2014/main" id="{9BFFFF07-35EE-C842-9C84-D989DF02DB32}"/>
              </a:ext>
            </a:extLst>
          </p:cNvPr>
          <p:cNvGraphicFramePr/>
          <p:nvPr>
            <p:extLst>
              <p:ext uri="{D42A27DB-BD31-4B8C-83A1-F6EECF244321}">
                <p14:modId xmlns:p14="http://schemas.microsoft.com/office/powerpoint/2010/main" val="3240081817"/>
              </p:ext>
            </p:extLst>
          </p:nvPr>
        </p:nvGraphicFramePr>
        <p:xfrm>
          <a:off x="335193" y="3458180"/>
          <a:ext cx="3722400" cy="164174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图表 72">
            <a:extLst>
              <a:ext uri="{FF2B5EF4-FFF2-40B4-BE49-F238E27FC236}">
                <a16:creationId xmlns:a16="http://schemas.microsoft.com/office/drawing/2014/main" id="{4F712916-F820-3C48-95A8-94E1908280F8}"/>
              </a:ext>
            </a:extLst>
          </p:cNvPr>
          <p:cNvGraphicFramePr/>
          <p:nvPr>
            <p:extLst>
              <p:ext uri="{D42A27DB-BD31-4B8C-83A1-F6EECF244321}">
                <p14:modId xmlns:p14="http://schemas.microsoft.com/office/powerpoint/2010/main" val="118970191"/>
              </p:ext>
            </p:extLst>
          </p:nvPr>
        </p:nvGraphicFramePr>
        <p:xfrm>
          <a:off x="335193" y="5305726"/>
          <a:ext cx="3722400" cy="1580400"/>
        </p:xfrm>
        <a:graphic>
          <a:graphicData uri="http://schemas.openxmlformats.org/drawingml/2006/chart">
            <c:chart xmlns:c="http://schemas.openxmlformats.org/drawingml/2006/chart" xmlns:r="http://schemas.openxmlformats.org/officeDocument/2006/relationships" r:id="rId6"/>
          </a:graphicData>
        </a:graphic>
      </p:graphicFrame>
      <p:sp>
        <p:nvSpPr>
          <p:cNvPr id="77" name="矩形 76">
            <a:extLst>
              <a:ext uri="{FF2B5EF4-FFF2-40B4-BE49-F238E27FC236}">
                <a16:creationId xmlns:a16="http://schemas.microsoft.com/office/drawing/2014/main" id="{F2AA07C0-872B-694F-A0FE-BBE9BF5796B6}"/>
              </a:ext>
            </a:extLst>
          </p:cNvPr>
          <p:cNvSpPr/>
          <p:nvPr/>
        </p:nvSpPr>
        <p:spPr>
          <a:xfrm>
            <a:off x="4079875" y="1605718"/>
            <a:ext cx="4482698" cy="1681995"/>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In general, Disney and the overall market have very similar trends before 2020. Thus, our model can catch most of the</a:t>
            </a:r>
            <a:r>
              <a:rPr kumimoji="1" lang="zh-CN" altLang="en-US" sz="1050" b="1" dirty="0">
                <a:solidFill>
                  <a:schemeClr val="accent2"/>
                </a:solidFill>
                <a:latin typeface="Calibri" panose="020F0502020204030204" pitchFamily="34" charset="0"/>
                <a:cs typeface="Calibri" panose="020F0502020204030204" pitchFamily="34" charset="0"/>
              </a:rPr>
              <a:t> </a:t>
            </a:r>
            <a:r>
              <a:rPr kumimoji="1" lang="en-US" altLang="zh-CN" sz="1050" b="1" dirty="0">
                <a:solidFill>
                  <a:schemeClr val="accent2"/>
                </a:solidFill>
                <a:latin typeface="Calibri" panose="020F0502020204030204" pitchFamily="34" charset="0"/>
                <a:cs typeface="Calibri" panose="020F0502020204030204" pitchFamily="34" charset="0"/>
              </a:rPr>
              <a:t>volatilities of DIS.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① </a:t>
            </a:r>
            <a:r>
              <a:rPr kumimoji="1" lang="en-US" altLang="zh-CN" sz="1050" i="1" dirty="0">
                <a:solidFill>
                  <a:schemeClr val="tx1"/>
                </a:solidFill>
                <a:latin typeface="Calibri" panose="020F0502020204030204" pitchFamily="34" charset="0"/>
                <a:cs typeface="Calibri" panose="020F0502020204030204" pitchFamily="34" charset="0"/>
              </a:rPr>
              <a:t>In Dec 2018</a:t>
            </a:r>
            <a:r>
              <a:rPr kumimoji="1" lang="en-US" altLang="zh-CN" sz="1050" dirty="0">
                <a:solidFill>
                  <a:schemeClr val="tx1"/>
                </a:solidFill>
                <a:latin typeface="Calibri" panose="020F0502020204030204" pitchFamily="34" charset="0"/>
                <a:cs typeface="Calibri" panose="020F0502020204030204" pitchFamily="34" charset="0"/>
              </a:rPr>
              <a:t> </a:t>
            </a:r>
            <a:r>
              <a:rPr kumimoji="1" lang="en-US" altLang="zh-CN" sz="1050" i="1" dirty="0">
                <a:solidFill>
                  <a:schemeClr val="tx1"/>
                </a:solidFill>
                <a:latin typeface="Calibri" panose="020F0502020204030204" pitchFamily="34" charset="0"/>
                <a:cs typeface="Calibri" panose="020F0502020204030204" pitchFamily="34" charset="0"/>
              </a:rPr>
              <a:t>,  </a:t>
            </a:r>
            <a:r>
              <a:rPr lang="en-US" altLang="zh-CN" sz="1050" b="1" i="1" dirty="0">
                <a:solidFill>
                  <a:schemeClr val="tx1"/>
                </a:solidFill>
                <a:latin typeface="Calibri" panose="020F0502020204030204" pitchFamily="34" charset="0"/>
                <a:cs typeface="Calibri" panose="020F0502020204030204" pitchFamily="34" charset="0"/>
              </a:rPr>
              <a:t>Retail’s steep decline </a:t>
            </a:r>
            <a:r>
              <a:rPr lang="en-US" altLang="zh-CN" sz="1050" i="1" dirty="0">
                <a:solidFill>
                  <a:schemeClr val="tx1"/>
                </a:solidFill>
                <a:latin typeface="Calibri" panose="020F0502020204030204" pitchFamily="34" charset="0"/>
                <a:cs typeface="Calibri" panose="020F0502020204030204" pitchFamily="34" charset="0"/>
              </a:rPr>
              <a:t>comes ahead of the holiday shopping season caused a downturn of the stock market. </a:t>
            </a:r>
            <a:endParaRPr kumimoji="1" lang="en-US" altLang="zh-CN" sz="1050" b="1" i="1" dirty="0">
              <a:solidFill>
                <a:schemeClr val="tx1"/>
              </a:solidFill>
              <a:latin typeface="Calibri" panose="020F0502020204030204" pitchFamily="34" charset="0"/>
              <a:cs typeface="Calibri" panose="020F0502020204030204" pitchFamily="34" charset="0"/>
            </a:endParaRPr>
          </a:p>
          <a:p>
            <a:r>
              <a:rPr kumimoji="1" lang="en-US" altLang="zh-CN" sz="1050" b="1" dirty="0">
                <a:solidFill>
                  <a:schemeClr val="accent2"/>
                </a:solidFill>
                <a:latin typeface="Calibri" panose="020F0502020204030204" pitchFamily="34" charset="0"/>
                <a:cs typeface="Calibri" panose="020F0502020204030204" pitchFamily="34" charset="0"/>
              </a:rPr>
              <a:t>In the later half of 2020, after the first round of outbreak of the pandemic, DIS</a:t>
            </a:r>
            <a:r>
              <a:rPr kumimoji="1" lang="zh-CN" altLang="en-US" sz="1050" b="1" dirty="0">
                <a:solidFill>
                  <a:schemeClr val="accent2"/>
                </a:solidFill>
                <a:latin typeface="Calibri" panose="020F0502020204030204" pitchFamily="34" charset="0"/>
                <a:cs typeface="Calibri" panose="020F0502020204030204" pitchFamily="34" charset="0"/>
              </a:rPr>
              <a:t> </a:t>
            </a:r>
            <a:r>
              <a:rPr kumimoji="1" lang="en-US" altLang="zh-CN" sz="1050" b="1" dirty="0">
                <a:solidFill>
                  <a:schemeClr val="accent2"/>
                </a:solidFill>
                <a:latin typeface="Calibri" panose="020F0502020204030204" pitchFamily="34" charset="0"/>
                <a:cs typeface="Calibri" panose="020F0502020204030204" pitchFamily="34" charset="0"/>
              </a:rPr>
              <a:t>had a surge above</a:t>
            </a:r>
            <a:r>
              <a:rPr kumimoji="1" lang="zh-CN" altLang="en-US" sz="1050" b="1" dirty="0">
                <a:solidFill>
                  <a:schemeClr val="accent2"/>
                </a:solidFill>
                <a:latin typeface="Calibri" panose="020F0502020204030204" pitchFamily="34" charset="0"/>
                <a:cs typeface="Calibri" panose="020F0502020204030204" pitchFamily="34" charset="0"/>
              </a:rPr>
              <a:t> </a:t>
            </a:r>
            <a:r>
              <a:rPr kumimoji="1" lang="en-US" altLang="zh-CN" sz="1050" b="1" dirty="0">
                <a:solidFill>
                  <a:schemeClr val="accent2"/>
                </a:solidFill>
                <a:latin typeface="Calibri" panose="020F0502020204030204" pitchFamily="34" charset="0"/>
                <a:cs typeface="Calibri" panose="020F0502020204030204" pitchFamily="34" charset="0"/>
              </a:rPr>
              <a:t>the market average level resulted from</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② The subscriber of </a:t>
            </a:r>
            <a:r>
              <a:rPr kumimoji="1" lang="en-US" altLang="zh-CN" sz="1050" b="1" dirty="0">
                <a:solidFill>
                  <a:schemeClr val="tx1"/>
                </a:solidFill>
                <a:latin typeface="Calibri" panose="020F0502020204030204" pitchFamily="34" charset="0"/>
                <a:cs typeface="Calibri" panose="020F0502020204030204" pitchFamily="34" charset="0"/>
              </a:rPr>
              <a:t>Disney+ reached 100 million</a:t>
            </a:r>
            <a:r>
              <a:rPr kumimoji="1" lang="en-US" altLang="zh-CN" sz="1050" dirty="0">
                <a:solidFill>
                  <a:schemeClr val="tx1"/>
                </a:solidFill>
                <a:latin typeface="Calibri" panose="020F0502020204030204" pitchFamily="34" charset="0"/>
                <a:cs typeface="Calibri" panose="020F0502020204030204" pitchFamily="34" charset="0"/>
              </a:rPr>
              <a:t>. Disney also expanded multiyear sports rights deals for ESPN and ESPN+. That makes DIS a good bet.</a:t>
            </a:r>
          </a:p>
          <a:p>
            <a:r>
              <a:rPr kumimoji="1" lang="en-US" altLang="zh-CN" sz="1050" b="1" dirty="0">
                <a:solidFill>
                  <a:schemeClr val="accent2"/>
                </a:solidFill>
                <a:latin typeface="Calibri" panose="020F0502020204030204" pitchFamily="34" charset="0"/>
                <a:cs typeface="Calibri" panose="020F0502020204030204" pitchFamily="34" charset="0"/>
              </a:rPr>
              <a:t>This info is</a:t>
            </a:r>
            <a:r>
              <a:rPr kumimoji="1" lang="zh-CN" altLang="en-US" sz="1050" b="1" dirty="0">
                <a:solidFill>
                  <a:schemeClr val="accent2"/>
                </a:solidFill>
                <a:latin typeface="Calibri" panose="020F0502020204030204" pitchFamily="34" charset="0"/>
                <a:cs typeface="Calibri" panose="020F0502020204030204" pitchFamily="34" charset="0"/>
              </a:rPr>
              <a:t> </a:t>
            </a:r>
            <a:r>
              <a:rPr kumimoji="1" lang="en-US" altLang="zh-CN" sz="1050" b="1" dirty="0">
                <a:solidFill>
                  <a:schemeClr val="accent2"/>
                </a:solidFill>
                <a:latin typeface="Calibri" panose="020F0502020204030204" pitchFamily="34" charset="0"/>
                <a:cs typeface="Calibri" panose="020F0502020204030204" pitchFamily="34" charset="0"/>
              </a:rPr>
              <a:t>not available in the market statistics</a:t>
            </a:r>
            <a:r>
              <a:rPr kumimoji="1" lang="zh-CN" altLang="en-US" sz="1050" b="1" dirty="0">
                <a:solidFill>
                  <a:schemeClr val="accent2"/>
                </a:solidFill>
                <a:latin typeface="Calibri" panose="020F0502020204030204" pitchFamily="34" charset="0"/>
                <a:cs typeface="Calibri" panose="020F0502020204030204" pitchFamily="34" charset="0"/>
              </a:rPr>
              <a:t> </a:t>
            </a:r>
            <a:r>
              <a:rPr kumimoji="1" lang="en-US" altLang="zh-CN" sz="1050" b="1" dirty="0">
                <a:solidFill>
                  <a:schemeClr val="accent2"/>
                </a:solidFill>
                <a:latin typeface="Calibri" panose="020F0502020204030204" pitchFamily="34" charset="0"/>
                <a:cs typeface="Calibri" panose="020F0502020204030204" pitchFamily="34" charset="0"/>
              </a:rPr>
              <a:t>which cause the model’s bad fit. Testing Part: </a:t>
            </a:r>
            <a:r>
              <a:rPr kumimoji="1" lang="en-US" altLang="zh-CN" sz="1050" dirty="0">
                <a:solidFill>
                  <a:schemeClr val="tx1"/>
                </a:solidFill>
                <a:latin typeface="Calibri" panose="020F0502020204030204" pitchFamily="34" charset="0"/>
                <a:cs typeface="Calibri" panose="020F0502020204030204" pitchFamily="34" charset="0"/>
              </a:rPr>
              <a:t>Predictions are more negative than the actual value.</a:t>
            </a:r>
            <a:endParaRPr kumimoji="1" lang="en-US" altLang="zh-CN" sz="1050" dirty="0">
              <a:solidFill>
                <a:schemeClr val="accent2"/>
              </a:solidFill>
              <a:latin typeface="Calibri" panose="020F0502020204030204" pitchFamily="34" charset="0"/>
              <a:cs typeface="Calibri" panose="020F0502020204030204" pitchFamily="34" charset="0"/>
            </a:endParaRPr>
          </a:p>
        </p:txBody>
      </p:sp>
      <p:sp>
        <p:nvSpPr>
          <p:cNvPr id="78" name="椭圆 77">
            <a:extLst>
              <a:ext uri="{FF2B5EF4-FFF2-40B4-BE49-F238E27FC236}">
                <a16:creationId xmlns:a16="http://schemas.microsoft.com/office/drawing/2014/main" id="{B85E69F8-08F3-C541-80AA-74B335BD3E6A}"/>
              </a:ext>
            </a:extLst>
          </p:cNvPr>
          <p:cNvSpPr/>
          <p:nvPr/>
        </p:nvSpPr>
        <p:spPr>
          <a:xfrm>
            <a:off x="8731412" y="13430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79" name="矩形 78">
            <a:extLst>
              <a:ext uri="{FF2B5EF4-FFF2-40B4-BE49-F238E27FC236}">
                <a16:creationId xmlns:a16="http://schemas.microsoft.com/office/drawing/2014/main" id="{FE596D74-5D5A-FD4D-A0C9-DC58790BDCAD}"/>
              </a:ext>
            </a:extLst>
          </p:cNvPr>
          <p:cNvSpPr/>
          <p:nvPr/>
        </p:nvSpPr>
        <p:spPr>
          <a:xfrm>
            <a:off x="9076154" y="1361876"/>
            <a:ext cx="3613150" cy="22659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Model without Twee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81" name="椭圆 80">
            <a:extLst>
              <a:ext uri="{FF2B5EF4-FFF2-40B4-BE49-F238E27FC236}">
                <a16:creationId xmlns:a16="http://schemas.microsoft.com/office/drawing/2014/main" id="{EA4E1064-C49F-E940-96DC-CDD5223A11EC}"/>
              </a:ext>
            </a:extLst>
          </p:cNvPr>
          <p:cNvSpPr/>
          <p:nvPr/>
        </p:nvSpPr>
        <p:spPr>
          <a:xfrm>
            <a:off x="8740773" y="3193399"/>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82" name="矩形 81">
            <a:extLst>
              <a:ext uri="{FF2B5EF4-FFF2-40B4-BE49-F238E27FC236}">
                <a16:creationId xmlns:a16="http://schemas.microsoft.com/office/drawing/2014/main" id="{D94E9244-C0AC-4A44-8798-CD696FB3EF35}"/>
              </a:ext>
            </a:extLst>
          </p:cNvPr>
          <p:cNvSpPr/>
          <p:nvPr/>
        </p:nvSpPr>
        <p:spPr>
          <a:xfrm>
            <a:off x="9085515" y="3212250"/>
            <a:ext cx="3613150" cy="22659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Model with Twee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graphicFrame>
        <p:nvGraphicFramePr>
          <p:cNvPr id="85" name="图表 84">
            <a:extLst>
              <a:ext uri="{FF2B5EF4-FFF2-40B4-BE49-F238E27FC236}">
                <a16:creationId xmlns:a16="http://schemas.microsoft.com/office/drawing/2014/main" id="{004174D3-26D1-5340-90E2-BFE818939708}"/>
              </a:ext>
            </a:extLst>
          </p:cNvPr>
          <p:cNvGraphicFramePr/>
          <p:nvPr>
            <p:extLst>
              <p:ext uri="{D42A27DB-BD31-4B8C-83A1-F6EECF244321}">
                <p14:modId xmlns:p14="http://schemas.microsoft.com/office/powerpoint/2010/main" val="3047337762"/>
              </p:ext>
            </p:extLst>
          </p:nvPr>
        </p:nvGraphicFramePr>
        <p:xfrm>
          <a:off x="8688388" y="1613025"/>
          <a:ext cx="3829429" cy="1577550"/>
        </p:xfrm>
        <a:graphic>
          <a:graphicData uri="http://schemas.openxmlformats.org/drawingml/2006/chart">
            <c:chart xmlns:c="http://schemas.openxmlformats.org/drawingml/2006/chart" xmlns:r="http://schemas.openxmlformats.org/officeDocument/2006/relationships" r:id="rId7"/>
          </a:graphicData>
        </a:graphic>
      </p:graphicFrame>
      <p:cxnSp>
        <p:nvCxnSpPr>
          <p:cNvPr id="5" name="直线连接符 4">
            <a:extLst>
              <a:ext uri="{FF2B5EF4-FFF2-40B4-BE49-F238E27FC236}">
                <a16:creationId xmlns:a16="http://schemas.microsoft.com/office/drawing/2014/main" id="{DC42215A-EB74-7747-94D5-89BB6158F349}"/>
              </a:ext>
            </a:extLst>
          </p:cNvPr>
          <p:cNvCxnSpPr>
            <a:cxnSpLocks/>
          </p:cNvCxnSpPr>
          <p:nvPr/>
        </p:nvCxnSpPr>
        <p:spPr>
          <a:xfrm>
            <a:off x="8616950" y="1384973"/>
            <a:ext cx="0" cy="5489774"/>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6" name="矩形 85">
            <a:extLst>
              <a:ext uri="{FF2B5EF4-FFF2-40B4-BE49-F238E27FC236}">
                <a16:creationId xmlns:a16="http://schemas.microsoft.com/office/drawing/2014/main" id="{54CFFC6D-69B5-EC44-A1D8-F1E49F26DA4B}"/>
              </a:ext>
            </a:extLst>
          </p:cNvPr>
          <p:cNvSpPr>
            <a:spLocks/>
          </p:cNvSpPr>
          <p:nvPr/>
        </p:nvSpPr>
        <p:spPr>
          <a:xfrm>
            <a:off x="4079875" y="3359150"/>
            <a:ext cx="4482698" cy="1676653"/>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The feature of financial data in the model enables it to better fit actual prices at earnings release days.</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① </a:t>
            </a:r>
            <a:r>
              <a:rPr lang="en-US" altLang="zh-CN" sz="1050" dirty="0">
                <a:solidFill>
                  <a:schemeClr val="tx1"/>
                </a:solidFill>
                <a:latin typeface="Calibri" panose="020F0502020204030204" pitchFamily="34" charset="0"/>
                <a:cs typeface="Calibri" panose="020F0502020204030204" pitchFamily="34" charset="0"/>
              </a:rPr>
              <a:t>2015/11/5</a:t>
            </a:r>
            <a:r>
              <a:rPr kumimoji="1" lang="en-US" altLang="zh-CN"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 Disney’s 2015 Fiscal Full Year delivered the </a:t>
            </a:r>
            <a:r>
              <a:rPr lang="en-US" altLang="zh-CN" sz="1050" b="1" dirty="0">
                <a:solidFill>
                  <a:schemeClr val="tx1"/>
                </a:solidFill>
                <a:latin typeface="Calibri" panose="020F0502020204030204" pitchFamily="34" charset="0"/>
                <a:cs typeface="Calibri" panose="020F0502020204030204" pitchFamily="34" charset="0"/>
              </a:rPr>
              <a:t>highest revenue net income </a:t>
            </a:r>
            <a:r>
              <a:rPr lang="en-US" altLang="zh-CN" sz="1050" dirty="0">
                <a:solidFill>
                  <a:schemeClr val="tx1"/>
                </a:solidFill>
                <a:latin typeface="Calibri" panose="020F0502020204030204" pitchFamily="34" charset="0"/>
                <a:cs typeface="Calibri" panose="020F0502020204030204" pitchFamily="34" charset="0"/>
              </a:rPr>
              <a:t>and adjusted </a:t>
            </a:r>
            <a:r>
              <a:rPr lang="en-US" altLang="zh-CN" sz="1050" b="1" dirty="0">
                <a:solidFill>
                  <a:schemeClr val="tx1"/>
                </a:solidFill>
                <a:latin typeface="Calibri" panose="020F0502020204030204" pitchFamily="34" charset="0"/>
                <a:cs typeface="Calibri" panose="020F0502020204030204" pitchFamily="34" charset="0"/>
              </a:rPr>
              <a:t>EPS in</a:t>
            </a:r>
            <a:r>
              <a:rPr lang="zh-CN" altLang="en-US" sz="1050" b="1"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the Company’s history.</a:t>
            </a:r>
            <a:endParaRPr lang="zh-CN" altLang="zh-CN" sz="1050" dirty="0">
              <a:solidFill>
                <a:schemeClr val="tx1"/>
              </a:solidFill>
              <a:latin typeface="Calibri" panose="020F0502020204030204" pitchFamily="34" charset="0"/>
              <a:cs typeface="Calibri" panose="020F0502020204030204" pitchFamily="34" charset="0"/>
            </a:endParaRPr>
          </a:p>
          <a:p>
            <a:r>
              <a:rPr lang="en-US" altLang="zh-CN" sz="1050" b="1" dirty="0">
                <a:solidFill>
                  <a:schemeClr val="accent2"/>
                </a:solidFill>
                <a:latin typeface="Calibri" panose="020F0502020204030204" pitchFamily="34" charset="0"/>
                <a:cs typeface="Calibri" panose="020F0502020204030204" pitchFamily="34" charset="0"/>
              </a:rPr>
              <a:t>Financial data has a negative effect on the model after</a:t>
            </a:r>
            <a:r>
              <a:rPr lang="en-US" altLang="zh-CN" sz="1050" b="1" dirty="0">
                <a:solidFill>
                  <a:srgbClr val="1E4E79"/>
                </a:solidFill>
                <a:latin typeface="Calibri" panose="020F0502020204030204" pitchFamily="34" charset="0"/>
                <a:cs typeface="Calibri" panose="020F0502020204030204" pitchFamily="34" charset="0"/>
              </a:rPr>
              <a:t> </a:t>
            </a:r>
            <a:r>
              <a:rPr kumimoji="1" lang="en-US" altLang="zh-CN" sz="1050" dirty="0">
                <a:solidFill>
                  <a:srgbClr val="1E4E79"/>
                </a:solidFill>
                <a:latin typeface="Calibri" panose="020F0502020204030204" pitchFamily="34" charset="0"/>
                <a:cs typeface="Calibri" panose="020F0502020204030204" pitchFamily="34" charset="0"/>
              </a:rPr>
              <a:t>② </a:t>
            </a:r>
            <a:r>
              <a:rPr lang="en-US" altLang="zh-CN" sz="1050" b="1" dirty="0">
                <a:solidFill>
                  <a:schemeClr val="accent2"/>
                </a:solidFill>
                <a:latin typeface="Calibri" panose="020F0502020204030204" pitchFamily="34" charset="0"/>
                <a:cs typeface="Calibri" panose="020F0502020204030204" pitchFamily="34" charset="0"/>
              </a:rPr>
              <a:t>2020/02.</a:t>
            </a:r>
          </a:p>
          <a:p>
            <a:pPr marL="171450" indent="-171450">
              <a:buFont typeface="Arial" panose="020B0604020202020204" pitchFamily="34" charset="0"/>
              <a:buChar char="•"/>
            </a:pPr>
            <a:r>
              <a:rPr lang="en-US" altLang="zh-CN" sz="1050" dirty="0">
                <a:solidFill>
                  <a:schemeClr val="tx1"/>
                </a:solidFill>
                <a:latin typeface="Calibri" panose="020F0502020204030204" pitchFamily="34" charset="0"/>
                <a:cs typeface="Calibri" panose="020F0502020204030204" pitchFamily="34" charset="0"/>
              </a:rPr>
              <a:t>COVID-19 has significant impact at the Disney </a:t>
            </a:r>
            <a:r>
              <a:rPr lang="en-US" altLang="zh-CN" sz="1050" b="1" dirty="0">
                <a:solidFill>
                  <a:schemeClr val="tx1"/>
                </a:solidFill>
                <a:latin typeface="Calibri" panose="020F0502020204030204" pitchFamily="34" charset="0"/>
                <a:cs typeface="Calibri" panose="020F0502020204030204" pitchFamily="34" charset="0"/>
              </a:rPr>
              <a:t>Parks, Experiences and Products segment</a:t>
            </a:r>
            <a:r>
              <a:rPr lang="en-US" altLang="zh-CN" sz="1050" dirty="0">
                <a:solidFill>
                  <a:schemeClr val="tx1"/>
                </a:solidFill>
                <a:latin typeface="Calibri" panose="020F0502020204030204" pitchFamily="34" charset="0"/>
                <a:cs typeface="Calibri" panose="020F0502020204030204" pitchFamily="34" charset="0"/>
              </a:rPr>
              <a:t>, the</a:t>
            </a:r>
            <a:r>
              <a:rPr lang="zh-CN" altLang="en-US"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revenue</a:t>
            </a:r>
            <a:r>
              <a:rPr lang="zh-CN" altLang="en-US"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reduced</a:t>
            </a:r>
            <a:r>
              <a:rPr lang="zh-CN" altLang="en-US"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37%</a:t>
            </a:r>
            <a:r>
              <a:rPr lang="zh-CN" altLang="en-US"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in</a:t>
            </a:r>
            <a:r>
              <a:rPr lang="zh-CN" altLang="en-US"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2020</a:t>
            </a:r>
            <a:r>
              <a:rPr lang="zh-CN" altLang="en-US" sz="1050" dirty="0">
                <a:solidFill>
                  <a:schemeClr val="tx1"/>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and another 49% in the first half of 2021. However, there is market confidence in the strong performance of Disney’s streaming service.</a:t>
            </a:r>
          </a:p>
          <a:p>
            <a:r>
              <a:rPr kumimoji="1" lang="en-US" altLang="zh-CN" sz="1050" b="1" dirty="0">
                <a:solidFill>
                  <a:srgbClr val="1E4E79"/>
                </a:solidFill>
                <a:latin typeface="Calibri" panose="020F0502020204030204" pitchFamily="34" charset="0"/>
                <a:cs typeface="Calibri" panose="020F0502020204030204" pitchFamily="34" charset="0"/>
              </a:rPr>
              <a:t>Testing Part: </a:t>
            </a:r>
            <a:r>
              <a:rPr kumimoji="1" lang="en-US" altLang="zh-CN" sz="1050" dirty="0">
                <a:solidFill>
                  <a:schemeClr val="tx1"/>
                </a:solidFill>
                <a:latin typeface="Calibri" panose="020F0502020204030204" pitchFamily="34" charset="0"/>
                <a:cs typeface="Calibri" panose="020F0502020204030204" pitchFamily="34" charset="0"/>
              </a:rPr>
              <a:t>Prediction is</a:t>
            </a:r>
            <a:r>
              <a:rPr kumimoji="1" lang="zh-CN" altLang="en-US" sz="1050" dirty="0">
                <a:solidFill>
                  <a:schemeClr val="tx1"/>
                </a:solidFill>
                <a:latin typeface="Calibri" panose="020F0502020204030204" pitchFamily="34" charset="0"/>
                <a:cs typeface="Calibri" panose="020F0502020204030204" pitchFamily="34" charset="0"/>
              </a:rPr>
              <a:t> </a:t>
            </a:r>
            <a:r>
              <a:rPr kumimoji="1" lang="en-US" altLang="zh-CN" sz="1050" dirty="0">
                <a:solidFill>
                  <a:schemeClr val="tx1"/>
                </a:solidFill>
                <a:latin typeface="Calibri" panose="020F0502020204030204" pitchFamily="34" charset="0"/>
                <a:cs typeface="Calibri" panose="020F0502020204030204" pitchFamily="34" charset="0"/>
              </a:rPr>
              <a:t>contrary</a:t>
            </a:r>
            <a:r>
              <a:rPr kumimoji="1" lang="zh-CN" altLang="en-US" sz="1050" dirty="0">
                <a:solidFill>
                  <a:schemeClr val="tx1"/>
                </a:solidFill>
                <a:latin typeface="Calibri" panose="020F0502020204030204" pitchFamily="34" charset="0"/>
                <a:cs typeface="Calibri" panose="020F0502020204030204" pitchFamily="34" charset="0"/>
              </a:rPr>
              <a:t> </a:t>
            </a:r>
            <a:r>
              <a:rPr kumimoji="1" lang="en-US" altLang="zh-CN" sz="1050" dirty="0">
                <a:solidFill>
                  <a:schemeClr val="tx1"/>
                </a:solidFill>
                <a:latin typeface="Calibri" panose="020F0502020204030204" pitchFamily="34" charset="0"/>
                <a:cs typeface="Calibri" panose="020F0502020204030204" pitchFamily="34" charset="0"/>
              </a:rPr>
              <a:t>to the actual trend</a:t>
            </a:r>
            <a:r>
              <a:rPr kumimoji="1" lang="zh-CN" altLang="en-US" sz="1050" dirty="0">
                <a:solidFill>
                  <a:schemeClr val="tx1"/>
                </a:solidFill>
                <a:latin typeface="Calibri" panose="020F0502020204030204" pitchFamily="34" charset="0"/>
                <a:cs typeface="Calibri" panose="020F0502020204030204" pitchFamily="34" charset="0"/>
              </a:rPr>
              <a:t> </a:t>
            </a:r>
            <a:r>
              <a:rPr kumimoji="1" lang="en-US" altLang="zh-CN" sz="1050" dirty="0">
                <a:solidFill>
                  <a:schemeClr val="tx1"/>
                </a:solidFill>
                <a:latin typeface="Calibri" panose="020F0502020204030204" pitchFamily="34" charset="0"/>
                <a:cs typeface="Calibri" panose="020F0502020204030204" pitchFamily="34" charset="0"/>
              </a:rPr>
              <a:t>after</a:t>
            </a:r>
            <a:r>
              <a:rPr kumimoji="1" lang="zh-CN" altLang="en-US" sz="1050" dirty="0">
                <a:solidFill>
                  <a:schemeClr val="tx1"/>
                </a:solidFill>
                <a:latin typeface="Calibri" panose="020F0502020204030204" pitchFamily="34" charset="0"/>
                <a:cs typeface="Calibri" panose="020F0502020204030204" pitchFamily="34" charset="0"/>
              </a:rPr>
              <a:t> ② </a:t>
            </a:r>
            <a:r>
              <a:rPr kumimoji="1" lang="en-US" altLang="zh-CN" sz="1050" dirty="0">
                <a:solidFill>
                  <a:schemeClr val="tx1"/>
                </a:solidFill>
                <a:latin typeface="Calibri" panose="020F0502020204030204" pitchFamily="34" charset="0"/>
                <a:cs typeface="Calibri" panose="020F0502020204030204" pitchFamily="34" charset="0"/>
              </a:rPr>
              <a:t>2020/02</a:t>
            </a:r>
          </a:p>
        </p:txBody>
      </p:sp>
      <p:sp>
        <p:nvSpPr>
          <p:cNvPr id="87" name="矩形 86">
            <a:extLst>
              <a:ext uri="{FF2B5EF4-FFF2-40B4-BE49-F238E27FC236}">
                <a16:creationId xmlns:a16="http://schemas.microsoft.com/office/drawing/2014/main" id="{98D464EF-8B07-214A-9C75-27562CF4E3C1}"/>
              </a:ext>
            </a:extLst>
          </p:cNvPr>
          <p:cNvSpPr>
            <a:spLocks/>
          </p:cNvSpPr>
          <p:nvPr/>
        </p:nvSpPr>
        <p:spPr>
          <a:xfrm>
            <a:off x="4079875" y="5102928"/>
            <a:ext cx="4482698" cy="1748722"/>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By adding public sentiment data, t</a:t>
            </a:r>
            <a:r>
              <a:rPr lang="en-US" altLang="zh-CN" sz="1050" b="1" dirty="0">
                <a:solidFill>
                  <a:schemeClr val="accent2"/>
                </a:solidFill>
                <a:latin typeface="Calibri" panose="020F0502020204030204" pitchFamily="34" charset="0"/>
                <a:cs typeface="Calibri" panose="020F0502020204030204" pitchFamily="34" charset="0"/>
              </a:rPr>
              <a:t>he overall fitting effect of the model has been significantly improved both before and after the pandemic outbreak. </a:t>
            </a:r>
          </a:p>
          <a:p>
            <a:r>
              <a:rPr lang="en-US" altLang="zh-CN" sz="1050" dirty="0">
                <a:solidFill>
                  <a:schemeClr val="tx1"/>
                </a:solidFill>
                <a:latin typeface="Calibri" panose="020F0502020204030204" pitchFamily="34" charset="0"/>
                <a:cs typeface="Calibri" panose="020F0502020204030204" pitchFamily="34" charset="0"/>
              </a:rPr>
              <a:t>We see better fitting result when company-related news are likely to generate public opinion: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① </a:t>
            </a:r>
            <a:r>
              <a:rPr lang="en-US" altLang="zh-CN" sz="1050" dirty="0">
                <a:solidFill>
                  <a:schemeClr val="tx1"/>
                </a:solidFill>
                <a:latin typeface="Calibri" panose="020F0502020204030204" pitchFamily="34" charset="0"/>
                <a:cs typeface="Calibri" panose="020F0502020204030204" pitchFamily="34" charset="0"/>
              </a:rPr>
              <a:t>2017/08 Disney announced it intends to pull all its movies from </a:t>
            </a:r>
            <a:r>
              <a:rPr lang="en-US" altLang="zh-CN" sz="1050" b="1" dirty="0">
                <a:solidFill>
                  <a:schemeClr val="tx1"/>
                </a:solidFill>
                <a:latin typeface="Calibri" panose="020F0502020204030204" pitchFamily="34" charset="0"/>
                <a:cs typeface="Calibri" panose="020F0502020204030204" pitchFamily="34" charset="0"/>
              </a:rPr>
              <a:t>Netflix.</a:t>
            </a:r>
            <a:endParaRPr lang="en-US" altLang="zh-CN" sz="1050"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kumimoji="1" lang="zh-CN" altLang="en-US" sz="1050" dirty="0">
                <a:solidFill>
                  <a:schemeClr val="tx1"/>
                </a:solidFill>
                <a:latin typeface="Calibri" panose="020F0502020204030204" pitchFamily="34" charset="0"/>
                <a:cs typeface="Calibri" panose="020F0502020204030204" pitchFamily="34" charset="0"/>
              </a:rPr>
              <a:t>② </a:t>
            </a:r>
            <a:r>
              <a:rPr lang="en-US" altLang="zh-CN" sz="1050" dirty="0">
                <a:solidFill>
                  <a:schemeClr val="tx1"/>
                </a:solidFill>
                <a:latin typeface="Calibri" panose="020F0502020204030204" pitchFamily="34" charset="0"/>
                <a:cs typeface="Calibri" panose="020F0502020204030204" pitchFamily="34" charset="0"/>
              </a:rPr>
              <a:t>Disney’s strong performance in streaming service </a:t>
            </a:r>
            <a:r>
              <a:rPr lang="en-US" altLang="zh-CN" sz="1050" b="1" dirty="0">
                <a:solidFill>
                  <a:schemeClr val="tx1"/>
                </a:solidFill>
                <a:latin typeface="Calibri" panose="020F0502020204030204" pitchFamily="34" charset="0"/>
                <a:cs typeface="Calibri" panose="020F0502020204030204" pitchFamily="34" charset="0"/>
              </a:rPr>
              <a:t>Disney+ and ESPN+.</a:t>
            </a:r>
          </a:p>
          <a:p>
            <a:r>
              <a:rPr lang="en-US" altLang="zh-CN" sz="1050" b="1" dirty="0">
                <a:solidFill>
                  <a:srgbClr val="1E4E79"/>
                </a:solidFill>
                <a:latin typeface="Calibri" panose="020F0502020204030204" pitchFamily="34" charset="0"/>
                <a:cs typeface="Calibri" panose="020F0502020204030204" pitchFamily="34" charset="0"/>
              </a:rPr>
              <a:t>Testing Part:</a:t>
            </a:r>
            <a:r>
              <a:rPr lang="en-US" altLang="zh-CN" sz="2000" b="1" dirty="0"/>
              <a:t> </a:t>
            </a:r>
            <a:r>
              <a:rPr lang="en-US" altLang="zh-CN" sz="1050" dirty="0">
                <a:solidFill>
                  <a:schemeClr val="tx1"/>
                </a:solidFill>
                <a:latin typeface="Calibri" panose="020F0502020204030204" pitchFamily="34" charset="0"/>
                <a:cs typeface="Calibri" panose="020F0502020204030204" pitchFamily="34" charset="0"/>
              </a:rPr>
              <a:t>Although the optimization effect is partially offset by the influence of financial data, we can still see that model3 performs better than model1 and model2 on the training set.</a:t>
            </a:r>
            <a:endParaRPr lang="en-US" altLang="zh-CN" sz="1050" b="1" dirty="0">
              <a:solidFill>
                <a:schemeClr val="tx1"/>
              </a:solidFill>
              <a:latin typeface="Calibri" panose="020F0502020204030204" pitchFamily="34" charset="0"/>
              <a:cs typeface="Calibri" panose="020F0502020204030204" pitchFamily="34" charset="0"/>
            </a:endParaRPr>
          </a:p>
        </p:txBody>
      </p:sp>
      <p:sp>
        <p:nvSpPr>
          <p:cNvPr id="89" name="矩形 88">
            <a:extLst>
              <a:ext uri="{FF2B5EF4-FFF2-40B4-BE49-F238E27FC236}">
                <a16:creationId xmlns:a16="http://schemas.microsoft.com/office/drawing/2014/main" id="{53CB9E03-5366-B745-A73B-C9F49952F64E}"/>
              </a:ext>
            </a:extLst>
          </p:cNvPr>
          <p:cNvSpPr>
            <a:spLocks/>
          </p:cNvSpPr>
          <p:nvPr/>
        </p:nvSpPr>
        <p:spPr>
          <a:xfrm>
            <a:off x="8724898" y="5079671"/>
            <a:ext cx="4020755" cy="1784217"/>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kumimoji="1" lang="en-US" altLang="zh-CN" sz="1050" b="1" dirty="0">
                <a:solidFill>
                  <a:srgbClr val="1E4E79"/>
                </a:solidFill>
                <a:latin typeface="Calibri" panose="020F0502020204030204" pitchFamily="34" charset="0"/>
                <a:cs typeface="Calibri" panose="020F0502020204030204" pitchFamily="34" charset="0"/>
              </a:rPr>
              <a:t>Twitter data is scraped by day, the inclusion makes the model more sensitive to the public opinion. </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From the chart, the prediction value becomes </a:t>
            </a:r>
            <a:r>
              <a:rPr kumimoji="1" lang="en-US" altLang="zh-CN" sz="1050" b="1" dirty="0">
                <a:solidFill>
                  <a:schemeClr val="tx1"/>
                </a:solidFill>
                <a:latin typeface="Calibri" panose="020F0502020204030204" pitchFamily="34" charset="0"/>
                <a:cs typeface="Calibri" panose="020F0502020204030204" pitchFamily="34" charset="0"/>
              </a:rPr>
              <a:t>more volatile </a:t>
            </a:r>
            <a:r>
              <a:rPr kumimoji="1" lang="en-US" altLang="zh-CN" sz="1050" dirty="0">
                <a:solidFill>
                  <a:schemeClr val="tx1"/>
                </a:solidFill>
                <a:latin typeface="Calibri" panose="020F0502020204030204" pitchFamily="34" charset="0"/>
                <a:cs typeface="Calibri" panose="020F0502020204030204" pitchFamily="34" charset="0"/>
              </a:rPr>
              <a:t>after adding twitter data ①. Limited to the number of tweets we can get, the data contains </a:t>
            </a:r>
            <a:r>
              <a:rPr kumimoji="1" lang="en-US" altLang="zh-CN" sz="1050" b="1" dirty="0">
                <a:solidFill>
                  <a:schemeClr val="tx1"/>
                </a:solidFill>
                <a:latin typeface="Calibri" panose="020F0502020204030204" pitchFamily="34" charset="0"/>
                <a:cs typeface="Calibri" panose="020F0502020204030204" pitchFamily="34" charset="0"/>
              </a:rPr>
              <a:t>more</a:t>
            </a:r>
            <a:r>
              <a:rPr kumimoji="1" lang="zh-CN" altLang="en-US" sz="1050" b="1" dirty="0">
                <a:solidFill>
                  <a:schemeClr val="tx1"/>
                </a:solidFill>
                <a:latin typeface="Calibri" panose="020F0502020204030204" pitchFamily="34" charset="0"/>
                <a:cs typeface="Calibri" panose="020F0502020204030204" pitchFamily="34" charset="0"/>
              </a:rPr>
              <a:t> </a:t>
            </a:r>
            <a:r>
              <a:rPr kumimoji="1" lang="en-US" altLang="zh-CN" sz="1050" b="1" dirty="0">
                <a:solidFill>
                  <a:schemeClr val="tx1"/>
                </a:solidFill>
                <a:latin typeface="Calibri" panose="020F0502020204030204" pitchFamily="34" charset="0"/>
                <a:cs typeface="Calibri" panose="020F0502020204030204" pitchFamily="34" charset="0"/>
              </a:rPr>
              <a:t>noise</a:t>
            </a:r>
            <a:r>
              <a:rPr kumimoji="1" lang="zh-CN" altLang="en-US" sz="1050" dirty="0">
                <a:solidFill>
                  <a:schemeClr val="tx1"/>
                </a:solidFill>
                <a:latin typeface="Calibri" panose="020F0502020204030204" pitchFamily="34" charset="0"/>
                <a:cs typeface="Calibri" panose="020F0502020204030204" pitchFamily="34" charset="0"/>
              </a:rPr>
              <a:t> </a:t>
            </a:r>
            <a:r>
              <a:rPr kumimoji="1" lang="en-US" altLang="zh-CN" sz="1050" dirty="0">
                <a:solidFill>
                  <a:schemeClr val="tx1"/>
                </a:solidFill>
                <a:latin typeface="Calibri" panose="020F0502020204030204" pitchFamily="34" charset="0"/>
                <a:cs typeface="Calibri" panose="020F0502020204030204" pitchFamily="34" charset="0"/>
              </a:rPr>
              <a:t>when corporate news is not being followed by plenty of Twitter users. This caused an increase in MSE.</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But when major events occur</a:t>
            </a:r>
            <a:r>
              <a:rPr kumimoji="1" lang="zh-CN" altLang="en-US" sz="1050" dirty="0">
                <a:solidFill>
                  <a:schemeClr val="tx1"/>
                </a:solidFill>
                <a:latin typeface="Calibri" panose="020F0502020204030204" pitchFamily="34" charset="0"/>
                <a:cs typeface="Calibri" panose="020F0502020204030204" pitchFamily="34" charset="0"/>
              </a:rPr>
              <a:t> ②</a:t>
            </a:r>
            <a:r>
              <a:rPr kumimoji="1" lang="en-US" altLang="zh-CN" sz="1050" dirty="0">
                <a:solidFill>
                  <a:schemeClr val="tx1"/>
                </a:solidFill>
                <a:latin typeface="Calibri" panose="020F0502020204030204" pitchFamily="34" charset="0"/>
                <a:cs typeface="Calibri" panose="020F0502020204030204" pitchFamily="34" charset="0"/>
              </a:rPr>
              <a:t> , Twitter data can lead to better fit of  the model with </a:t>
            </a:r>
            <a:r>
              <a:rPr kumimoji="1" lang="en-US" altLang="zh-CN" sz="1050" b="1" dirty="0">
                <a:solidFill>
                  <a:schemeClr val="tx1"/>
                </a:solidFill>
                <a:latin typeface="Calibri" panose="020F0502020204030204" pitchFamily="34" charset="0"/>
                <a:cs typeface="Calibri" panose="020F0502020204030204" pitchFamily="34" charset="0"/>
              </a:rPr>
              <a:t>unusual fluctuations</a:t>
            </a:r>
            <a:r>
              <a:rPr kumimoji="1" lang="en-US" altLang="zh-CN" sz="1050" dirty="0">
                <a:solidFill>
                  <a:schemeClr val="tx1"/>
                </a:solidFill>
                <a:latin typeface="Calibri" panose="020F0502020204030204" pitchFamily="34" charset="0"/>
                <a:cs typeface="Calibri" panose="020F0502020204030204" pitchFamily="34" charset="0"/>
              </a:rPr>
              <a:t>.</a:t>
            </a:r>
          </a:p>
          <a:p>
            <a:r>
              <a:rPr lang="en-US" altLang="zh-CN" sz="1050" b="1" dirty="0">
                <a:solidFill>
                  <a:srgbClr val="1E4E79"/>
                </a:solidFill>
                <a:latin typeface="Calibri" panose="020F0502020204030204" pitchFamily="34" charset="0"/>
                <a:cs typeface="Calibri" panose="020F0502020204030204" pitchFamily="34" charset="0"/>
              </a:rPr>
              <a:t>Testing Part:  By adding twitter data, the model has a generally better fitting effect after 2021/01.</a:t>
            </a:r>
            <a:endParaRPr kumimoji="1" lang="en-US" altLang="zh-CN" sz="1050" dirty="0">
              <a:solidFill>
                <a:schemeClr val="tx1"/>
              </a:solidFill>
              <a:latin typeface="Calibri" panose="020F0502020204030204" pitchFamily="34" charset="0"/>
              <a:cs typeface="Calibri" panose="020F0502020204030204" pitchFamily="34" charset="0"/>
            </a:endParaRPr>
          </a:p>
        </p:txBody>
      </p:sp>
      <p:sp>
        <p:nvSpPr>
          <p:cNvPr id="92" name="TextBox 61">
            <a:extLst>
              <a:ext uri="{FF2B5EF4-FFF2-40B4-BE49-F238E27FC236}">
                <a16:creationId xmlns:a16="http://schemas.microsoft.com/office/drawing/2014/main" id="{610D4E74-C917-1244-83EE-472A106CC547}"/>
              </a:ext>
            </a:extLst>
          </p:cNvPr>
          <p:cNvSpPr txBox="1"/>
          <p:nvPr/>
        </p:nvSpPr>
        <p:spPr>
          <a:xfrm>
            <a:off x="6435716" y="6868809"/>
            <a:ext cx="5832484" cy="244004"/>
          </a:xfrm>
          <a:prstGeom prst="rect">
            <a:avLst/>
          </a:prstGeom>
          <a:noFill/>
        </p:spPr>
        <p:txBody>
          <a:bodyPr wrap="square" lIns="44622" tIns="44622" rIns="44622" bIns="44622" rtlCol="0">
            <a:spAutoFit/>
          </a:bodyPr>
          <a:lstStyle/>
          <a:p>
            <a:r>
              <a:rPr lang="en-US" altLang="zh-CN" sz="1000" i="1" dirty="0">
                <a:solidFill>
                  <a:prstClr val="black"/>
                </a:solidFill>
                <a:latin typeface="Calibri" panose="020F0502020204030204" pitchFamily="34" charset="0"/>
                <a:cs typeface="Calibri" panose="020F0502020204030204" pitchFamily="34" charset="0"/>
              </a:rPr>
              <a:t>Note: left part analyzes data from 2013; right part (including Tweets) analyzes data from 2017</a:t>
            </a:r>
          </a:p>
        </p:txBody>
      </p:sp>
      <p:sp>
        <p:nvSpPr>
          <p:cNvPr id="61" name="矩形 60">
            <a:extLst>
              <a:ext uri="{FF2B5EF4-FFF2-40B4-BE49-F238E27FC236}">
                <a16:creationId xmlns:a16="http://schemas.microsoft.com/office/drawing/2014/main" id="{19C75909-2833-7046-A048-CF1A6B95635C}"/>
              </a:ext>
            </a:extLst>
          </p:cNvPr>
          <p:cNvSpPr/>
          <p:nvPr/>
        </p:nvSpPr>
        <p:spPr>
          <a:xfrm>
            <a:off x="2853432" y="2243485"/>
            <a:ext cx="351343" cy="43094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93" name="文本框 92">
            <a:extLst>
              <a:ext uri="{FF2B5EF4-FFF2-40B4-BE49-F238E27FC236}">
                <a16:creationId xmlns:a16="http://schemas.microsoft.com/office/drawing/2014/main" id="{8B4E3A57-1371-144D-919D-DE9099368A7A}"/>
              </a:ext>
            </a:extLst>
          </p:cNvPr>
          <p:cNvSpPr txBox="1">
            <a:spLocks/>
          </p:cNvSpPr>
          <p:nvPr/>
        </p:nvSpPr>
        <p:spPr>
          <a:xfrm>
            <a:off x="3331140" y="4720861"/>
            <a:ext cx="320400" cy="144000"/>
          </a:xfrm>
          <a:prstGeom prst="rect">
            <a:avLst/>
          </a:prstGeom>
          <a:solidFill>
            <a:srgbClr val="92D050">
              <a:alpha val="60000"/>
            </a:srgbClr>
          </a:solidFill>
          <a:ln>
            <a:noFill/>
          </a:ln>
        </p:spPr>
        <p:txBody>
          <a:bodyPr wrap="square" lIns="0" tIns="36000" rIns="0" bIns="36000" rtlCol="0">
            <a:spAutoFit/>
          </a:bodyPr>
          <a:lstStyle>
            <a:defPPr>
              <a:defRPr lang="en-US"/>
            </a:defPPr>
            <a:lvl1pPr algn="ctr">
              <a:defRPr kumimoji="1" sz="800">
                <a:latin typeface="Calibri" panose="020F0502020204030204" pitchFamily="34" charset="0"/>
                <a:cs typeface="Calibri" panose="020F0502020204030204" pitchFamily="34" charset="0"/>
              </a:defRPr>
            </a:lvl1pPr>
          </a:lstStyle>
          <a:p>
            <a:r>
              <a:rPr lang="en-US" altLang="zh-CN" dirty="0"/>
              <a:t>+29.8%</a:t>
            </a:r>
            <a:endParaRPr lang="zh-CN" altLang="en-US" dirty="0" err="1"/>
          </a:p>
        </p:txBody>
      </p:sp>
      <p:sp>
        <p:nvSpPr>
          <p:cNvPr id="98" name="椭圆 97">
            <a:extLst>
              <a:ext uri="{FF2B5EF4-FFF2-40B4-BE49-F238E27FC236}">
                <a16:creationId xmlns:a16="http://schemas.microsoft.com/office/drawing/2014/main" id="{5D726AB5-2008-CB44-BE0A-A5133748534E}"/>
              </a:ext>
            </a:extLst>
          </p:cNvPr>
          <p:cNvSpPr/>
          <p:nvPr/>
        </p:nvSpPr>
        <p:spPr>
          <a:xfrm>
            <a:off x="2961981" y="2162579"/>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69" name="文本框 68">
            <a:extLst>
              <a:ext uri="{FF2B5EF4-FFF2-40B4-BE49-F238E27FC236}">
                <a16:creationId xmlns:a16="http://schemas.microsoft.com/office/drawing/2014/main" id="{5F9B1195-C6B2-AE44-8DDF-60D7DD06FA96}"/>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7</a:t>
            </a:r>
            <a:endParaRPr kumimoji="1" lang="zh-CN" altLang="en-US" sz="1000" dirty="0" err="1">
              <a:latin typeface="Calibri" panose="020F0502020204030204" pitchFamily="34" charset="0"/>
              <a:cs typeface="Calibri" panose="020F0502020204030204" pitchFamily="34" charset="0"/>
            </a:endParaRPr>
          </a:p>
        </p:txBody>
      </p:sp>
      <p:sp>
        <p:nvSpPr>
          <p:cNvPr id="88" name="文本框 87">
            <a:extLst>
              <a:ext uri="{FF2B5EF4-FFF2-40B4-BE49-F238E27FC236}">
                <a16:creationId xmlns:a16="http://schemas.microsoft.com/office/drawing/2014/main" id="{A4AA02EF-31A4-F846-8646-F4CA87979B56}"/>
              </a:ext>
            </a:extLst>
          </p:cNvPr>
          <p:cNvSpPr txBox="1"/>
          <p:nvPr/>
        </p:nvSpPr>
        <p:spPr>
          <a:xfrm>
            <a:off x="11618478" y="2796472"/>
            <a:ext cx="360000" cy="1440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0.22</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90" name="文本框 89">
            <a:extLst>
              <a:ext uri="{FF2B5EF4-FFF2-40B4-BE49-F238E27FC236}">
                <a16:creationId xmlns:a16="http://schemas.microsoft.com/office/drawing/2014/main" id="{AF04720A-5C57-4549-B00B-95B540210B95}"/>
              </a:ext>
            </a:extLst>
          </p:cNvPr>
          <p:cNvSpPr txBox="1">
            <a:spLocks/>
          </p:cNvSpPr>
          <p:nvPr/>
        </p:nvSpPr>
        <p:spPr>
          <a:xfrm>
            <a:off x="12109193" y="2796472"/>
            <a:ext cx="360000" cy="1440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80.92</a:t>
            </a:r>
          </a:p>
        </p:txBody>
      </p:sp>
      <p:sp>
        <p:nvSpPr>
          <p:cNvPr id="111" name="文本框 110">
            <a:extLst>
              <a:ext uri="{FF2B5EF4-FFF2-40B4-BE49-F238E27FC236}">
                <a16:creationId xmlns:a16="http://schemas.microsoft.com/office/drawing/2014/main" id="{D52CC875-3BF1-2A49-9341-0E52D3C8E32A}"/>
              </a:ext>
            </a:extLst>
          </p:cNvPr>
          <p:cNvSpPr txBox="1"/>
          <p:nvPr/>
        </p:nvSpPr>
        <p:spPr>
          <a:xfrm>
            <a:off x="11618478" y="4542225"/>
            <a:ext cx="360000" cy="1440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3.54</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112" name="文本框 111">
            <a:extLst>
              <a:ext uri="{FF2B5EF4-FFF2-40B4-BE49-F238E27FC236}">
                <a16:creationId xmlns:a16="http://schemas.microsoft.com/office/drawing/2014/main" id="{1D7880C5-2975-E246-8088-CE510FD5F0BF}"/>
              </a:ext>
            </a:extLst>
          </p:cNvPr>
          <p:cNvSpPr txBox="1">
            <a:spLocks/>
          </p:cNvSpPr>
          <p:nvPr/>
        </p:nvSpPr>
        <p:spPr>
          <a:xfrm>
            <a:off x="12109193" y="4542225"/>
            <a:ext cx="360000" cy="1440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55.66</a:t>
            </a:r>
          </a:p>
        </p:txBody>
      </p:sp>
      <p:sp>
        <p:nvSpPr>
          <p:cNvPr id="113" name="文本框 112">
            <a:extLst>
              <a:ext uri="{FF2B5EF4-FFF2-40B4-BE49-F238E27FC236}">
                <a16:creationId xmlns:a16="http://schemas.microsoft.com/office/drawing/2014/main" id="{2BC072E2-7EAD-7D48-B6CB-56E965FD5495}"/>
              </a:ext>
            </a:extLst>
          </p:cNvPr>
          <p:cNvSpPr txBox="1">
            <a:spLocks/>
          </p:cNvSpPr>
          <p:nvPr/>
        </p:nvSpPr>
        <p:spPr>
          <a:xfrm>
            <a:off x="11618478" y="4720861"/>
            <a:ext cx="360000" cy="144000"/>
          </a:xfrm>
          <a:prstGeom prst="rect">
            <a:avLst/>
          </a:prstGeom>
          <a:solidFill>
            <a:srgbClr val="F8BB00">
              <a:alpha val="80000"/>
            </a:srgb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32.5%</a:t>
            </a:r>
            <a:endParaRPr kumimoji="1" lang="zh-CN" altLang="en-US" sz="800" dirty="0" err="1">
              <a:latin typeface="Calibri" panose="020F0502020204030204" pitchFamily="34" charset="0"/>
              <a:cs typeface="Calibri" panose="020F0502020204030204" pitchFamily="34" charset="0"/>
            </a:endParaRPr>
          </a:p>
        </p:txBody>
      </p:sp>
      <p:sp>
        <p:nvSpPr>
          <p:cNvPr id="114" name="文本框 113">
            <a:extLst>
              <a:ext uri="{FF2B5EF4-FFF2-40B4-BE49-F238E27FC236}">
                <a16:creationId xmlns:a16="http://schemas.microsoft.com/office/drawing/2014/main" id="{578B2F9E-E6DC-EB48-AFA9-AEE07F9E9784}"/>
              </a:ext>
            </a:extLst>
          </p:cNvPr>
          <p:cNvSpPr txBox="1"/>
          <p:nvPr/>
        </p:nvSpPr>
        <p:spPr>
          <a:xfrm>
            <a:off x="12109193" y="4720861"/>
            <a:ext cx="360000" cy="144000"/>
          </a:xfrm>
          <a:prstGeom prst="rect">
            <a:avLst/>
          </a:prstGeom>
          <a:solidFill>
            <a:srgbClr val="92D050">
              <a:alpha val="60000"/>
            </a:srgb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69.2%</a:t>
            </a:r>
            <a:endParaRPr kumimoji="1" lang="zh-CN" altLang="en-US" sz="800" dirty="0" err="1">
              <a:latin typeface="Calibri" panose="020F0502020204030204" pitchFamily="34" charset="0"/>
              <a:cs typeface="Calibri" panose="020F0502020204030204" pitchFamily="34" charset="0"/>
            </a:endParaRPr>
          </a:p>
        </p:txBody>
      </p:sp>
      <p:sp>
        <p:nvSpPr>
          <p:cNvPr id="118" name="矩形 117">
            <a:extLst>
              <a:ext uri="{FF2B5EF4-FFF2-40B4-BE49-F238E27FC236}">
                <a16:creationId xmlns:a16="http://schemas.microsoft.com/office/drawing/2014/main" id="{6AA5AEA3-B0AE-4E4B-AE32-49D687C1D127}"/>
              </a:ext>
            </a:extLst>
          </p:cNvPr>
          <p:cNvSpPr/>
          <p:nvPr/>
        </p:nvSpPr>
        <p:spPr>
          <a:xfrm>
            <a:off x="3744170" y="1636393"/>
            <a:ext cx="302062" cy="795426"/>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0" name="椭圆 119">
            <a:extLst>
              <a:ext uri="{FF2B5EF4-FFF2-40B4-BE49-F238E27FC236}">
                <a16:creationId xmlns:a16="http://schemas.microsoft.com/office/drawing/2014/main" id="{AC9F1CDA-5FD8-BE4B-B59D-3245149D932B}"/>
              </a:ext>
            </a:extLst>
          </p:cNvPr>
          <p:cNvSpPr/>
          <p:nvPr/>
        </p:nvSpPr>
        <p:spPr>
          <a:xfrm>
            <a:off x="3818325" y="2326992"/>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21" name="矩形 120">
            <a:extLst>
              <a:ext uri="{FF2B5EF4-FFF2-40B4-BE49-F238E27FC236}">
                <a16:creationId xmlns:a16="http://schemas.microsoft.com/office/drawing/2014/main" id="{A8576D95-E61B-9E4A-8A09-21350E8444C7}"/>
              </a:ext>
            </a:extLst>
          </p:cNvPr>
          <p:cNvSpPr/>
          <p:nvPr/>
        </p:nvSpPr>
        <p:spPr>
          <a:xfrm>
            <a:off x="1474255" y="4131018"/>
            <a:ext cx="351343" cy="43094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3" name="椭圆 122">
            <a:extLst>
              <a:ext uri="{FF2B5EF4-FFF2-40B4-BE49-F238E27FC236}">
                <a16:creationId xmlns:a16="http://schemas.microsoft.com/office/drawing/2014/main" id="{20560788-ECB0-7C42-8A4B-143E42DBDDEB}"/>
              </a:ext>
            </a:extLst>
          </p:cNvPr>
          <p:cNvSpPr/>
          <p:nvPr/>
        </p:nvSpPr>
        <p:spPr>
          <a:xfrm>
            <a:off x="1570363" y="4033988"/>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24" name="矩形 123">
            <a:extLst>
              <a:ext uri="{FF2B5EF4-FFF2-40B4-BE49-F238E27FC236}">
                <a16:creationId xmlns:a16="http://schemas.microsoft.com/office/drawing/2014/main" id="{91F51ED6-EF0E-A441-BA2A-044100E22E2C}"/>
              </a:ext>
            </a:extLst>
          </p:cNvPr>
          <p:cNvSpPr/>
          <p:nvPr/>
        </p:nvSpPr>
        <p:spPr>
          <a:xfrm>
            <a:off x="2100638" y="6039076"/>
            <a:ext cx="351343" cy="43094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5" name="椭圆 124">
            <a:extLst>
              <a:ext uri="{FF2B5EF4-FFF2-40B4-BE49-F238E27FC236}">
                <a16:creationId xmlns:a16="http://schemas.microsoft.com/office/drawing/2014/main" id="{82CDE8DC-CAA0-F64D-9F4E-0BFFB0640D14}"/>
              </a:ext>
            </a:extLst>
          </p:cNvPr>
          <p:cNvSpPr/>
          <p:nvPr/>
        </p:nvSpPr>
        <p:spPr>
          <a:xfrm>
            <a:off x="2190405" y="5944128"/>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27" name="椭圆 126">
            <a:extLst>
              <a:ext uri="{FF2B5EF4-FFF2-40B4-BE49-F238E27FC236}">
                <a16:creationId xmlns:a16="http://schemas.microsoft.com/office/drawing/2014/main" id="{9A6E4F6A-91B4-E341-ADA7-EEBB04A73A44}"/>
              </a:ext>
            </a:extLst>
          </p:cNvPr>
          <p:cNvSpPr/>
          <p:nvPr/>
        </p:nvSpPr>
        <p:spPr>
          <a:xfrm>
            <a:off x="11836813" y="2042661"/>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28" name="椭圆 127">
            <a:extLst>
              <a:ext uri="{FF2B5EF4-FFF2-40B4-BE49-F238E27FC236}">
                <a16:creationId xmlns:a16="http://schemas.microsoft.com/office/drawing/2014/main" id="{3C4CBFA7-2AAE-5B4A-B28D-E28F60B7B68F}"/>
              </a:ext>
            </a:extLst>
          </p:cNvPr>
          <p:cNvSpPr>
            <a:spLocks/>
          </p:cNvSpPr>
          <p:nvPr/>
        </p:nvSpPr>
        <p:spPr>
          <a:xfrm>
            <a:off x="11836813" y="3831353"/>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grpSp>
        <p:nvGrpSpPr>
          <p:cNvPr id="106" name="组合 105">
            <a:extLst>
              <a:ext uri="{FF2B5EF4-FFF2-40B4-BE49-F238E27FC236}">
                <a16:creationId xmlns:a16="http://schemas.microsoft.com/office/drawing/2014/main" id="{021EB565-0BA4-FD40-9A99-4F84E92F2CF2}"/>
              </a:ext>
            </a:extLst>
          </p:cNvPr>
          <p:cNvGrpSpPr/>
          <p:nvPr/>
        </p:nvGrpSpPr>
        <p:grpSpPr>
          <a:xfrm>
            <a:off x="596056" y="1600563"/>
            <a:ext cx="1926900" cy="199446"/>
            <a:chOff x="4594986" y="1315042"/>
            <a:chExt cx="1441144" cy="199446"/>
          </a:xfrm>
        </p:grpSpPr>
        <p:cxnSp>
          <p:nvCxnSpPr>
            <p:cNvPr id="109" name="直线连接符 108">
              <a:extLst>
                <a:ext uri="{FF2B5EF4-FFF2-40B4-BE49-F238E27FC236}">
                  <a16:creationId xmlns:a16="http://schemas.microsoft.com/office/drawing/2014/main" id="{87BE309C-4035-CC4A-A3DF-BAB6EF205D85}"/>
                </a:ext>
              </a:extLst>
            </p:cNvPr>
            <p:cNvCxnSpPr/>
            <p:nvPr/>
          </p:nvCxnSpPr>
          <p:spPr>
            <a:xfrm>
              <a:off x="4594986" y="1427475"/>
              <a:ext cx="21539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0" name="直线连接符 109">
              <a:extLst>
                <a:ext uri="{FF2B5EF4-FFF2-40B4-BE49-F238E27FC236}">
                  <a16:creationId xmlns:a16="http://schemas.microsoft.com/office/drawing/2014/main" id="{D15F7737-CDE4-444B-8EA3-A87F874F463E}"/>
                </a:ext>
              </a:extLst>
            </p:cNvPr>
            <p:cNvCxnSpPr/>
            <p:nvPr/>
          </p:nvCxnSpPr>
          <p:spPr>
            <a:xfrm>
              <a:off x="5182639" y="1411925"/>
              <a:ext cx="21539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9" name="文本框 118">
              <a:extLst>
                <a:ext uri="{FF2B5EF4-FFF2-40B4-BE49-F238E27FC236}">
                  <a16:creationId xmlns:a16="http://schemas.microsoft.com/office/drawing/2014/main" id="{C9632785-CCA1-5C41-827D-DED2F98AE5C7}"/>
                </a:ext>
              </a:extLst>
            </p:cNvPr>
            <p:cNvSpPr txBox="1"/>
            <p:nvPr/>
          </p:nvSpPr>
          <p:spPr>
            <a:xfrm>
              <a:off x="4823803" y="1315042"/>
              <a:ext cx="605691" cy="195814"/>
            </a:xfrm>
            <a:prstGeom prst="rect">
              <a:avLst/>
            </a:prstGeom>
            <a:noFill/>
          </p:spPr>
          <p:txBody>
            <a:bodyPr wrap="square" lIns="36000" tIns="36000" rIns="36000" bIns="36000" rtlCol="0">
              <a:spAutoFit/>
            </a:bodyPr>
            <a:lstStyle/>
            <a:p>
              <a:r>
                <a:rPr kumimoji="1" lang="en-US" altLang="zh-CN" sz="800" dirty="0">
                  <a:latin typeface="Calibri" panose="020F0502020204030204" pitchFamily="34" charset="0"/>
                  <a:cs typeface="Calibri" panose="020F0502020204030204" pitchFamily="34" charset="0"/>
                </a:rPr>
                <a:t>Actual</a:t>
              </a:r>
              <a:endParaRPr kumimoji="1" lang="zh-CN" altLang="en-US" sz="800" dirty="0" err="1">
                <a:latin typeface="Calibri" panose="020F0502020204030204" pitchFamily="34" charset="0"/>
                <a:cs typeface="Calibri" panose="020F0502020204030204" pitchFamily="34" charset="0"/>
              </a:endParaRPr>
            </a:p>
          </p:txBody>
        </p:sp>
        <p:sp>
          <p:nvSpPr>
            <p:cNvPr id="122" name="文本框 121">
              <a:extLst>
                <a:ext uri="{FF2B5EF4-FFF2-40B4-BE49-F238E27FC236}">
                  <a16:creationId xmlns:a16="http://schemas.microsoft.com/office/drawing/2014/main" id="{C37B1F9E-873D-DA48-941A-06FD7EF9A2B7}"/>
                </a:ext>
              </a:extLst>
            </p:cNvPr>
            <p:cNvSpPr txBox="1"/>
            <p:nvPr/>
          </p:nvSpPr>
          <p:spPr>
            <a:xfrm>
              <a:off x="5420800" y="1318674"/>
              <a:ext cx="615330" cy="195814"/>
            </a:xfrm>
            <a:prstGeom prst="rect">
              <a:avLst/>
            </a:prstGeom>
            <a:noFill/>
          </p:spPr>
          <p:txBody>
            <a:bodyPr wrap="square" lIns="36000" tIns="36000" rIns="36000" bIns="36000" rtlCol="0">
              <a:spAutoFit/>
            </a:bodyPr>
            <a:lstStyle/>
            <a:p>
              <a:r>
                <a:rPr kumimoji="1" lang="en-US" altLang="zh-CN" sz="800" dirty="0">
                  <a:latin typeface="Calibri" panose="020F0502020204030204" pitchFamily="34" charset="0"/>
                  <a:cs typeface="Calibri" panose="020F0502020204030204" pitchFamily="34" charset="0"/>
                </a:rPr>
                <a:t>Prediction</a:t>
              </a:r>
              <a:endParaRPr kumimoji="1" lang="zh-CN" altLang="en-US" sz="800" dirty="0" err="1">
                <a:latin typeface="Calibri" panose="020F0502020204030204" pitchFamily="34" charset="0"/>
                <a:cs typeface="Calibri" panose="020F0502020204030204" pitchFamily="34" charset="0"/>
              </a:endParaRPr>
            </a:p>
          </p:txBody>
        </p:sp>
      </p:grpSp>
      <p:grpSp>
        <p:nvGrpSpPr>
          <p:cNvPr id="130" name="组合 129">
            <a:extLst>
              <a:ext uri="{FF2B5EF4-FFF2-40B4-BE49-F238E27FC236}">
                <a16:creationId xmlns:a16="http://schemas.microsoft.com/office/drawing/2014/main" id="{C8B2C8B6-62E1-A94C-804D-0C2A19D420C4}"/>
              </a:ext>
            </a:extLst>
          </p:cNvPr>
          <p:cNvGrpSpPr/>
          <p:nvPr/>
        </p:nvGrpSpPr>
        <p:grpSpPr>
          <a:xfrm>
            <a:off x="3424945" y="1388101"/>
            <a:ext cx="529698" cy="5297512"/>
            <a:chOff x="4294133" y="1703564"/>
            <a:chExt cx="529698" cy="4980664"/>
          </a:xfrm>
        </p:grpSpPr>
        <p:cxnSp>
          <p:nvCxnSpPr>
            <p:cNvPr id="131" name="直接连接符 5">
              <a:extLst>
                <a:ext uri="{FF2B5EF4-FFF2-40B4-BE49-F238E27FC236}">
                  <a16:creationId xmlns:a16="http://schemas.microsoft.com/office/drawing/2014/main" id="{3C6F4A96-28EB-AF40-B6C2-218831154B67}"/>
                </a:ext>
              </a:extLst>
            </p:cNvPr>
            <p:cNvCxnSpPr>
              <a:cxnSpLocks/>
              <a:stCxn id="132" idx="2"/>
            </p:cNvCxnSpPr>
            <p:nvPr/>
          </p:nvCxnSpPr>
          <p:spPr>
            <a:xfrm>
              <a:off x="4558982" y="1887666"/>
              <a:ext cx="0" cy="4796562"/>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32" name="文本框 131">
              <a:extLst>
                <a:ext uri="{FF2B5EF4-FFF2-40B4-BE49-F238E27FC236}">
                  <a16:creationId xmlns:a16="http://schemas.microsoft.com/office/drawing/2014/main" id="{E47E797B-8D12-CF46-AC37-CD397E4929BF}"/>
                </a:ext>
              </a:extLst>
            </p:cNvPr>
            <p:cNvSpPr txBox="1"/>
            <p:nvPr/>
          </p:nvSpPr>
          <p:spPr>
            <a:xfrm>
              <a:off x="4294133" y="1703564"/>
              <a:ext cx="529698" cy="184102"/>
            </a:xfrm>
            <a:prstGeom prst="rect">
              <a:avLst/>
            </a:prstGeom>
            <a:solidFill>
              <a:srgbClr val="C00000"/>
            </a:solidFill>
            <a:ln>
              <a:solidFill>
                <a:srgbClr val="C00000"/>
              </a:solidFill>
            </a:ln>
          </p:spPr>
          <p:txBody>
            <a:bodyPr wrap="square" lIns="36000" tIns="36000" rIns="36000" bIns="36000" rtlCol="0">
              <a:spAutoFit/>
            </a:bodyPr>
            <a:lstStyle/>
            <a:p>
              <a:pPr algn="ctr"/>
              <a:r>
                <a:rPr lang="en-US" altLang="zh-CN" sz="800" b="1" dirty="0">
                  <a:solidFill>
                    <a:schemeClr val="bg1"/>
                  </a:solidFill>
                  <a:latin typeface="Calibri" panose="020F0502020204030204" pitchFamily="34" charset="0"/>
                  <a:cs typeface="Calibri" panose="020F0502020204030204" pitchFamily="34" charset="0"/>
                </a:rPr>
                <a:t>2020.7.20</a:t>
              </a:r>
              <a:endParaRPr lang="zh-CN" altLang="en-US" sz="800" b="1" dirty="0" err="1">
                <a:solidFill>
                  <a:schemeClr val="bg1"/>
                </a:solidFill>
                <a:latin typeface="Calibri" panose="020F0502020204030204" pitchFamily="34" charset="0"/>
                <a:cs typeface="Calibri" panose="020F0502020204030204" pitchFamily="34" charset="0"/>
              </a:endParaRPr>
            </a:p>
          </p:txBody>
        </p:sp>
      </p:grpSp>
      <p:sp>
        <p:nvSpPr>
          <p:cNvPr id="133" name="文本框 132">
            <a:extLst>
              <a:ext uri="{FF2B5EF4-FFF2-40B4-BE49-F238E27FC236}">
                <a16:creationId xmlns:a16="http://schemas.microsoft.com/office/drawing/2014/main" id="{CA56B74C-A780-5F4D-B53C-64ED76CE93F4}"/>
              </a:ext>
            </a:extLst>
          </p:cNvPr>
          <p:cNvSpPr txBox="1"/>
          <p:nvPr/>
        </p:nvSpPr>
        <p:spPr>
          <a:xfrm>
            <a:off x="2828957" y="1388515"/>
            <a:ext cx="5580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Training MSE</a:t>
            </a:r>
          </a:p>
        </p:txBody>
      </p:sp>
      <p:sp>
        <p:nvSpPr>
          <p:cNvPr id="134" name="文本框 133">
            <a:extLst>
              <a:ext uri="{FF2B5EF4-FFF2-40B4-BE49-F238E27FC236}">
                <a16:creationId xmlns:a16="http://schemas.microsoft.com/office/drawing/2014/main" id="{17CB4BBF-6580-C24A-98FF-E45C75C89623}"/>
              </a:ext>
            </a:extLst>
          </p:cNvPr>
          <p:cNvSpPr txBox="1"/>
          <p:nvPr/>
        </p:nvSpPr>
        <p:spPr>
          <a:xfrm>
            <a:off x="3991595" y="1394067"/>
            <a:ext cx="558000" cy="194400"/>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Testing MSE</a:t>
            </a:r>
          </a:p>
        </p:txBody>
      </p:sp>
      <p:sp>
        <p:nvSpPr>
          <p:cNvPr id="135" name="矩形 134">
            <a:extLst>
              <a:ext uri="{FF2B5EF4-FFF2-40B4-BE49-F238E27FC236}">
                <a16:creationId xmlns:a16="http://schemas.microsoft.com/office/drawing/2014/main" id="{41788EFA-FF4A-F747-A5B3-0BB4496AAD58}"/>
              </a:ext>
            </a:extLst>
          </p:cNvPr>
          <p:cNvSpPr/>
          <p:nvPr/>
        </p:nvSpPr>
        <p:spPr>
          <a:xfrm>
            <a:off x="3746004" y="3461979"/>
            <a:ext cx="291064" cy="949446"/>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36" name="椭圆 135">
            <a:extLst>
              <a:ext uri="{FF2B5EF4-FFF2-40B4-BE49-F238E27FC236}">
                <a16:creationId xmlns:a16="http://schemas.microsoft.com/office/drawing/2014/main" id="{DD3253BA-02B9-734B-A5AC-BA799E3BC4A8}"/>
              </a:ext>
            </a:extLst>
          </p:cNvPr>
          <p:cNvSpPr/>
          <p:nvPr/>
        </p:nvSpPr>
        <p:spPr>
          <a:xfrm>
            <a:off x="3820159" y="3377213"/>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37" name="矩形 136">
            <a:extLst>
              <a:ext uri="{FF2B5EF4-FFF2-40B4-BE49-F238E27FC236}">
                <a16:creationId xmlns:a16="http://schemas.microsoft.com/office/drawing/2014/main" id="{8239A4E4-5D9C-6E40-8019-0F82E3FC8EA7}"/>
              </a:ext>
            </a:extLst>
          </p:cNvPr>
          <p:cNvSpPr/>
          <p:nvPr/>
        </p:nvSpPr>
        <p:spPr>
          <a:xfrm>
            <a:off x="3746214" y="5305726"/>
            <a:ext cx="279284" cy="87148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38" name="椭圆 137">
            <a:extLst>
              <a:ext uri="{FF2B5EF4-FFF2-40B4-BE49-F238E27FC236}">
                <a16:creationId xmlns:a16="http://schemas.microsoft.com/office/drawing/2014/main" id="{5CA0C600-33F7-D24E-9D5D-8C87731516C2}"/>
              </a:ext>
            </a:extLst>
          </p:cNvPr>
          <p:cNvSpPr/>
          <p:nvPr/>
        </p:nvSpPr>
        <p:spPr>
          <a:xfrm>
            <a:off x="3820368" y="5239609"/>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49" name="文本框 148">
            <a:extLst>
              <a:ext uri="{FF2B5EF4-FFF2-40B4-BE49-F238E27FC236}">
                <a16:creationId xmlns:a16="http://schemas.microsoft.com/office/drawing/2014/main" id="{F245F30C-4052-1942-B55E-4A14725A2F18}"/>
              </a:ext>
            </a:extLst>
          </p:cNvPr>
          <p:cNvSpPr txBox="1"/>
          <p:nvPr/>
        </p:nvSpPr>
        <p:spPr>
          <a:xfrm>
            <a:off x="3317715" y="2796472"/>
            <a:ext cx="324000" cy="1440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22.78</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150" name="文本框 149">
            <a:extLst>
              <a:ext uri="{FF2B5EF4-FFF2-40B4-BE49-F238E27FC236}">
                <a16:creationId xmlns:a16="http://schemas.microsoft.com/office/drawing/2014/main" id="{3F9C583B-D7B5-8C47-9F60-B3E9591CFBE6}"/>
              </a:ext>
            </a:extLst>
          </p:cNvPr>
          <p:cNvSpPr txBox="1"/>
          <p:nvPr/>
        </p:nvSpPr>
        <p:spPr>
          <a:xfrm>
            <a:off x="3713068" y="2796472"/>
            <a:ext cx="366807" cy="144000"/>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257.12</a:t>
            </a:r>
          </a:p>
        </p:txBody>
      </p:sp>
      <p:sp>
        <p:nvSpPr>
          <p:cNvPr id="151" name="文本框 150">
            <a:extLst>
              <a:ext uri="{FF2B5EF4-FFF2-40B4-BE49-F238E27FC236}">
                <a16:creationId xmlns:a16="http://schemas.microsoft.com/office/drawing/2014/main" id="{06DA6E9F-1A97-6E47-8300-2C1735115F33}"/>
              </a:ext>
            </a:extLst>
          </p:cNvPr>
          <p:cNvSpPr txBox="1"/>
          <p:nvPr/>
        </p:nvSpPr>
        <p:spPr>
          <a:xfrm>
            <a:off x="3317489" y="4542225"/>
            <a:ext cx="324000" cy="144000"/>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6.00</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155" name="文本框 154">
            <a:extLst>
              <a:ext uri="{FF2B5EF4-FFF2-40B4-BE49-F238E27FC236}">
                <a16:creationId xmlns:a16="http://schemas.microsoft.com/office/drawing/2014/main" id="{93F2D59F-D210-F44C-A775-1D5DEE5F1243}"/>
              </a:ext>
            </a:extLst>
          </p:cNvPr>
          <p:cNvSpPr txBox="1"/>
          <p:nvPr/>
        </p:nvSpPr>
        <p:spPr>
          <a:xfrm>
            <a:off x="3321797" y="6345844"/>
            <a:ext cx="324000" cy="144000"/>
          </a:xfrm>
          <a:prstGeom prst="rect">
            <a:avLst/>
          </a:prstGeom>
          <a:noFill/>
          <a:ln>
            <a:solidFill>
              <a:srgbClr val="1E4E79"/>
            </a:solidFill>
          </a:ln>
        </p:spPr>
        <p:txBody>
          <a:bodyPr wrap="square" lIns="36000" tIns="36000" rIns="36000" bIns="36000" rtlCol="0" anchor="ctr">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3.86</a:t>
            </a:r>
          </a:p>
        </p:txBody>
      </p:sp>
      <p:sp>
        <p:nvSpPr>
          <p:cNvPr id="158" name="文本框 157">
            <a:extLst>
              <a:ext uri="{FF2B5EF4-FFF2-40B4-BE49-F238E27FC236}">
                <a16:creationId xmlns:a16="http://schemas.microsoft.com/office/drawing/2014/main" id="{C45304DD-69D0-0945-B3A2-3077AC1D8E0A}"/>
              </a:ext>
            </a:extLst>
          </p:cNvPr>
          <p:cNvSpPr txBox="1"/>
          <p:nvPr/>
        </p:nvSpPr>
        <p:spPr>
          <a:xfrm>
            <a:off x="3720944" y="6521034"/>
            <a:ext cx="324000" cy="144000"/>
          </a:xfrm>
          <a:prstGeom prst="rect">
            <a:avLst/>
          </a:prstGeom>
          <a:solidFill>
            <a:srgbClr val="92D050">
              <a:alpha val="60000"/>
            </a:srgbClr>
          </a:solidFill>
          <a:ln>
            <a:noFill/>
          </a:ln>
        </p:spPr>
        <p:txBody>
          <a:bodyPr wrap="square" lIns="0" tIns="36000" rIns="0" bIns="36000" rtlCol="0" anchor="ctr">
            <a:spAutoFit/>
          </a:bodyPr>
          <a:lstStyle/>
          <a:p>
            <a:pPr algn="ctr"/>
            <a:r>
              <a:rPr kumimoji="1" lang="en-US" altLang="zh-CN" sz="800" dirty="0">
                <a:latin typeface="Calibri" panose="020F0502020204030204" pitchFamily="34" charset="0"/>
                <a:cs typeface="Calibri" panose="020F0502020204030204" pitchFamily="34" charset="0"/>
              </a:rPr>
              <a:t>+3.2%</a:t>
            </a:r>
            <a:endParaRPr kumimoji="1" lang="zh-CN" altLang="en-US" sz="800" dirty="0" err="1">
              <a:latin typeface="Calibri" panose="020F0502020204030204" pitchFamily="34" charset="0"/>
              <a:cs typeface="Calibri" panose="020F0502020204030204" pitchFamily="34" charset="0"/>
            </a:endParaRPr>
          </a:p>
        </p:txBody>
      </p:sp>
      <p:sp>
        <p:nvSpPr>
          <p:cNvPr id="169" name="文本框 168">
            <a:extLst>
              <a:ext uri="{FF2B5EF4-FFF2-40B4-BE49-F238E27FC236}">
                <a16:creationId xmlns:a16="http://schemas.microsoft.com/office/drawing/2014/main" id="{74B8D1B8-F41D-474C-B1A1-656999232B9C}"/>
              </a:ext>
            </a:extLst>
          </p:cNvPr>
          <p:cNvSpPr txBox="1"/>
          <p:nvPr/>
        </p:nvSpPr>
        <p:spPr>
          <a:xfrm>
            <a:off x="3713794" y="4542225"/>
            <a:ext cx="366807" cy="144000"/>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2513.56</a:t>
            </a:r>
          </a:p>
        </p:txBody>
      </p:sp>
      <p:sp>
        <p:nvSpPr>
          <p:cNvPr id="171" name="文本框 170">
            <a:extLst>
              <a:ext uri="{FF2B5EF4-FFF2-40B4-BE49-F238E27FC236}">
                <a16:creationId xmlns:a16="http://schemas.microsoft.com/office/drawing/2014/main" id="{9F14228D-E627-784E-9812-64553A846A6C}"/>
              </a:ext>
            </a:extLst>
          </p:cNvPr>
          <p:cNvSpPr txBox="1">
            <a:spLocks/>
          </p:cNvSpPr>
          <p:nvPr/>
        </p:nvSpPr>
        <p:spPr>
          <a:xfrm>
            <a:off x="3722091" y="4720861"/>
            <a:ext cx="320400" cy="144000"/>
          </a:xfrm>
          <a:prstGeom prst="rect">
            <a:avLst/>
          </a:prstGeom>
          <a:solidFill>
            <a:srgbClr val="92D050">
              <a:alpha val="60000"/>
            </a:srgbClr>
          </a:solidFill>
          <a:ln>
            <a:noFill/>
          </a:ln>
        </p:spPr>
        <p:txBody>
          <a:bodyPr wrap="square" lIns="0" tIns="36000" rIns="0" bIns="36000" rtlCol="0">
            <a:spAutoFit/>
          </a:bodyPr>
          <a:lstStyle>
            <a:defPPr>
              <a:defRPr lang="en-US"/>
            </a:defPPr>
            <a:lvl1pPr algn="ctr">
              <a:defRPr kumimoji="1" sz="800">
                <a:latin typeface="Calibri" panose="020F0502020204030204" pitchFamily="34" charset="0"/>
                <a:cs typeface="Calibri" panose="020F0502020204030204" pitchFamily="34" charset="0"/>
              </a:defRPr>
            </a:lvl1pPr>
          </a:lstStyle>
          <a:p>
            <a:r>
              <a:rPr lang="en-US" altLang="zh-CN" dirty="0"/>
              <a:t>+99.9%</a:t>
            </a:r>
            <a:endParaRPr lang="zh-CN" altLang="en-US" dirty="0" err="1"/>
          </a:p>
        </p:txBody>
      </p:sp>
      <p:sp>
        <p:nvSpPr>
          <p:cNvPr id="172" name="文本框 171">
            <a:extLst>
              <a:ext uri="{FF2B5EF4-FFF2-40B4-BE49-F238E27FC236}">
                <a16:creationId xmlns:a16="http://schemas.microsoft.com/office/drawing/2014/main" id="{ABE5853D-555D-7B40-8B3F-497C8104CCCF}"/>
              </a:ext>
            </a:extLst>
          </p:cNvPr>
          <p:cNvSpPr txBox="1"/>
          <p:nvPr/>
        </p:nvSpPr>
        <p:spPr>
          <a:xfrm>
            <a:off x="3716777" y="6350447"/>
            <a:ext cx="366807" cy="144000"/>
          </a:xfrm>
          <a:prstGeom prst="rect">
            <a:avLst/>
          </a:prstGeom>
          <a:noFill/>
          <a:ln>
            <a:solidFill>
              <a:srgbClr val="1E4E79"/>
            </a:solidFill>
          </a:ln>
        </p:spPr>
        <p:txBody>
          <a:bodyPr wrap="square" lIns="0" tIns="36000" rIns="0" bIns="36000" rtlCol="0" anchor="ctr">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216.87</a:t>
            </a:r>
          </a:p>
        </p:txBody>
      </p:sp>
      <p:sp>
        <p:nvSpPr>
          <p:cNvPr id="173" name="文本框 172">
            <a:extLst>
              <a:ext uri="{FF2B5EF4-FFF2-40B4-BE49-F238E27FC236}">
                <a16:creationId xmlns:a16="http://schemas.microsoft.com/office/drawing/2014/main" id="{3907E976-7FA1-1A4A-B61D-DA0021ED80E3}"/>
              </a:ext>
            </a:extLst>
          </p:cNvPr>
          <p:cNvSpPr txBox="1"/>
          <p:nvPr/>
        </p:nvSpPr>
        <p:spPr>
          <a:xfrm>
            <a:off x="3332262" y="6521034"/>
            <a:ext cx="324000" cy="144000"/>
          </a:xfrm>
          <a:prstGeom prst="rect">
            <a:avLst/>
          </a:prstGeom>
          <a:solidFill>
            <a:srgbClr val="92D050">
              <a:alpha val="60000"/>
            </a:srgbClr>
          </a:solidFill>
          <a:ln>
            <a:noFill/>
          </a:ln>
        </p:spPr>
        <p:txBody>
          <a:bodyPr wrap="square" lIns="0" tIns="36000" rIns="0" bIns="36000" rtlCol="0" anchor="ctr">
            <a:spAutoFit/>
          </a:bodyPr>
          <a:lstStyle/>
          <a:p>
            <a:pPr algn="ctr"/>
            <a:r>
              <a:rPr kumimoji="1" lang="en-US" altLang="zh-CN" sz="800" dirty="0">
                <a:latin typeface="Calibri" panose="020F0502020204030204" pitchFamily="34" charset="0"/>
                <a:cs typeface="Calibri" panose="020F0502020204030204" pitchFamily="34" charset="0"/>
              </a:rPr>
              <a:t>+39.2%</a:t>
            </a:r>
            <a:endParaRPr kumimoji="1" lang="zh-CN" altLang="en-US" sz="800" dirty="0" err="1">
              <a:latin typeface="Calibri" panose="020F0502020204030204" pitchFamily="34" charset="0"/>
              <a:cs typeface="Calibri" panose="020F0502020204030204" pitchFamily="34" charset="0"/>
            </a:endParaRPr>
          </a:p>
        </p:txBody>
      </p:sp>
      <p:grpSp>
        <p:nvGrpSpPr>
          <p:cNvPr id="174" name="组合 173">
            <a:extLst>
              <a:ext uri="{FF2B5EF4-FFF2-40B4-BE49-F238E27FC236}">
                <a16:creationId xmlns:a16="http://schemas.microsoft.com/office/drawing/2014/main" id="{D786F712-F1BB-0743-A9F3-9DC50EBE8591}"/>
              </a:ext>
            </a:extLst>
          </p:cNvPr>
          <p:cNvGrpSpPr/>
          <p:nvPr/>
        </p:nvGrpSpPr>
        <p:grpSpPr>
          <a:xfrm>
            <a:off x="11751691" y="1408924"/>
            <a:ext cx="579954" cy="3390554"/>
            <a:chOff x="12835713" y="1783319"/>
            <a:chExt cx="579954" cy="3390554"/>
          </a:xfrm>
        </p:grpSpPr>
        <p:cxnSp>
          <p:nvCxnSpPr>
            <p:cNvPr id="175" name="直接连接符 143">
              <a:extLst>
                <a:ext uri="{FF2B5EF4-FFF2-40B4-BE49-F238E27FC236}">
                  <a16:creationId xmlns:a16="http://schemas.microsoft.com/office/drawing/2014/main" id="{0D31C6C3-CA99-3A43-AE48-CE1E19A57550}"/>
                </a:ext>
              </a:extLst>
            </p:cNvPr>
            <p:cNvCxnSpPr>
              <a:cxnSpLocks/>
              <a:stCxn id="176" idx="2"/>
            </p:cNvCxnSpPr>
            <p:nvPr/>
          </p:nvCxnSpPr>
          <p:spPr>
            <a:xfrm flipH="1">
              <a:off x="13118956" y="1979133"/>
              <a:ext cx="6734" cy="319474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76" name="文本框 175">
              <a:extLst>
                <a:ext uri="{FF2B5EF4-FFF2-40B4-BE49-F238E27FC236}">
                  <a16:creationId xmlns:a16="http://schemas.microsoft.com/office/drawing/2014/main" id="{3D50A15D-2795-4342-AE7F-A749512DFFA0}"/>
                </a:ext>
              </a:extLst>
            </p:cNvPr>
            <p:cNvSpPr txBox="1"/>
            <p:nvPr/>
          </p:nvSpPr>
          <p:spPr>
            <a:xfrm>
              <a:off x="12835713" y="1783319"/>
              <a:ext cx="579954" cy="195814"/>
            </a:xfrm>
            <a:prstGeom prst="rect">
              <a:avLst/>
            </a:prstGeom>
            <a:solidFill>
              <a:srgbClr val="C00000"/>
            </a:solidFill>
          </p:spPr>
          <p:txBody>
            <a:bodyPr wrap="square" lIns="36000" tIns="36000" rIns="36000" bIns="36000" rtlCol="0">
              <a:spAutoFit/>
            </a:bodyPr>
            <a:lstStyle/>
            <a:p>
              <a:pPr algn="ctr"/>
              <a:r>
                <a:rPr lang="en-US" altLang="zh-CN" sz="800" b="1" dirty="0">
                  <a:solidFill>
                    <a:schemeClr val="bg1"/>
                  </a:solidFill>
                  <a:latin typeface="Calibri" panose="020F0502020204030204" pitchFamily="34" charset="0"/>
                  <a:cs typeface="Calibri" panose="020F0502020204030204" pitchFamily="34" charset="0"/>
                </a:rPr>
                <a:t>2020.12.11</a:t>
              </a:r>
              <a:endParaRPr lang="zh-CN" altLang="en-US" sz="800" b="1" dirty="0" err="1">
                <a:solidFill>
                  <a:schemeClr val="bg1"/>
                </a:solidFill>
                <a:latin typeface="Calibri" panose="020F0502020204030204" pitchFamily="34" charset="0"/>
                <a:cs typeface="Calibri" panose="020F0502020204030204" pitchFamily="34" charset="0"/>
              </a:endParaRPr>
            </a:p>
          </p:txBody>
        </p:sp>
      </p:grpSp>
      <p:sp>
        <p:nvSpPr>
          <p:cNvPr id="74" name="矩形 73">
            <a:extLst>
              <a:ext uri="{FF2B5EF4-FFF2-40B4-BE49-F238E27FC236}">
                <a16:creationId xmlns:a16="http://schemas.microsoft.com/office/drawing/2014/main" id="{D7B00D61-072A-D349-AD87-9E4919ECB4BC}"/>
              </a:ext>
            </a:extLst>
          </p:cNvPr>
          <p:cNvSpPr/>
          <p:nvPr/>
        </p:nvSpPr>
        <p:spPr>
          <a:xfrm>
            <a:off x="12125095" y="1646266"/>
            <a:ext cx="302062" cy="795426"/>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6" name="椭圆 125">
            <a:extLst>
              <a:ext uri="{FF2B5EF4-FFF2-40B4-BE49-F238E27FC236}">
                <a16:creationId xmlns:a16="http://schemas.microsoft.com/office/drawing/2014/main" id="{69C9EDDA-F3A9-BE40-AF0F-95BB53211340}"/>
              </a:ext>
            </a:extLst>
          </p:cNvPr>
          <p:cNvSpPr>
            <a:spLocks/>
          </p:cNvSpPr>
          <p:nvPr/>
        </p:nvSpPr>
        <p:spPr>
          <a:xfrm>
            <a:off x="12203843" y="2379190"/>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75" name="矩形 74">
            <a:extLst>
              <a:ext uri="{FF2B5EF4-FFF2-40B4-BE49-F238E27FC236}">
                <a16:creationId xmlns:a16="http://schemas.microsoft.com/office/drawing/2014/main" id="{ABE589B0-6E87-9145-9BDA-471EFFB1E3E6}"/>
              </a:ext>
            </a:extLst>
          </p:cNvPr>
          <p:cNvSpPr/>
          <p:nvPr/>
        </p:nvSpPr>
        <p:spPr>
          <a:xfrm>
            <a:off x="12161671" y="3341677"/>
            <a:ext cx="302062" cy="795426"/>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76" name="椭圆 75">
            <a:extLst>
              <a:ext uri="{FF2B5EF4-FFF2-40B4-BE49-F238E27FC236}">
                <a16:creationId xmlns:a16="http://schemas.microsoft.com/office/drawing/2014/main" id="{7F347EBC-B812-D24D-BAAA-975E690B08CC}"/>
              </a:ext>
            </a:extLst>
          </p:cNvPr>
          <p:cNvSpPr>
            <a:spLocks/>
          </p:cNvSpPr>
          <p:nvPr/>
        </p:nvSpPr>
        <p:spPr>
          <a:xfrm>
            <a:off x="12240419" y="4074601"/>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Tree>
    <p:extLst>
      <p:ext uri="{BB962C8B-B14F-4D97-AF65-F5344CB8AC3E}">
        <p14:creationId xmlns:p14="http://schemas.microsoft.com/office/powerpoint/2010/main" val="3236133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6" name="图表 145">
            <a:extLst>
              <a:ext uri="{FF2B5EF4-FFF2-40B4-BE49-F238E27FC236}">
                <a16:creationId xmlns:a16="http://schemas.microsoft.com/office/drawing/2014/main" id="{80DDCB0E-E468-544E-9E7E-8C219AFE56DB}"/>
              </a:ext>
            </a:extLst>
          </p:cNvPr>
          <p:cNvGraphicFramePr/>
          <p:nvPr>
            <p:extLst>
              <p:ext uri="{D42A27DB-BD31-4B8C-83A1-F6EECF244321}">
                <p14:modId xmlns:p14="http://schemas.microsoft.com/office/powerpoint/2010/main" val="1222564295"/>
              </p:ext>
            </p:extLst>
          </p:nvPr>
        </p:nvGraphicFramePr>
        <p:xfrm>
          <a:off x="8724900" y="1600562"/>
          <a:ext cx="3780598" cy="15825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图表 51">
            <a:extLst>
              <a:ext uri="{FF2B5EF4-FFF2-40B4-BE49-F238E27FC236}">
                <a16:creationId xmlns:a16="http://schemas.microsoft.com/office/drawing/2014/main" id="{D3D86AE5-A792-D545-8F51-1B7CAE155251}"/>
              </a:ext>
            </a:extLst>
          </p:cNvPr>
          <p:cNvGraphicFramePr/>
          <p:nvPr>
            <p:extLst>
              <p:ext uri="{D42A27DB-BD31-4B8C-83A1-F6EECF244321}">
                <p14:modId xmlns:p14="http://schemas.microsoft.com/office/powerpoint/2010/main" val="1234350630"/>
              </p:ext>
            </p:extLst>
          </p:nvPr>
        </p:nvGraphicFramePr>
        <p:xfrm>
          <a:off x="336550" y="1631950"/>
          <a:ext cx="3721888" cy="15478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3" name="图表 82">
            <a:extLst>
              <a:ext uri="{FF2B5EF4-FFF2-40B4-BE49-F238E27FC236}">
                <a16:creationId xmlns:a16="http://schemas.microsoft.com/office/drawing/2014/main" id="{A9AA486A-FF70-5D42-A912-D8E5462C6B23}"/>
              </a:ext>
            </a:extLst>
          </p:cNvPr>
          <p:cNvGraphicFramePr/>
          <p:nvPr>
            <p:extLst>
              <p:ext uri="{D42A27DB-BD31-4B8C-83A1-F6EECF244321}">
                <p14:modId xmlns:p14="http://schemas.microsoft.com/office/powerpoint/2010/main" val="2186672727"/>
              </p:ext>
            </p:extLst>
          </p:nvPr>
        </p:nvGraphicFramePr>
        <p:xfrm>
          <a:off x="8724900" y="3467958"/>
          <a:ext cx="3785673" cy="1547814"/>
        </p:xfrm>
        <a:graphic>
          <a:graphicData uri="http://schemas.openxmlformats.org/drawingml/2006/chart">
            <c:chart xmlns:c="http://schemas.openxmlformats.org/drawingml/2006/chart" xmlns:r="http://schemas.openxmlformats.org/officeDocument/2006/relationships" r:id="rId5"/>
          </a:graphicData>
        </a:graphic>
      </p:graphicFrame>
      <p:sp>
        <p:nvSpPr>
          <p:cNvPr id="2" name="标题 1">
            <a:extLst>
              <a:ext uri="{FF2B5EF4-FFF2-40B4-BE49-F238E27FC236}">
                <a16:creationId xmlns:a16="http://schemas.microsoft.com/office/drawing/2014/main" id="{54573623-7222-E341-904F-7C64ECF80355}"/>
              </a:ext>
            </a:extLst>
          </p:cNvPr>
          <p:cNvSpPr>
            <a:spLocks noGrp="1"/>
          </p:cNvSpPr>
          <p:nvPr>
            <p:ph type="title"/>
          </p:nvPr>
        </p:nvSpPr>
        <p:spPr/>
        <p:txBody>
          <a:bodyPr/>
          <a:lstStyle/>
          <a:p>
            <a:r>
              <a:rPr kumimoji="1" lang="en-US" altLang="zh-CN" sz="2800" dirty="0"/>
              <a:t>Share price of PEP is sensitive to the stock market and financial performance but not affected by the sentiments in social media</a:t>
            </a:r>
            <a:endParaRPr kumimoji="1" lang="zh-CN" altLang="en-US" sz="2800" dirty="0"/>
          </a:p>
        </p:txBody>
      </p:sp>
      <p:sp>
        <p:nvSpPr>
          <p:cNvPr id="53" name="TextBox 58">
            <a:extLst>
              <a:ext uri="{FF2B5EF4-FFF2-40B4-BE49-F238E27FC236}">
                <a16:creationId xmlns:a16="http://schemas.microsoft.com/office/drawing/2014/main" id="{2F07C31D-7541-2A45-B944-87CEA4981202}"/>
              </a:ext>
            </a:extLst>
          </p:cNvPr>
          <p:cNvSpPr txBox="1"/>
          <p:nvPr/>
        </p:nvSpPr>
        <p:spPr>
          <a:xfrm>
            <a:off x="359405" y="15951"/>
            <a:ext cx="11839081" cy="336337"/>
          </a:xfrm>
          <a:prstGeom prst="rect">
            <a:avLst/>
          </a:prstGeom>
          <a:noFill/>
        </p:spPr>
        <p:txBody>
          <a:bodyPr wrap="square" lIns="44622" tIns="44622" rIns="44622" bIns="44622" rtlCol="0">
            <a:spAutoFit/>
          </a:bodyPr>
          <a:lstStyle/>
          <a:p>
            <a:pPr defTabSz="1133399">
              <a:defRPr/>
            </a:pPr>
            <a:r>
              <a:rPr lang="en-US" altLang="zh-CN" sz="1600" b="1" dirty="0">
                <a:solidFill>
                  <a:prstClr val="black"/>
                </a:solidFill>
                <a:latin typeface="Calibri" panose="020F0502020204030204" pitchFamily="34" charset="0"/>
                <a:cs typeface="Calibri" panose="020F0502020204030204" pitchFamily="34" charset="0"/>
              </a:rPr>
              <a:t>Modeling: </a:t>
            </a:r>
            <a:r>
              <a:rPr lang="en-US" altLang="zh-CN" sz="1600" dirty="0">
                <a:solidFill>
                  <a:schemeClr val="accent6"/>
                </a:solidFill>
                <a:latin typeface="Calibri" panose="020F0502020204030204" pitchFamily="34" charset="0"/>
                <a:cs typeface="Calibri" panose="020F0502020204030204" pitchFamily="34" charset="0"/>
              </a:rPr>
              <a:t>Logics &amp; Structure  </a:t>
            </a:r>
            <a:r>
              <a:rPr lang="en-US" altLang="zh-CN" sz="1600" b="1" dirty="0">
                <a:latin typeface="Calibri" panose="020F0502020204030204" pitchFamily="34" charset="0"/>
                <a:cs typeface="Calibri" panose="020F0502020204030204" pitchFamily="34" charset="0"/>
                <a:sym typeface="Wingdings" pitchFamily="2" charset="2"/>
              </a:rPr>
              <a:t> Result Analysis (PEP) </a:t>
            </a:r>
            <a:r>
              <a:rPr lang="en-US" altLang="zh-CN" sz="1600" dirty="0">
                <a:solidFill>
                  <a:schemeClr val="accent6"/>
                </a:solidFill>
                <a:latin typeface="Calibri" panose="020F0502020204030204" pitchFamily="34" charset="0"/>
                <a:cs typeface="Calibri" panose="020F0502020204030204" pitchFamily="34" charset="0"/>
                <a:sym typeface="Wingdings" pitchFamily="2" charset="2"/>
              </a:rPr>
              <a:t> Applications</a:t>
            </a:r>
            <a:endParaRPr lang="zh-CN" altLang="en-US" sz="1600" dirty="0">
              <a:solidFill>
                <a:schemeClr val="accent6"/>
              </a:solidFill>
              <a:latin typeface="Calibri" panose="020F0502020204030204" pitchFamily="34" charset="0"/>
              <a:cs typeface="Calibri" panose="020F0502020204030204" pitchFamily="34" charset="0"/>
            </a:endParaRPr>
          </a:p>
        </p:txBody>
      </p:sp>
      <p:sp>
        <p:nvSpPr>
          <p:cNvPr id="58" name="矩形 57">
            <a:extLst>
              <a:ext uri="{FF2B5EF4-FFF2-40B4-BE49-F238E27FC236}">
                <a16:creationId xmlns:a16="http://schemas.microsoft.com/office/drawing/2014/main" id="{1A21F43C-B94D-4047-999F-0F0530B6C7F1}"/>
              </a:ext>
            </a:extLst>
          </p:cNvPr>
          <p:cNvSpPr/>
          <p:nvPr/>
        </p:nvSpPr>
        <p:spPr>
          <a:xfrm>
            <a:off x="10971639" y="16663"/>
            <a:ext cx="1421351" cy="338554"/>
          </a:xfrm>
          <a:prstGeom prst="rect">
            <a:avLst/>
          </a:prstGeom>
        </p:spPr>
        <p:txBody>
          <a:bodyPr wrap="none">
            <a:spAutoFit/>
          </a:bodyPr>
          <a:lstStyle/>
          <a:p>
            <a:r>
              <a:rPr lang="en-US" altLang="zh-CN" sz="1600" b="1" dirty="0">
                <a:latin typeface="Calibri" panose="020F0502020204030204" pitchFamily="34" charset="0"/>
                <a:cs typeface="Calibri" panose="020F0502020204030204" pitchFamily="34" charset="0"/>
              </a:rPr>
              <a:t>Team </a:t>
            </a:r>
            <a:r>
              <a:rPr lang="en-US" altLang="zh-CN" sz="1600" b="1" dirty="0" err="1">
                <a:latin typeface="Calibri" panose="020F0502020204030204" pitchFamily="34" charset="0"/>
                <a:cs typeface="Calibri" panose="020F0502020204030204" pitchFamily="34" charset="0"/>
              </a:rPr>
              <a:t>D’accord</a:t>
            </a:r>
            <a:endParaRPr lang="zh-CN" altLang="en-US" sz="1600" dirty="0"/>
          </a:p>
        </p:txBody>
      </p:sp>
      <p:sp>
        <p:nvSpPr>
          <p:cNvPr id="3" name="椭圆 2">
            <a:extLst>
              <a:ext uri="{FF2B5EF4-FFF2-40B4-BE49-F238E27FC236}">
                <a16:creationId xmlns:a16="http://schemas.microsoft.com/office/drawing/2014/main" id="{CBF5EFAD-99FB-1C43-8B37-A4D8DCE09D43}"/>
              </a:ext>
            </a:extLst>
          </p:cNvPr>
          <p:cNvSpPr/>
          <p:nvPr/>
        </p:nvSpPr>
        <p:spPr>
          <a:xfrm>
            <a:off x="323471" y="13430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49" name="矩形 48">
            <a:extLst>
              <a:ext uri="{FF2B5EF4-FFF2-40B4-BE49-F238E27FC236}">
                <a16:creationId xmlns:a16="http://schemas.microsoft.com/office/drawing/2014/main" id="{052A432C-1815-2142-B543-FFE881202898}"/>
              </a:ext>
            </a:extLst>
          </p:cNvPr>
          <p:cNvSpPr/>
          <p:nvPr/>
        </p:nvSpPr>
        <p:spPr>
          <a:xfrm>
            <a:off x="668213" y="1361876"/>
            <a:ext cx="1011600" cy="232298"/>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55" name="椭圆 54">
            <a:extLst>
              <a:ext uri="{FF2B5EF4-FFF2-40B4-BE49-F238E27FC236}">
                <a16:creationId xmlns:a16="http://schemas.microsoft.com/office/drawing/2014/main" id="{68DC034E-9110-DC45-83FB-E077C0970281}"/>
              </a:ext>
            </a:extLst>
          </p:cNvPr>
          <p:cNvSpPr>
            <a:spLocks noChangeAspect="1"/>
          </p:cNvSpPr>
          <p:nvPr/>
        </p:nvSpPr>
        <p:spPr>
          <a:xfrm>
            <a:off x="323471" y="31929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59" name="矩形 58">
            <a:extLst>
              <a:ext uri="{FF2B5EF4-FFF2-40B4-BE49-F238E27FC236}">
                <a16:creationId xmlns:a16="http://schemas.microsoft.com/office/drawing/2014/main" id="{F8797E5F-9A05-6D47-B398-C97911EDBE9B}"/>
              </a:ext>
            </a:extLst>
          </p:cNvPr>
          <p:cNvSpPr/>
          <p:nvPr/>
        </p:nvSpPr>
        <p:spPr>
          <a:xfrm>
            <a:off x="668213" y="3212725"/>
            <a:ext cx="3037512" cy="23040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 + Financial Statemen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67" name="椭圆 66">
            <a:extLst>
              <a:ext uri="{FF2B5EF4-FFF2-40B4-BE49-F238E27FC236}">
                <a16:creationId xmlns:a16="http://schemas.microsoft.com/office/drawing/2014/main" id="{10243A70-FE13-C349-B29D-6E3C91834F27}"/>
              </a:ext>
            </a:extLst>
          </p:cNvPr>
          <p:cNvSpPr>
            <a:spLocks noChangeAspect="1"/>
          </p:cNvSpPr>
          <p:nvPr/>
        </p:nvSpPr>
        <p:spPr>
          <a:xfrm>
            <a:off x="323471" y="5033836"/>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3</a:t>
            </a:r>
          </a:p>
        </p:txBody>
      </p:sp>
      <p:sp>
        <p:nvSpPr>
          <p:cNvPr id="71" name="矩形 70">
            <a:extLst>
              <a:ext uri="{FF2B5EF4-FFF2-40B4-BE49-F238E27FC236}">
                <a16:creationId xmlns:a16="http://schemas.microsoft.com/office/drawing/2014/main" id="{1629D6EE-2376-5340-A983-FB7BD0FE276B}"/>
              </a:ext>
            </a:extLst>
          </p:cNvPr>
          <p:cNvSpPr/>
          <p:nvPr/>
        </p:nvSpPr>
        <p:spPr>
          <a:xfrm>
            <a:off x="668213" y="5042901"/>
            <a:ext cx="3406481" cy="251870"/>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Stock</a:t>
            </a:r>
            <a:r>
              <a:rPr kumimoji="1" lang="zh-CN" altLang="en-US" sz="1400" b="1" dirty="0">
                <a:solidFill>
                  <a:schemeClr val="accent2"/>
                </a:solidFill>
                <a:latin typeface="Calibri" panose="020F0502020204030204" pitchFamily="34" charset="0"/>
                <a:cs typeface="Calibri" panose="020F0502020204030204" pitchFamily="34" charset="0"/>
              </a:rPr>
              <a:t> </a:t>
            </a:r>
            <a:r>
              <a:rPr kumimoji="1" lang="en-US" altLang="zh-CN" sz="1400" b="1" dirty="0">
                <a:solidFill>
                  <a:schemeClr val="accent2"/>
                </a:solidFill>
                <a:latin typeface="Calibri" panose="020F0502020204030204" pitchFamily="34" charset="0"/>
                <a:cs typeface="Calibri" panose="020F0502020204030204" pitchFamily="34" charset="0"/>
              </a:rPr>
              <a:t>Market + Financial Statements + News </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graphicFrame>
        <p:nvGraphicFramePr>
          <p:cNvPr id="72" name="图表 71">
            <a:extLst>
              <a:ext uri="{FF2B5EF4-FFF2-40B4-BE49-F238E27FC236}">
                <a16:creationId xmlns:a16="http://schemas.microsoft.com/office/drawing/2014/main" id="{9BFFFF07-35EE-C842-9C84-D989DF02DB32}"/>
              </a:ext>
            </a:extLst>
          </p:cNvPr>
          <p:cNvGraphicFramePr/>
          <p:nvPr>
            <p:extLst>
              <p:ext uri="{D42A27DB-BD31-4B8C-83A1-F6EECF244321}">
                <p14:modId xmlns:p14="http://schemas.microsoft.com/office/powerpoint/2010/main" val="3751454563"/>
              </p:ext>
            </p:extLst>
          </p:nvPr>
        </p:nvGraphicFramePr>
        <p:xfrm>
          <a:off x="338364" y="3462925"/>
          <a:ext cx="3720074" cy="157755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3" name="图表 72">
            <a:extLst>
              <a:ext uri="{FF2B5EF4-FFF2-40B4-BE49-F238E27FC236}">
                <a16:creationId xmlns:a16="http://schemas.microsoft.com/office/drawing/2014/main" id="{4F712916-F820-3C48-95A8-94E1908280F8}"/>
              </a:ext>
            </a:extLst>
          </p:cNvPr>
          <p:cNvGraphicFramePr/>
          <p:nvPr>
            <p:extLst>
              <p:ext uri="{D42A27DB-BD31-4B8C-83A1-F6EECF244321}">
                <p14:modId xmlns:p14="http://schemas.microsoft.com/office/powerpoint/2010/main" val="2023435707"/>
              </p:ext>
            </p:extLst>
          </p:nvPr>
        </p:nvGraphicFramePr>
        <p:xfrm>
          <a:off x="336550" y="5297197"/>
          <a:ext cx="3738144" cy="1577550"/>
        </p:xfrm>
        <a:graphic>
          <a:graphicData uri="http://schemas.openxmlformats.org/drawingml/2006/chart">
            <c:chart xmlns:c="http://schemas.openxmlformats.org/drawingml/2006/chart" xmlns:r="http://schemas.openxmlformats.org/officeDocument/2006/relationships" r:id="rId7"/>
          </a:graphicData>
        </a:graphic>
      </p:graphicFrame>
      <p:sp>
        <p:nvSpPr>
          <p:cNvPr id="77" name="矩形 76">
            <a:extLst>
              <a:ext uri="{FF2B5EF4-FFF2-40B4-BE49-F238E27FC236}">
                <a16:creationId xmlns:a16="http://schemas.microsoft.com/office/drawing/2014/main" id="{F2AA07C0-872B-694F-A0FE-BBE9BF5796B6}"/>
              </a:ext>
            </a:extLst>
          </p:cNvPr>
          <p:cNvSpPr/>
          <p:nvPr/>
        </p:nvSpPr>
        <p:spPr>
          <a:xfrm>
            <a:off x="4090906" y="1612531"/>
            <a:ext cx="4384800" cy="1675182"/>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altLang="zh-CN" sz="1050" b="1" dirty="0">
                <a:solidFill>
                  <a:schemeClr val="accent2"/>
                </a:solidFill>
                <a:latin typeface="Calibri" panose="020F0502020204030204" pitchFamily="34" charset="0"/>
                <a:cs typeface="Calibri" panose="020F0502020204030204" pitchFamily="34" charset="0"/>
              </a:rPr>
              <a:t>The information from the stock market can explain most volatility of PEP, and the performance of the overall stock market can be well reflected in the share price.</a:t>
            </a:r>
          </a:p>
          <a:p>
            <a:pPr marL="171450" indent="-171450">
              <a:buFont typeface="Arial" panose="020B0604020202020204" pitchFamily="34" charset="0"/>
              <a:buChar char="•"/>
            </a:pPr>
            <a:r>
              <a:rPr lang="en-US" altLang="zh-CN" sz="1050" dirty="0">
                <a:solidFill>
                  <a:schemeClr val="tx1"/>
                </a:solidFill>
                <a:latin typeface="Calibri" panose="020F0502020204030204" pitchFamily="34" charset="0"/>
                <a:cs typeface="Calibri" panose="020F0502020204030204" pitchFamily="34" charset="0"/>
              </a:rPr>
              <a:t>The insane fall of the stock market in 2018/2 caused a slump in share price, indicating that the stock market is undervalued. The predicted price is higher than the actual price at </a:t>
            </a:r>
            <a:r>
              <a:rPr kumimoji="1" lang="en-US" altLang="zh-CN" sz="1050" dirty="0">
                <a:solidFill>
                  <a:schemeClr val="tx1"/>
                </a:solidFill>
                <a:latin typeface="Calibri" panose="020F0502020204030204" pitchFamily="34" charset="0"/>
                <a:cs typeface="Calibri" panose="020F0502020204030204" pitchFamily="34" charset="0"/>
              </a:rPr>
              <a:t>② </a:t>
            </a:r>
            <a:r>
              <a:rPr lang="en-US" altLang="zh-CN" sz="1050" dirty="0">
                <a:solidFill>
                  <a:schemeClr val="tx1"/>
                </a:solidFill>
                <a:latin typeface="Calibri" panose="020F0502020204030204" pitchFamily="34" charset="0"/>
                <a:cs typeface="Calibri" panose="020F0502020204030204" pitchFamily="34" charset="0"/>
              </a:rPr>
              <a:t>confirms the </a:t>
            </a:r>
            <a:r>
              <a:rPr lang="en-US" altLang="zh-CN" sz="1050" b="1" dirty="0">
                <a:solidFill>
                  <a:schemeClr val="tx1"/>
                </a:solidFill>
                <a:latin typeface="Calibri" panose="020F0502020204030204" pitchFamily="34" charset="0"/>
                <a:cs typeface="Calibri" panose="020F0502020204030204" pitchFamily="34" charset="0"/>
              </a:rPr>
              <a:t>undervaluation of the stock market</a:t>
            </a:r>
          </a:p>
          <a:p>
            <a:r>
              <a:rPr lang="en-US" altLang="zh-CN" sz="1050" b="1" dirty="0">
                <a:solidFill>
                  <a:schemeClr val="accent2"/>
                </a:solidFill>
                <a:latin typeface="Calibri" panose="020F0502020204030204" pitchFamily="34" charset="0"/>
                <a:cs typeface="Calibri" panose="020F0502020204030204" pitchFamily="34" charset="0"/>
              </a:rPr>
              <a:t>Testing part: </a:t>
            </a:r>
            <a:r>
              <a:rPr lang="en-US" altLang="zh-CN" sz="1050" dirty="0">
                <a:solidFill>
                  <a:schemeClr val="tx1"/>
                </a:solidFill>
                <a:latin typeface="Calibri" panose="020F0502020204030204" pitchFamily="34" charset="0"/>
                <a:cs typeface="Calibri" panose="020F0502020204030204" pitchFamily="34" charset="0"/>
              </a:rPr>
              <a:t>The predicted value has been rising, which is not consistent with the actual. This is because the stock market has been performing well after August 2020, indicating that </a:t>
            </a:r>
            <a:r>
              <a:rPr lang="en-US" altLang="zh-CN" sz="1050" b="1" dirty="0">
                <a:solidFill>
                  <a:schemeClr val="tx1"/>
                </a:solidFill>
                <a:latin typeface="Calibri" panose="020F0502020204030204" pitchFamily="34" charset="0"/>
                <a:cs typeface="Calibri" panose="020F0502020204030204" pitchFamily="34" charset="0"/>
              </a:rPr>
              <a:t>non-market factors </a:t>
            </a:r>
            <a:r>
              <a:rPr lang="en-US" altLang="zh-CN" sz="1050" dirty="0">
                <a:solidFill>
                  <a:schemeClr val="tx1"/>
                </a:solidFill>
                <a:latin typeface="Calibri" panose="020F0502020204030204" pitchFamily="34" charset="0"/>
                <a:cs typeface="Calibri" panose="020F0502020204030204" pitchFamily="34" charset="0"/>
              </a:rPr>
              <a:t>are affecting the share price.</a:t>
            </a:r>
          </a:p>
        </p:txBody>
      </p:sp>
      <p:sp>
        <p:nvSpPr>
          <p:cNvPr id="78" name="椭圆 77">
            <a:extLst>
              <a:ext uri="{FF2B5EF4-FFF2-40B4-BE49-F238E27FC236}">
                <a16:creationId xmlns:a16="http://schemas.microsoft.com/office/drawing/2014/main" id="{B85E69F8-08F3-C541-80AA-74B335BD3E6A}"/>
              </a:ext>
            </a:extLst>
          </p:cNvPr>
          <p:cNvSpPr/>
          <p:nvPr/>
        </p:nvSpPr>
        <p:spPr>
          <a:xfrm>
            <a:off x="8731412" y="1343025"/>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1</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79" name="矩形 78">
            <a:extLst>
              <a:ext uri="{FF2B5EF4-FFF2-40B4-BE49-F238E27FC236}">
                <a16:creationId xmlns:a16="http://schemas.microsoft.com/office/drawing/2014/main" id="{FE596D74-5D5A-FD4D-A0C9-DC58790BDCAD}"/>
              </a:ext>
            </a:extLst>
          </p:cNvPr>
          <p:cNvSpPr/>
          <p:nvPr/>
        </p:nvSpPr>
        <p:spPr>
          <a:xfrm>
            <a:off x="9076154" y="1361876"/>
            <a:ext cx="3613150" cy="22659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Model without Twee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sp>
        <p:nvSpPr>
          <p:cNvPr id="81" name="椭圆 80">
            <a:extLst>
              <a:ext uri="{FF2B5EF4-FFF2-40B4-BE49-F238E27FC236}">
                <a16:creationId xmlns:a16="http://schemas.microsoft.com/office/drawing/2014/main" id="{EA4E1064-C49F-E940-96DC-CDD5223A11EC}"/>
              </a:ext>
            </a:extLst>
          </p:cNvPr>
          <p:cNvSpPr/>
          <p:nvPr/>
        </p:nvSpPr>
        <p:spPr>
          <a:xfrm>
            <a:off x="8740773" y="3193399"/>
            <a:ext cx="270000" cy="270000"/>
          </a:xfrm>
          <a:prstGeom prst="ellipse">
            <a:avLst/>
          </a:prstGeom>
          <a:solidFill>
            <a:schemeClr val="accent4"/>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kumimoji="1" lang="en-US" altLang="zh-CN" sz="1400" b="1" dirty="0">
                <a:solidFill>
                  <a:schemeClr val="tx1"/>
                </a:solidFill>
                <a:latin typeface="Calibri" panose="020F0502020204030204" pitchFamily="34" charset="0"/>
                <a:cs typeface="Calibri" panose="020F0502020204030204" pitchFamily="34" charset="0"/>
              </a:rPr>
              <a:t>2</a:t>
            </a:r>
            <a:endParaRPr kumimoji="1" lang="zh-CN" altLang="en-US" sz="1400" b="1" dirty="0">
              <a:solidFill>
                <a:schemeClr val="tx1"/>
              </a:solidFill>
              <a:latin typeface="Calibri" panose="020F0502020204030204" pitchFamily="34" charset="0"/>
              <a:cs typeface="Calibri" panose="020F0502020204030204" pitchFamily="34" charset="0"/>
            </a:endParaRPr>
          </a:p>
        </p:txBody>
      </p:sp>
      <p:sp>
        <p:nvSpPr>
          <p:cNvPr id="82" name="矩形 81">
            <a:extLst>
              <a:ext uri="{FF2B5EF4-FFF2-40B4-BE49-F238E27FC236}">
                <a16:creationId xmlns:a16="http://schemas.microsoft.com/office/drawing/2014/main" id="{D94E9244-C0AC-4A44-8798-CD696FB3EF35}"/>
              </a:ext>
            </a:extLst>
          </p:cNvPr>
          <p:cNvSpPr/>
          <p:nvPr/>
        </p:nvSpPr>
        <p:spPr>
          <a:xfrm>
            <a:off x="9085515" y="3212250"/>
            <a:ext cx="3613150" cy="226591"/>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en-US" altLang="zh-CN" sz="1400" b="1" dirty="0">
                <a:solidFill>
                  <a:schemeClr val="accent2"/>
                </a:solidFill>
                <a:latin typeface="Calibri" panose="020F0502020204030204" pitchFamily="34" charset="0"/>
                <a:cs typeface="Calibri" panose="020F0502020204030204" pitchFamily="34" charset="0"/>
              </a:rPr>
              <a:t>Model with Tweets</a:t>
            </a:r>
            <a:endParaRPr kumimoji="1" lang="zh-CN" altLang="en-US" sz="1400" b="1" dirty="0">
              <a:solidFill>
                <a:schemeClr val="accent2"/>
              </a:solidFill>
              <a:latin typeface="Calibri" panose="020F0502020204030204" pitchFamily="34" charset="0"/>
              <a:cs typeface="Calibri" panose="020F0502020204030204" pitchFamily="34" charset="0"/>
            </a:endParaRPr>
          </a:p>
        </p:txBody>
      </p:sp>
      <p:cxnSp>
        <p:nvCxnSpPr>
          <p:cNvPr id="5" name="直线连接符 4">
            <a:extLst>
              <a:ext uri="{FF2B5EF4-FFF2-40B4-BE49-F238E27FC236}">
                <a16:creationId xmlns:a16="http://schemas.microsoft.com/office/drawing/2014/main" id="{DC42215A-EB74-7747-94D5-89BB6158F349}"/>
              </a:ext>
            </a:extLst>
          </p:cNvPr>
          <p:cNvCxnSpPr>
            <a:cxnSpLocks/>
          </p:cNvCxnSpPr>
          <p:nvPr/>
        </p:nvCxnSpPr>
        <p:spPr>
          <a:xfrm>
            <a:off x="8616950" y="1384973"/>
            <a:ext cx="0" cy="5489774"/>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6" name="矩形 85">
            <a:extLst>
              <a:ext uri="{FF2B5EF4-FFF2-40B4-BE49-F238E27FC236}">
                <a16:creationId xmlns:a16="http://schemas.microsoft.com/office/drawing/2014/main" id="{54CFFC6D-69B5-EC44-A1D8-F1E49F26DA4B}"/>
              </a:ext>
            </a:extLst>
          </p:cNvPr>
          <p:cNvSpPr/>
          <p:nvPr/>
        </p:nvSpPr>
        <p:spPr>
          <a:xfrm>
            <a:off x="4090906" y="3367528"/>
            <a:ext cx="4384800" cy="1728000"/>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Financial performance can affect the share price directly or through the gap between public expectations and the actual situation.</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From Feb to Aug 2015 (①), the actual price was lower than predicted, indicating that PEP </a:t>
            </a:r>
            <a:r>
              <a:rPr kumimoji="1" lang="en-US" altLang="zh-CN" sz="1050" b="1" dirty="0">
                <a:solidFill>
                  <a:schemeClr val="tx1"/>
                </a:solidFill>
                <a:latin typeface="Calibri" panose="020F0502020204030204" pitchFamily="34" charset="0"/>
                <a:cs typeface="Calibri" panose="020F0502020204030204" pitchFamily="34" charset="0"/>
              </a:rPr>
              <a:t>could not meet the market expectation</a:t>
            </a:r>
            <a:r>
              <a:rPr kumimoji="1" lang="en-US" altLang="zh-CN" sz="1050" dirty="0">
                <a:solidFill>
                  <a:schemeClr val="tx1"/>
                </a:solidFill>
                <a:latin typeface="Calibri" panose="020F0502020204030204" pitchFamily="34" charset="0"/>
                <a:cs typeface="Calibri" panose="020F0502020204030204" pitchFamily="34" charset="0"/>
              </a:rPr>
              <a:t>. This can be demonstrated by the fact the DCF value is lower than the share price in 2015 Q1 and Q2 in the Market Research part. However, after adding the financial information, the model narrowed the gap between the predicted price and the actual price because the </a:t>
            </a:r>
            <a:r>
              <a:rPr kumimoji="1" lang="en-US" altLang="zh-CN" sz="1050" b="1" dirty="0">
                <a:solidFill>
                  <a:schemeClr val="tx1"/>
                </a:solidFill>
                <a:latin typeface="Calibri" panose="020F0502020204030204" pitchFamily="34" charset="0"/>
                <a:cs typeface="Calibri" panose="020F0502020204030204" pitchFamily="34" charset="0"/>
              </a:rPr>
              <a:t>company's earnings and income declined </a:t>
            </a:r>
            <a:r>
              <a:rPr kumimoji="1" lang="en-US" altLang="zh-CN" sz="1050" dirty="0">
                <a:solidFill>
                  <a:schemeClr val="tx1"/>
                </a:solidFill>
                <a:latin typeface="Calibri" panose="020F0502020204030204" pitchFamily="34" charset="0"/>
                <a:cs typeface="Calibri" panose="020F0502020204030204" pitchFamily="34" charset="0"/>
              </a:rPr>
              <a:t>in this period, leading to a weak performance of its share price</a:t>
            </a:r>
          </a:p>
          <a:p>
            <a:r>
              <a:rPr kumimoji="1" lang="en-US" altLang="zh-CN" sz="1050" b="1" dirty="0">
                <a:solidFill>
                  <a:schemeClr val="accent2"/>
                </a:solidFill>
                <a:latin typeface="Calibri" panose="020F0502020204030204" pitchFamily="34" charset="0"/>
                <a:cs typeface="Calibri" panose="020F0502020204030204" pitchFamily="34" charset="0"/>
              </a:rPr>
              <a:t>Testing part: </a:t>
            </a:r>
            <a:r>
              <a:rPr kumimoji="1" lang="en-US" altLang="zh-CN" sz="1050" dirty="0">
                <a:solidFill>
                  <a:schemeClr val="tx1"/>
                </a:solidFill>
                <a:latin typeface="Calibri" panose="020F0502020204030204" pitchFamily="34" charset="0"/>
                <a:cs typeface="Calibri" panose="020F0502020204030204" pitchFamily="34" charset="0"/>
              </a:rPr>
              <a:t>The predicted price is closer to the actual because financial information adjusted the sharp rise in the stock market.</a:t>
            </a:r>
          </a:p>
        </p:txBody>
      </p:sp>
      <p:sp>
        <p:nvSpPr>
          <p:cNvPr id="87" name="矩形 86">
            <a:extLst>
              <a:ext uri="{FF2B5EF4-FFF2-40B4-BE49-F238E27FC236}">
                <a16:creationId xmlns:a16="http://schemas.microsoft.com/office/drawing/2014/main" id="{98D464EF-8B07-214A-9C75-27562CF4E3C1}"/>
              </a:ext>
            </a:extLst>
          </p:cNvPr>
          <p:cNvSpPr/>
          <p:nvPr/>
        </p:nvSpPr>
        <p:spPr>
          <a:xfrm>
            <a:off x="4090906" y="5175343"/>
            <a:ext cx="4384800" cy="1675182"/>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altLang="zh-CN" sz="1050" b="1" dirty="0">
                <a:solidFill>
                  <a:schemeClr val="accent2"/>
                </a:solidFill>
                <a:latin typeface="Calibri" panose="020F0502020204030204" pitchFamily="34" charset="0"/>
                <a:cs typeface="Calibri" panose="020F0502020204030204" pitchFamily="34" charset="0"/>
              </a:rPr>
              <a:t>News affects the share price by influencing the public sentiment and expectations of the company. In this model, news increased the volatility of the predicted line.</a:t>
            </a:r>
          </a:p>
          <a:p>
            <a:pPr marL="171450" indent="-171450">
              <a:buFont typeface="Arial" panose="020B0604020202020204" pitchFamily="34" charset="0"/>
              <a:buChar char="•"/>
            </a:pPr>
            <a:r>
              <a:rPr lang="en-US" altLang="zh-CN" sz="1050" dirty="0">
                <a:solidFill>
                  <a:schemeClr val="tx1"/>
                </a:solidFill>
                <a:latin typeface="Calibri" panose="020F0502020204030204" pitchFamily="34" charset="0"/>
                <a:cs typeface="Calibri" panose="020F0502020204030204" pitchFamily="34" charset="0"/>
              </a:rPr>
              <a:t>The model performs better in May 2018 (</a:t>
            </a:r>
            <a:r>
              <a:rPr kumimoji="1" lang="en-US" altLang="zh-CN" sz="1050" dirty="0">
                <a:solidFill>
                  <a:schemeClr val="tx1"/>
                </a:solidFill>
                <a:latin typeface="Calibri" panose="020F0502020204030204" pitchFamily="34" charset="0"/>
                <a:cs typeface="Calibri" panose="020F0502020204030204" pitchFamily="34" charset="0"/>
              </a:rPr>
              <a:t>③) </a:t>
            </a:r>
            <a:r>
              <a:rPr lang="en-US" altLang="zh-CN" sz="1050" dirty="0">
                <a:solidFill>
                  <a:schemeClr val="tx1"/>
                </a:solidFill>
                <a:latin typeface="Calibri" panose="020F0502020204030204" pitchFamily="34" charset="0"/>
                <a:cs typeface="Calibri" panose="020F0502020204030204" pitchFamily="34" charset="0"/>
              </a:rPr>
              <a:t>when the predicted value becomes lower and closer to the actual price. This is because that PepsiCo announced that it would </a:t>
            </a:r>
            <a:r>
              <a:rPr lang="en-US" altLang="zh-CN" sz="1050" b="1" dirty="0">
                <a:solidFill>
                  <a:schemeClr val="tx1"/>
                </a:solidFill>
                <a:latin typeface="Calibri" panose="020F0502020204030204" pitchFamily="34" charset="0"/>
                <a:cs typeface="Calibri" panose="020F0502020204030204" pitchFamily="34" charset="0"/>
              </a:rPr>
              <a:t>acquire</a:t>
            </a:r>
            <a:r>
              <a:rPr lang="en-US" altLang="zh-CN" sz="1050" dirty="0">
                <a:solidFill>
                  <a:schemeClr val="tx1"/>
                </a:solidFill>
                <a:latin typeface="Calibri" panose="020F0502020204030204" pitchFamily="34" charset="0"/>
                <a:cs typeface="Calibri" panose="020F0502020204030204" pitchFamily="34" charset="0"/>
              </a:rPr>
              <a:t> fruit and veggie snack maker Bare Foods, which is </a:t>
            </a:r>
            <a:r>
              <a:rPr lang="en-US" altLang="zh-CN" sz="1050" b="1" dirty="0">
                <a:solidFill>
                  <a:schemeClr val="tx1"/>
                </a:solidFill>
                <a:latin typeface="Calibri" panose="020F0502020204030204" pitchFamily="34" charset="0"/>
                <a:cs typeface="Calibri" panose="020F0502020204030204" pitchFamily="34" charset="0"/>
              </a:rPr>
              <a:t>not accepted by the public</a:t>
            </a:r>
          </a:p>
          <a:p>
            <a:r>
              <a:rPr lang="en-US" altLang="zh-CN" sz="1050" b="1" dirty="0">
                <a:solidFill>
                  <a:schemeClr val="accent2"/>
                </a:solidFill>
                <a:latin typeface="Calibri" panose="020F0502020204030204" pitchFamily="34" charset="0"/>
                <a:cs typeface="Calibri" panose="020F0502020204030204" pitchFamily="34" charset="0"/>
              </a:rPr>
              <a:t>Testing part:</a:t>
            </a:r>
            <a:r>
              <a:rPr lang="en-US" altLang="zh-CN" sz="1050" dirty="0">
                <a:solidFill>
                  <a:schemeClr val="accent2"/>
                </a:solidFill>
                <a:latin typeface="Calibri" panose="020F0502020204030204" pitchFamily="34" charset="0"/>
                <a:cs typeface="Calibri" panose="020F0502020204030204" pitchFamily="34" charset="0"/>
              </a:rPr>
              <a:t> </a:t>
            </a:r>
            <a:r>
              <a:rPr lang="en-US" altLang="zh-CN" sz="1050" dirty="0">
                <a:solidFill>
                  <a:schemeClr val="tx1"/>
                </a:solidFill>
                <a:latin typeface="Calibri" panose="020F0502020204030204" pitchFamily="34" charset="0"/>
                <a:cs typeface="Calibri" panose="020F0502020204030204" pitchFamily="34" charset="0"/>
              </a:rPr>
              <a:t>In Mar 2021, PEP has been named top </a:t>
            </a:r>
            <a:r>
              <a:rPr lang="en-US" altLang="zh-CN" sz="1050" b="1" dirty="0">
                <a:solidFill>
                  <a:schemeClr val="tx1"/>
                </a:solidFill>
                <a:latin typeface="Calibri" panose="020F0502020204030204" pitchFamily="34" charset="0"/>
                <a:cs typeface="Calibri" panose="020F0502020204030204" pitchFamily="34" charset="0"/>
              </a:rPr>
              <a:t>plastic polluters </a:t>
            </a:r>
            <a:r>
              <a:rPr lang="en-US" altLang="zh-CN" sz="1050" dirty="0">
                <a:solidFill>
                  <a:schemeClr val="tx1"/>
                </a:solidFill>
                <a:latin typeface="Calibri" panose="020F0502020204030204" pitchFamily="34" charset="0"/>
                <a:cs typeface="Calibri" panose="020F0502020204030204" pitchFamily="34" charset="0"/>
              </a:rPr>
              <a:t>for three years. The negative news enables the predicted price to be much closer to the lowest point of the actual price.</a:t>
            </a:r>
          </a:p>
        </p:txBody>
      </p:sp>
      <p:sp>
        <p:nvSpPr>
          <p:cNvPr id="89" name="矩形 88">
            <a:extLst>
              <a:ext uri="{FF2B5EF4-FFF2-40B4-BE49-F238E27FC236}">
                <a16:creationId xmlns:a16="http://schemas.microsoft.com/office/drawing/2014/main" id="{53CB9E03-5366-B745-A73B-C9F49952F64E}"/>
              </a:ext>
            </a:extLst>
          </p:cNvPr>
          <p:cNvSpPr/>
          <p:nvPr/>
        </p:nvSpPr>
        <p:spPr>
          <a:xfrm>
            <a:off x="8724900" y="5175343"/>
            <a:ext cx="3779838" cy="1673882"/>
          </a:xfrm>
          <a:prstGeom prst="rect">
            <a:avLst/>
          </a:prstGeom>
          <a:solidFill>
            <a:schemeClr val="bg2">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kumimoji="1" lang="en-US" altLang="zh-CN" sz="1050" b="1" dirty="0">
                <a:solidFill>
                  <a:schemeClr val="accent2"/>
                </a:solidFill>
                <a:latin typeface="Calibri" panose="020F0502020204030204" pitchFamily="34" charset="0"/>
                <a:cs typeface="Calibri" panose="020F0502020204030204" pitchFamily="34" charset="0"/>
              </a:rPr>
              <a:t>After adding the sentimental information from Tweets, errors become larger, indicating that the sentiment on social media cannot influence the share price of PEP.</a:t>
            </a:r>
          </a:p>
          <a:p>
            <a:pPr marL="171450" indent="-171450">
              <a:buFont typeface="Arial" panose="020B0604020202020204" pitchFamily="34" charset="0"/>
              <a:buChar char="•"/>
            </a:pPr>
            <a:r>
              <a:rPr kumimoji="1" lang="en-US" altLang="zh-CN" sz="1050" dirty="0">
                <a:solidFill>
                  <a:schemeClr val="tx1"/>
                </a:solidFill>
                <a:latin typeface="Calibri" panose="020F0502020204030204" pitchFamily="34" charset="0"/>
                <a:cs typeface="Calibri" panose="020F0502020204030204" pitchFamily="34" charset="0"/>
              </a:rPr>
              <a:t>In May 2018 (①), the announcement of Pepsi Generation campaign, the launch of its football fashion collection, and the sponsor for UEFA Champions League Final Opening Ceremony allowed PEP to </a:t>
            </a:r>
            <a:r>
              <a:rPr kumimoji="1" lang="en-US" altLang="zh-CN" sz="1050" b="1" dirty="0">
                <a:solidFill>
                  <a:schemeClr val="tx1"/>
                </a:solidFill>
                <a:latin typeface="Calibri" panose="020F0502020204030204" pitchFamily="34" charset="0"/>
                <a:cs typeface="Calibri" panose="020F0502020204030204" pitchFamily="34" charset="0"/>
              </a:rPr>
              <a:t>receive good reviews </a:t>
            </a:r>
            <a:r>
              <a:rPr kumimoji="1" lang="en-US" altLang="zh-CN" sz="1050" dirty="0">
                <a:solidFill>
                  <a:schemeClr val="tx1"/>
                </a:solidFill>
                <a:latin typeface="Calibri" panose="020F0502020204030204" pitchFamily="34" charset="0"/>
                <a:cs typeface="Calibri" panose="020F0502020204030204" pitchFamily="34" charset="0"/>
              </a:rPr>
              <a:t>on social media, leading a high predicted price. However, the predicted price was far from the actual price, which demonstrated that the information on social media can not be inflected in the share price</a:t>
            </a:r>
          </a:p>
        </p:txBody>
      </p:sp>
      <p:sp>
        <p:nvSpPr>
          <p:cNvPr id="92" name="TextBox 61">
            <a:extLst>
              <a:ext uri="{FF2B5EF4-FFF2-40B4-BE49-F238E27FC236}">
                <a16:creationId xmlns:a16="http://schemas.microsoft.com/office/drawing/2014/main" id="{610D4E74-C917-1244-83EE-472A106CC547}"/>
              </a:ext>
            </a:extLst>
          </p:cNvPr>
          <p:cNvSpPr txBox="1"/>
          <p:nvPr/>
        </p:nvSpPr>
        <p:spPr>
          <a:xfrm>
            <a:off x="6435716" y="6868809"/>
            <a:ext cx="5832484" cy="244004"/>
          </a:xfrm>
          <a:prstGeom prst="rect">
            <a:avLst/>
          </a:prstGeom>
          <a:noFill/>
        </p:spPr>
        <p:txBody>
          <a:bodyPr wrap="square" lIns="44622" tIns="44622" rIns="44622" bIns="44622" rtlCol="0">
            <a:spAutoFit/>
          </a:bodyPr>
          <a:lstStyle/>
          <a:p>
            <a:r>
              <a:rPr lang="en-US" altLang="zh-CN" sz="1000" i="1" dirty="0">
                <a:solidFill>
                  <a:prstClr val="black"/>
                </a:solidFill>
                <a:latin typeface="Calibri" panose="020F0502020204030204" pitchFamily="34" charset="0"/>
                <a:cs typeface="Calibri" panose="020F0502020204030204" pitchFamily="34" charset="0"/>
              </a:rPr>
              <a:t>Note: left part analyzes data from 2013; right part (including Tweets) analyzes data from 2017</a:t>
            </a:r>
          </a:p>
        </p:txBody>
      </p:sp>
      <p:grpSp>
        <p:nvGrpSpPr>
          <p:cNvPr id="31" name="组合 30">
            <a:extLst>
              <a:ext uri="{FF2B5EF4-FFF2-40B4-BE49-F238E27FC236}">
                <a16:creationId xmlns:a16="http://schemas.microsoft.com/office/drawing/2014/main" id="{FA8DA6BE-62C5-B544-9D28-A1272F0FFD93}"/>
              </a:ext>
            </a:extLst>
          </p:cNvPr>
          <p:cNvGrpSpPr/>
          <p:nvPr/>
        </p:nvGrpSpPr>
        <p:grpSpPr>
          <a:xfrm>
            <a:off x="3424945" y="1388101"/>
            <a:ext cx="529698" cy="5277189"/>
            <a:chOff x="4294133" y="1703564"/>
            <a:chExt cx="529698" cy="4961557"/>
          </a:xfrm>
        </p:grpSpPr>
        <p:cxnSp>
          <p:nvCxnSpPr>
            <p:cNvPr id="32" name="直接连接符 5">
              <a:extLst>
                <a:ext uri="{FF2B5EF4-FFF2-40B4-BE49-F238E27FC236}">
                  <a16:creationId xmlns:a16="http://schemas.microsoft.com/office/drawing/2014/main" id="{3807CC26-55EF-4C4E-9869-719D9F7C251D}"/>
                </a:ext>
              </a:extLst>
            </p:cNvPr>
            <p:cNvCxnSpPr>
              <a:cxnSpLocks/>
              <a:stCxn id="33" idx="2"/>
            </p:cNvCxnSpPr>
            <p:nvPr/>
          </p:nvCxnSpPr>
          <p:spPr>
            <a:xfrm>
              <a:off x="4558982" y="1887666"/>
              <a:ext cx="0" cy="4777455"/>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D365A1F3-ABB8-6941-BF20-D0A5F5CA3CA9}"/>
                </a:ext>
              </a:extLst>
            </p:cNvPr>
            <p:cNvSpPr txBox="1"/>
            <p:nvPr/>
          </p:nvSpPr>
          <p:spPr>
            <a:xfrm>
              <a:off x="4294133" y="1703564"/>
              <a:ext cx="529698" cy="184102"/>
            </a:xfrm>
            <a:prstGeom prst="rect">
              <a:avLst/>
            </a:prstGeom>
            <a:solidFill>
              <a:srgbClr val="C00000"/>
            </a:solidFill>
            <a:ln>
              <a:solidFill>
                <a:srgbClr val="C00000"/>
              </a:solidFill>
            </a:ln>
          </p:spPr>
          <p:txBody>
            <a:bodyPr wrap="square" lIns="36000" tIns="36000" rIns="36000" bIns="36000" rtlCol="0">
              <a:spAutoFit/>
            </a:bodyPr>
            <a:lstStyle/>
            <a:p>
              <a:pPr algn="ctr"/>
              <a:r>
                <a:rPr lang="en-US" altLang="zh-CN" sz="800" b="1" dirty="0">
                  <a:solidFill>
                    <a:schemeClr val="bg1"/>
                  </a:solidFill>
                  <a:latin typeface="Calibri" panose="020F0502020204030204" pitchFamily="34" charset="0"/>
                  <a:cs typeface="Calibri" panose="020F0502020204030204" pitchFamily="34" charset="0"/>
                </a:rPr>
                <a:t>2020.7.20</a:t>
              </a:r>
              <a:endParaRPr lang="zh-CN" altLang="en-US" sz="800" b="1" dirty="0" err="1">
                <a:solidFill>
                  <a:schemeClr val="bg1"/>
                </a:solidFill>
                <a:latin typeface="Calibri" panose="020F0502020204030204" pitchFamily="34" charset="0"/>
                <a:cs typeface="Calibri" panose="020F0502020204030204" pitchFamily="34" charset="0"/>
              </a:endParaRPr>
            </a:p>
          </p:txBody>
        </p:sp>
      </p:grpSp>
      <p:sp>
        <p:nvSpPr>
          <p:cNvPr id="37" name="文本框 36">
            <a:extLst>
              <a:ext uri="{FF2B5EF4-FFF2-40B4-BE49-F238E27FC236}">
                <a16:creationId xmlns:a16="http://schemas.microsoft.com/office/drawing/2014/main" id="{18B695BB-CE2E-1043-A72F-9679908368CD}"/>
              </a:ext>
            </a:extLst>
          </p:cNvPr>
          <p:cNvSpPr txBox="1"/>
          <p:nvPr/>
        </p:nvSpPr>
        <p:spPr>
          <a:xfrm>
            <a:off x="11640598" y="2758257"/>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2.32</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38" name="文本框 37">
            <a:extLst>
              <a:ext uri="{FF2B5EF4-FFF2-40B4-BE49-F238E27FC236}">
                <a16:creationId xmlns:a16="http://schemas.microsoft.com/office/drawing/2014/main" id="{DD95FBF0-ACC8-454C-9903-2D117A8D03C2}"/>
              </a:ext>
            </a:extLst>
          </p:cNvPr>
          <p:cNvSpPr txBox="1"/>
          <p:nvPr/>
        </p:nvSpPr>
        <p:spPr>
          <a:xfrm>
            <a:off x="12111163" y="2758257"/>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36.65</a:t>
            </a:r>
          </a:p>
        </p:txBody>
      </p:sp>
      <p:sp>
        <p:nvSpPr>
          <p:cNvPr id="43" name="文本框 42">
            <a:extLst>
              <a:ext uri="{FF2B5EF4-FFF2-40B4-BE49-F238E27FC236}">
                <a16:creationId xmlns:a16="http://schemas.microsoft.com/office/drawing/2014/main" id="{28967E1D-C45E-3745-AB59-DE20B455332A}"/>
              </a:ext>
            </a:extLst>
          </p:cNvPr>
          <p:cNvSpPr txBox="1"/>
          <p:nvPr/>
        </p:nvSpPr>
        <p:spPr>
          <a:xfrm>
            <a:off x="2828957" y="1388515"/>
            <a:ext cx="558000" cy="195814"/>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Training MSE</a:t>
            </a:r>
          </a:p>
        </p:txBody>
      </p:sp>
      <p:sp>
        <p:nvSpPr>
          <p:cNvPr id="44" name="文本框 43">
            <a:extLst>
              <a:ext uri="{FF2B5EF4-FFF2-40B4-BE49-F238E27FC236}">
                <a16:creationId xmlns:a16="http://schemas.microsoft.com/office/drawing/2014/main" id="{9DF8608C-9CAB-9C46-BD31-0455A0618A08}"/>
              </a:ext>
            </a:extLst>
          </p:cNvPr>
          <p:cNvSpPr txBox="1"/>
          <p:nvPr/>
        </p:nvSpPr>
        <p:spPr>
          <a:xfrm>
            <a:off x="3991595" y="1394067"/>
            <a:ext cx="558000" cy="194400"/>
          </a:xfrm>
          <a:prstGeom prst="rect">
            <a:avLst/>
          </a:prstGeom>
          <a:noFill/>
          <a:ln>
            <a:solidFill>
              <a:srgbClr val="1E4E79"/>
            </a:solidFill>
          </a:ln>
        </p:spPr>
        <p:txBody>
          <a:bodyPr wrap="square" lIns="0" tIns="36000" rIns="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Testing MSE</a:t>
            </a:r>
          </a:p>
        </p:txBody>
      </p:sp>
      <p:sp>
        <p:nvSpPr>
          <p:cNvPr id="45" name="文本框 44">
            <a:extLst>
              <a:ext uri="{FF2B5EF4-FFF2-40B4-BE49-F238E27FC236}">
                <a16:creationId xmlns:a16="http://schemas.microsoft.com/office/drawing/2014/main" id="{EE8A99FA-805A-AF43-A350-01D91A277D47}"/>
              </a:ext>
            </a:extLst>
          </p:cNvPr>
          <p:cNvSpPr txBox="1"/>
          <p:nvPr/>
        </p:nvSpPr>
        <p:spPr>
          <a:xfrm>
            <a:off x="11645072" y="4369979"/>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4.78</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46" name="文本框 45">
            <a:extLst>
              <a:ext uri="{FF2B5EF4-FFF2-40B4-BE49-F238E27FC236}">
                <a16:creationId xmlns:a16="http://schemas.microsoft.com/office/drawing/2014/main" id="{951FADBD-67B4-E541-9EAB-5979A3C9BEFD}"/>
              </a:ext>
            </a:extLst>
          </p:cNvPr>
          <p:cNvSpPr txBox="1"/>
          <p:nvPr/>
        </p:nvSpPr>
        <p:spPr>
          <a:xfrm>
            <a:off x="12104527" y="4369979"/>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53.59</a:t>
            </a:r>
          </a:p>
        </p:txBody>
      </p:sp>
      <p:sp>
        <p:nvSpPr>
          <p:cNvPr id="47" name="文本框 46">
            <a:extLst>
              <a:ext uri="{FF2B5EF4-FFF2-40B4-BE49-F238E27FC236}">
                <a16:creationId xmlns:a16="http://schemas.microsoft.com/office/drawing/2014/main" id="{074AF84B-8114-4349-9E8C-0483E5CBDB93}"/>
              </a:ext>
            </a:extLst>
          </p:cNvPr>
          <p:cNvSpPr txBox="1"/>
          <p:nvPr/>
        </p:nvSpPr>
        <p:spPr>
          <a:xfrm>
            <a:off x="11672368" y="4603664"/>
            <a:ext cx="324000" cy="195814"/>
          </a:xfrm>
          <a:prstGeom prst="rect">
            <a:avLst/>
          </a:prstGeom>
          <a:solidFill>
            <a:srgbClr val="92D050">
              <a:alpha val="60000"/>
            </a:srgb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20.0%</a:t>
            </a:r>
            <a:endParaRPr kumimoji="1" lang="zh-CN" altLang="en-US" sz="800" dirty="0" err="1">
              <a:latin typeface="Calibri" panose="020F0502020204030204" pitchFamily="34" charset="0"/>
              <a:cs typeface="Calibri" panose="020F0502020204030204" pitchFamily="34" charset="0"/>
            </a:endParaRPr>
          </a:p>
        </p:txBody>
      </p:sp>
      <p:sp>
        <p:nvSpPr>
          <p:cNvPr id="50" name="文本框 49">
            <a:extLst>
              <a:ext uri="{FF2B5EF4-FFF2-40B4-BE49-F238E27FC236}">
                <a16:creationId xmlns:a16="http://schemas.microsoft.com/office/drawing/2014/main" id="{C956998F-1364-1B4D-8526-847EFBF96F82}"/>
              </a:ext>
            </a:extLst>
          </p:cNvPr>
          <p:cNvSpPr txBox="1"/>
          <p:nvPr/>
        </p:nvSpPr>
        <p:spPr>
          <a:xfrm>
            <a:off x="12081292" y="4604747"/>
            <a:ext cx="324000" cy="195814"/>
          </a:xfrm>
          <a:prstGeom prst="rect">
            <a:avLst/>
          </a:prstGeom>
          <a:solidFill>
            <a:srgbClr val="92D050">
              <a:alpha val="60000"/>
            </a:srgb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46.2%</a:t>
            </a:r>
            <a:endParaRPr kumimoji="1" lang="zh-CN" altLang="en-US" sz="800" dirty="0" err="1">
              <a:latin typeface="Calibri" panose="020F0502020204030204" pitchFamily="34" charset="0"/>
              <a:cs typeface="Calibri" panose="020F0502020204030204" pitchFamily="34" charset="0"/>
            </a:endParaRPr>
          </a:p>
        </p:txBody>
      </p:sp>
      <p:sp>
        <p:nvSpPr>
          <p:cNvPr id="51" name="文本框 50">
            <a:extLst>
              <a:ext uri="{FF2B5EF4-FFF2-40B4-BE49-F238E27FC236}">
                <a16:creationId xmlns:a16="http://schemas.microsoft.com/office/drawing/2014/main" id="{B1C152E8-D359-1648-A39F-B9E89C4171EE}"/>
              </a:ext>
            </a:extLst>
          </p:cNvPr>
          <p:cNvSpPr txBox="1"/>
          <p:nvPr/>
        </p:nvSpPr>
        <p:spPr>
          <a:xfrm>
            <a:off x="3287281" y="2763631"/>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9.78</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54" name="文本框 53">
            <a:extLst>
              <a:ext uri="{FF2B5EF4-FFF2-40B4-BE49-F238E27FC236}">
                <a16:creationId xmlns:a16="http://schemas.microsoft.com/office/drawing/2014/main" id="{C7049EA5-6BF8-DA47-ACC9-C9F8CE96BFDB}"/>
              </a:ext>
            </a:extLst>
          </p:cNvPr>
          <p:cNvSpPr txBox="1"/>
          <p:nvPr/>
        </p:nvSpPr>
        <p:spPr>
          <a:xfrm>
            <a:off x="3761098" y="2763631"/>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26.70</a:t>
            </a:r>
          </a:p>
        </p:txBody>
      </p:sp>
      <p:sp>
        <p:nvSpPr>
          <p:cNvPr id="56" name="文本框 55">
            <a:extLst>
              <a:ext uri="{FF2B5EF4-FFF2-40B4-BE49-F238E27FC236}">
                <a16:creationId xmlns:a16="http://schemas.microsoft.com/office/drawing/2014/main" id="{2DFC9157-926B-9944-AB3A-C072D212033E}"/>
              </a:ext>
            </a:extLst>
          </p:cNvPr>
          <p:cNvSpPr txBox="1"/>
          <p:nvPr/>
        </p:nvSpPr>
        <p:spPr>
          <a:xfrm>
            <a:off x="3286098" y="4401051"/>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8.08</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60" name="文本框 59">
            <a:extLst>
              <a:ext uri="{FF2B5EF4-FFF2-40B4-BE49-F238E27FC236}">
                <a16:creationId xmlns:a16="http://schemas.microsoft.com/office/drawing/2014/main" id="{20E8C1FD-13C9-D543-A5A1-B58FC7B7EBF3}"/>
              </a:ext>
            </a:extLst>
          </p:cNvPr>
          <p:cNvSpPr txBox="1"/>
          <p:nvPr/>
        </p:nvSpPr>
        <p:spPr>
          <a:xfrm>
            <a:off x="3765252" y="4401051"/>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9.03</a:t>
            </a:r>
          </a:p>
        </p:txBody>
      </p:sp>
      <p:sp>
        <p:nvSpPr>
          <p:cNvPr id="61" name="文本框 60">
            <a:extLst>
              <a:ext uri="{FF2B5EF4-FFF2-40B4-BE49-F238E27FC236}">
                <a16:creationId xmlns:a16="http://schemas.microsoft.com/office/drawing/2014/main" id="{0F6B773C-AA2B-8E44-89AA-CD280F12968D}"/>
              </a:ext>
            </a:extLst>
          </p:cNvPr>
          <p:cNvSpPr txBox="1"/>
          <p:nvPr/>
        </p:nvSpPr>
        <p:spPr>
          <a:xfrm>
            <a:off x="3322482" y="4633958"/>
            <a:ext cx="324000" cy="195814"/>
          </a:xfrm>
          <a:prstGeom prst="rect">
            <a:avLst/>
          </a:prstGeom>
          <a:solidFill>
            <a:schemeClr val="accent4">
              <a:alpha val="70000"/>
            </a:scheme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8.6%</a:t>
            </a:r>
            <a:endParaRPr kumimoji="1" lang="zh-CN" altLang="en-US" sz="800" dirty="0" err="1">
              <a:latin typeface="Calibri" panose="020F0502020204030204" pitchFamily="34" charset="0"/>
              <a:cs typeface="Calibri" panose="020F0502020204030204" pitchFamily="34" charset="0"/>
            </a:endParaRPr>
          </a:p>
        </p:txBody>
      </p:sp>
      <p:sp>
        <p:nvSpPr>
          <p:cNvPr id="62" name="文本框 61">
            <a:extLst>
              <a:ext uri="{FF2B5EF4-FFF2-40B4-BE49-F238E27FC236}">
                <a16:creationId xmlns:a16="http://schemas.microsoft.com/office/drawing/2014/main" id="{3D18CAE6-F706-B34C-8D9D-CBCEDA482837}"/>
              </a:ext>
            </a:extLst>
          </p:cNvPr>
          <p:cNvSpPr txBox="1"/>
          <p:nvPr/>
        </p:nvSpPr>
        <p:spPr>
          <a:xfrm>
            <a:off x="3733097" y="4633958"/>
            <a:ext cx="324000" cy="195814"/>
          </a:xfrm>
          <a:prstGeom prst="rect">
            <a:avLst/>
          </a:prstGeom>
          <a:solidFill>
            <a:schemeClr val="accent4">
              <a:alpha val="70000"/>
            </a:scheme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28.7%</a:t>
            </a:r>
            <a:endParaRPr kumimoji="1" lang="zh-CN" altLang="en-US" sz="800" dirty="0" err="1">
              <a:latin typeface="Calibri" panose="020F0502020204030204" pitchFamily="34" charset="0"/>
              <a:cs typeface="Calibri" panose="020F0502020204030204" pitchFamily="34" charset="0"/>
            </a:endParaRPr>
          </a:p>
        </p:txBody>
      </p:sp>
      <p:sp>
        <p:nvSpPr>
          <p:cNvPr id="63" name="文本框 62">
            <a:extLst>
              <a:ext uri="{FF2B5EF4-FFF2-40B4-BE49-F238E27FC236}">
                <a16:creationId xmlns:a16="http://schemas.microsoft.com/office/drawing/2014/main" id="{9BAB5B39-564F-F145-8B82-D6147CDFC2B1}"/>
              </a:ext>
            </a:extLst>
          </p:cNvPr>
          <p:cNvSpPr txBox="1"/>
          <p:nvPr/>
        </p:nvSpPr>
        <p:spPr>
          <a:xfrm>
            <a:off x="3291724" y="6235791"/>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16.73</a:t>
            </a:r>
            <a:endParaRPr kumimoji="1" lang="zh-CN" altLang="en-US" sz="800" dirty="0" err="1">
              <a:solidFill>
                <a:schemeClr val="accent2"/>
              </a:solidFill>
              <a:latin typeface="Calibri" panose="020F0502020204030204" pitchFamily="34" charset="0"/>
              <a:cs typeface="Calibri" panose="020F0502020204030204" pitchFamily="34" charset="0"/>
            </a:endParaRPr>
          </a:p>
        </p:txBody>
      </p:sp>
      <p:sp>
        <p:nvSpPr>
          <p:cNvPr id="64" name="文本框 63">
            <a:extLst>
              <a:ext uri="{FF2B5EF4-FFF2-40B4-BE49-F238E27FC236}">
                <a16:creationId xmlns:a16="http://schemas.microsoft.com/office/drawing/2014/main" id="{623767FA-B79A-A045-92E0-948C5D6AEC2B}"/>
              </a:ext>
            </a:extLst>
          </p:cNvPr>
          <p:cNvSpPr txBox="1"/>
          <p:nvPr/>
        </p:nvSpPr>
        <p:spPr>
          <a:xfrm>
            <a:off x="3764827" y="6235791"/>
            <a:ext cx="324000" cy="195814"/>
          </a:xfrm>
          <a:prstGeom prst="rect">
            <a:avLst/>
          </a:prstGeom>
          <a:noFill/>
          <a:ln>
            <a:solidFill>
              <a:srgbClr val="1E4E79"/>
            </a:solidFill>
          </a:ln>
        </p:spPr>
        <p:txBody>
          <a:bodyPr wrap="square" lIns="36000" tIns="36000" rIns="36000" bIns="36000" rtlCol="0">
            <a:spAutoFit/>
          </a:bodyPr>
          <a:lstStyle/>
          <a:p>
            <a:pPr algn="ctr"/>
            <a:r>
              <a:rPr kumimoji="1" lang="en-US" altLang="zh-CN" sz="800" dirty="0">
                <a:solidFill>
                  <a:schemeClr val="accent2"/>
                </a:solidFill>
                <a:latin typeface="Calibri" panose="020F0502020204030204" pitchFamily="34" charset="0"/>
                <a:cs typeface="Calibri" panose="020F0502020204030204" pitchFamily="34" charset="0"/>
              </a:rPr>
              <a:t>23.03</a:t>
            </a:r>
          </a:p>
        </p:txBody>
      </p:sp>
      <p:sp>
        <p:nvSpPr>
          <p:cNvPr id="65" name="文本框 64">
            <a:extLst>
              <a:ext uri="{FF2B5EF4-FFF2-40B4-BE49-F238E27FC236}">
                <a16:creationId xmlns:a16="http://schemas.microsoft.com/office/drawing/2014/main" id="{05A9D2EC-EFEF-A944-B9A4-F82677BC422B}"/>
              </a:ext>
            </a:extLst>
          </p:cNvPr>
          <p:cNvSpPr txBox="1"/>
          <p:nvPr/>
        </p:nvSpPr>
        <p:spPr>
          <a:xfrm>
            <a:off x="3326014" y="6469476"/>
            <a:ext cx="324000" cy="195814"/>
          </a:xfrm>
          <a:prstGeom prst="rect">
            <a:avLst/>
          </a:prstGeom>
          <a:solidFill>
            <a:schemeClr val="accent4">
              <a:alpha val="70000"/>
            </a:scheme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7.5%</a:t>
            </a:r>
            <a:endParaRPr kumimoji="1" lang="zh-CN" altLang="en-US" sz="800" dirty="0" err="1">
              <a:latin typeface="Calibri" panose="020F0502020204030204" pitchFamily="34" charset="0"/>
              <a:cs typeface="Calibri" panose="020F0502020204030204" pitchFamily="34" charset="0"/>
            </a:endParaRPr>
          </a:p>
        </p:txBody>
      </p:sp>
      <p:sp>
        <p:nvSpPr>
          <p:cNvPr id="66" name="文本框 65">
            <a:extLst>
              <a:ext uri="{FF2B5EF4-FFF2-40B4-BE49-F238E27FC236}">
                <a16:creationId xmlns:a16="http://schemas.microsoft.com/office/drawing/2014/main" id="{08194F51-74A0-7C4E-8C53-06C533B5E63A}"/>
              </a:ext>
            </a:extLst>
          </p:cNvPr>
          <p:cNvSpPr txBox="1"/>
          <p:nvPr/>
        </p:nvSpPr>
        <p:spPr>
          <a:xfrm>
            <a:off x="3734598" y="6470559"/>
            <a:ext cx="324000" cy="195814"/>
          </a:xfrm>
          <a:prstGeom prst="rect">
            <a:avLst/>
          </a:prstGeom>
          <a:solidFill>
            <a:srgbClr val="92D050">
              <a:alpha val="60000"/>
            </a:srgbClr>
          </a:solidFill>
          <a:ln>
            <a:noFill/>
          </a:ln>
        </p:spPr>
        <p:txBody>
          <a:bodyPr wrap="square" lIns="0" tIns="36000" rIns="0" bIns="36000" rtlCol="0">
            <a:spAutoFit/>
          </a:bodyPr>
          <a:lstStyle/>
          <a:p>
            <a:pPr algn="ctr"/>
            <a:r>
              <a:rPr kumimoji="1" lang="en-US" altLang="zh-CN" sz="800" dirty="0">
                <a:latin typeface="Calibri" panose="020F0502020204030204" pitchFamily="34" charset="0"/>
                <a:cs typeface="Calibri" panose="020F0502020204030204" pitchFamily="34" charset="0"/>
              </a:rPr>
              <a:t>+21.0%</a:t>
            </a:r>
            <a:endParaRPr kumimoji="1" lang="zh-CN" altLang="en-US" sz="800" dirty="0" err="1">
              <a:latin typeface="Calibri" panose="020F0502020204030204" pitchFamily="34" charset="0"/>
              <a:cs typeface="Calibri" panose="020F0502020204030204" pitchFamily="34" charset="0"/>
            </a:endParaRPr>
          </a:p>
        </p:txBody>
      </p:sp>
      <p:sp>
        <p:nvSpPr>
          <p:cNvPr id="57" name="文本框 56">
            <a:extLst>
              <a:ext uri="{FF2B5EF4-FFF2-40B4-BE49-F238E27FC236}">
                <a16:creationId xmlns:a16="http://schemas.microsoft.com/office/drawing/2014/main" id="{E8B87265-B526-1D4D-8A84-C7986BCCFFFE}"/>
              </a:ext>
            </a:extLst>
          </p:cNvPr>
          <p:cNvSpPr txBox="1"/>
          <p:nvPr/>
        </p:nvSpPr>
        <p:spPr>
          <a:xfrm>
            <a:off x="12117976" y="6909449"/>
            <a:ext cx="557623" cy="226591"/>
          </a:xfrm>
          <a:prstGeom prst="rect">
            <a:avLst/>
          </a:prstGeom>
          <a:noFill/>
        </p:spPr>
        <p:txBody>
          <a:bodyPr wrap="square" lIns="36000" tIns="36000" rIns="36000" bIns="36000" rtlCol="0">
            <a:spAutoFit/>
          </a:bodyPr>
          <a:lstStyle/>
          <a:p>
            <a:r>
              <a:rPr kumimoji="1" lang="en-US" altLang="zh-CN" sz="1000" dirty="0">
                <a:latin typeface="Calibri" panose="020F0502020204030204" pitchFamily="34" charset="0"/>
                <a:cs typeface="Calibri" panose="020F0502020204030204" pitchFamily="34" charset="0"/>
              </a:rPr>
              <a:t>8</a:t>
            </a:r>
            <a:endParaRPr kumimoji="1" lang="zh-CN" altLang="en-US" sz="1000" dirty="0" err="1">
              <a:latin typeface="Calibri" panose="020F0502020204030204" pitchFamily="34" charset="0"/>
              <a:cs typeface="Calibri" panose="020F0502020204030204" pitchFamily="34" charset="0"/>
            </a:endParaRPr>
          </a:p>
        </p:txBody>
      </p:sp>
      <p:grpSp>
        <p:nvGrpSpPr>
          <p:cNvPr id="88" name="组合 87">
            <a:extLst>
              <a:ext uri="{FF2B5EF4-FFF2-40B4-BE49-F238E27FC236}">
                <a16:creationId xmlns:a16="http://schemas.microsoft.com/office/drawing/2014/main" id="{AE7EDCAA-E93B-C940-9F8C-66C93C6E1450}"/>
              </a:ext>
            </a:extLst>
          </p:cNvPr>
          <p:cNvGrpSpPr/>
          <p:nvPr/>
        </p:nvGrpSpPr>
        <p:grpSpPr>
          <a:xfrm>
            <a:off x="596056" y="1600563"/>
            <a:ext cx="1926900" cy="199446"/>
            <a:chOff x="4594986" y="1315042"/>
            <a:chExt cx="1441144" cy="199446"/>
          </a:xfrm>
        </p:grpSpPr>
        <p:cxnSp>
          <p:nvCxnSpPr>
            <p:cNvPr id="90" name="直线连接符 89">
              <a:extLst>
                <a:ext uri="{FF2B5EF4-FFF2-40B4-BE49-F238E27FC236}">
                  <a16:creationId xmlns:a16="http://schemas.microsoft.com/office/drawing/2014/main" id="{08B2A608-C6BC-A94F-9268-F8AFCF5FBAEA}"/>
                </a:ext>
              </a:extLst>
            </p:cNvPr>
            <p:cNvCxnSpPr/>
            <p:nvPr/>
          </p:nvCxnSpPr>
          <p:spPr>
            <a:xfrm>
              <a:off x="4594986" y="1427475"/>
              <a:ext cx="21539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1" name="直线连接符 90">
              <a:extLst>
                <a:ext uri="{FF2B5EF4-FFF2-40B4-BE49-F238E27FC236}">
                  <a16:creationId xmlns:a16="http://schemas.microsoft.com/office/drawing/2014/main" id="{A55C2B67-F470-B04A-A885-D0E902FBA3A6}"/>
                </a:ext>
              </a:extLst>
            </p:cNvPr>
            <p:cNvCxnSpPr/>
            <p:nvPr/>
          </p:nvCxnSpPr>
          <p:spPr>
            <a:xfrm>
              <a:off x="5182639" y="1411925"/>
              <a:ext cx="21539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48A0B27E-EEFF-D348-8AEF-7DAF48B0C13E}"/>
                </a:ext>
              </a:extLst>
            </p:cNvPr>
            <p:cNvSpPr txBox="1"/>
            <p:nvPr/>
          </p:nvSpPr>
          <p:spPr>
            <a:xfrm>
              <a:off x="4823803" y="1315042"/>
              <a:ext cx="605691" cy="195814"/>
            </a:xfrm>
            <a:prstGeom prst="rect">
              <a:avLst/>
            </a:prstGeom>
            <a:noFill/>
          </p:spPr>
          <p:txBody>
            <a:bodyPr wrap="square" lIns="36000" tIns="36000" rIns="36000" bIns="36000" rtlCol="0">
              <a:spAutoFit/>
            </a:bodyPr>
            <a:lstStyle/>
            <a:p>
              <a:r>
                <a:rPr kumimoji="1" lang="en-US" altLang="zh-CN" sz="800" dirty="0">
                  <a:latin typeface="Calibri" panose="020F0502020204030204" pitchFamily="34" charset="0"/>
                  <a:cs typeface="Calibri" panose="020F0502020204030204" pitchFamily="34" charset="0"/>
                </a:rPr>
                <a:t>Actual</a:t>
              </a:r>
              <a:endParaRPr kumimoji="1" lang="zh-CN" altLang="en-US" sz="800" dirty="0" err="1">
                <a:latin typeface="Calibri" panose="020F0502020204030204" pitchFamily="34" charset="0"/>
                <a:cs typeface="Calibri" panose="020F0502020204030204" pitchFamily="34" charset="0"/>
              </a:endParaRPr>
            </a:p>
          </p:txBody>
        </p:sp>
        <p:sp>
          <p:nvSpPr>
            <p:cNvPr id="94" name="文本框 93">
              <a:extLst>
                <a:ext uri="{FF2B5EF4-FFF2-40B4-BE49-F238E27FC236}">
                  <a16:creationId xmlns:a16="http://schemas.microsoft.com/office/drawing/2014/main" id="{EE3165D7-C7EA-CA4B-B080-A73D207D0EA3}"/>
                </a:ext>
              </a:extLst>
            </p:cNvPr>
            <p:cNvSpPr txBox="1"/>
            <p:nvPr/>
          </p:nvSpPr>
          <p:spPr>
            <a:xfrm>
              <a:off x="5420800" y="1318674"/>
              <a:ext cx="615330" cy="195814"/>
            </a:xfrm>
            <a:prstGeom prst="rect">
              <a:avLst/>
            </a:prstGeom>
            <a:noFill/>
          </p:spPr>
          <p:txBody>
            <a:bodyPr wrap="square" lIns="36000" tIns="36000" rIns="36000" bIns="36000" rtlCol="0">
              <a:spAutoFit/>
            </a:bodyPr>
            <a:lstStyle/>
            <a:p>
              <a:r>
                <a:rPr kumimoji="1" lang="en-US" altLang="zh-CN" sz="800" dirty="0">
                  <a:latin typeface="Calibri" panose="020F0502020204030204" pitchFamily="34" charset="0"/>
                  <a:cs typeface="Calibri" panose="020F0502020204030204" pitchFamily="34" charset="0"/>
                </a:rPr>
                <a:t>Prediction</a:t>
              </a:r>
              <a:endParaRPr kumimoji="1" lang="zh-CN" altLang="en-US" sz="800" dirty="0" err="1">
                <a:latin typeface="Calibri" panose="020F0502020204030204" pitchFamily="34" charset="0"/>
                <a:cs typeface="Calibri" panose="020F0502020204030204" pitchFamily="34" charset="0"/>
              </a:endParaRPr>
            </a:p>
          </p:txBody>
        </p:sp>
      </p:grpSp>
      <p:sp>
        <p:nvSpPr>
          <p:cNvPr id="95" name="矩形 94">
            <a:extLst>
              <a:ext uri="{FF2B5EF4-FFF2-40B4-BE49-F238E27FC236}">
                <a16:creationId xmlns:a16="http://schemas.microsoft.com/office/drawing/2014/main" id="{FA2B42E6-6A8D-954C-B1DC-FF1C5BF1B718}"/>
              </a:ext>
            </a:extLst>
          </p:cNvPr>
          <p:cNvSpPr/>
          <p:nvPr/>
        </p:nvSpPr>
        <p:spPr>
          <a:xfrm>
            <a:off x="2623396" y="2164915"/>
            <a:ext cx="82184" cy="41040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dirty="0">
              <a:solidFill>
                <a:schemeClr val="tx1"/>
              </a:solidFill>
            </a:endParaRPr>
          </a:p>
        </p:txBody>
      </p:sp>
      <p:sp>
        <p:nvSpPr>
          <p:cNvPr id="97" name="矩形 96">
            <a:extLst>
              <a:ext uri="{FF2B5EF4-FFF2-40B4-BE49-F238E27FC236}">
                <a16:creationId xmlns:a16="http://schemas.microsoft.com/office/drawing/2014/main" id="{2F9D7385-FD19-DE47-B540-50D11194897E}"/>
              </a:ext>
            </a:extLst>
          </p:cNvPr>
          <p:cNvSpPr/>
          <p:nvPr/>
        </p:nvSpPr>
        <p:spPr>
          <a:xfrm>
            <a:off x="3822384" y="1760906"/>
            <a:ext cx="196336" cy="453535"/>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98" name="矩形 97">
            <a:extLst>
              <a:ext uri="{FF2B5EF4-FFF2-40B4-BE49-F238E27FC236}">
                <a16:creationId xmlns:a16="http://schemas.microsoft.com/office/drawing/2014/main" id="{E8E88DEA-B3AC-F243-88E3-2C070323D4F4}"/>
              </a:ext>
            </a:extLst>
          </p:cNvPr>
          <p:cNvSpPr/>
          <p:nvPr/>
        </p:nvSpPr>
        <p:spPr>
          <a:xfrm>
            <a:off x="3822384" y="3603700"/>
            <a:ext cx="196336" cy="453535"/>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99" name="矩形 98">
            <a:extLst>
              <a:ext uri="{FF2B5EF4-FFF2-40B4-BE49-F238E27FC236}">
                <a16:creationId xmlns:a16="http://schemas.microsoft.com/office/drawing/2014/main" id="{C1F13530-2415-2C4D-A29A-C654C628122D}"/>
              </a:ext>
            </a:extLst>
          </p:cNvPr>
          <p:cNvSpPr/>
          <p:nvPr/>
        </p:nvSpPr>
        <p:spPr>
          <a:xfrm>
            <a:off x="3822384" y="5460705"/>
            <a:ext cx="196336" cy="453535"/>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12" name="椭圆 111">
            <a:extLst>
              <a:ext uri="{FF2B5EF4-FFF2-40B4-BE49-F238E27FC236}">
                <a16:creationId xmlns:a16="http://schemas.microsoft.com/office/drawing/2014/main" id="{05F88FC8-58F8-8C46-B305-364CDC1180EA}"/>
              </a:ext>
            </a:extLst>
          </p:cNvPr>
          <p:cNvSpPr/>
          <p:nvPr/>
        </p:nvSpPr>
        <p:spPr>
          <a:xfrm>
            <a:off x="2586664" y="2093634"/>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22" name="矩形 121">
            <a:extLst>
              <a:ext uri="{FF2B5EF4-FFF2-40B4-BE49-F238E27FC236}">
                <a16:creationId xmlns:a16="http://schemas.microsoft.com/office/drawing/2014/main" id="{E3D54ECC-EA7B-3348-8DF0-6D4DFCA50331}"/>
              </a:ext>
            </a:extLst>
          </p:cNvPr>
          <p:cNvSpPr/>
          <p:nvPr/>
        </p:nvSpPr>
        <p:spPr>
          <a:xfrm>
            <a:off x="2608866" y="4016043"/>
            <a:ext cx="96714" cy="41040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dirty="0">
              <a:solidFill>
                <a:schemeClr val="tx1"/>
              </a:solidFill>
            </a:endParaRPr>
          </a:p>
        </p:txBody>
      </p:sp>
      <p:sp>
        <p:nvSpPr>
          <p:cNvPr id="123" name="矩形 122">
            <a:extLst>
              <a:ext uri="{FF2B5EF4-FFF2-40B4-BE49-F238E27FC236}">
                <a16:creationId xmlns:a16="http://schemas.microsoft.com/office/drawing/2014/main" id="{DEA61D81-09C9-6247-98E6-AAF98F83EDDC}"/>
              </a:ext>
            </a:extLst>
          </p:cNvPr>
          <p:cNvSpPr/>
          <p:nvPr/>
        </p:nvSpPr>
        <p:spPr>
          <a:xfrm>
            <a:off x="1414146" y="4321200"/>
            <a:ext cx="246990" cy="31410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4" name="椭圆 123">
            <a:extLst>
              <a:ext uri="{FF2B5EF4-FFF2-40B4-BE49-F238E27FC236}">
                <a16:creationId xmlns:a16="http://schemas.microsoft.com/office/drawing/2014/main" id="{CE41F906-E836-8742-AE2A-D7D7B1FF414B}"/>
              </a:ext>
            </a:extLst>
          </p:cNvPr>
          <p:cNvSpPr/>
          <p:nvPr/>
        </p:nvSpPr>
        <p:spPr>
          <a:xfrm>
            <a:off x="2574631" y="3941823"/>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2</a:t>
            </a:r>
            <a:endParaRPr lang="zh-CN" altLang="en-US" sz="800" dirty="0">
              <a:solidFill>
                <a:schemeClr val="bg1"/>
              </a:solidFill>
            </a:endParaRPr>
          </a:p>
        </p:txBody>
      </p:sp>
      <p:sp>
        <p:nvSpPr>
          <p:cNvPr id="125" name="矩形 124">
            <a:extLst>
              <a:ext uri="{FF2B5EF4-FFF2-40B4-BE49-F238E27FC236}">
                <a16:creationId xmlns:a16="http://schemas.microsoft.com/office/drawing/2014/main" id="{42FE9AC4-68DB-E142-A5B8-FA42AEA5A2D0}"/>
              </a:ext>
            </a:extLst>
          </p:cNvPr>
          <p:cNvSpPr/>
          <p:nvPr/>
        </p:nvSpPr>
        <p:spPr>
          <a:xfrm>
            <a:off x="2743842" y="4167317"/>
            <a:ext cx="117809" cy="40741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6" name="椭圆 125">
            <a:extLst>
              <a:ext uri="{FF2B5EF4-FFF2-40B4-BE49-F238E27FC236}">
                <a16:creationId xmlns:a16="http://schemas.microsoft.com/office/drawing/2014/main" id="{7BDAF77C-2B11-D341-AD3A-97CBC4317B47}"/>
              </a:ext>
            </a:extLst>
          </p:cNvPr>
          <p:cNvSpPr/>
          <p:nvPr/>
        </p:nvSpPr>
        <p:spPr>
          <a:xfrm>
            <a:off x="2729114" y="4478250"/>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3</a:t>
            </a:r>
            <a:endParaRPr lang="zh-CN" altLang="en-US" sz="800" dirty="0">
              <a:solidFill>
                <a:schemeClr val="bg1"/>
              </a:solidFill>
            </a:endParaRPr>
          </a:p>
        </p:txBody>
      </p:sp>
      <p:sp>
        <p:nvSpPr>
          <p:cNvPr id="137" name="矩形 136">
            <a:extLst>
              <a:ext uri="{FF2B5EF4-FFF2-40B4-BE49-F238E27FC236}">
                <a16:creationId xmlns:a16="http://schemas.microsoft.com/office/drawing/2014/main" id="{68F4D42F-0E7D-F84D-BDB9-F5A0A6E8BAA9}"/>
              </a:ext>
            </a:extLst>
          </p:cNvPr>
          <p:cNvSpPr/>
          <p:nvPr/>
        </p:nvSpPr>
        <p:spPr>
          <a:xfrm>
            <a:off x="2706673" y="6024195"/>
            <a:ext cx="115437" cy="37634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40" name="矩形 139">
            <a:extLst>
              <a:ext uri="{FF2B5EF4-FFF2-40B4-BE49-F238E27FC236}">
                <a16:creationId xmlns:a16="http://schemas.microsoft.com/office/drawing/2014/main" id="{80E69354-5D14-B34E-9075-9BCEDDFA29FF}"/>
              </a:ext>
            </a:extLst>
          </p:cNvPr>
          <p:cNvSpPr/>
          <p:nvPr/>
        </p:nvSpPr>
        <p:spPr>
          <a:xfrm>
            <a:off x="1418140" y="2444150"/>
            <a:ext cx="236953" cy="314107"/>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39" name="椭圆 138">
            <a:extLst>
              <a:ext uri="{FF2B5EF4-FFF2-40B4-BE49-F238E27FC236}">
                <a16:creationId xmlns:a16="http://schemas.microsoft.com/office/drawing/2014/main" id="{5F1B078A-B1FC-7C49-B7FD-CFC41EF1FF69}"/>
              </a:ext>
            </a:extLst>
          </p:cNvPr>
          <p:cNvSpPr/>
          <p:nvPr/>
        </p:nvSpPr>
        <p:spPr>
          <a:xfrm>
            <a:off x="1465442" y="2373177"/>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21" name="椭圆 120">
            <a:extLst>
              <a:ext uri="{FF2B5EF4-FFF2-40B4-BE49-F238E27FC236}">
                <a16:creationId xmlns:a16="http://schemas.microsoft.com/office/drawing/2014/main" id="{01E30852-50D5-1540-ABCF-50EADBE7ACB9}"/>
              </a:ext>
            </a:extLst>
          </p:cNvPr>
          <p:cNvSpPr/>
          <p:nvPr/>
        </p:nvSpPr>
        <p:spPr>
          <a:xfrm>
            <a:off x="1462340" y="4243083"/>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1</a:t>
            </a:r>
            <a:endParaRPr lang="zh-CN" altLang="en-US" sz="800" dirty="0">
              <a:solidFill>
                <a:schemeClr val="bg1"/>
              </a:solidFill>
            </a:endParaRPr>
          </a:p>
        </p:txBody>
      </p:sp>
      <p:sp>
        <p:nvSpPr>
          <p:cNvPr id="143" name="椭圆 142">
            <a:extLst>
              <a:ext uri="{FF2B5EF4-FFF2-40B4-BE49-F238E27FC236}">
                <a16:creationId xmlns:a16="http://schemas.microsoft.com/office/drawing/2014/main" id="{914937E1-D1C2-DB4B-B36B-6C32FC522DCB}"/>
              </a:ext>
            </a:extLst>
          </p:cNvPr>
          <p:cNvSpPr/>
          <p:nvPr/>
        </p:nvSpPr>
        <p:spPr>
          <a:xfrm>
            <a:off x="2692632" y="6370214"/>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rPr>
              <a:t>3</a:t>
            </a:r>
            <a:endParaRPr lang="zh-CN" altLang="en-US" sz="800" dirty="0">
              <a:solidFill>
                <a:schemeClr val="bg1"/>
              </a:solidFill>
            </a:endParaRPr>
          </a:p>
        </p:txBody>
      </p:sp>
      <p:sp>
        <p:nvSpPr>
          <p:cNvPr id="148" name="矩形 147">
            <a:extLst>
              <a:ext uri="{FF2B5EF4-FFF2-40B4-BE49-F238E27FC236}">
                <a16:creationId xmlns:a16="http://schemas.microsoft.com/office/drawing/2014/main" id="{3EBC0250-2C44-1E47-A47E-00A0BE98A5F5}"/>
              </a:ext>
            </a:extLst>
          </p:cNvPr>
          <p:cNvSpPr/>
          <p:nvPr/>
        </p:nvSpPr>
        <p:spPr>
          <a:xfrm>
            <a:off x="9944530" y="2334427"/>
            <a:ext cx="155134" cy="25570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49" name="矩形 148">
            <a:extLst>
              <a:ext uri="{FF2B5EF4-FFF2-40B4-BE49-F238E27FC236}">
                <a16:creationId xmlns:a16="http://schemas.microsoft.com/office/drawing/2014/main" id="{05100EAC-CF6C-BD47-B319-1B14D9011C53}"/>
              </a:ext>
            </a:extLst>
          </p:cNvPr>
          <p:cNvSpPr/>
          <p:nvPr/>
        </p:nvSpPr>
        <p:spPr>
          <a:xfrm>
            <a:off x="9944530" y="4167317"/>
            <a:ext cx="155134" cy="255708"/>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53" name="椭圆 152">
            <a:extLst>
              <a:ext uri="{FF2B5EF4-FFF2-40B4-BE49-F238E27FC236}">
                <a16:creationId xmlns:a16="http://schemas.microsoft.com/office/drawing/2014/main" id="{42A6EB46-F57B-D14A-8BB2-AA5A5C99D7DD}"/>
              </a:ext>
            </a:extLst>
          </p:cNvPr>
          <p:cNvSpPr/>
          <p:nvPr/>
        </p:nvSpPr>
        <p:spPr>
          <a:xfrm>
            <a:off x="9943883" y="2245163"/>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sp>
        <p:nvSpPr>
          <p:cNvPr id="154" name="椭圆 153">
            <a:extLst>
              <a:ext uri="{FF2B5EF4-FFF2-40B4-BE49-F238E27FC236}">
                <a16:creationId xmlns:a16="http://schemas.microsoft.com/office/drawing/2014/main" id="{3E36AADF-5885-774E-872A-A3C28C40A9E7}"/>
              </a:ext>
            </a:extLst>
          </p:cNvPr>
          <p:cNvSpPr/>
          <p:nvPr/>
        </p:nvSpPr>
        <p:spPr>
          <a:xfrm>
            <a:off x="9943883" y="4089139"/>
            <a:ext cx="151798" cy="151798"/>
          </a:xfrm>
          <a:prstGeom prst="ellipse">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800" dirty="0">
                <a:solidFill>
                  <a:schemeClr val="bg1"/>
                </a:solidFill>
                <a:latin typeface="Calibri" panose="020F0502020204030204" pitchFamily="34" charset="0"/>
                <a:cs typeface="Calibri" panose="020F0502020204030204" pitchFamily="34" charset="0"/>
              </a:rPr>
              <a:t>1</a:t>
            </a:r>
            <a:endParaRPr lang="zh-CN" altLang="en-US" sz="800" dirty="0">
              <a:solidFill>
                <a:schemeClr val="bg1"/>
              </a:solidFill>
              <a:latin typeface="Calibri" panose="020F0502020204030204" pitchFamily="34" charset="0"/>
              <a:cs typeface="Calibri" panose="020F0502020204030204" pitchFamily="34" charset="0"/>
            </a:endParaRPr>
          </a:p>
        </p:txBody>
      </p:sp>
      <p:grpSp>
        <p:nvGrpSpPr>
          <p:cNvPr id="157" name="组合 156">
            <a:extLst>
              <a:ext uri="{FF2B5EF4-FFF2-40B4-BE49-F238E27FC236}">
                <a16:creationId xmlns:a16="http://schemas.microsoft.com/office/drawing/2014/main" id="{6330114C-E0C7-D949-98E2-CCC8A5DA934A}"/>
              </a:ext>
            </a:extLst>
          </p:cNvPr>
          <p:cNvGrpSpPr/>
          <p:nvPr/>
        </p:nvGrpSpPr>
        <p:grpSpPr>
          <a:xfrm>
            <a:off x="11751691" y="1408924"/>
            <a:ext cx="579954" cy="3390554"/>
            <a:chOff x="12835713" y="1783319"/>
            <a:chExt cx="579954" cy="3390554"/>
          </a:xfrm>
        </p:grpSpPr>
        <p:cxnSp>
          <p:nvCxnSpPr>
            <p:cNvPr id="158" name="直接连接符 143">
              <a:extLst>
                <a:ext uri="{FF2B5EF4-FFF2-40B4-BE49-F238E27FC236}">
                  <a16:creationId xmlns:a16="http://schemas.microsoft.com/office/drawing/2014/main" id="{37374196-8635-9947-A346-092107D3B15F}"/>
                </a:ext>
              </a:extLst>
            </p:cNvPr>
            <p:cNvCxnSpPr>
              <a:cxnSpLocks/>
              <a:stCxn id="159" idx="2"/>
            </p:cNvCxnSpPr>
            <p:nvPr/>
          </p:nvCxnSpPr>
          <p:spPr>
            <a:xfrm flipH="1">
              <a:off x="13118956" y="1979133"/>
              <a:ext cx="6734" cy="319474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59" name="文本框 158">
              <a:extLst>
                <a:ext uri="{FF2B5EF4-FFF2-40B4-BE49-F238E27FC236}">
                  <a16:creationId xmlns:a16="http://schemas.microsoft.com/office/drawing/2014/main" id="{E4CE3BC9-31E6-584C-A865-88447AFFD2CB}"/>
                </a:ext>
              </a:extLst>
            </p:cNvPr>
            <p:cNvSpPr txBox="1"/>
            <p:nvPr/>
          </p:nvSpPr>
          <p:spPr>
            <a:xfrm>
              <a:off x="12835713" y="1783319"/>
              <a:ext cx="579954" cy="195814"/>
            </a:xfrm>
            <a:prstGeom prst="rect">
              <a:avLst/>
            </a:prstGeom>
            <a:solidFill>
              <a:srgbClr val="C00000"/>
            </a:solidFill>
          </p:spPr>
          <p:txBody>
            <a:bodyPr wrap="square" lIns="36000" tIns="36000" rIns="36000" bIns="36000" rtlCol="0">
              <a:spAutoFit/>
            </a:bodyPr>
            <a:lstStyle/>
            <a:p>
              <a:pPr algn="ctr"/>
              <a:r>
                <a:rPr lang="en-US" altLang="zh-CN" sz="800" b="1" dirty="0">
                  <a:solidFill>
                    <a:schemeClr val="bg1"/>
                  </a:solidFill>
                  <a:latin typeface="Calibri" panose="020F0502020204030204" pitchFamily="34" charset="0"/>
                  <a:cs typeface="Calibri" panose="020F0502020204030204" pitchFamily="34" charset="0"/>
                </a:rPr>
                <a:t>2020.12.11</a:t>
              </a:r>
              <a:endParaRPr lang="zh-CN" altLang="en-US" sz="800" b="1" dirty="0" err="1">
                <a:solidFill>
                  <a:schemeClr val="bg1"/>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062786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8"/>
  <p:tag name="MMPROD_UIDATA" val="&lt;database version=&quot;6.0&quot;&gt;&lt;object type=&quot;1&quot; unique_id=&quot;10001&quot;&gt;&lt;object type=&quot;8&quot; unique_id=&quot;10002&quot;&gt;&lt;/object&gt;&lt;object type=&quot;2&quot; unique_id=&quot;10003&quot;&gt;&lt;/object&gt;&lt;/object&gt;&lt;/database&gt;"/>
  <p:tag name="PAPERSIZE" val="A4"/>
  <p:tag name="BACKGROUNDCOLOR" val="-1"/>
  <p:tag name="BACKGROUNDINTENSITY" val="Light"/>
  <p:tag name="PRESENTATIONTYPE" val="BoardWhite"/>
  <p:tag name="OFFICECODE" val="True"/>
  <p:tag name="FOOTER" val="True"/>
  <p:tag name="OFFICES" val="Beijing;Hong Kong;Shanghai"/>
  <p:tag name="OFFICE" val="Hong Kong"/>
  <p:tag name="VERSION" val="5.0"/>
  <p:tag name="CHECKEDTHEME" val="1 - Bain A4"/>
  <p:tag name="NP_IDX" val="1"/>
  <p:tag name="MEKKOFORMATS" val="&lt;?xml version=&quot;1.0&quot; encoding=&quot;utf-8&quot;?&gt;&lt;MekkoFormats&gt;&lt;NumberFormat DecimalSeparator=&quot;.&quot; ThousandSeparator=&quot;,&quot; NegativeNumberFormat=&quot;1&quot; /&gt;&lt;/MekkoFormats&gt;"/>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8A&quot; g=&quot;AB&quot; b=&quot;CA&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cTUZKAtSOu0mSbZPEIM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cTUZKAtSOu0mSbZPEIM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DN0_XITSxSkgvIWV2B6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n9LO14wScCJHsFl_d.J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n9LO14wScCJHsFl_d.J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n9LO14wScCJHsFl_d.J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n9LO14wScCJHsFl_d.J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n9LO14wScCJHsFl_d.J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wOMuc33SeW.GlWNNWg4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d7XHOaFRoGXfiGMXCW0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JBEANE0QayydLHW93FX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pY9oZLGTpGjH2m3ghpB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akioNa.Thaw.YFSrJOE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wOMuc33SeW.GlWNNWg4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d7XHOaFRoGXfiGMXCW0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3GrTJc3S_iUJd0WGmkX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JBEANE0QayydLHW93FX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pY9oZLGTpGjH2m3ghpBYg"/>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2/17/2012 11:08:10 AM"/>
  <p:tag name="VCT-TEMPLATE" val="Bain A4.potx"/>
  <p:tag name="VCTMASTER" val="Bain A4"/>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cTUZKAtSOu0mSbZPEIM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 Bain A4">
  <a:themeElements>
    <a:clrScheme name="Custom 7">
      <a:dk1>
        <a:sysClr val="windowText" lastClr="000000"/>
      </a:dk1>
      <a:lt1>
        <a:srgbClr val="FFFFFF"/>
      </a:lt1>
      <a:dk2>
        <a:srgbClr val="FFFFFF"/>
      </a:dk2>
      <a:lt2>
        <a:srgbClr val="FFFFFF"/>
      </a:lt2>
      <a:accent1>
        <a:srgbClr val="464646"/>
      </a:accent1>
      <a:accent2>
        <a:srgbClr val="1E4E79"/>
      </a:accent2>
      <a:accent3>
        <a:srgbClr val="77ACDC"/>
      </a:accent3>
      <a:accent4>
        <a:srgbClr val="FFBB1C"/>
      </a:accent4>
      <a:accent5>
        <a:srgbClr val="777777"/>
      </a:accent5>
      <a:accent6>
        <a:srgbClr val="B2B2B2"/>
      </a:accent6>
      <a:hlink>
        <a:srgbClr val="000000"/>
      </a:hlink>
      <a:folHlink>
        <a:srgbClr val="CC0000"/>
      </a:folHlink>
    </a:clrScheme>
    <a:fontScheme name="Custom 1">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2"/>
          </a:solidFill>
          <a:prstDash val="dash"/>
        </a:ln>
      </a:spPr>
      <a:bodyPr lIns="72000" tIns="0" rIns="72000" bIns="0" rtlCol="0" anchor="ctr"/>
      <a:lstStyle>
        <a:defPPr marL="171450" indent="-171450" algn="l">
          <a:buFont typeface="Arial" panose="020B0604020202020204" pitchFamily="34" charset="0"/>
          <a:buChar char="•"/>
          <a:defRPr kumimoji="1" sz="1200" dirty="0">
            <a:solidFill>
              <a:schemeClr val="tx1"/>
            </a:solidFill>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8080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howofficecode>true</Showofficecode>
</file>

<file path=customXml/item2.xml><?xml version="1.0" encoding="utf-8"?>
<Showfilename>true</Showfilename>
</file>

<file path=customXml/itemProps1.xml><?xml version="1.0" encoding="utf-8"?>
<ds:datastoreItem xmlns:ds="http://schemas.openxmlformats.org/officeDocument/2006/customXml" ds:itemID="{A4B5F6F6-CDD3-4E09-B3A0-6E01B34FF533}">
  <ds:schemaRefs/>
</ds:datastoreItem>
</file>

<file path=customXml/itemProps2.xml><?xml version="1.0" encoding="utf-8"?>
<ds:datastoreItem xmlns:ds="http://schemas.openxmlformats.org/officeDocument/2006/customXml" ds:itemID="{CCF4E4D7-F088-4ABC-9A0A-52072ADCF9B2}">
  <ds:schemaRefs/>
</ds:datastoreItem>
</file>

<file path=docProps/app.xml><?xml version="1.0" encoding="utf-8"?>
<Properties xmlns="http://schemas.openxmlformats.org/officeDocument/2006/extended-properties" xmlns:vt="http://schemas.openxmlformats.org/officeDocument/2006/docPropsVTypes">
  <Template/>
  <TotalTime>11833</TotalTime>
  <Words>5443</Words>
  <Application>Microsoft Macintosh PowerPoint</Application>
  <PresentationFormat>自定义</PresentationFormat>
  <Paragraphs>724</Paragraphs>
  <Slides>17</Slides>
  <Notes>10</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17</vt:i4>
      </vt:variant>
    </vt:vector>
  </HeadingPairs>
  <TitlesOfParts>
    <vt:vector size="27" baseType="lpstr">
      <vt:lpstr>等线</vt:lpstr>
      <vt:lpstr>Yahoo Sans</vt:lpstr>
      <vt:lpstr>Arial</vt:lpstr>
      <vt:lpstr>Baskerville Old Face</vt:lpstr>
      <vt:lpstr>Calibri</vt:lpstr>
      <vt:lpstr>Marlett</vt:lpstr>
      <vt:lpstr>Verdana</vt:lpstr>
      <vt:lpstr>1 - Bain A4</vt:lpstr>
      <vt:lpstr>Custom Design</vt:lpstr>
      <vt:lpstr>think-cell Slide</vt:lpstr>
      <vt:lpstr>PowerPoint 演示文稿</vt:lpstr>
      <vt:lpstr>PowerPoint 演示文稿</vt:lpstr>
      <vt:lpstr>AAL has a neutral performance and is more volatile than the market due to uncertainty about suppliers, travel policies and fierce competitions</vt:lpstr>
      <vt:lpstr>DIS Performs Stronger than the Market Especially during the Pandemic</vt:lpstr>
      <vt:lpstr>PEP underperforms market, but its strong financial performance raised its value and share price</vt:lpstr>
      <vt:lpstr>PowerPoint 演示文稿</vt:lpstr>
      <vt:lpstr>Share price of AAL is sensitive to public sentiments and financial data</vt:lpstr>
      <vt:lpstr>Share price of DIS is sensitive to the public sentiment and financial data has unstable effect on prediction</vt:lpstr>
      <vt:lpstr>Share price of PEP is sensitive to the stock market and financial performance but not affected by the sentiments in social media</vt:lpstr>
      <vt:lpstr>PowerPoint 演示文稿</vt:lpstr>
      <vt:lpstr>Recommendations</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eling Future Growth for ApparelCo. Ecommerce Strategy</dc:title>
  <dc:creator>hantao zhang</dc:creator>
  <cp:lastModifiedBy>刘 梓婵</cp:lastModifiedBy>
  <cp:revision>923</cp:revision>
  <dcterms:modified xsi:type="dcterms:W3CDTF">2021-08-10T04:51:41Z</dcterms:modified>
</cp:coreProperties>
</file>